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notesSlides/notesSlide1.xml" ContentType="application/vnd.openxmlformats-officedocument.presentationml.notesSlide+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notesSlides/notesSlide3.xml" ContentType="application/vnd.openxmlformats-officedocument.presentationml.notesSlide+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charts/chart3.xml" ContentType="application/vnd.openxmlformats-officedocument.drawingml.chart+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charts/chart4.xml" ContentType="application/vnd.openxmlformats-officedocument.drawingml.chart+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notesSlides/notesSlide5.xml" ContentType="application/vnd.openxmlformats-officedocument.presentationml.notesSlide+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charts/chart5.xml" ContentType="application/vnd.openxmlformats-officedocument.drawingml.chart+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notesSlides/notesSlide6.xml" ContentType="application/vnd.openxmlformats-officedocument.presentationml.notesSlide+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heme/themeOverride1.xml" ContentType="application/vnd.openxmlformats-officedocument.themeOverride+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notesSlides/notesSlide7.xml" ContentType="application/vnd.openxmlformats-officedocument.presentationml.notesSlide+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notesSlides/notesSlide8.xml" ContentType="application/vnd.openxmlformats-officedocument.presentationml.notesSlide+xml"/>
  <Override PartName="/ppt/charts/chart6.xml" ContentType="application/vnd.openxmlformats-officedocument.drawingml.chart+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notesSlides/notesSlide10.xml" ContentType="application/vnd.openxmlformats-officedocument.presentationml.notesSlide+xml"/>
  <Override PartName="/ppt/charts/chart8.xml" ContentType="application/vnd.openxmlformats-officedocument.drawingml.chart+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notesSlides/notesSlide11.xml" ContentType="application/vnd.openxmlformats-officedocument.presentationml.notesSlide+xml"/>
  <Override PartName="/ppt/charts/chart9.xml" ContentType="application/vnd.openxmlformats-officedocument.drawingml.chart+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notesSlides/notesSlide12.xml" ContentType="application/vnd.openxmlformats-officedocument.presentationml.notesSlide+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 id="2147483887" r:id="rId3"/>
  </p:sldMasterIdLst>
  <p:notesMasterIdLst>
    <p:notesMasterId r:id="rId29"/>
  </p:notesMasterIdLst>
  <p:handoutMasterIdLst>
    <p:handoutMasterId r:id="rId30"/>
  </p:handoutMasterIdLst>
  <p:sldIdLst>
    <p:sldId id="256" r:id="rId4"/>
    <p:sldId id="2147377394" r:id="rId5"/>
    <p:sldId id="2147377402" r:id="rId6"/>
    <p:sldId id="3833" r:id="rId7"/>
    <p:sldId id="3701" r:id="rId8"/>
    <p:sldId id="3875" r:id="rId9"/>
    <p:sldId id="3855" r:id="rId10"/>
    <p:sldId id="3853" r:id="rId11"/>
    <p:sldId id="3865" r:id="rId12"/>
    <p:sldId id="3876" r:id="rId13"/>
    <p:sldId id="3872" r:id="rId14"/>
    <p:sldId id="3702" r:id="rId15"/>
    <p:sldId id="2153" r:id="rId16"/>
    <p:sldId id="2176" r:id="rId17"/>
    <p:sldId id="2177" r:id="rId18"/>
    <p:sldId id="2169" r:id="rId19"/>
    <p:sldId id="2179" r:id="rId20"/>
    <p:sldId id="3830" r:id="rId21"/>
    <p:sldId id="2147470434" r:id="rId22"/>
    <p:sldId id="2147470436" r:id="rId23"/>
    <p:sldId id="2145705470" r:id="rId24"/>
    <p:sldId id="2147377882" r:id="rId25"/>
    <p:sldId id="2147470698" r:id="rId26"/>
    <p:sldId id="2147470700" r:id="rId27"/>
    <p:sldId id="2147470699" r:id="rId28"/>
  </p:sldIdLst>
  <p:sldSz cx="12192000" cy="6858000"/>
  <p:notesSz cx="7102475" cy="9388475"/>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051C2C"/>
    <a:srgbClr val="000000"/>
    <a:srgbClr val="7F7F7F"/>
    <a:srgbClr val="AFC3FF"/>
    <a:srgbClr val="0D3171"/>
    <a:srgbClr val="E6E6E6"/>
    <a:srgbClr val="4D4D4D"/>
    <a:srgbClr val="00A9F4"/>
    <a:srgbClr val="1F40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9" autoAdjust="0"/>
    <p:restoredTop sz="96357" autoAdjust="0"/>
  </p:normalViewPr>
  <p:slideViewPr>
    <p:cSldViewPr snapToGrid="0" snapToObjects="1">
      <p:cViewPr varScale="1">
        <p:scale>
          <a:sx n="67" d="100"/>
          <a:sy n="67" d="100"/>
        </p:scale>
        <p:origin x="651" y="4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75" d="100"/>
          <a:sy n="75" d="100"/>
        </p:scale>
        <p:origin x="3954" y="27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commentAuthors" Target="commentAuthors.xml"/><Relationship Id="rId37" Type="http://schemas.microsoft.com/office/2018/10/relationships/authors" Targe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776863283036121E-2"/>
          <c:y val="2.0139426800929512E-2"/>
          <c:w val="0.83036122542295376"/>
          <c:h val="0.95972114639814099"/>
        </c:manualLayout>
      </c:layout>
      <c:barChart>
        <c:barDir val="bar"/>
        <c:grouping val="stacked"/>
        <c:varyColors val="0"/>
        <c:ser>
          <c:idx val="0"/>
          <c:order val="0"/>
          <c:spPr>
            <a:solidFill>
              <a:schemeClr val="accent1"/>
            </a:solidFill>
            <a:ln w="9525" cap="flat" algn="ctr">
              <a:solidFill>
                <a:schemeClr val="bg1"/>
              </a:solidFill>
              <a:prstDash val="solid"/>
            </a:ln>
          </c:spPr>
          <c:invertIfNegative val="0"/>
          <c:dLbls>
            <c:dLbl>
              <c:idx val="0"/>
              <c:layout>
                <c:manualLayout>
                  <c:x val="0.48925468678555101"/>
                  <c:y val="0"/>
                </c:manualLayout>
              </c:layout>
              <c:numFmt formatCode="#,##0&quot;%&quot;;&quot;-&quot;#,##0&quot;%&quot;;0&quot;%&quot;" sourceLinked="0"/>
              <c:spPr>
                <a:noFill/>
                <a:ln>
                  <a:noFill/>
                </a:ln>
              </c:spPr>
              <c:txPr>
                <a:bodyPr wrap="none"/>
                <a:lstStyle/>
                <a:p>
                  <a:pPr>
                    <a:defRPr sz="16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3D4-41BC-B7DD-64EB4429976A}"/>
                </c:ext>
              </c:extLst>
            </c:dLbl>
            <c:dLbl>
              <c:idx val="1"/>
              <c:layout>
                <c:manualLayout>
                  <c:x val="0.47553726566072246"/>
                  <c:y val="0"/>
                </c:manualLayout>
              </c:layout>
              <c:numFmt formatCode="#,##0&quot;%&quot;;&quot;-&quot;#,##0&quot;%&quot;;0&quot;%&quot;" sourceLinked="0"/>
              <c:spPr>
                <a:noFill/>
                <a:ln>
                  <a:noFill/>
                </a:ln>
              </c:spPr>
              <c:txPr>
                <a:bodyPr wrap="none"/>
                <a:lstStyle/>
                <a:p>
                  <a:pPr>
                    <a:defRPr sz="16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3D4-41BC-B7DD-64EB4429976A}"/>
                </c:ext>
              </c:extLst>
            </c:dLbl>
            <c:dLbl>
              <c:idx val="2"/>
              <c:layout>
                <c:manualLayout>
                  <c:x val="0.4357567443987197"/>
                  <c:y val="0"/>
                </c:manualLayout>
              </c:layout>
              <c:numFmt formatCode="#,##0&quot;%&quot;;&quot;-&quot;#,##0&quot;%&quot;;0&quot;%&quot;" sourceLinked="0"/>
              <c:spPr>
                <a:noFill/>
                <a:ln>
                  <a:noFill/>
                </a:ln>
              </c:spPr>
              <c:txPr>
                <a:bodyPr wrap="none"/>
                <a:lstStyle/>
                <a:p>
                  <a:pPr>
                    <a:defRPr sz="16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3D4-41BC-B7DD-64EB4429976A}"/>
                </c:ext>
              </c:extLst>
            </c:dLbl>
            <c:dLbl>
              <c:idx val="3"/>
              <c:layout>
                <c:manualLayout>
                  <c:x val="0.4357567443987197"/>
                  <c:y val="0"/>
                </c:manualLayout>
              </c:layout>
              <c:numFmt formatCode="#,##0&quot;%&quot;;&quot;-&quot;#,##0&quot;%&quot;;0&quot;%&quot;" sourceLinked="0"/>
              <c:spPr>
                <a:noFill/>
                <a:ln>
                  <a:noFill/>
                </a:ln>
              </c:spPr>
              <c:txPr>
                <a:bodyPr wrap="none"/>
                <a:lstStyle/>
                <a:p>
                  <a:pPr>
                    <a:defRPr sz="16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3D4-41BC-B7DD-64EB4429976A}"/>
                </c:ext>
              </c:extLst>
            </c:dLbl>
            <c:dLbl>
              <c:idx val="4"/>
              <c:layout>
                <c:manualLayout>
                  <c:x val="0.40923639689071789"/>
                  <c:y val="0"/>
                </c:manualLayout>
              </c:layout>
              <c:numFmt formatCode="#,##0&quot;%&quot;;&quot;-&quot;#,##0&quot;%&quot;;0&quot;%&quot;" sourceLinked="0"/>
              <c:spPr>
                <a:noFill/>
                <a:ln>
                  <a:noFill/>
                </a:ln>
              </c:spPr>
              <c:txPr>
                <a:bodyPr wrap="none"/>
                <a:lstStyle/>
                <a:p>
                  <a:pPr>
                    <a:defRPr sz="16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3D4-41BC-B7DD-64EB4429976A}"/>
                </c:ext>
              </c:extLst>
            </c:dLbl>
            <c:dLbl>
              <c:idx val="5"/>
              <c:layout>
                <c:manualLayout>
                  <c:x val="0.36899862825788754"/>
                  <c:y val="0"/>
                </c:manualLayout>
              </c:layout>
              <c:numFmt formatCode="#,##0&quot;%&quot;;&quot;-&quot;#,##0&quot;%&quot;;0&quot;%&quot;" sourceLinked="0"/>
              <c:spPr>
                <a:noFill/>
                <a:ln>
                  <a:noFill/>
                </a:ln>
              </c:spPr>
              <c:txPr>
                <a:bodyPr wrap="none"/>
                <a:lstStyle/>
                <a:p>
                  <a:pPr>
                    <a:defRPr sz="16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3D4-41BC-B7DD-64EB442997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2</c:v>
                </c:pt>
                <c:pt idx="1">
                  <c:v>60</c:v>
                </c:pt>
                <c:pt idx="2">
                  <c:v>54</c:v>
                </c:pt>
                <c:pt idx="3">
                  <c:v>54</c:v>
                </c:pt>
                <c:pt idx="4">
                  <c:v>50</c:v>
                </c:pt>
                <c:pt idx="5">
                  <c:v>44</c:v>
                </c:pt>
              </c:numCache>
            </c:numRef>
          </c:val>
          <c:extLst>
            <c:ext xmlns:c16="http://schemas.microsoft.com/office/drawing/2014/chart" uri="{C3380CC4-5D6E-409C-BE32-E72D297353CC}">
              <c16:uniqueId val="{00000006-E3D4-41BC-B7DD-64EB4429976A}"/>
            </c:ext>
          </c:extLst>
        </c:ser>
        <c:dLbls>
          <c:showLegendKey val="0"/>
          <c:showVal val="0"/>
          <c:showCatName val="0"/>
          <c:showSerName val="0"/>
          <c:showPercent val="0"/>
          <c:showBubbleSize val="0"/>
        </c:dLbls>
        <c:gapWidth val="40"/>
        <c:overlap val="100"/>
        <c:axId val="49819632"/>
        <c:axId val="1"/>
      </c:barChart>
      <c:catAx>
        <c:axId val="49819632"/>
        <c:scaling>
          <c:orientation val="maxMin"/>
        </c:scaling>
        <c:delete val="0"/>
        <c:axPos val="l"/>
        <c:majorGridlines>
          <c:spPr>
            <a:ln>
              <a:noFill/>
            </a:ln>
          </c:spPr>
        </c:majorGridlines>
        <c:majorTickMark val="none"/>
        <c:minorTickMark val="none"/>
        <c:tickLblPos val="none"/>
        <c:spPr>
          <a:ln w="3175" cap="flat" algn="ctr">
            <a:solidFill>
              <a:schemeClr val="accent1"/>
            </a:solidFill>
            <a:prstDash val="solid"/>
          </a:ln>
        </c:spPr>
        <c:crossAx val="1"/>
        <c:crosses val="min"/>
        <c:auto val="0"/>
        <c:lblAlgn val="ctr"/>
        <c:lblOffset val="100"/>
        <c:noMultiLvlLbl val="0"/>
      </c:catAx>
      <c:valAx>
        <c:axId val="1"/>
        <c:scaling>
          <c:orientation val="minMax"/>
          <c:max val="62"/>
          <c:min val="0"/>
        </c:scaling>
        <c:delete val="1"/>
        <c:axPos val="t"/>
        <c:numFmt formatCode="General" sourceLinked="1"/>
        <c:majorTickMark val="out"/>
        <c:minorTickMark val="none"/>
        <c:tickLblPos val="nextTo"/>
        <c:crossAx val="4981963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92333472978634E-2"/>
          <c:y val="2.4186046511627909E-2"/>
          <c:w val="0.97821533305404273"/>
          <c:h val="0.95162790697674426"/>
        </c:manualLayout>
      </c:layout>
      <c:scatterChart>
        <c:scatterStyle val="lineMarker"/>
        <c:varyColors val="0"/>
        <c:ser>
          <c:idx val="0"/>
          <c:order val="0"/>
          <c:spPr>
            <a:ln w="25400" algn="ctr">
              <a:solidFill>
                <a:schemeClr val="accent1"/>
              </a:solidFill>
              <a:prstDash val="solid"/>
            </a:ln>
          </c:spPr>
          <c:marker>
            <c:symbol val="none"/>
          </c:marker>
          <c:xVal>
            <c:numRef>
              <c:f>Sheet1!$A$1:$T$1</c:f>
              <c:numCache>
                <c:formatCode>General</c:formatCode>
                <c:ptCount val="20"/>
                <c:pt idx="0">
                  <c:v>11323</c:v>
                </c:pt>
                <c:pt idx="1">
                  <c:v>11688</c:v>
                </c:pt>
                <c:pt idx="2">
                  <c:v>12053</c:v>
                </c:pt>
                <c:pt idx="3">
                  <c:v>12418</c:v>
                </c:pt>
                <c:pt idx="4">
                  <c:v>12784</c:v>
                </c:pt>
                <c:pt idx="5">
                  <c:v>13149</c:v>
                </c:pt>
                <c:pt idx="6">
                  <c:v>13514</c:v>
                </c:pt>
                <c:pt idx="7">
                  <c:v>13879</c:v>
                </c:pt>
                <c:pt idx="8">
                  <c:v>14245</c:v>
                </c:pt>
                <c:pt idx="9">
                  <c:v>14610</c:v>
                </c:pt>
                <c:pt idx="10">
                  <c:v>14975</c:v>
                </c:pt>
                <c:pt idx="11">
                  <c:v>15340</c:v>
                </c:pt>
                <c:pt idx="12">
                  <c:v>15706</c:v>
                </c:pt>
                <c:pt idx="13">
                  <c:v>16071</c:v>
                </c:pt>
                <c:pt idx="14">
                  <c:v>16436</c:v>
                </c:pt>
                <c:pt idx="15">
                  <c:v>16801</c:v>
                </c:pt>
                <c:pt idx="16">
                  <c:v>17167</c:v>
                </c:pt>
                <c:pt idx="17">
                  <c:v>17532</c:v>
                </c:pt>
                <c:pt idx="18">
                  <c:v>17897</c:v>
                </c:pt>
                <c:pt idx="19">
                  <c:v>18262</c:v>
                </c:pt>
              </c:numCache>
            </c:numRef>
          </c:xVal>
          <c:yVal>
            <c:numRef>
              <c:f>Sheet1!$A$2:$T$2</c:f>
              <c:numCache>
                <c:formatCode>General</c:formatCode>
                <c:ptCount val="20"/>
                <c:pt idx="0">
                  <c:v>43878489</c:v>
                </c:pt>
                <c:pt idx="1">
                  <c:v>50097958</c:v>
                </c:pt>
                <c:pt idx="2">
                  <c:v>59360659</c:v>
                </c:pt>
                <c:pt idx="3">
                  <c:v>75904200</c:v>
                </c:pt>
                <c:pt idx="4">
                  <c:v>100352637</c:v>
                </c:pt>
                <c:pt idx="5">
                  <c:v>121200606</c:v>
                </c:pt>
                <c:pt idx="6">
                  <c:v>145898053</c:v>
                </c:pt>
                <c:pt idx="7">
                  <c:v>181860898</c:v>
                </c:pt>
                <c:pt idx="8">
                  <c:v>176765036</c:v>
                </c:pt>
                <c:pt idx="9">
                  <c:v>220408496</c:v>
                </c:pt>
                <c:pt idx="10">
                  <c:v>301483250</c:v>
                </c:pt>
                <c:pt idx="11">
                  <c:v>289564769</c:v>
                </c:pt>
                <c:pt idx="12">
                  <c:v>336611389</c:v>
                </c:pt>
                <c:pt idx="13">
                  <c:v>317544642</c:v>
                </c:pt>
                <c:pt idx="14">
                  <c:v>263889005</c:v>
                </c:pt>
                <c:pt idx="15">
                  <c:v>260963959</c:v>
                </c:pt>
                <c:pt idx="16">
                  <c:v>295862157</c:v>
                </c:pt>
                <c:pt idx="17">
                  <c:v>323997680</c:v>
                </c:pt>
                <c:pt idx="18">
                  <c:v>323250726</c:v>
                </c:pt>
                <c:pt idx="19">
                  <c:v>313361040</c:v>
                </c:pt>
              </c:numCache>
            </c:numRef>
          </c:yVal>
          <c:smooth val="0"/>
          <c:extLst>
            <c:ext xmlns:c16="http://schemas.microsoft.com/office/drawing/2014/chart" uri="{C3380CC4-5D6E-409C-BE32-E72D297353CC}">
              <c16:uniqueId val="{00000000-81C2-4824-A38A-61CEC30BFAB4}"/>
            </c:ext>
          </c:extLst>
        </c:ser>
        <c:dLbls>
          <c:showLegendKey val="0"/>
          <c:showVal val="0"/>
          <c:showCatName val="0"/>
          <c:showSerName val="0"/>
          <c:showPercent val="0"/>
          <c:showBubbleSize val="0"/>
        </c:dLbls>
        <c:axId val="913697760"/>
        <c:axId val="1"/>
      </c:scatterChart>
      <c:valAx>
        <c:axId val="913697760"/>
        <c:scaling>
          <c:orientation val="minMax"/>
          <c:max val="18262"/>
          <c:min val="10957"/>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valAx>
      <c:valAx>
        <c:axId val="1"/>
        <c:scaling>
          <c:orientation val="minMax"/>
          <c:max val="3500000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913697760"/>
        <c:crosses val="min"/>
        <c:crossBetween val="midCat"/>
        <c:majorUnit val="50000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823745410036713E-2"/>
          <c:y val="1.6362492133417245E-2"/>
          <c:w val="0.85495716034271718"/>
          <c:h val="0.96727501573316554"/>
        </c:manualLayout>
      </c:layout>
      <c:barChart>
        <c:barDir val="bar"/>
        <c:grouping val="stacked"/>
        <c:varyColors val="0"/>
        <c:ser>
          <c:idx val="0"/>
          <c:order val="0"/>
          <c:spPr>
            <a:solidFill>
              <a:schemeClr val="accent1"/>
            </a:solidFill>
            <a:ln w="3175" algn="ctr">
              <a:solidFill>
                <a:schemeClr val="bg1"/>
              </a:solidFill>
              <a:prstDash val="solid"/>
            </a:ln>
          </c:spPr>
          <c:invertIfNegative val="0"/>
          <c:dLbls>
            <c:dLbl>
              <c:idx val="0"/>
              <c:layout>
                <c:manualLayout>
                  <c:x val="0.48470012239902083"/>
                  <c:y val="0"/>
                </c:manualLayout>
              </c:layout>
              <c:numFmt formatCode="#,##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7B9-4F5C-A36D-BE6931314517}"/>
                </c:ext>
              </c:extLst>
            </c:dLbl>
            <c:dLbl>
              <c:idx val="1"/>
              <c:layout>
                <c:manualLayout>
                  <c:x val="0.41003671970624234"/>
                  <c:y val="0"/>
                </c:manualLayout>
              </c:layout>
              <c:numFmt formatCode="#,##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7B9-4F5C-A36D-BE6931314517}"/>
                </c:ext>
              </c:extLst>
            </c:dLbl>
            <c:dLbl>
              <c:idx val="2"/>
              <c:layout>
                <c:manualLayout>
                  <c:x val="0.26193390452876375"/>
                  <c:y val="0"/>
                </c:manualLayout>
              </c:layout>
              <c:numFmt formatCode="#,##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7B9-4F5C-A36D-BE6931314517}"/>
                </c:ext>
              </c:extLst>
            </c:dLbl>
            <c:dLbl>
              <c:idx val="3"/>
              <c:layout>
                <c:manualLayout>
                  <c:x val="0.23255813953488372"/>
                  <c:y val="0"/>
                </c:manualLayout>
              </c:layout>
              <c:numFmt formatCode="#,##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7B9-4F5C-A36D-BE6931314517}"/>
                </c:ext>
              </c:extLst>
            </c:dLbl>
            <c:dLbl>
              <c:idx val="4"/>
              <c:layout>
                <c:manualLayout>
                  <c:x val="0.22460220318237453"/>
                  <c:y val="0"/>
                </c:manualLayout>
              </c:layout>
              <c:numFmt formatCode="#,##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7B9-4F5C-A36D-BE6931314517}"/>
                </c:ext>
              </c:extLst>
            </c:dLbl>
            <c:dLbl>
              <c:idx val="5"/>
              <c:layout>
                <c:manualLayout>
                  <c:x val="0.21358629130966952"/>
                  <c:y val="0"/>
                </c:manualLayout>
              </c:layout>
              <c:numFmt formatCode="#,##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7B9-4F5C-A36D-BE6931314517}"/>
                </c:ext>
              </c:extLst>
            </c:dLbl>
            <c:dLbl>
              <c:idx val="6"/>
              <c:layout>
                <c:manualLayout>
                  <c:x val="0.20134638922888617"/>
                  <c:y val="0"/>
                </c:manualLayout>
              </c:layout>
              <c:numFmt formatCode="#,##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7B9-4F5C-A36D-BE6931314517}"/>
                </c:ext>
              </c:extLst>
            </c:dLbl>
            <c:dLbl>
              <c:idx val="7"/>
              <c:layout>
                <c:manualLayout>
                  <c:x val="0.15177478580171358"/>
                  <c:y val="0"/>
                </c:manualLayout>
              </c:layout>
              <c:numFmt formatCode="#,##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7B9-4F5C-A36D-BE6931314517}"/>
                </c:ext>
              </c:extLst>
            </c:dLbl>
            <c:dLbl>
              <c:idx val="8"/>
              <c:layout>
                <c:manualLayout>
                  <c:x val="0.11872705018359853"/>
                  <c:y val="0"/>
                </c:manualLayout>
              </c:layout>
              <c:numFmt formatCode="#,##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7B9-4F5C-A36D-BE6931314517}"/>
                </c:ext>
              </c:extLst>
            </c:dLbl>
            <c:dLbl>
              <c:idx val="9"/>
              <c:layout>
                <c:manualLayout>
                  <c:x val="0.11444308445532436"/>
                  <c:y val="0"/>
                </c:manualLayout>
              </c:layout>
              <c:numFmt formatCode="#,##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7B9-4F5C-A36D-BE69313145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44.53</c:v>
                </c:pt>
                <c:pt idx="1">
                  <c:v>36.729999999999997</c:v>
                </c:pt>
                <c:pt idx="2">
                  <c:v>21.26</c:v>
                </c:pt>
                <c:pt idx="3">
                  <c:v>18.239999999999998</c:v>
                </c:pt>
                <c:pt idx="4">
                  <c:v>17.41</c:v>
                </c:pt>
                <c:pt idx="5">
                  <c:v>16.260000000000002</c:v>
                </c:pt>
                <c:pt idx="6">
                  <c:v>14.94</c:v>
                </c:pt>
                <c:pt idx="7">
                  <c:v>9.77</c:v>
                </c:pt>
                <c:pt idx="8">
                  <c:v>8.36</c:v>
                </c:pt>
                <c:pt idx="9">
                  <c:v>7.87</c:v>
                </c:pt>
              </c:numCache>
            </c:numRef>
          </c:val>
          <c:extLst>
            <c:ext xmlns:c16="http://schemas.microsoft.com/office/drawing/2014/chart" uri="{C3380CC4-5D6E-409C-BE32-E72D297353CC}">
              <c16:uniqueId val="{0000000A-27B9-4F5C-A36D-BE6931314517}"/>
            </c:ext>
          </c:extLst>
        </c:ser>
        <c:dLbls>
          <c:showLegendKey val="0"/>
          <c:showVal val="0"/>
          <c:showCatName val="0"/>
          <c:showSerName val="0"/>
          <c:showPercent val="0"/>
          <c:showBubbleSize val="0"/>
        </c:dLbls>
        <c:gapWidth val="40"/>
        <c:overlap val="100"/>
        <c:axId val="1416391040"/>
        <c:axId val="1"/>
      </c:barChart>
      <c:catAx>
        <c:axId val="141639104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4.53"/>
          <c:min val="0"/>
        </c:scaling>
        <c:delete val="1"/>
        <c:axPos val="t"/>
        <c:numFmt formatCode="General" sourceLinked="1"/>
        <c:majorTickMark val="out"/>
        <c:minorTickMark val="none"/>
        <c:tickLblPos val="nextTo"/>
        <c:crossAx val="141639104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396984924623118E-2"/>
          <c:y val="1.7974421016246113E-2"/>
          <c:w val="0.72763819095477389"/>
          <c:h val="0.96405115796750773"/>
        </c:manualLayout>
      </c:layout>
      <c:barChart>
        <c:barDir val="bar"/>
        <c:grouping val="stacked"/>
        <c:varyColors val="0"/>
        <c:ser>
          <c:idx val="0"/>
          <c:order val="0"/>
          <c:spPr>
            <a:solidFill>
              <a:schemeClr val="accent1"/>
            </a:solidFill>
            <a:ln w="3175" algn="ctr">
              <a:solidFill>
                <a:schemeClr val="bg1"/>
              </a:solidFill>
              <a:prstDash val="solid"/>
            </a:ln>
          </c:spPr>
          <c:invertIfNegative val="0"/>
          <c:dLbls>
            <c:dLbl>
              <c:idx val="0"/>
              <c:layout>
                <c:manualLayout>
                  <c:x val="0.44723618090452261"/>
                  <c:y val="0"/>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870-4071-AB80-5C596BF56D13}"/>
                </c:ext>
              </c:extLst>
            </c:dLbl>
            <c:dLbl>
              <c:idx val="1"/>
              <c:layout>
                <c:manualLayout>
                  <c:x val="0.28241206030150756"/>
                  <c:y val="0"/>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870-4071-AB80-5C596BF56D13}"/>
                </c:ext>
              </c:extLst>
            </c:dLbl>
            <c:dLbl>
              <c:idx val="2"/>
              <c:layout>
                <c:manualLayout>
                  <c:x val="0.19798994974874373"/>
                  <c:y val="0"/>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870-4071-AB80-5C596BF56D13}"/>
                </c:ext>
              </c:extLst>
            </c:dLbl>
            <c:dLbl>
              <c:idx val="3"/>
              <c:layout>
                <c:manualLayout>
                  <c:x val="0.15577889447236182"/>
                  <c:y val="0"/>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870-4071-AB80-5C596BF56D13}"/>
                </c:ext>
              </c:extLst>
            </c:dLbl>
            <c:dLbl>
              <c:idx val="4"/>
              <c:layout>
                <c:manualLayout>
                  <c:x val="0.15075376884422109"/>
                  <c:y val="0"/>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870-4071-AB80-5C596BF56D13}"/>
                </c:ext>
              </c:extLst>
            </c:dLbl>
            <c:dLbl>
              <c:idx val="5"/>
              <c:layout>
                <c:manualLayout>
                  <c:x val="0.11557788944723618"/>
                  <c:y val="0"/>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870-4071-AB80-5C596BF56D13}"/>
                </c:ext>
              </c:extLst>
            </c:dLbl>
            <c:dLbl>
              <c:idx val="6"/>
              <c:layout>
                <c:manualLayout>
                  <c:x val="0.11557788944723618"/>
                  <c:y val="0"/>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870-4071-AB80-5C596BF56D13}"/>
                </c:ext>
              </c:extLst>
            </c:dLbl>
            <c:dLbl>
              <c:idx val="7"/>
              <c:layout>
                <c:manualLayout>
                  <c:x val="0.11457286432160804"/>
                  <c:y val="0"/>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870-4071-AB80-5C596BF56D13}"/>
                </c:ext>
              </c:extLst>
            </c:dLbl>
            <c:dLbl>
              <c:idx val="8"/>
              <c:layout>
                <c:manualLayout>
                  <c:x val="0.11256281407035176"/>
                  <c:y val="0"/>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870-4071-AB80-5C596BF56D13}"/>
                </c:ext>
              </c:extLst>
            </c:dLbl>
            <c:dLbl>
              <c:idx val="9"/>
              <c:layout>
                <c:manualLayout>
                  <c:x val="0.10251256281407035"/>
                  <c:y val="0"/>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870-4071-AB80-5C596BF56D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54.18</c:v>
                </c:pt>
                <c:pt idx="1">
                  <c:v>29.67</c:v>
                </c:pt>
                <c:pt idx="2">
                  <c:v>16.95</c:v>
                </c:pt>
                <c:pt idx="3">
                  <c:v>11.45</c:v>
                </c:pt>
                <c:pt idx="4">
                  <c:v>10.72</c:v>
                </c:pt>
                <c:pt idx="5">
                  <c:v>8.82</c:v>
                </c:pt>
                <c:pt idx="6">
                  <c:v>8.75</c:v>
                </c:pt>
                <c:pt idx="7">
                  <c:v>8.58</c:v>
                </c:pt>
                <c:pt idx="8">
                  <c:v>8.27</c:v>
                </c:pt>
                <c:pt idx="9">
                  <c:v>6.97</c:v>
                </c:pt>
              </c:numCache>
            </c:numRef>
          </c:val>
          <c:extLst>
            <c:ext xmlns:c16="http://schemas.microsoft.com/office/drawing/2014/chart" uri="{C3380CC4-5D6E-409C-BE32-E72D297353CC}">
              <c16:uniqueId val="{0000000A-4870-4071-AB80-5C596BF56D13}"/>
            </c:ext>
          </c:extLst>
        </c:ser>
        <c:dLbls>
          <c:showLegendKey val="0"/>
          <c:showVal val="0"/>
          <c:showCatName val="0"/>
          <c:showSerName val="0"/>
          <c:showPercent val="0"/>
          <c:showBubbleSize val="0"/>
        </c:dLbls>
        <c:gapWidth val="40"/>
        <c:overlap val="100"/>
        <c:axId val="1254896624"/>
        <c:axId val="1"/>
      </c:barChart>
      <c:catAx>
        <c:axId val="125489662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4.18"/>
          <c:min val="0"/>
        </c:scaling>
        <c:delete val="1"/>
        <c:axPos val="t"/>
        <c:numFmt formatCode="General" sourceLinked="1"/>
        <c:majorTickMark val="out"/>
        <c:minorTickMark val="none"/>
        <c:tickLblPos val="nextTo"/>
        <c:crossAx val="125489662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65638148667601E-2"/>
          <c:y val="0.12424242424242424"/>
          <c:w val="0.9270687237026648"/>
          <c:h val="0.83636363636363631"/>
        </c:manualLayout>
      </c:layout>
      <c:barChart>
        <c:barDir val="col"/>
        <c:grouping val="clustered"/>
        <c:varyColors val="0"/>
        <c:ser>
          <c:idx val="0"/>
          <c:order val="0"/>
          <c:spPr>
            <a:solidFill>
              <a:schemeClr val="accent1"/>
            </a:solidFill>
            <a:ln w="9525" algn="ctr">
              <a:solidFill>
                <a:schemeClr val="bg1"/>
              </a:solidFill>
              <a:prstDash val="solid"/>
            </a:ln>
          </c:spPr>
          <c:invertIfNegative val="0"/>
          <c:dLbls>
            <c:dLbl>
              <c:idx val="0"/>
              <c:layout>
                <c:manualLayout>
                  <c:x val="0"/>
                  <c:y val="-0.20681818181818182"/>
                </c:manualLayout>
              </c:layout>
              <c:numFmt formatCode="#,##0;&quot;-&quot;#,##0;0" sourceLinked="0"/>
              <c:spPr>
                <a:noFill/>
                <a:ln>
                  <a:noFill/>
                </a:ln>
              </c:spPr>
              <c:txPr>
                <a:bodyPr wrap="none"/>
                <a:lstStyle/>
                <a:p>
                  <a:pPr>
                    <a:defRPr sz="14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5BB-462A-A0E0-633C342C25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61.959000000000003</c:v>
                </c:pt>
              </c:numCache>
            </c:numRef>
          </c:val>
          <c:extLst>
            <c:ext xmlns:c16="http://schemas.microsoft.com/office/drawing/2014/chart" uri="{C3380CC4-5D6E-409C-BE32-E72D297353CC}">
              <c16:uniqueId val="{00000001-65BB-462A-A0E0-633C342C254A}"/>
            </c:ext>
          </c:extLst>
        </c:ser>
        <c:ser>
          <c:idx val="1"/>
          <c:order val="1"/>
          <c:spPr>
            <a:solidFill>
              <a:schemeClr val="accent2"/>
            </a:solidFill>
            <a:ln w="9525" algn="ctr">
              <a:solidFill>
                <a:schemeClr val="bg1"/>
              </a:solidFill>
              <a:prstDash val="solid"/>
            </a:ln>
          </c:spPr>
          <c:invertIfNegative val="0"/>
          <c:dLbls>
            <c:dLbl>
              <c:idx val="0"/>
              <c:layout>
                <c:manualLayout>
                  <c:x val="0"/>
                  <c:y val="-0.48106060606060608"/>
                </c:manualLayout>
              </c:layout>
              <c:numFmt formatCode="#,##0;&quot;-&quot;#,##0;0" sourceLinked="0"/>
              <c:spPr>
                <a:noFill/>
                <a:ln>
                  <a:noFill/>
                </a:ln>
              </c:spPr>
              <c:txPr>
                <a:bodyPr wrap="none"/>
                <a:lstStyle/>
                <a:p>
                  <a:pPr>
                    <a:defRPr sz="14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5BB-462A-A0E0-633C342C25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79.827</c:v>
                </c:pt>
              </c:numCache>
            </c:numRef>
          </c:val>
          <c:extLst>
            <c:ext xmlns:c16="http://schemas.microsoft.com/office/drawing/2014/chart" uri="{C3380CC4-5D6E-409C-BE32-E72D297353CC}">
              <c16:uniqueId val="{00000003-65BB-462A-A0E0-633C342C254A}"/>
            </c:ext>
          </c:extLst>
        </c:ser>
        <c:dLbls>
          <c:showLegendKey val="0"/>
          <c:showVal val="0"/>
          <c:showCatName val="0"/>
          <c:showSerName val="0"/>
          <c:showPercent val="0"/>
          <c:showBubbleSize val="0"/>
        </c:dLbls>
        <c:gapWidth val="40"/>
        <c:axId val="191686031"/>
        <c:axId val="1"/>
      </c:barChart>
      <c:catAx>
        <c:axId val="19168603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79.827"/>
          <c:min val="0"/>
        </c:scaling>
        <c:delete val="1"/>
        <c:axPos val="l"/>
        <c:numFmt formatCode="General" sourceLinked="1"/>
        <c:majorTickMark val="out"/>
        <c:minorTickMark val="none"/>
        <c:tickLblPos val="nextTo"/>
        <c:crossAx val="191686031"/>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51093971352113E-3"/>
          <c:y val="2.0038535645472061E-2"/>
          <c:w val="0.98362978120572953"/>
          <c:h val="0.95992292870905582"/>
        </c:manualLayout>
      </c:layout>
      <c:lineChart>
        <c:grouping val="standard"/>
        <c:varyColors val="0"/>
        <c:ser>
          <c:idx val="0"/>
          <c:order val="0"/>
          <c:spPr>
            <a:ln w="25400" cap="flat" algn="ctr">
              <a:solidFill>
                <a:schemeClr val="tx1"/>
              </a:solidFill>
              <a:prstDash val="solid"/>
            </a:ln>
          </c:spPr>
          <c:marker>
            <c:symbol val="none"/>
          </c:marker>
          <c:val>
            <c:numRef>
              <c:f>Sheet1!$A$1:$EQ$1</c:f>
              <c:numCache>
                <c:formatCode>General</c:formatCode>
                <c:ptCount val="147"/>
                <c:pt idx="0">
                  <c:v>1992</c:v>
                </c:pt>
                <c:pt idx="1">
                  <c:v>1958</c:v>
                </c:pt>
                <c:pt idx="2">
                  <c:v>1940</c:v>
                </c:pt>
                <c:pt idx="3">
                  <c:v>1920</c:v>
                </c:pt>
                <c:pt idx="4">
                  <c:v>1920</c:v>
                </c:pt>
                <c:pt idx="5">
                  <c:v>1812</c:v>
                </c:pt>
                <c:pt idx="6">
                  <c:v>1662</c:v>
                </c:pt>
                <c:pt idx="7">
                  <c:v>1592</c:v>
                </c:pt>
                <c:pt idx="8">
                  <c:v>1508</c:v>
                </c:pt>
                <c:pt idx="9">
                  <c:v>1428</c:v>
                </c:pt>
                <c:pt idx="10">
                  <c:v>1368</c:v>
                </c:pt>
                <c:pt idx="11">
                  <c:v>1302</c:v>
                </c:pt>
                <c:pt idx="12">
                  <c:v>1316</c:v>
                </c:pt>
                <c:pt idx="13">
                  <c:v>1280</c:v>
                </c:pt>
                <c:pt idx="14">
                  <c:v>1276</c:v>
                </c:pt>
                <c:pt idx="15">
                  <c:v>1434</c:v>
                </c:pt>
                <c:pt idx="16">
                  <c:v>1536</c:v>
                </c:pt>
                <c:pt idx="17">
                  <c:v>1446</c:v>
                </c:pt>
                <c:pt idx="18">
                  <c:v>1486</c:v>
                </c:pt>
                <c:pt idx="19">
                  <c:v>1560</c:v>
                </c:pt>
                <c:pt idx="20">
                  <c:v>1558</c:v>
                </c:pt>
                <c:pt idx="21">
                  <c:v>1490</c:v>
                </c:pt>
                <c:pt idx="22">
                  <c:v>1432</c:v>
                </c:pt>
                <c:pt idx="23">
                  <c:v>1402</c:v>
                </c:pt>
                <c:pt idx="24">
                  <c:v>1376</c:v>
                </c:pt>
                <c:pt idx="25">
                  <c:v>1352</c:v>
                </c:pt>
                <c:pt idx="26">
                  <c:v>1344</c:v>
                </c:pt>
                <c:pt idx="27">
                  <c:v>1508</c:v>
                </c:pt>
                <c:pt idx="28">
                  <c:v>1612</c:v>
                </c:pt>
                <c:pt idx="29">
                  <c:v>1620</c:v>
                </c:pt>
                <c:pt idx="30">
                  <c:v>1624</c:v>
                </c:pt>
                <c:pt idx="31">
                  <c:v>1586</c:v>
                </c:pt>
                <c:pt idx="32">
                  <c:v>1514</c:v>
                </c:pt>
                <c:pt idx="33">
                  <c:v>1420</c:v>
                </c:pt>
                <c:pt idx="34">
                  <c:v>1348</c:v>
                </c:pt>
                <c:pt idx="35">
                  <c:v>1278</c:v>
                </c:pt>
                <c:pt idx="36">
                  <c:v>1186</c:v>
                </c:pt>
                <c:pt idx="37">
                  <c:v>1162</c:v>
                </c:pt>
                <c:pt idx="38">
                  <c:v>1160</c:v>
                </c:pt>
                <c:pt idx="39">
                  <c:v>1188</c:v>
                </c:pt>
                <c:pt idx="40">
                  <c:v>1414</c:v>
                </c:pt>
                <c:pt idx="41">
                  <c:v>1458</c:v>
                </c:pt>
                <c:pt idx="42">
                  <c:v>1416</c:v>
                </c:pt>
                <c:pt idx="43">
                  <c:v>1404</c:v>
                </c:pt>
                <c:pt idx="44">
                  <c:v>1532</c:v>
                </c:pt>
                <c:pt idx="45">
                  <c:v>1600</c:v>
                </c:pt>
                <c:pt idx="46">
                  <c:v>1786</c:v>
                </c:pt>
                <c:pt idx="47">
                  <c:v>1888</c:v>
                </c:pt>
                <c:pt idx="48">
                  <c:v>2054</c:v>
                </c:pt>
                <c:pt idx="49">
                  <c:v>2248</c:v>
                </c:pt>
                <c:pt idx="50">
                  <c:v>2116</c:v>
                </c:pt>
                <c:pt idx="51">
                  <c:v>2020</c:v>
                </c:pt>
                <c:pt idx="52">
                  <c:v>1938</c:v>
                </c:pt>
                <c:pt idx="53">
                  <c:v>1700</c:v>
                </c:pt>
                <c:pt idx="54">
                  <c:v>1668</c:v>
                </c:pt>
                <c:pt idx="55">
                  <c:v>1608</c:v>
                </c:pt>
                <c:pt idx="56">
                  <c:v>1660</c:v>
                </c:pt>
                <c:pt idx="57">
                  <c:v>1654</c:v>
                </c:pt>
                <c:pt idx="58">
                  <c:v>1594</c:v>
                </c:pt>
                <c:pt idx="59">
                  <c:v>1528</c:v>
                </c:pt>
                <c:pt idx="60">
                  <c:v>1500</c:v>
                </c:pt>
                <c:pt idx="61">
                  <c:v>1468</c:v>
                </c:pt>
                <c:pt idx="62">
                  <c:v>1450</c:v>
                </c:pt>
                <c:pt idx="63">
                  <c:v>1506</c:v>
                </c:pt>
                <c:pt idx="64">
                  <c:v>1478</c:v>
                </c:pt>
                <c:pt idx="65">
                  <c:v>1488</c:v>
                </c:pt>
                <c:pt idx="66">
                  <c:v>1662</c:v>
                </c:pt>
                <c:pt idx="67">
                  <c:v>1654</c:v>
                </c:pt>
                <c:pt idx="68">
                  <c:v>1726</c:v>
                </c:pt>
                <c:pt idx="69">
                  <c:v>1760</c:v>
                </c:pt>
                <c:pt idx="70">
                  <c:v>1750</c:v>
                </c:pt>
                <c:pt idx="71">
                  <c:v>1772</c:v>
                </c:pt>
                <c:pt idx="72">
                  <c:v>1780</c:v>
                </c:pt>
                <c:pt idx="73">
                  <c:v>1814</c:v>
                </c:pt>
                <c:pt idx="74">
                  <c:v>1840</c:v>
                </c:pt>
                <c:pt idx="75">
                  <c:v>1814</c:v>
                </c:pt>
                <c:pt idx="76">
                  <c:v>1792</c:v>
                </c:pt>
                <c:pt idx="77">
                  <c:v>1802</c:v>
                </c:pt>
                <c:pt idx="78">
                  <c:v>1820</c:v>
                </c:pt>
                <c:pt idx="79">
                  <c:v>1832</c:v>
                </c:pt>
                <c:pt idx="80">
                  <c:v>1874</c:v>
                </c:pt>
                <c:pt idx="81">
                  <c:v>2058</c:v>
                </c:pt>
                <c:pt idx="82">
                  <c:v>2084</c:v>
                </c:pt>
                <c:pt idx="83">
                  <c:v>2108</c:v>
                </c:pt>
                <c:pt idx="84">
                  <c:v>2164</c:v>
                </c:pt>
                <c:pt idx="85">
                  <c:v>2158</c:v>
                </c:pt>
                <c:pt idx="86">
                  <c:v>2336</c:v>
                </c:pt>
                <c:pt idx="87">
                  <c:v>2298</c:v>
                </c:pt>
                <c:pt idx="88">
                  <c:v>2168</c:v>
                </c:pt>
                <c:pt idx="89">
                  <c:v>2200</c:v>
                </c:pt>
                <c:pt idx="90">
                  <c:v>2280</c:v>
                </c:pt>
                <c:pt idx="91">
                  <c:v>2492</c:v>
                </c:pt>
                <c:pt idx="92">
                  <c:v>3016</c:v>
                </c:pt>
                <c:pt idx="93">
                  <c:v>3288</c:v>
                </c:pt>
                <c:pt idx="94">
                  <c:v>4182</c:v>
                </c:pt>
                <c:pt idx="95">
                  <c:v>4748</c:v>
                </c:pt>
                <c:pt idx="96">
                  <c:v>5896</c:v>
                </c:pt>
                <c:pt idx="97">
                  <c:v>6248</c:v>
                </c:pt>
                <c:pt idx="98">
                  <c:v>7594</c:v>
                </c:pt>
                <c:pt idx="99">
                  <c:v>8182</c:v>
                </c:pt>
                <c:pt idx="100">
                  <c:v>8904</c:v>
                </c:pt>
                <c:pt idx="101">
                  <c:v>8826</c:v>
                </c:pt>
                <c:pt idx="102">
                  <c:v>8788</c:v>
                </c:pt>
                <c:pt idx="103">
                  <c:v>8552</c:v>
                </c:pt>
                <c:pt idx="104">
                  <c:v>8648</c:v>
                </c:pt>
                <c:pt idx="105">
                  <c:v>8218</c:v>
                </c:pt>
                <c:pt idx="106">
                  <c:v>8562</c:v>
                </c:pt>
                <c:pt idx="107">
                  <c:v>8094</c:v>
                </c:pt>
                <c:pt idx="108">
                  <c:v>7932</c:v>
                </c:pt>
                <c:pt idx="109">
                  <c:v>7424</c:v>
                </c:pt>
                <c:pt idx="110">
                  <c:v>7330</c:v>
                </c:pt>
                <c:pt idx="111">
                  <c:v>7484</c:v>
                </c:pt>
                <c:pt idx="112">
                  <c:v>7302</c:v>
                </c:pt>
                <c:pt idx="113">
                  <c:v>7928</c:v>
                </c:pt>
                <c:pt idx="114">
                  <c:v>8374</c:v>
                </c:pt>
                <c:pt idx="115">
                  <c:v>8650</c:v>
                </c:pt>
                <c:pt idx="116">
                  <c:v>9260</c:v>
                </c:pt>
                <c:pt idx="117">
                  <c:v>9356</c:v>
                </c:pt>
                <c:pt idx="118">
                  <c:v>10876</c:v>
                </c:pt>
                <c:pt idx="119">
                  <c:v>11158</c:v>
                </c:pt>
                <c:pt idx="120">
                  <c:v>11632</c:v>
                </c:pt>
                <c:pt idx="121">
                  <c:v>11774</c:v>
                </c:pt>
                <c:pt idx="122">
                  <c:v>12710</c:v>
                </c:pt>
                <c:pt idx="123">
                  <c:v>12702</c:v>
                </c:pt>
                <c:pt idx="124">
                  <c:v>12958</c:v>
                </c:pt>
                <c:pt idx="125">
                  <c:v>13572</c:v>
                </c:pt>
                <c:pt idx="126">
                  <c:v>13482</c:v>
                </c:pt>
                <c:pt idx="127">
                  <c:v>14046</c:v>
                </c:pt>
                <c:pt idx="128">
                  <c:v>14254</c:v>
                </c:pt>
                <c:pt idx="129">
                  <c:v>14790</c:v>
                </c:pt>
                <c:pt idx="130">
                  <c:v>14836</c:v>
                </c:pt>
                <c:pt idx="131">
                  <c:v>14814</c:v>
                </c:pt>
                <c:pt idx="132">
                  <c:v>14796</c:v>
                </c:pt>
                <c:pt idx="133">
                  <c:v>14730</c:v>
                </c:pt>
                <c:pt idx="134">
                  <c:v>14886</c:v>
                </c:pt>
                <c:pt idx="135">
                  <c:v>14982</c:v>
                </c:pt>
                <c:pt idx="136">
                  <c:v>15048</c:v>
                </c:pt>
                <c:pt idx="137">
                  <c:v>15102</c:v>
                </c:pt>
                <c:pt idx="138">
                  <c:v>15076</c:v>
                </c:pt>
                <c:pt idx="139">
                  <c:v>15428</c:v>
                </c:pt>
                <c:pt idx="140">
                  <c:v>15374</c:v>
                </c:pt>
                <c:pt idx="141">
                  <c:v>15332</c:v>
                </c:pt>
                <c:pt idx="142">
                  <c:v>15386</c:v>
                </c:pt>
                <c:pt idx="143">
                  <c:v>15274</c:v>
                </c:pt>
                <c:pt idx="144">
                  <c:v>15120</c:v>
                </c:pt>
                <c:pt idx="145">
                  <c:v>15104</c:v>
                </c:pt>
                <c:pt idx="146">
                  <c:v>15098</c:v>
                </c:pt>
              </c:numCache>
            </c:numRef>
          </c:val>
          <c:smooth val="1"/>
          <c:extLst>
            <c:ext xmlns:c16="http://schemas.microsoft.com/office/drawing/2014/chart" uri="{C3380CC4-5D6E-409C-BE32-E72D297353CC}">
              <c16:uniqueId val="{00000000-0378-494C-B75E-DA8EDFACA092}"/>
            </c:ext>
          </c:extLst>
        </c:ser>
        <c:ser>
          <c:idx val="1"/>
          <c:order val="1"/>
          <c:spPr>
            <a:ln w="25400" cap="flat" algn="ctr">
              <a:solidFill>
                <a:schemeClr val="accent2"/>
              </a:solidFill>
              <a:prstDash val="solid"/>
            </a:ln>
          </c:spPr>
          <c:marker>
            <c:symbol val="none"/>
          </c:marker>
          <c:val>
            <c:numRef>
              <c:f>Sheet1!$A$2:$EQ$2</c:f>
              <c:numCache>
                <c:formatCode>General</c:formatCode>
                <c:ptCount val="147"/>
                <c:pt idx="0">
                  <c:v>1933</c:v>
                </c:pt>
                <c:pt idx="1">
                  <c:v>1895</c:v>
                </c:pt>
                <c:pt idx="2">
                  <c:v>2114</c:v>
                </c:pt>
                <c:pt idx="3">
                  <c:v>2039</c:v>
                </c:pt>
                <c:pt idx="4">
                  <c:v>1993</c:v>
                </c:pt>
                <c:pt idx="5">
                  <c:v>1834</c:v>
                </c:pt>
                <c:pt idx="6">
                  <c:v>1720</c:v>
                </c:pt>
                <c:pt idx="7">
                  <c:v>1549</c:v>
                </c:pt>
                <c:pt idx="8">
                  <c:v>1431</c:v>
                </c:pt>
                <c:pt idx="9">
                  <c:v>1345</c:v>
                </c:pt>
                <c:pt idx="10">
                  <c:v>1329</c:v>
                </c:pt>
                <c:pt idx="11">
                  <c:v>1626</c:v>
                </c:pt>
                <c:pt idx="12">
                  <c:v>1623</c:v>
                </c:pt>
                <c:pt idx="13">
                  <c:v>1606</c:v>
                </c:pt>
                <c:pt idx="14">
                  <c:v>1538</c:v>
                </c:pt>
                <c:pt idx="15">
                  <c:v>1569</c:v>
                </c:pt>
                <c:pt idx="16">
                  <c:v>1442</c:v>
                </c:pt>
                <c:pt idx="17">
                  <c:v>1340</c:v>
                </c:pt>
                <c:pt idx="18">
                  <c:v>1294</c:v>
                </c:pt>
                <c:pt idx="19">
                  <c:v>1471</c:v>
                </c:pt>
                <c:pt idx="20">
                  <c:v>1439</c:v>
                </c:pt>
                <c:pt idx="21">
                  <c:v>1416</c:v>
                </c:pt>
                <c:pt idx="22">
                  <c:v>1382</c:v>
                </c:pt>
                <c:pt idx="23">
                  <c:v>1720</c:v>
                </c:pt>
                <c:pt idx="24">
                  <c:v>1649</c:v>
                </c:pt>
                <c:pt idx="25">
                  <c:v>1659</c:v>
                </c:pt>
                <c:pt idx="26">
                  <c:v>1539</c:v>
                </c:pt>
                <c:pt idx="27">
                  <c:v>1433</c:v>
                </c:pt>
                <c:pt idx="28">
                  <c:v>1589</c:v>
                </c:pt>
                <c:pt idx="29">
                  <c:v>1474</c:v>
                </c:pt>
                <c:pt idx="30">
                  <c:v>1368</c:v>
                </c:pt>
                <c:pt idx="31">
                  <c:v>1286</c:v>
                </c:pt>
                <c:pt idx="32">
                  <c:v>1615</c:v>
                </c:pt>
                <c:pt idx="33">
                  <c:v>1566</c:v>
                </c:pt>
                <c:pt idx="34">
                  <c:v>1447</c:v>
                </c:pt>
                <c:pt idx="35">
                  <c:v>1338</c:v>
                </c:pt>
                <c:pt idx="36">
                  <c:v>1328</c:v>
                </c:pt>
                <c:pt idx="37">
                  <c:v>1313</c:v>
                </c:pt>
                <c:pt idx="38">
                  <c:v>1368</c:v>
                </c:pt>
                <c:pt idx="39">
                  <c:v>1361</c:v>
                </c:pt>
                <c:pt idx="40">
                  <c:v>1588</c:v>
                </c:pt>
                <c:pt idx="41">
                  <c:v>1532</c:v>
                </c:pt>
                <c:pt idx="42">
                  <c:v>1351</c:v>
                </c:pt>
                <c:pt idx="43">
                  <c:v>1229</c:v>
                </c:pt>
                <c:pt idx="44">
                  <c:v>1405</c:v>
                </c:pt>
                <c:pt idx="45">
                  <c:v>1509</c:v>
                </c:pt>
                <c:pt idx="46">
                  <c:v>1370</c:v>
                </c:pt>
                <c:pt idx="47">
                  <c:v>1342</c:v>
                </c:pt>
                <c:pt idx="48">
                  <c:v>1434</c:v>
                </c:pt>
                <c:pt idx="49">
                  <c:v>1636</c:v>
                </c:pt>
                <c:pt idx="50">
                  <c:v>1543</c:v>
                </c:pt>
                <c:pt idx="51">
                  <c:v>1562</c:v>
                </c:pt>
                <c:pt idx="52">
                  <c:v>1545</c:v>
                </c:pt>
                <c:pt idx="53">
                  <c:v>1423</c:v>
                </c:pt>
                <c:pt idx="54">
                  <c:v>1367</c:v>
                </c:pt>
                <c:pt idx="55">
                  <c:v>1394</c:v>
                </c:pt>
                <c:pt idx="56">
                  <c:v>1361</c:v>
                </c:pt>
                <c:pt idx="57">
                  <c:v>1610</c:v>
                </c:pt>
                <c:pt idx="58">
                  <c:v>1549</c:v>
                </c:pt>
                <c:pt idx="59">
                  <c:v>1515</c:v>
                </c:pt>
                <c:pt idx="60">
                  <c:v>1662</c:v>
                </c:pt>
                <c:pt idx="61">
                  <c:v>1630</c:v>
                </c:pt>
                <c:pt idx="62">
                  <c:v>1528</c:v>
                </c:pt>
                <c:pt idx="63">
                  <c:v>1495</c:v>
                </c:pt>
                <c:pt idx="64">
                  <c:v>1724</c:v>
                </c:pt>
                <c:pt idx="65">
                  <c:v>1730</c:v>
                </c:pt>
                <c:pt idx="66">
                  <c:v>1686</c:v>
                </c:pt>
                <c:pt idx="67">
                  <c:v>1678</c:v>
                </c:pt>
                <c:pt idx="68">
                  <c:v>2097</c:v>
                </c:pt>
                <c:pt idx="69">
                  <c:v>2132</c:v>
                </c:pt>
                <c:pt idx="70">
                  <c:v>2755</c:v>
                </c:pt>
                <c:pt idx="71">
                  <c:v>2669</c:v>
                </c:pt>
                <c:pt idx="72">
                  <c:v>2692</c:v>
                </c:pt>
                <c:pt idx="73">
                  <c:v>2920</c:v>
                </c:pt>
                <c:pt idx="74">
                  <c:v>2783</c:v>
                </c:pt>
                <c:pt idx="75">
                  <c:v>2794</c:v>
                </c:pt>
                <c:pt idx="76">
                  <c:v>2704</c:v>
                </c:pt>
                <c:pt idx="77">
                  <c:v>3167</c:v>
                </c:pt>
                <c:pt idx="78">
                  <c:v>3144</c:v>
                </c:pt>
                <c:pt idx="79">
                  <c:v>3406</c:v>
                </c:pt>
                <c:pt idx="80">
                  <c:v>3440</c:v>
                </c:pt>
                <c:pt idx="81">
                  <c:v>3639</c:v>
                </c:pt>
                <c:pt idx="82">
                  <c:v>3758</c:v>
                </c:pt>
                <c:pt idx="83">
                  <c:v>3813</c:v>
                </c:pt>
                <c:pt idx="84">
                  <c:v>3867</c:v>
                </c:pt>
                <c:pt idx="85">
                  <c:v>3856</c:v>
                </c:pt>
                <c:pt idx="86">
                  <c:v>3863</c:v>
                </c:pt>
                <c:pt idx="87">
                  <c:v>3848</c:v>
                </c:pt>
                <c:pt idx="88">
                  <c:v>3841</c:v>
                </c:pt>
                <c:pt idx="89">
                  <c:v>3865</c:v>
                </c:pt>
                <c:pt idx="90">
                  <c:v>3849</c:v>
                </c:pt>
                <c:pt idx="91">
                  <c:v>3871</c:v>
                </c:pt>
                <c:pt idx="92">
                  <c:v>3887</c:v>
                </c:pt>
                <c:pt idx="93">
                  <c:v>3913</c:v>
                </c:pt>
                <c:pt idx="94">
                  <c:v>3880</c:v>
                </c:pt>
                <c:pt idx="95">
                  <c:v>3947</c:v>
                </c:pt>
                <c:pt idx="96">
                  <c:v>3948</c:v>
                </c:pt>
                <c:pt idx="97">
                  <c:v>3900</c:v>
                </c:pt>
                <c:pt idx="98">
                  <c:v>4080</c:v>
                </c:pt>
                <c:pt idx="99">
                  <c:v>4018</c:v>
                </c:pt>
                <c:pt idx="100">
                  <c:v>4019</c:v>
                </c:pt>
                <c:pt idx="101">
                  <c:v>4054</c:v>
                </c:pt>
                <c:pt idx="102">
                  <c:v>3995</c:v>
                </c:pt>
                <c:pt idx="103">
                  <c:v>4088</c:v>
                </c:pt>
                <c:pt idx="104">
                  <c:v>4076</c:v>
                </c:pt>
                <c:pt idx="105">
                  <c:v>3969</c:v>
                </c:pt>
                <c:pt idx="106">
                  <c:v>4106</c:v>
                </c:pt>
                <c:pt idx="107">
                  <c:v>3968</c:v>
                </c:pt>
                <c:pt idx="108">
                  <c:v>4008</c:v>
                </c:pt>
                <c:pt idx="109">
                  <c:v>3999</c:v>
                </c:pt>
                <c:pt idx="110">
                  <c:v>3984</c:v>
                </c:pt>
                <c:pt idx="111">
                  <c:v>3971</c:v>
                </c:pt>
                <c:pt idx="112">
                  <c:v>4056</c:v>
                </c:pt>
                <c:pt idx="113">
                  <c:v>3931</c:v>
                </c:pt>
                <c:pt idx="114">
                  <c:v>4432</c:v>
                </c:pt>
                <c:pt idx="115">
                  <c:v>4967</c:v>
                </c:pt>
                <c:pt idx="116">
                  <c:v>5023</c:v>
                </c:pt>
                <c:pt idx="117">
                  <c:v>4608</c:v>
                </c:pt>
                <c:pt idx="118">
                  <c:v>4839</c:v>
                </c:pt>
                <c:pt idx="119">
                  <c:v>4843</c:v>
                </c:pt>
                <c:pt idx="120">
                  <c:v>4416</c:v>
                </c:pt>
                <c:pt idx="121">
                  <c:v>4826</c:v>
                </c:pt>
                <c:pt idx="122">
                  <c:v>4658</c:v>
                </c:pt>
                <c:pt idx="123">
                  <c:v>4716</c:v>
                </c:pt>
                <c:pt idx="124">
                  <c:v>4716</c:v>
                </c:pt>
                <c:pt idx="125">
                  <c:v>4944</c:v>
                </c:pt>
                <c:pt idx="126">
                  <c:v>5024</c:v>
                </c:pt>
                <c:pt idx="127">
                  <c:v>5334</c:v>
                </c:pt>
                <c:pt idx="128">
                  <c:v>5388</c:v>
                </c:pt>
                <c:pt idx="129">
                  <c:v>5518</c:v>
                </c:pt>
                <c:pt idx="130">
                  <c:v>5555</c:v>
                </c:pt>
                <c:pt idx="131">
                  <c:v>5744</c:v>
                </c:pt>
                <c:pt idx="132">
                  <c:v>5927</c:v>
                </c:pt>
                <c:pt idx="133">
                  <c:v>5949</c:v>
                </c:pt>
                <c:pt idx="134">
                  <c:v>6266</c:v>
                </c:pt>
                <c:pt idx="135">
                  <c:v>6322</c:v>
                </c:pt>
                <c:pt idx="136">
                  <c:v>6322</c:v>
                </c:pt>
                <c:pt idx="137">
                  <c:v>6322</c:v>
                </c:pt>
                <c:pt idx="138">
                  <c:v>6322</c:v>
                </c:pt>
                <c:pt idx="139">
                  <c:v>6371</c:v>
                </c:pt>
                <c:pt idx="140">
                  <c:v>6219</c:v>
                </c:pt>
                <c:pt idx="141">
                  <c:v>6343</c:v>
                </c:pt>
                <c:pt idx="142">
                  <c:v>6414</c:v>
                </c:pt>
                <c:pt idx="143">
                  <c:v>6461</c:v>
                </c:pt>
                <c:pt idx="144">
                  <c:v>6730</c:v>
                </c:pt>
                <c:pt idx="145">
                  <c:v>6730</c:v>
                </c:pt>
                <c:pt idx="146">
                  <c:v>6730</c:v>
                </c:pt>
              </c:numCache>
            </c:numRef>
          </c:val>
          <c:smooth val="0"/>
          <c:extLst>
            <c:ext xmlns:c16="http://schemas.microsoft.com/office/drawing/2014/chart" uri="{C3380CC4-5D6E-409C-BE32-E72D297353CC}">
              <c16:uniqueId val="{00000001-0378-494C-B75E-DA8EDFACA092}"/>
            </c:ext>
          </c:extLst>
        </c:ser>
        <c:ser>
          <c:idx val="2"/>
          <c:order val="2"/>
          <c:spPr>
            <a:ln w="25400" cap="flat" algn="ctr">
              <a:solidFill>
                <a:schemeClr val="accent3"/>
              </a:solidFill>
              <a:prstDash val="solid"/>
            </a:ln>
          </c:spPr>
          <c:marker>
            <c:symbol val="none"/>
          </c:marker>
          <c:val>
            <c:numRef>
              <c:f>Sheet1!$A$3:$EQ$3</c:f>
              <c:numCache>
                <c:formatCode>General</c:formatCode>
                <c:ptCount val="147"/>
                <c:pt idx="0">
                  <c:v>3119</c:v>
                </c:pt>
                <c:pt idx="1">
                  <c:v>3040</c:v>
                </c:pt>
                <c:pt idx="2">
                  <c:v>3187</c:v>
                </c:pt>
                <c:pt idx="3">
                  <c:v>3137</c:v>
                </c:pt>
                <c:pt idx="4">
                  <c:v>3054</c:v>
                </c:pt>
                <c:pt idx="5">
                  <c:v>2968</c:v>
                </c:pt>
                <c:pt idx="6">
                  <c:v>2837</c:v>
                </c:pt>
                <c:pt idx="7">
                  <c:v>2640</c:v>
                </c:pt>
                <c:pt idx="8">
                  <c:v>2479</c:v>
                </c:pt>
                <c:pt idx="9">
                  <c:v>2357</c:v>
                </c:pt>
                <c:pt idx="10">
                  <c:v>2338</c:v>
                </c:pt>
                <c:pt idx="11">
                  <c:v>2634</c:v>
                </c:pt>
                <c:pt idx="12">
                  <c:v>2644</c:v>
                </c:pt>
                <c:pt idx="13">
                  <c:v>2638</c:v>
                </c:pt>
                <c:pt idx="14">
                  <c:v>2634</c:v>
                </c:pt>
                <c:pt idx="15">
                  <c:v>2705</c:v>
                </c:pt>
                <c:pt idx="16">
                  <c:v>2711</c:v>
                </c:pt>
                <c:pt idx="17">
                  <c:v>2597</c:v>
                </c:pt>
                <c:pt idx="18">
                  <c:v>2540</c:v>
                </c:pt>
                <c:pt idx="19">
                  <c:v>2541</c:v>
                </c:pt>
                <c:pt idx="20">
                  <c:v>2502</c:v>
                </c:pt>
                <c:pt idx="21">
                  <c:v>2464</c:v>
                </c:pt>
                <c:pt idx="22">
                  <c:v>2404</c:v>
                </c:pt>
                <c:pt idx="23">
                  <c:v>2789</c:v>
                </c:pt>
                <c:pt idx="24">
                  <c:v>2764</c:v>
                </c:pt>
                <c:pt idx="25">
                  <c:v>2864</c:v>
                </c:pt>
                <c:pt idx="26">
                  <c:v>2891</c:v>
                </c:pt>
                <c:pt idx="27">
                  <c:v>2800</c:v>
                </c:pt>
                <c:pt idx="28">
                  <c:v>2801</c:v>
                </c:pt>
                <c:pt idx="29">
                  <c:v>2660</c:v>
                </c:pt>
                <c:pt idx="30">
                  <c:v>2543</c:v>
                </c:pt>
                <c:pt idx="31">
                  <c:v>2436</c:v>
                </c:pt>
                <c:pt idx="32">
                  <c:v>2691</c:v>
                </c:pt>
                <c:pt idx="33">
                  <c:v>2631</c:v>
                </c:pt>
                <c:pt idx="34">
                  <c:v>2516</c:v>
                </c:pt>
                <c:pt idx="35">
                  <c:v>2351</c:v>
                </c:pt>
                <c:pt idx="36">
                  <c:v>2346</c:v>
                </c:pt>
                <c:pt idx="37">
                  <c:v>2335</c:v>
                </c:pt>
                <c:pt idx="38">
                  <c:v>2374</c:v>
                </c:pt>
                <c:pt idx="39">
                  <c:v>2411</c:v>
                </c:pt>
                <c:pt idx="40">
                  <c:v>2604</c:v>
                </c:pt>
                <c:pt idx="41">
                  <c:v>2572</c:v>
                </c:pt>
                <c:pt idx="42">
                  <c:v>2398</c:v>
                </c:pt>
                <c:pt idx="43">
                  <c:v>2256</c:v>
                </c:pt>
                <c:pt idx="44">
                  <c:v>2684</c:v>
                </c:pt>
                <c:pt idx="45">
                  <c:v>2638</c:v>
                </c:pt>
                <c:pt idx="46">
                  <c:v>2512</c:v>
                </c:pt>
                <c:pt idx="47">
                  <c:v>2451</c:v>
                </c:pt>
                <c:pt idx="48">
                  <c:v>2562</c:v>
                </c:pt>
                <c:pt idx="49">
                  <c:v>2808</c:v>
                </c:pt>
                <c:pt idx="50">
                  <c:v>2888</c:v>
                </c:pt>
                <c:pt idx="51">
                  <c:v>2943</c:v>
                </c:pt>
                <c:pt idx="52">
                  <c:v>2951</c:v>
                </c:pt>
                <c:pt idx="53">
                  <c:v>2768</c:v>
                </c:pt>
                <c:pt idx="54">
                  <c:v>2683</c:v>
                </c:pt>
                <c:pt idx="55">
                  <c:v>2690</c:v>
                </c:pt>
                <c:pt idx="56">
                  <c:v>2679</c:v>
                </c:pt>
                <c:pt idx="57">
                  <c:v>2912</c:v>
                </c:pt>
                <c:pt idx="58">
                  <c:v>2785</c:v>
                </c:pt>
                <c:pt idx="59">
                  <c:v>2758</c:v>
                </c:pt>
                <c:pt idx="60">
                  <c:v>2782</c:v>
                </c:pt>
                <c:pt idx="61">
                  <c:v>2720</c:v>
                </c:pt>
                <c:pt idx="62">
                  <c:v>2637</c:v>
                </c:pt>
                <c:pt idx="63">
                  <c:v>2620</c:v>
                </c:pt>
                <c:pt idx="64">
                  <c:v>2773</c:v>
                </c:pt>
                <c:pt idx="65">
                  <c:v>2717</c:v>
                </c:pt>
                <c:pt idx="66">
                  <c:v>2542</c:v>
                </c:pt>
                <c:pt idx="67">
                  <c:v>2543</c:v>
                </c:pt>
                <c:pt idx="68">
                  <c:v>2732</c:v>
                </c:pt>
                <c:pt idx="69">
                  <c:v>2738</c:v>
                </c:pt>
                <c:pt idx="70">
                  <c:v>3255</c:v>
                </c:pt>
                <c:pt idx="71">
                  <c:v>3288</c:v>
                </c:pt>
                <c:pt idx="72">
                  <c:v>3303</c:v>
                </c:pt>
                <c:pt idx="73">
                  <c:v>3459</c:v>
                </c:pt>
                <c:pt idx="74">
                  <c:v>3297</c:v>
                </c:pt>
                <c:pt idx="75">
                  <c:v>3334</c:v>
                </c:pt>
                <c:pt idx="76">
                  <c:v>3269</c:v>
                </c:pt>
                <c:pt idx="77">
                  <c:v>3495</c:v>
                </c:pt>
                <c:pt idx="78">
                  <c:v>3504</c:v>
                </c:pt>
                <c:pt idx="79">
                  <c:v>3913</c:v>
                </c:pt>
                <c:pt idx="80">
                  <c:v>3953</c:v>
                </c:pt>
                <c:pt idx="81">
                  <c:v>4207</c:v>
                </c:pt>
                <c:pt idx="82">
                  <c:v>4538</c:v>
                </c:pt>
                <c:pt idx="83">
                  <c:v>4534</c:v>
                </c:pt>
                <c:pt idx="84">
                  <c:v>4634</c:v>
                </c:pt>
                <c:pt idx="85">
                  <c:v>4625</c:v>
                </c:pt>
                <c:pt idx="86">
                  <c:v>4622</c:v>
                </c:pt>
                <c:pt idx="87">
                  <c:v>4622</c:v>
                </c:pt>
                <c:pt idx="88">
                  <c:v>4619</c:v>
                </c:pt>
                <c:pt idx="89">
                  <c:v>4625</c:v>
                </c:pt>
                <c:pt idx="90">
                  <c:v>4641</c:v>
                </c:pt>
                <c:pt idx="91">
                  <c:v>4665</c:v>
                </c:pt>
                <c:pt idx="92">
                  <c:v>4676</c:v>
                </c:pt>
                <c:pt idx="93">
                  <c:v>4682</c:v>
                </c:pt>
                <c:pt idx="94">
                  <c:v>4708</c:v>
                </c:pt>
                <c:pt idx="95">
                  <c:v>4700</c:v>
                </c:pt>
                <c:pt idx="96">
                  <c:v>4804</c:v>
                </c:pt>
                <c:pt idx="97">
                  <c:v>4874</c:v>
                </c:pt>
                <c:pt idx="98">
                  <c:v>4876</c:v>
                </c:pt>
                <c:pt idx="99">
                  <c:v>4729</c:v>
                </c:pt>
                <c:pt idx="100">
                  <c:v>4750</c:v>
                </c:pt>
                <c:pt idx="101">
                  <c:v>4800</c:v>
                </c:pt>
                <c:pt idx="102">
                  <c:v>4750</c:v>
                </c:pt>
                <c:pt idx="103">
                  <c:v>4679</c:v>
                </c:pt>
                <c:pt idx="104">
                  <c:v>4800</c:v>
                </c:pt>
                <c:pt idx="105">
                  <c:v>4800</c:v>
                </c:pt>
                <c:pt idx="106">
                  <c:v>4800</c:v>
                </c:pt>
                <c:pt idx="107">
                  <c:v>4814</c:v>
                </c:pt>
                <c:pt idx="108">
                  <c:v>4808</c:v>
                </c:pt>
                <c:pt idx="109">
                  <c:v>4786</c:v>
                </c:pt>
                <c:pt idx="110">
                  <c:v>4795</c:v>
                </c:pt>
                <c:pt idx="111">
                  <c:v>4839</c:v>
                </c:pt>
                <c:pt idx="112">
                  <c:v>4788</c:v>
                </c:pt>
                <c:pt idx="113">
                  <c:v>5334</c:v>
                </c:pt>
                <c:pt idx="114">
                  <c:v>5452</c:v>
                </c:pt>
                <c:pt idx="115">
                  <c:v>5687</c:v>
                </c:pt>
                <c:pt idx="116">
                  <c:v>6419</c:v>
                </c:pt>
                <c:pt idx="117">
                  <c:v>7036</c:v>
                </c:pt>
                <c:pt idx="118">
                  <c:v>7378</c:v>
                </c:pt>
                <c:pt idx="119">
                  <c:v>7521</c:v>
                </c:pt>
                <c:pt idx="120">
                  <c:v>7633</c:v>
                </c:pt>
                <c:pt idx="121">
                  <c:v>8475</c:v>
                </c:pt>
                <c:pt idx="122">
                  <c:v>8554</c:v>
                </c:pt>
                <c:pt idx="123">
                  <c:v>8914</c:v>
                </c:pt>
                <c:pt idx="124">
                  <c:v>8944</c:v>
                </c:pt>
                <c:pt idx="125">
                  <c:v>9254</c:v>
                </c:pt>
                <c:pt idx="126">
                  <c:v>9356</c:v>
                </c:pt>
                <c:pt idx="127">
                  <c:v>9655</c:v>
                </c:pt>
                <c:pt idx="128">
                  <c:v>9850</c:v>
                </c:pt>
                <c:pt idx="129">
                  <c:v>10067</c:v>
                </c:pt>
                <c:pt idx="130">
                  <c:v>10167</c:v>
                </c:pt>
                <c:pt idx="131">
                  <c:v>10452</c:v>
                </c:pt>
                <c:pt idx="132">
                  <c:v>10876</c:v>
                </c:pt>
                <c:pt idx="133">
                  <c:v>11138</c:v>
                </c:pt>
                <c:pt idx="134">
                  <c:v>11648</c:v>
                </c:pt>
                <c:pt idx="135">
                  <c:v>11731</c:v>
                </c:pt>
                <c:pt idx="136">
                  <c:v>11759</c:v>
                </c:pt>
                <c:pt idx="137">
                  <c:v>11976</c:v>
                </c:pt>
                <c:pt idx="138">
                  <c:v>11250</c:v>
                </c:pt>
                <c:pt idx="139">
                  <c:v>11114</c:v>
                </c:pt>
                <c:pt idx="140">
                  <c:v>10700</c:v>
                </c:pt>
                <c:pt idx="141">
                  <c:v>10544</c:v>
                </c:pt>
                <c:pt idx="142">
                  <c:v>10454</c:v>
                </c:pt>
                <c:pt idx="143">
                  <c:v>10428</c:v>
                </c:pt>
                <c:pt idx="144">
                  <c:v>10589</c:v>
                </c:pt>
                <c:pt idx="145">
                  <c:v>10415</c:v>
                </c:pt>
                <c:pt idx="146">
                  <c:v>10427</c:v>
                </c:pt>
              </c:numCache>
            </c:numRef>
          </c:val>
          <c:smooth val="0"/>
          <c:extLst>
            <c:ext xmlns:c16="http://schemas.microsoft.com/office/drawing/2014/chart" uri="{C3380CC4-5D6E-409C-BE32-E72D297353CC}">
              <c16:uniqueId val="{00000002-0378-494C-B75E-DA8EDFACA092}"/>
            </c:ext>
          </c:extLst>
        </c:ser>
        <c:dLbls>
          <c:showLegendKey val="0"/>
          <c:showVal val="0"/>
          <c:showCatName val="0"/>
          <c:showSerName val="0"/>
          <c:showPercent val="0"/>
          <c:showBubbleSize val="0"/>
        </c:dLbls>
        <c:smooth val="0"/>
        <c:axId val="438850367"/>
        <c:axId val="1"/>
      </c:lineChart>
      <c:catAx>
        <c:axId val="438850367"/>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438850367"/>
        <c:crosses val="min"/>
        <c:crossBetween val="midCat"/>
        <c:majorUnit val="4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851081393429098E-3"/>
          <c:y val="1.8786127167630059E-2"/>
          <c:w val="0.98282978372131413"/>
          <c:h val="0.96242774566473988"/>
        </c:manualLayout>
      </c:layout>
      <c:lineChart>
        <c:grouping val="standard"/>
        <c:varyColors val="0"/>
        <c:ser>
          <c:idx val="0"/>
          <c:order val="0"/>
          <c:spPr>
            <a:ln w="25400" cap="flat" algn="ctr">
              <a:solidFill>
                <a:schemeClr val="accent1"/>
              </a:solidFill>
              <a:prstDash val="solid"/>
            </a:ln>
          </c:spPr>
          <c:marker>
            <c:symbol val="none"/>
          </c:marker>
          <c:val>
            <c:numRef>
              <c:f>Sheet1!$A$1:$U$1</c:f>
              <c:numCache>
                <c:formatCode>General</c:formatCode>
                <c:ptCount val="21"/>
                <c:pt idx="0">
                  <c:v>0.28326750000000001</c:v>
                </c:pt>
                <c:pt idx="1">
                  <c:v>-6.4624509999999997</c:v>
                </c:pt>
                <c:pt idx="2">
                  <c:v>1.2845850000000001</c:v>
                </c:pt>
                <c:pt idx="3">
                  <c:v>-5.4084320000000004</c:v>
                </c:pt>
                <c:pt idx="4">
                  <c:v>-6.1462450000000004</c:v>
                </c:pt>
                <c:pt idx="5">
                  <c:v>-1.086957</c:v>
                </c:pt>
                <c:pt idx="6">
                  <c:v>1.7061919999999999</c:v>
                </c:pt>
                <c:pt idx="7">
                  <c:v>2.338603</c:v>
                </c:pt>
                <c:pt idx="8">
                  <c:v>4.0250329999999996</c:v>
                </c:pt>
                <c:pt idx="9">
                  <c:v>3.0237150000000002</c:v>
                </c:pt>
                <c:pt idx="10">
                  <c:v>4.288538</c:v>
                </c:pt>
                <c:pt idx="11">
                  <c:v>3.86693</c:v>
                </c:pt>
                <c:pt idx="12">
                  <c:v>1.7061919999999999</c:v>
                </c:pt>
                <c:pt idx="13">
                  <c:v>6.0803690000000001</c:v>
                </c:pt>
                <c:pt idx="14">
                  <c:v>3.0237150000000002</c:v>
                </c:pt>
                <c:pt idx="15">
                  <c:v>2.9710139999999998</c:v>
                </c:pt>
                <c:pt idx="16">
                  <c:v>1.758893</c:v>
                </c:pt>
                <c:pt idx="17">
                  <c:v>3.7088269999999999</c:v>
                </c:pt>
                <c:pt idx="18">
                  <c:v>0.12516469999999999</c:v>
                </c:pt>
                <c:pt idx="19">
                  <c:v>2.760211</c:v>
                </c:pt>
                <c:pt idx="20">
                  <c:v>3.9196309999999999</c:v>
                </c:pt>
              </c:numCache>
            </c:numRef>
          </c:val>
          <c:smooth val="1"/>
          <c:extLst>
            <c:ext xmlns:c16="http://schemas.microsoft.com/office/drawing/2014/chart" uri="{C3380CC4-5D6E-409C-BE32-E72D297353CC}">
              <c16:uniqueId val="{00000000-86C4-468D-82C1-281D13E88409}"/>
            </c:ext>
          </c:extLst>
        </c:ser>
        <c:ser>
          <c:idx val="1"/>
          <c:order val="1"/>
          <c:spPr>
            <a:ln w="25400" cap="flat" algn="ctr">
              <a:solidFill>
                <a:schemeClr val="accent2"/>
              </a:solidFill>
              <a:prstDash val="solid"/>
            </a:ln>
          </c:spPr>
          <c:marker>
            <c:symbol val="none"/>
          </c:marker>
          <c:val>
            <c:numRef>
              <c:f>Sheet1!$A$2:$U$2</c:f>
              <c:numCache>
                <c:formatCode>General</c:formatCode>
                <c:ptCount val="21"/>
                <c:pt idx="0">
                  <c:v>0</c:v>
                </c:pt>
                <c:pt idx="1">
                  <c:v>-10.40146</c:v>
                </c:pt>
                <c:pt idx="2">
                  <c:v>5.4379559999999998</c:v>
                </c:pt>
                <c:pt idx="3">
                  <c:v>-7.8041359999999997</c:v>
                </c:pt>
                <c:pt idx="4">
                  <c:v>-7.2080289999999998</c:v>
                </c:pt>
                <c:pt idx="5">
                  <c:v>3.0413630000000001E-2</c:v>
                </c:pt>
                <c:pt idx="6">
                  <c:v>4.3734789999999997</c:v>
                </c:pt>
                <c:pt idx="7">
                  <c:v>6.3321170000000002</c:v>
                </c:pt>
                <c:pt idx="8">
                  <c:v>7.013382</c:v>
                </c:pt>
                <c:pt idx="9">
                  <c:v>7.8649639999999996</c:v>
                </c:pt>
                <c:pt idx="10">
                  <c:v>5.7785890000000002</c:v>
                </c:pt>
                <c:pt idx="11">
                  <c:v>7.3965940000000003</c:v>
                </c:pt>
                <c:pt idx="12">
                  <c:v>7.3965940000000003</c:v>
                </c:pt>
                <c:pt idx="13">
                  <c:v>16.63625</c:v>
                </c:pt>
                <c:pt idx="14">
                  <c:v>10.88808</c:v>
                </c:pt>
                <c:pt idx="15">
                  <c:v>10.121650000000001</c:v>
                </c:pt>
                <c:pt idx="16">
                  <c:v>9.5681270000000005</c:v>
                </c:pt>
                <c:pt idx="17">
                  <c:v>9.823601</c:v>
                </c:pt>
                <c:pt idx="18">
                  <c:v>7.4817520000000002</c:v>
                </c:pt>
                <c:pt idx="19">
                  <c:v>8.716545</c:v>
                </c:pt>
                <c:pt idx="20">
                  <c:v>12.4635</c:v>
                </c:pt>
              </c:numCache>
            </c:numRef>
          </c:val>
          <c:smooth val="1"/>
          <c:extLst>
            <c:ext xmlns:c16="http://schemas.microsoft.com/office/drawing/2014/chart" uri="{C3380CC4-5D6E-409C-BE32-E72D297353CC}">
              <c16:uniqueId val="{00000001-86C4-468D-82C1-281D13E88409}"/>
            </c:ext>
          </c:extLst>
        </c:ser>
        <c:ser>
          <c:idx val="2"/>
          <c:order val="2"/>
          <c:spPr>
            <a:ln w="25400" cap="flat" algn="ctr">
              <a:solidFill>
                <a:schemeClr val="accent3"/>
              </a:solidFill>
              <a:prstDash val="solid"/>
            </a:ln>
          </c:spPr>
          <c:marker>
            <c:symbol val="none"/>
          </c:marker>
          <c:val>
            <c:numRef>
              <c:f>Sheet1!$A$3:$U$3</c:f>
              <c:numCache>
                <c:formatCode>General</c:formatCode>
                <c:ptCount val="21"/>
                <c:pt idx="0">
                  <c:v>3.5833330000000001</c:v>
                </c:pt>
                <c:pt idx="1">
                  <c:v>-8.3958329999999997</c:v>
                </c:pt>
                <c:pt idx="2">
                  <c:v>4.8541670000000003</c:v>
                </c:pt>
                <c:pt idx="3">
                  <c:v>-6.6666670000000003</c:v>
                </c:pt>
                <c:pt idx="4">
                  <c:v>-5.9375</c:v>
                </c:pt>
                <c:pt idx="5">
                  <c:v>-2.1041669999999999</c:v>
                </c:pt>
                <c:pt idx="6">
                  <c:v>0.60416669999999995</c:v>
                </c:pt>
                <c:pt idx="7">
                  <c:v>1.0625</c:v>
                </c:pt>
                <c:pt idx="8">
                  <c:v>1.75</c:v>
                </c:pt>
                <c:pt idx="9">
                  <c:v>2.5625</c:v>
                </c:pt>
                <c:pt idx="10">
                  <c:v>4.1666670000000003</c:v>
                </c:pt>
                <c:pt idx="11">
                  <c:v>-0.6875</c:v>
                </c:pt>
                <c:pt idx="12">
                  <c:v>-1.8333330000000001</c:v>
                </c:pt>
                <c:pt idx="13">
                  <c:v>4.0416670000000003</c:v>
                </c:pt>
                <c:pt idx="14">
                  <c:v>1.25</c:v>
                </c:pt>
                <c:pt idx="15">
                  <c:v>-8.3333340000000006E-2</c:v>
                </c:pt>
                <c:pt idx="16">
                  <c:v>-0.2291667</c:v>
                </c:pt>
                <c:pt idx="17">
                  <c:v>2.2291669999999999</c:v>
                </c:pt>
                <c:pt idx="18">
                  <c:v>-0.4375</c:v>
                </c:pt>
                <c:pt idx="19">
                  <c:v>0.79166669999999995</c:v>
                </c:pt>
                <c:pt idx="20">
                  <c:v>1.9166669999999999</c:v>
                </c:pt>
              </c:numCache>
            </c:numRef>
          </c:val>
          <c:smooth val="1"/>
          <c:extLst>
            <c:ext xmlns:c16="http://schemas.microsoft.com/office/drawing/2014/chart" uri="{C3380CC4-5D6E-409C-BE32-E72D297353CC}">
              <c16:uniqueId val="{00000002-86C4-468D-82C1-281D13E88409}"/>
            </c:ext>
          </c:extLst>
        </c:ser>
        <c:ser>
          <c:idx val="3"/>
          <c:order val="3"/>
          <c:spPr>
            <a:ln w="25400" cap="flat" algn="ctr">
              <a:solidFill>
                <a:schemeClr val="accent4"/>
              </a:solidFill>
              <a:prstDash val="solid"/>
            </a:ln>
          </c:spPr>
          <c:marker>
            <c:symbol val="none"/>
          </c:marker>
          <c:val>
            <c:numRef>
              <c:f>Sheet1!$A$4:$U$4</c:f>
              <c:numCache>
                <c:formatCode>General</c:formatCode>
                <c:ptCount val="21"/>
                <c:pt idx="0">
                  <c:v>-0.76823019999999986</c:v>
                </c:pt>
                <c:pt idx="1">
                  <c:v>-5.1389089999999999</c:v>
                </c:pt>
                <c:pt idx="2">
                  <c:v>-0.37110340000000003</c:v>
                </c:pt>
                <c:pt idx="3">
                  <c:v>-7.6958830799999989</c:v>
                </c:pt>
                <c:pt idx="4">
                  <c:v>-8.8023392000000005</c:v>
                </c:pt>
                <c:pt idx="5">
                  <c:v>-4.1024444599999992</c:v>
                </c:pt>
                <c:pt idx="6">
                  <c:v>0.18221220000000002</c:v>
                </c:pt>
                <c:pt idx="7">
                  <c:v>0.31500210000000006</c:v>
                </c:pt>
                <c:pt idx="8">
                  <c:v>2.9530647599999997</c:v>
                </c:pt>
                <c:pt idx="9">
                  <c:v>2.8020836</c:v>
                </c:pt>
                <c:pt idx="10">
                  <c:v>4.2211829999999999</c:v>
                </c:pt>
                <c:pt idx="11">
                  <c:v>3.6701997999999998</c:v>
                </c:pt>
                <c:pt idx="12">
                  <c:v>2.00745884</c:v>
                </c:pt>
                <c:pt idx="13">
                  <c:v>4.5117777999999999</c:v>
                </c:pt>
                <c:pt idx="14">
                  <c:v>2.3874423999999999</c:v>
                </c:pt>
                <c:pt idx="15">
                  <c:v>2.6578758000000002</c:v>
                </c:pt>
                <c:pt idx="16">
                  <c:v>-0.75034568000000013</c:v>
                </c:pt>
                <c:pt idx="17">
                  <c:v>1.8893862000000001</c:v>
                </c:pt>
                <c:pt idx="18">
                  <c:v>-2.0996838799999997</c:v>
                </c:pt>
                <c:pt idx="19">
                  <c:v>1.1861380000000001</c:v>
                </c:pt>
                <c:pt idx="20">
                  <c:v>1.0398469000000001</c:v>
                </c:pt>
              </c:numCache>
            </c:numRef>
          </c:val>
          <c:smooth val="1"/>
          <c:extLst>
            <c:ext xmlns:c16="http://schemas.microsoft.com/office/drawing/2014/chart" uri="{C3380CC4-5D6E-409C-BE32-E72D297353CC}">
              <c16:uniqueId val="{00000003-86C4-468D-82C1-281D13E88409}"/>
            </c:ext>
          </c:extLst>
        </c:ser>
        <c:dLbls>
          <c:showLegendKey val="0"/>
          <c:showVal val="0"/>
          <c:showCatName val="0"/>
          <c:showSerName val="0"/>
          <c:showPercent val="0"/>
          <c:showBubbleSize val="0"/>
        </c:dLbls>
        <c:smooth val="0"/>
        <c:axId val="492055439"/>
        <c:axId val="1"/>
      </c:lineChart>
      <c:catAx>
        <c:axId val="492055439"/>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At val="0"/>
        <c:auto val="0"/>
        <c:lblAlgn val="ctr"/>
        <c:lblOffset val="100"/>
        <c:noMultiLvlLbl val="0"/>
      </c:catAx>
      <c:valAx>
        <c:axId val="1"/>
        <c:scaling>
          <c:orientation val="minMax"/>
          <c:max val="20"/>
          <c:min val="-15"/>
        </c:scaling>
        <c:delete val="0"/>
        <c:axPos val="l"/>
        <c:majorGridlines>
          <c:spPr>
            <a:ln w="6350" cap="flat" algn="ctr">
              <a:solidFill>
                <a:srgbClr val="D0D0D0"/>
              </a:solidFill>
              <a:prstDash val="solid"/>
            </a:ln>
          </c:spPr>
        </c:majorGridlines>
        <c:numFmt formatCode="General" sourceLinked="1"/>
        <c:majorTickMark val="none"/>
        <c:minorTickMark val="none"/>
        <c:tickLblPos val="none"/>
        <c:spPr>
          <a:ln w="9525" cap="flat" algn="ctr">
            <a:solidFill>
              <a:schemeClr val="tx1"/>
            </a:solidFill>
            <a:prstDash val="solid"/>
          </a:ln>
        </c:spPr>
        <c:crossAx val="492055439"/>
        <c:crosses val="min"/>
        <c:crossBetween val="midCat"/>
        <c:majorUnit val="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00762066045724E-2"/>
          <c:y val="2.5120772946859903E-2"/>
          <c:w val="0.97798475867908552"/>
          <c:h val="0.94975845410628024"/>
        </c:manualLayout>
      </c:layout>
      <c:barChart>
        <c:barDir val="col"/>
        <c:grouping val="clustered"/>
        <c:varyColors val="0"/>
        <c:ser>
          <c:idx val="0"/>
          <c:order val="0"/>
          <c:spPr>
            <a:solidFill>
              <a:schemeClr val="accent1"/>
            </a:solidFill>
            <a:ln w="9525" cap="flat" algn="ctr">
              <a:solidFill>
                <a:schemeClr val="bg1"/>
              </a:solidFill>
              <a:prstDash val="solid"/>
            </a:ln>
          </c:spPr>
          <c:invertIfNegative val="0"/>
          <c:val>
            <c:numRef>
              <c:f>Sheet1!$A$1:$H$1</c:f>
              <c:numCache>
                <c:formatCode>General</c:formatCode>
                <c:ptCount val="8"/>
                <c:pt idx="0">
                  <c:v>20.5</c:v>
                </c:pt>
                <c:pt idx="1">
                  <c:v>21</c:v>
                </c:pt>
                <c:pt idx="2">
                  <c:v>22</c:v>
                </c:pt>
                <c:pt idx="3">
                  <c:v>22</c:v>
                </c:pt>
                <c:pt idx="4">
                  <c:v>25</c:v>
                </c:pt>
                <c:pt idx="5">
                  <c:v>26</c:v>
                </c:pt>
                <c:pt idx="6">
                  <c:v>27</c:v>
                </c:pt>
                <c:pt idx="7">
                  <c:v>27</c:v>
                </c:pt>
              </c:numCache>
            </c:numRef>
          </c:val>
          <c:extLst>
            <c:ext xmlns:c16="http://schemas.microsoft.com/office/drawing/2014/chart" uri="{C3380CC4-5D6E-409C-BE32-E72D297353CC}">
              <c16:uniqueId val="{00000000-D882-4369-B009-3E6D6272DBA8}"/>
            </c:ext>
          </c:extLst>
        </c:ser>
        <c:ser>
          <c:idx val="1"/>
          <c:order val="1"/>
          <c:spPr>
            <a:solidFill>
              <a:schemeClr val="accent3"/>
            </a:solidFill>
            <a:ln w="9525" cap="flat" algn="ctr">
              <a:solidFill>
                <a:schemeClr val="bg1"/>
              </a:solidFill>
              <a:prstDash val="solid"/>
            </a:ln>
          </c:spPr>
          <c:invertIfNegative val="0"/>
          <c:val>
            <c:numRef>
              <c:f>Sheet1!$A$2:$H$2</c:f>
              <c:numCache>
                <c:formatCode>General</c:formatCode>
                <c:ptCount val="8"/>
                <c:pt idx="0">
                  <c:v>19</c:v>
                </c:pt>
                <c:pt idx="1">
                  <c:v>20</c:v>
                </c:pt>
                <c:pt idx="2">
                  <c:v>21</c:v>
                </c:pt>
                <c:pt idx="3">
                  <c:v>20</c:v>
                </c:pt>
                <c:pt idx="4">
                  <c:v>20.5</c:v>
                </c:pt>
                <c:pt idx="5">
                  <c:v>20.5</c:v>
                </c:pt>
                <c:pt idx="6">
                  <c:v>21</c:v>
                </c:pt>
                <c:pt idx="7">
                  <c:v>22</c:v>
                </c:pt>
              </c:numCache>
            </c:numRef>
          </c:val>
          <c:extLst>
            <c:ext xmlns:c16="http://schemas.microsoft.com/office/drawing/2014/chart" uri="{C3380CC4-5D6E-409C-BE32-E72D297353CC}">
              <c16:uniqueId val="{00000001-D882-4369-B009-3E6D6272DBA8}"/>
            </c:ext>
          </c:extLst>
        </c:ser>
        <c:dLbls>
          <c:showLegendKey val="0"/>
          <c:showVal val="0"/>
          <c:showCatName val="0"/>
          <c:showSerName val="0"/>
          <c:showPercent val="0"/>
          <c:showBubbleSize val="0"/>
        </c:dLbls>
        <c:gapWidth val="40"/>
        <c:axId val="697724000"/>
        <c:axId val="1"/>
      </c:barChart>
      <c:lineChart>
        <c:grouping val="standard"/>
        <c:varyColors val="0"/>
        <c:ser>
          <c:idx val="2"/>
          <c:order val="2"/>
          <c:spPr>
            <a:ln w="25400" cap="flat" algn="ctr">
              <a:solidFill>
                <a:schemeClr val="accent2"/>
              </a:solidFill>
              <a:prstDash val="solid"/>
            </a:ln>
          </c:spPr>
          <c:marker>
            <c:symbol val="none"/>
          </c:marker>
          <c:val>
            <c:numRef>
              <c:f>Sheet1!$A$3:$H$3</c:f>
              <c:numCache>
                <c:formatCode>General</c:formatCode>
                <c:ptCount val="8"/>
                <c:pt idx="0">
                  <c:v>51.8</c:v>
                </c:pt>
                <c:pt idx="1">
                  <c:v>51</c:v>
                </c:pt>
                <c:pt idx="2">
                  <c:v>50.5</c:v>
                </c:pt>
                <c:pt idx="3">
                  <c:v>52</c:v>
                </c:pt>
                <c:pt idx="4">
                  <c:v>54</c:v>
                </c:pt>
                <c:pt idx="5">
                  <c:v>55.5</c:v>
                </c:pt>
                <c:pt idx="6">
                  <c:v>55.5</c:v>
                </c:pt>
                <c:pt idx="7">
                  <c:v>54</c:v>
                </c:pt>
              </c:numCache>
            </c:numRef>
          </c:val>
          <c:smooth val="1"/>
          <c:extLst>
            <c:ext xmlns:c16="http://schemas.microsoft.com/office/drawing/2014/chart" uri="{C3380CC4-5D6E-409C-BE32-E72D297353CC}">
              <c16:uniqueId val="{00000002-D882-4369-B009-3E6D6272DBA8}"/>
            </c:ext>
          </c:extLst>
        </c:ser>
        <c:dLbls>
          <c:showLegendKey val="0"/>
          <c:showVal val="0"/>
          <c:showCatName val="0"/>
          <c:showSerName val="0"/>
          <c:showPercent val="0"/>
          <c:showBubbleSize val="0"/>
        </c:dLbls>
        <c:marker val="1"/>
        <c:smooth val="0"/>
        <c:axId val="3"/>
        <c:axId val="2"/>
      </c:lineChart>
      <c:catAx>
        <c:axId val="697724000"/>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30"/>
          <c:min val="0"/>
        </c:scaling>
        <c:delete val="0"/>
        <c:axPos val="l"/>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697724000"/>
        <c:crosses val="min"/>
        <c:crossBetween val="between"/>
        <c:majorUnit val="10"/>
      </c:valAx>
      <c:valAx>
        <c:axId val="2"/>
        <c:scaling>
          <c:orientation val="minMax"/>
          <c:max val="56"/>
          <c:min val="50"/>
        </c:scaling>
        <c:delete val="0"/>
        <c:axPos val="r"/>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101273232840622E-3"/>
          <c:y val="3.7089871611982884E-2"/>
          <c:w val="0.98477974535343182"/>
          <c:h val="0.92582025677603419"/>
        </c:manualLayout>
      </c:layout>
      <c:barChart>
        <c:barDir val="col"/>
        <c:grouping val="stacked"/>
        <c:varyColors val="0"/>
        <c:ser>
          <c:idx val="0"/>
          <c:order val="0"/>
          <c:spPr>
            <a:solidFill>
              <a:schemeClr val="accent1"/>
            </a:solidFill>
            <a:ln w="9525" cap="flat" algn="ctr">
              <a:solidFill>
                <a:schemeClr val="bg1"/>
              </a:solidFill>
              <a:prstDash val="solid"/>
            </a:ln>
          </c:spPr>
          <c:invertIfNegative val="0"/>
          <c:dPt>
            <c:idx val="0"/>
            <c:invertIfNegative val="0"/>
            <c:bubble3D val="0"/>
            <c:spPr>
              <a:solidFill>
                <a:schemeClr val="accent2"/>
              </a:solidFill>
              <a:ln w="9525" cap="flat" algn="ctr">
                <a:solidFill>
                  <a:schemeClr val="bg1"/>
                </a:solidFill>
                <a:prstDash val="solid"/>
              </a:ln>
            </c:spPr>
            <c:extLst>
              <c:ext xmlns:c16="http://schemas.microsoft.com/office/drawing/2014/chart" uri="{C3380CC4-5D6E-409C-BE32-E72D297353CC}">
                <c16:uniqueId val="{00000000-66EB-40BC-B04A-D795565AD765}"/>
              </c:ext>
            </c:extLst>
          </c:dPt>
          <c:dPt>
            <c:idx val="3"/>
            <c:invertIfNegative val="0"/>
            <c:bubble3D val="0"/>
            <c:spPr>
              <a:solidFill>
                <a:schemeClr val="accent3"/>
              </a:solidFill>
              <a:ln w="9525" cap="flat" algn="ctr">
                <a:solidFill>
                  <a:schemeClr val="bg1"/>
                </a:solidFill>
                <a:prstDash val="solid"/>
              </a:ln>
            </c:spPr>
            <c:extLst>
              <c:ext xmlns:c16="http://schemas.microsoft.com/office/drawing/2014/chart" uri="{C3380CC4-5D6E-409C-BE32-E72D297353CC}">
                <c16:uniqueId val="{00000001-66EB-40BC-B04A-D795565AD765}"/>
              </c:ext>
            </c:extLst>
          </c:dPt>
          <c:dPt>
            <c:idx val="4"/>
            <c:invertIfNegative val="0"/>
            <c:bubble3D val="0"/>
            <c:spPr>
              <a:solidFill>
                <a:schemeClr val="accent2"/>
              </a:solidFill>
              <a:ln w="9525" cap="flat" algn="ctr">
                <a:solidFill>
                  <a:schemeClr val="bg1"/>
                </a:solidFill>
                <a:prstDash val="solid"/>
              </a:ln>
            </c:spPr>
            <c:extLst>
              <c:ext xmlns:c16="http://schemas.microsoft.com/office/drawing/2014/chart" uri="{C3380CC4-5D6E-409C-BE32-E72D297353CC}">
                <c16:uniqueId val="{00000002-66EB-40BC-B04A-D795565AD765}"/>
              </c:ext>
            </c:extLst>
          </c:dPt>
          <c:dPt>
            <c:idx val="5"/>
            <c:invertIfNegative val="0"/>
            <c:bubble3D val="0"/>
            <c:spPr>
              <a:solidFill>
                <a:schemeClr val="accent2"/>
              </a:solidFill>
              <a:ln w="9525" cap="flat" algn="ctr">
                <a:solidFill>
                  <a:schemeClr val="bg1"/>
                </a:solidFill>
                <a:prstDash val="solid"/>
              </a:ln>
            </c:spPr>
            <c:extLst>
              <c:ext xmlns:c16="http://schemas.microsoft.com/office/drawing/2014/chart" uri="{C3380CC4-5D6E-409C-BE32-E72D297353CC}">
                <c16:uniqueId val="{00000003-66EB-40BC-B04A-D795565AD765}"/>
              </c:ext>
            </c:extLst>
          </c:dPt>
          <c:dPt>
            <c:idx val="7"/>
            <c:invertIfNegative val="0"/>
            <c:bubble3D val="0"/>
            <c:spPr>
              <a:solidFill>
                <a:schemeClr val="accent3"/>
              </a:solidFill>
              <a:ln w="9525" cap="flat" algn="ctr">
                <a:solidFill>
                  <a:schemeClr val="bg1"/>
                </a:solidFill>
                <a:prstDash val="solid"/>
              </a:ln>
            </c:spPr>
            <c:extLst>
              <c:ext xmlns:c16="http://schemas.microsoft.com/office/drawing/2014/chart" uri="{C3380CC4-5D6E-409C-BE32-E72D297353CC}">
                <c16:uniqueId val="{00000004-66EB-40BC-B04A-D795565AD765}"/>
              </c:ext>
            </c:extLst>
          </c:dPt>
          <c:val>
            <c:numRef>
              <c:f>Sheet1!$A$1:$J$1</c:f>
              <c:numCache>
                <c:formatCode>General</c:formatCode>
                <c:ptCount val="10"/>
                <c:pt idx="0">
                  <c:v>60540</c:v>
                </c:pt>
                <c:pt idx="1">
                  <c:v>65200</c:v>
                </c:pt>
                <c:pt idx="2">
                  <c:v>82932</c:v>
                </c:pt>
                <c:pt idx="3">
                  <c:v>149272</c:v>
                </c:pt>
                <c:pt idx="4">
                  <c:v>131200</c:v>
                </c:pt>
                <c:pt idx="5">
                  <c:v>47692</c:v>
                </c:pt>
                <c:pt idx="6">
                  <c:v>70000</c:v>
                </c:pt>
                <c:pt idx="7">
                  <c:v>163200</c:v>
                </c:pt>
                <c:pt idx="8">
                  <c:v>2940</c:v>
                </c:pt>
                <c:pt idx="9">
                  <c:v>46320</c:v>
                </c:pt>
              </c:numCache>
            </c:numRef>
          </c:val>
          <c:extLst>
            <c:ext xmlns:c16="http://schemas.microsoft.com/office/drawing/2014/chart" uri="{C3380CC4-5D6E-409C-BE32-E72D297353CC}">
              <c16:uniqueId val="{00000005-66EB-40BC-B04A-D795565AD765}"/>
            </c:ext>
          </c:extLst>
        </c:ser>
        <c:ser>
          <c:idx val="1"/>
          <c:order val="1"/>
          <c:spPr>
            <a:solidFill>
              <a:schemeClr val="accent2"/>
            </a:solidFill>
            <a:ln w="9525" cap="flat" algn="ctr">
              <a:solidFill>
                <a:schemeClr val="bg1"/>
              </a:solidFill>
              <a:prstDash val="solid"/>
            </a:ln>
          </c:spPr>
          <c:invertIfNegative val="0"/>
          <c:dPt>
            <c:idx val="0"/>
            <c:invertIfNegative val="0"/>
            <c:bubble3D val="0"/>
            <c:spPr>
              <a:solidFill>
                <a:schemeClr val="accent3"/>
              </a:solidFill>
              <a:ln w="9525" cap="flat" algn="ctr">
                <a:solidFill>
                  <a:schemeClr val="bg1"/>
                </a:solidFill>
                <a:prstDash val="solid"/>
              </a:ln>
            </c:spPr>
            <c:extLst>
              <c:ext xmlns:c16="http://schemas.microsoft.com/office/drawing/2014/chart" uri="{C3380CC4-5D6E-409C-BE32-E72D297353CC}">
                <c16:uniqueId val="{00000006-66EB-40BC-B04A-D795565AD765}"/>
              </c:ext>
            </c:extLst>
          </c:dPt>
          <c:dPt>
            <c:idx val="3"/>
            <c:invertIfNegative val="0"/>
            <c:bubble3D val="0"/>
            <c:spPr>
              <a:solidFill>
                <a:schemeClr val="accent4"/>
              </a:solidFill>
              <a:ln w="9525" cap="flat" algn="ctr">
                <a:solidFill>
                  <a:schemeClr val="bg1"/>
                </a:solidFill>
                <a:prstDash val="solid"/>
              </a:ln>
            </c:spPr>
            <c:extLst>
              <c:ext xmlns:c16="http://schemas.microsoft.com/office/drawing/2014/chart" uri="{C3380CC4-5D6E-409C-BE32-E72D297353CC}">
                <c16:uniqueId val="{00000007-66EB-40BC-B04A-D795565AD765}"/>
              </c:ext>
            </c:extLst>
          </c:dPt>
          <c:dPt>
            <c:idx val="4"/>
            <c:invertIfNegative val="0"/>
            <c:bubble3D val="0"/>
            <c:spPr>
              <a:solidFill>
                <a:schemeClr val="accent4"/>
              </a:solidFill>
              <a:ln w="9525" cap="flat" algn="ctr">
                <a:solidFill>
                  <a:schemeClr val="bg1"/>
                </a:solidFill>
                <a:prstDash val="solid"/>
              </a:ln>
            </c:spPr>
            <c:extLst>
              <c:ext xmlns:c16="http://schemas.microsoft.com/office/drawing/2014/chart" uri="{C3380CC4-5D6E-409C-BE32-E72D297353CC}">
                <c16:uniqueId val="{00000008-66EB-40BC-B04A-D795565AD765}"/>
              </c:ext>
            </c:extLst>
          </c:dPt>
          <c:dPt>
            <c:idx val="5"/>
            <c:invertIfNegative val="0"/>
            <c:bubble3D val="0"/>
            <c:spPr>
              <a:solidFill>
                <a:schemeClr val="accent3"/>
              </a:solidFill>
              <a:ln w="9525" cap="flat" algn="ctr">
                <a:solidFill>
                  <a:schemeClr val="bg1"/>
                </a:solidFill>
                <a:prstDash val="solid"/>
              </a:ln>
            </c:spPr>
            <c:extLst>
              <c:ext xmlns:c16="http://schemas.microsoft.com/office/drawing/2014/chart" uri="{C3380CC4-5D6E-409C-BE32-E72D297353CC}">
                <c16:uniqueId val="{00000009-66EB-40BC-B04A-D795565AD765}"/>
              </c:ext>
            </c:extLst>
          </c:dPt>
          <c:dPt>
            <c:idx val="6"/>
            <c:invertIfNegative val="0"/>
            <c:bubble3D val="0"/>
            <c:spPr>
              <a:solidFill>
                <a:schemeClr val="accent3"/>
              </a:solidFill>
              <a:ln w="9525" cap="flat" algn="ctr">
                <a:solidFill>
                  <a:schemeClr val="bg1"/>
                </a:solidFill>
                <a:prstDash val="solid"/>
              </a:ln>
            </c:spPr>
            <c:extLst>
              <c:ext xmlns:c16="http://schemas.microsoft.com/office/drawing/2014/chart" uri="{C3380CC4-5D6E-409C-BE32-E72D297353CC}">
                <c16:uniqueId val="{0000000A-66EB-40BC-B04A-D795565AD765}"/>
              </c:ext>
            </c:extLst>
          </c:dPt>
          <c:val>
            <c:numRef>
              <c:f>Sheet1!$A$2:$J$2</c:f>
              <c:numCache>
                <c:formatCode>General</c:formatCode>
                <c:ptCount val="10"/>
                <c:pt idx="0">
                  <c:v>471704</c:v>
                </c:pt>
                <c:pt idx="1">
                  <c:v>59440</c:v>
                </c:pt>
                <c:pt idx="2">
                  <c:v>78000</c:v>
                </c:pt>
                <c:pt idx="3">
                  <c:v>276000</c:v>
                </c:pt>
                <c:pt idx="4">
                  <c:v>283920</c:v>
                </c:pt>
                <c:pt idx="5">
                  <c:v>60000</c:v>
                </c:pt>
                <c:pt idx="6">
                  <c:v>150000</c:v>
                </c:pt>
                <c:pt idx="8">
                  <c:v>94880</c:v>
                </c:pt>
              </c:numCache>
            </c:numRef>
          </c:val>
          <c:extLst>
            <c:ext xmlns:c16="http://schemas.microsoft.com/office/drawing/2014/chart" uri="{C3380CC4-5D6E-409C-BE32-E72D297353CC}">
              <c16:uniqueId val="{0000000B-66EB-40BC-B04A-D795565AD765}"/>
            </c:ext>
          </c:extLst>
        </c:ser>
        <c:ser>
          <c:idx val="2"/>
          <c:order val="2"/>
          <c:spPr>
            <a:solidFill>
              <a:schemeClr val="accent3"/>
            </a:solidFill>
            <a:ln w="9525" cap="flat" algn="ctr">
              <a:solidFill>
                <a:schemeClr val="bg1"/>
              </a:solidFill>
              <a:prstDash val="solid"/>
            </a:ln>
          </c:spPr>
          <c:invertIfNegative val="0"/>
          <c:dPt>
            <c:idx val="0"/>
            <c:invertIfNegative val="0"/>
            <c:bubble3D val="0"/>
            <c:spPr>
              <a:solidFill>
                <a:schemeClr val="accent4"/>
              </a:solidFill>
              <a:ln w="9525" cap="flat" algn="ctr">
                <a:solidFill>
                  <a:schemeClr val="bg1"/>
                </a:solidFill>
                <a:prstDash val="solid"/>
              </a:ln>
            </c:spPr>
            <c:extLst>
              <c:ext xmlns:c16="http://schemas.microsoft.com/office/drawing/2014/chart" uri="{C3380CC4-5D6E-409C-BE32-E72D297353CC}">
                <c16:uniqueId val="{0000000C-66EB-40BC-B04A-D795565AD765}"/>
              </c:ext>
            </c:extLst>
          </c:dPt>
          <c:dPt>
            <c:idx val="5"/>
            <c:invertIfNegative val="0"/>
            <c:bubble3D val="0"/>
            <c:spPr>
              <a:solidFill>
                <a:schemeClr val="accent4"/>
              </a:solidFill>
              <a:ln w="9525" cap="flat" algn="ctr">
                <a:solidFill>
                  <a:schemeClr val="bg1"/>
                </a:solidFill>
                <a:prstDash val="solid"/>
              </a:ln>
            </c:spPr>
            <c:extLst>
              <c:ext xmlns:c16="http://schemas.microsoft.com/office/drawing/2014/chart" uri="{C3380CC4-5D6E-409C-BE32-E72D297353CC}">
                <c16:uniqueId val="{0000000D-66EB-40BC-B04A-D795565AD765}"/>
              </c:ext>
            </c:extLst>
          </c:dPt>
          <c:val>
            <c:numRef>
              <c:f>Sheet1!$A$3:$J$3</c:f>
              <c:numCache>
                <c:formatCode>General</c:formatCode>
                <c:ptCount val="10"/>
                <c:pt idx="0">
                  <c:v>384704</c:v>
                </c:pt>
                <c:pt idx="1">
                  <c:v>300000</c:v>
                </c:pt>
                <c:pt idx="2">
                  <c:v>380056</c:v>
                </c:pt>
                <c:pt idx="5">
                  <c:v>144000</c:v>
                </c:pt>
              </c:numCache>
            </c:numRef>
          </c:val>
          <c:extLst>
            <c:ext xmlns:c16="http://schemas.microsoft.com/office/drawing/2014/chart" uri="{C3380CC4-5D6E-409C-BE32-E72D297353CC}">
              <c16:uniqueId val="{0000000E-66EB-40BC-B04A-D795565AD765}"/>
            </c:ext>
          </c:extLst>
        </c:ser>
        <c:ser>
          <c:idx val="3"/>
          <c:order val="3"/>
          <c:spPr>
            <a:solidFill>
              <a:schemeClr val="accent4"/>
            </a:solidFill>
            <a:ln w="9525" cap="flat" algn="ctr">
              <a:solidFill>
                <a:schemeClr val="bg1"/>
              </a:solidFill>
              <a:prstDash val="solid"/>
            </a:ln>
          </c:spPr>
          <c:invertIfNegative val="0"/>
          <c:val>
            <c:numRef>
              <c:f>Sheet1!$A$4:$J$4</c:f>
              <c:numCache>
                <c:formatCode>General</c:formatCode>
                <c:ptCount val="10"/>
                <c:pt idx="1">
                  <c:v>263288</c:v>
                </c:pt>
              </c:numCache>
            </c:numRef>
          </c:val>
          <c:extLst>
            <c:ext xmlns:c16="http://schemas.microsoft.com/office/drawing/2014/chart" uri="{C3380CC4-5D6E-409C-BE32-E72D297353CC}">
              <c16:uniqueId val="{0000000F-66EB-40BC-B04A-D795565AD765}"/>
            </c:ext>
          </c:extLst>
        </c:ser>
        <c:dLbls>
          <c:showLegendKey val="0"/>
          <c:showVal val="0"/>
          <c:showCatName val="0"/>
          <c:showSerName val="0"/>
          <c:showPercent val="0"/>
          <c:showBubbleSize val="0"/>
        </c:dLbls>
        <c:gapWidth val="80"/>
        <c:overlap val="100"/>
        <c:axId val="492045039"/>
        <c:axId val="1"/>
      </c:barChart>
      <c:catAx>
        <c:axId val="492045039"/>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916948"/>
          <c:min val="0"/>
        </c:scaling>
        <c:delete val="1"/>
        <c:axPos val="l"/>
        <c:numFmt formatCode="General" sourceLinked="1"/>
        <c:majorTickMark val="out"/>
        <c:minorTickMark val="none"/>
        <c:tickLblPos val="nextTo"/>
        <c:crossAx val="492045039"/>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9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6 December 2021</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6 December 2021</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6 December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31741063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6 December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1</a:t>
            </a:fld>
            <a:endParaRPr lang="en-US"/>
          </a:p>
        </p:txBody>
      </p:sp>
    </p:spTree>
    <p:extLst>
      <p:ext uri="{BB962C8B-B14F-4D97-AF65-F5344CB8AC3E}">
        <p14:creationId xmlns:p14="http://schemas.microsoft.com/office/powerpoint/2010/main" val="579929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8775" y="555625"/>
            <a:ext cx="5905500" cy="332263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322368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6 December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3</a:t>
            </a:fld>
            <a:endParaRPr lang="en-US"/>
          </a:p>
        </p:txBody>
      </p:sp>
    </p:spTree>
    <p:extLst>
      <p:ext uri="{BB962C8B-B14F-4D97-AF65-F5344CB8AC3E}">
        <p14:creationId xmlns:p14="http://schemas.microsoft.com/office/powerpoint/2010/main" val="26872307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 December 2021</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1162747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6 December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a:t>
            </a:fld>
            <a:endParaRPr lang="en-US"/>
          </a:p>
        </p:txBody>
      </p:sp>
    </p:spTree>
    <p:extLst>
      <p:ext uri="{BB962C8B-B14F-4D97-AF65-F5344CB8AC3E}">
        <p14:creationId xmlns:p14="http://schemas.microsoft.com/office/powerpoint/2010/main" val="5990246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December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a:t>
            </a:fld>
            <a:endParaRPr lang="en-US"/>
          </a:p>
        </p:txBody>
      </p:sp>
    </p:spTree>
    <p:extLst>
      <p:ext uri="{BB962C8B-B14F-4D97-AF65-F5344CB8AC3E}">
        <p14:creationId xmlns:p14="http://schemas.microsoft.com/office/powerpoint/2010/main" val="19140793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December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0</a:t>
            </a:fld>
            <a:endParaRPr lang="en-US"/>
          </a:p>
        </p:txBody>
      </p:sp>
    </p:spTree>
    <p:extLst>
      <p:ext uri="{BB962C8B-B14F-4D97-AF65-F5344CB8AC3E}">
        <p14:creationId xmlns:p14="http://schemas.microsoft.com/office/powerpoint/2010/main" val="42358703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6 December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2</a:t>
            </a:fld>
            <a:endParaRPr lang="en-US"/>
          </a:p>
        </p:txBody>
      </p:sp>
    </p:spTree>
    <p:extLst>
      <p:ext uri="{BB962C8B-B14F-4D97-AF65-F5344CB8AC3E}">
        <p14:creationId xmlns:p14="http://schemas.microsoft.com/office/powerpoint/2010/main" val="28555276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6 December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8</a:t>
            </a:fld>
            <a:endParaRPr lang="en-US"/>
          </a:p>
        </p:txBody>
      </p:sp>
    </p:spTree>
    <p:extLst>
      <p:ext uri="{BB962C8B-B14F-4D97-AF65-F5344CB8AC3E}">
        <p14:creationId xmlns:p14="http://schemas.microsoft.com/office/powerpoint/2010/main" val="17344357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6 December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9</a:t>
            </a:fld>
            <a:endParaRPr lang="en-US"/>
          </a:p>
        </p:txBody>
      </p:sp>
    </p:spTree>
    <p:extLst>
      <p:ext uri="{BB962C8B-B14F-4D97-AF65-F5344CB8AC3E}">
        <p14:creationId xmlns:p14="http://schemas.microsoft.com/office/powerpoint/2010/main" val="35921140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6 December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0</a:t>
            </a:fld>
            <a:endParaRPr lang="en-US"/>
          </a:p>
        </p:txBody>
      </p:sp>
    </p:spTree>
    <p:extLst>
      <p:ext uri="{BB962C8B-B14F-4D97-AF65-F5344CB8AC3E}">
        <p14:creationId xmlns:p14="http://schemas.microsoft.com/office/powerpoint/2010/main" val="2454977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oleObject" Target="../embeddings/oleObject2.bin"/><Relationship Id="rId5" Type="http://schemas.openxmlformats.org/officeDocument/2006/relationships/tags" Target="../tags/tag28.xml"/><Relationship Id="rId10"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tags" Target="../tags/tag3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image" Target="../media/image5.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oleObject" Target="../embeddings/oleObject9.bin"/><Relationship Id="rId2" Type="http://schemas.openxmlformats.org/officeDocument/2006/relationships/tags" Target="../tags/tag101.xml"/><Relationship Id="rId16"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5" Type="http://schemas.openxmlformats.org/officeDocument/2006/relationships/tags" Target="../tags/tag11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image" Target="../media/image1.emf"/><Relationship Id="rId2" Type="http://schemas.openxmlformats.org/officeDocument/2006/relationships/tags" Target="../tags/tag115.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slideMaster" Target="../slideMasters/slideMaster1.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Master" Target="../slideMasters/slideMaster1.xml"/><Relationship Id="rId4"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0.xml"/><Relationship Id="rId7" Type="http://schemas.openxmlformats.org/officeDocument/2006/relationships/image" Target="../media/image2.emf"/><Relationship Id="rId2" Type="http://schemas.openxmlformats.org/officeDocument/2006/relationships/tags" Target="../tags/tag1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4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49.xml"/><Relationship Id="rId3" Type="http://schemas.openxmlformats.org/officeDocument/2006/relationships/tags" Target="../tags/tag144.xml"/><Relationship Id="rId7" Type="http://schemas.openxmlformats.org/officeDocument/2006/relationships/tags" Target="../tags/tag148.xml"/><Relationship Id="rId2" Type="http://schemas.openxmlformats.org/officeDocument/2006/relationships/tags" Target="../tags/tag143.xml"/><Relationship Id="rId1" Type="http://schemas.openxmlformats.org/officeDocument/2006/relationships/vmlDrawing" Target="../drawings/vmlDrawing13.vml"/><Relationship Id="rId6" Type="http://schemas.openxmlformats.org/officeDocument/2006/relationships/tags" Target="../tags/tag147.xml"/><Relationship Id="rId11" Type="http://schemas.openxmlformats.org/officeDocument/2006/relationships/image" Target="../media/image1.emf"/><Relationship Id="rId5" Type="http://schemas.openxmlformats.org/officeDocument/2006/relationships/tags" Target="../tags/tag146.xml"/><Relationship Id="rId10" Type="http://schemas.openxmlformats.org/officeDocument/2006/relationships/oleObject" Target="../embeddings/oleObject13.bin"/><Relationship Id="rId4" Type="http://schemas.openxmlformats.org/officeDocument/2006/relationships/tags" Target="../tags/tag145.xml"/><Relationship Id="rId9"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0.xml"/></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52.xml"/><Relationship Id="rId7" Type="http://schemas.openxmlformats.org/officeDocument/2006/relationships/slideMaster" Target="../slideMasters/slideMaster1.xml"/><Relationship Id="rId2" Type="http://schemas.openxmlformats.org/officeDocument/2006/relationships/tags" Target="../tags/tag151.xml"/><Relationship Id="rId1" Type="http://schemas.openxmlformats.org/officeDocument/2006/relationships/vmlDrawing" Target="../drawings/vmlDrawing14.vml"/><Relationship Id="rId6" Type="http://schemas.openxmlformats.org/officeDocument/2006/relationships/tags" Target="../tags/tag155.xml"/><Relationship Id="rId5" Type="http://schemas.openxmlformats.org/officeDocument/2006/relationships/tags" Target="../tags/tag154.xml"/><Relationship Id="rId4" Type="http://schemas.openxmlformats.org/officeDocument/2006/relationships/tags" Target="../tags/tag153.xml"/><Relationship Id="rId9"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slideMaster" Target="../slideMasters/slideMaster1.xml"/><Relationship Id="rId4" Type="http://schemas.openxmlformats.org/officeDocument/2006/relationships/tags" Target="../tags/tag159.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image" Target="../media/image2.emf"/><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oleObject" Target="../embeddings/oleObject16.bin"/><Relationship Id="rId2" Type="http://schemas.openxmlformats.org/officeDocument/2006/relationships/tags" Target="../tags/tag183.xml"/><Relationship Id="rId1" Type="http://schemas.openxmlformats.org/officeDocument/2006/relationships/vmlDrawing" Target="../drawings/vmlDrawing16.vml"/><Relationship Id="rId6" Type="http://schemas.openxmlformats.org/officeDocument/2006/relationships/tags" Target="../tags/tag187.xml"/><Relationship Id="rId11" Type="http://schemas.openxmlformats.org/officeDocument/2006/relationships/image" Target="../media/image9.png"/><Relationship Id="rId5" Type="http://schemas.openxmlformats.org/officeDocument/2006/relationships/tags" Target="../tags/tag186.xml"/><Relationship Id="rId10" Type="http://schemas.openxmlformats.org/officeDocument/2006/relationships/slideMaster" Target="../slideMasters/slideMaster2.xml"/><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97.xml"/><Relationship Id="rId3" Type="http://schemas.openxmlformats.org/officeDocument/2006/relationships/tags" Target="../tags/tag192.xml"/><Relationship Id="rId7" Type="http://schemas.openxmlformats.org/officeDocument/2006/relationships/tags" Target="../tags/tag196.xml"/><Relationship Id="rId2" Type="http://schemas.openxmlformats.org/officeDocument/2006/relationships/tags" Target="../tags/tag191.xml"/><Relationship Id="rId1" Type="http://schemas.openxmlformats.org/officeDocument/2006/relationships/vmlDrawing" Target="../drawings/vmlDrawing17.vml"/><Relationship Id="rId6" Type="http://schemas.openxmlformats.org/officeDocument/2006/relationships/tags" Target="../tags/tag195.xml"/><Relationship Id="rId11" Type="http://schemas.openxmlformats.org/officeDocument/2006/relationships/image" Target="../media/image1.emf"/><Relationship Id="rId5" Type="http://schemas.openxmlformats.org/officeDocument/2006/relationships/tags" Target="../tags/tag194.xml"/><Relationship Id="rId10" Type="http://schemas.openxmlformats.org/officeDocument/2006/relationships/oleObject" Target="../embeddings/oleObject17.bin"/><Relationship Id="rId4" Type="http://schemas.openxmlformats.org/officeDocument/2006/relationships/tags" Target="../tags/tag193.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00.xml"/><Relationship Id="rId2" Type="http://schemas.openxmlformats.org/officeDocument/2006/relationships/tags" Target="../tags/tag199.xml"/><Relationship Id="rId1" Type="http://schemas.openxmlformats.org/officeDocument/2006/relationships/tags" Target="../tags/tag198.xml"/><Relationship Id="rId5" Type="http://schemas.openxmlformats.org/officeDocument/2006/relationships/slideMaster" Target="../slideMasters/slideMaster2.xml"/><Relationship Id="rId4" Type="http://schemas.openxmlformats.org/officeDocument/2006/relationships/tags" Target="../tags/tag20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04.xml"/><Relationship Id="rId2" Type="http://schemas.openxmlformats.org/officeDocument/2006/relationships/tags" Target="../tags/tag203.xml"/><Relationship Id="rId1" Type="http://schemas.openxmlformats.org/officeDocument/2006/relationships/tags" Target="../tags/tag202.xml"/><Relationship Id="rId5" Type="http://schemas.openxmlformats.org/officeDocument/2006/relationships/slideMaster" Target="../slideMasters/slideMaster2.xml"/><Relationship Id="rId4" Type="http://schemas.openxmlformats.org/officeDocument/2006/relationships/tags" Target="../tags/tag205.xml"/></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07.xml"/><Relationship Id="rId7" Type="http://schemas.openxmlformats.org/officeDocument/2006/relationships/tags" Target="../tags/tag211.xml"/><Relationship Id="rId2" Type="http://schemas.openxmlformats.org/officeDocument/2006/relationships/tags" Target="../tags/tag206.xml"/><Relationship Id="rId1" Type="http://schemas.openxmlformats.org/officeDocument/2006/relationships/vmlDrawing" Target="../drawings/vmlDrawing18.vml"/><Relationship Id="rId6" Type="http://schemas.openxmlformats.org/officeDocument/2006/relationships/tags" Target="../tags/tag210.xml"/><Relationship Id="rId5" Type="http://schemas.openxmlformats.org/officeDocument/2006/relationships/tags" Target="../tags/tag209.xml"/><Relationship Id="rId10" Type="http://schemas.openxmlformats.org/officeDocument/2006/relationships/image" Target="../media/image4.emf"/><Relationship Id="rId4" Type="http://schemas.openxmlformats.org/officeDocument/2006/relationships/tags" Target="../tags/tag208.xml"/><Relationship Id="rId9" Type="http://schemas.openxmlformats.org/officeDocument/2006/relationships/oleObject" Target="../embeddings/oleObject18.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8.xml"/><Relationship Id="rId3" Type="http://schemas.openxmlformats.org/officeDocument/2006/relationships/tags" Target="../tags/tag213.xml"/><Relationship Id="rId7" Type="http://schemas.openxmlformats.org/officeDocument/2006/relationships/tags" Target="../tags/tag217.xml"/><Relationship Id="rId2" Type="http://schemas.openxmlformats.org/officeDocument/2006/relationships/tags" Target="../tags/tag212.xml"/><Relationship Id="rId1" Type="http://schemas.openxmlformats.org/officeDocument/2006/relationships/vmlDrawing" Target="../drawings/vmlDrawing19.vml"/><Relationship Id="rId6" Type="http://schemas.openxmlformats.org/officeDocument/2006/relationships/tags" Target="../tags/tag216.xml"/><Relationship Id="rId11" Type="http://schemas.openxmlformats.org/officeDocument/2006/relationships/image" Target="../media/image4.emf"/><Relationship Id="rId5" Type="http://schemas.openxmlformats.org/officeDocument/2006/relationships/tags" Target="../tags/tag215.xml"/><Relationship Id="rId10" Type="http://schemas.openxmlformats.org/officeDocument/2006/relationships/oleObject" Target="../embeddings/oleObject19.bin"/><Relationship Id="rId4" Type="http://schemas.openxmlformats.org/officeDocument/2006/relationships/tags" Target="../tags/tag214.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5.xml"/><Relationship Id="rId13" Type="http://schemas.openxmlformats.org/officeDocument/2006/relationships/tags" Target="../tags/tag230.xml"/><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tags" Target="../tags/tag229.xml"/><Relationship Id="rId17" Type="http://schemas.openxmlformats.org/officeDocument/2006/relationships/image" Target="../media/image1.emf"/><Relationship Id="rId2" Type="http://schemas.openxmlformats.org/officeDocument/2006/relationships/tags" Target="../tags/tag219.xml"/><Relationship Id="rId16" Type="http://schemas.openxmlformats.org/officeDocument/2006/relationships/oleObject" Target="../embeddings/oleObject20.bin"/><Relationship Id="rId1" Type="http://schemas.openxmlformats.org/officeDocument/2006/relationships/vmlDrawing" Target="../drawings/vmlDrawing20.vml"/><Relationship Id="rId6" Type="http://schemas.openxmlformats.org/officeDocument/2006/relationships/tags" Target="../tags/tag223.xml"/><Relationship Id="rId11" Type="http://schemas.openxmlformats.org/officeDocument/2006/relationships/tags" Target="../tags/tag228.xml"/><Relationship Id="rId5" Type="http://schemas.openxmlformats.org/officeDocument/2006/relationships/tags" Target="../tags/tag222.xml"/><Relationship Id="rId15" Type="http://schemas.openxmlformats.org/officeDocument/2006/relationships/slideMaster" Target="../slideMasters/slideMaster2.xml"/><Relationship Id="rId10" Type="http://schemas.openxmlformats.org/officeDocument/2006/relationships/tags" Target="../tags/tag227.xml"/><Relationship Id="rId4" Type="http://schemas.openxmlformats.org/officeDocument/2006/relationships/tags" Target="../tags/tag221.xml"/><Relationship Id="rId9" Type="http://schemas.openxmlformats.org/officeDocument/2006/relationships/tags" Target="../tags/tag226.xml"/><Relationship Id="rId14" Type="http://schemas.openxmlformats.org/officeDocument/2006/relationships/tags" Target="../tags/tag231.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38.xml"/><Relationship Id="rId13" Type="http://schemas.openxmlformats.org/officeDocument/2006/relationships/tags" Target="../tags/tag243.xml"/><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tags" Target="../tags/tag242.xml"/><Relationship Id="rId17" Type="http://schemas.openxmlformats.org/officeDocument/2006/relationships/image" Target="../media/image1.emf"/><Relationship Id="rId2" Type="http://schemas.openxmlformats.org/officeDocument/2006/relationships/tags" Target="../tags/tag232.xml"/><Relationship Id="rId16"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236.xml"/><Relationship Id="rId11" Type="http://schemas.openxmlformats.org/officeDocument/2006/relationships/tags" Target="../tags/tag241.xml"/><Relationship Id="rId5" Type="http://schemas.openxmlformats.org/officeDocument/2006/relationships/tags" Target="../tags/tag235.xml"/><Relationship Id="rId15" Type="http://schemas.openxmlformats.org/officeDocument/2006/relationships/slideMaster" Target="../slideMasters/slideMaster2.xml"/><Relationship Id="rId10" Type="http://schemas.openxmlformats.org/officeDocument/2006/relationships/tags" Target="../tags/tag240.xml"/><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tags" Target="../tags/tag24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51.xml"/><Relationship Id="rId13" Type="http://schemas.openxmlformats.org/officeDocument/2006/relationships/tags" Target="../tags/tag256.xml"/><Relationship Id="rId3" Type="http://schemas.openxmlformats.org/officeDocument/2006/relationships/tags" Target="../tags/tag246.xml"/><Relationship Id="rId7" Type="http://schemas.openxmlformats.org/officeDocument/2006/relationships/tags" Target="../tags/tag250.xml"/><Relationship Id="rId12" Type="http://schemas.openxmlformats.org/officeDocument/2006/relationships/tags" Target="../tags/tag255.xml"/><Relationship Id="rId17" Type="http://schemas.openxmlformats.org/officeDocument/2006/relationships/image" Target="../media/image10.emf"/><Relationship Id="rId2" Type="http://schemas.openxmlformats.org/officeDocument/2006/relationships/tags" Target="../tags/tag245.xml"/><Relationship Id="rId16"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249.xml"/><Relationship Id="rId11" Type="http://schemas.openxmlformats.org/officeDocument/2006/relationships/tags" Target="../tags/tag254.xml"/><Relationship Id="rId5" Type="http://schemas.openxmlformats.org/officeDocument/2006/relationships/tags" Target="../tags/tag248.xml"/><Relationship Id="rId15" Type="http://schemas.openxmlformats.org/officeDocument/2006/relationships/slideMaster" Target="../slideMasters/slideMaster2.xml"/><Relationship Id="rId10" Type="http://schemas.openxmlformats.org/officeDocument/2006/relationships/tags" Target="../tags/tag253.xml"/><Relationship Id="rId4" Type="http://schemas.openxmlformats.org/officeDocument/2006/relationships/tags" Target="../tags/tag247.xml"/><Relationship Id="rId9" Type="http://schemas.openxmlformats.org/officeDocument/2006/relationships/tags" Target="../tags/tag252.xml"/><Relationship Id="rId14" Type="http://schemas.openxmlformats.org/officeDocument/2006/relationships/tags" Target="../tags/tag257.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64.xml"/><Relationship Id="rId13" Type="http://schemas.openxmlformats.org/officeDocument/2006/relationships/tags" Target="../tags/tag269.xml"/><Relationship Id="rId3" Type="http://schemas.openxmlformats.org/officeDocument/2006/relationships/tags" Target="../tags/tag259.xml"/><Relationship Id="rId7" Type="http://schemas.openxmlformats.org/officeDocument/2006/relationships/tags" Target="../tags/tag263.xml"/><Relationship Id="rId12" Type="http://schemas.openxmlformats.org/officeDocument/2006/relationships/tags" Target="../tags/tag268.xml"/><Relationship Id="rId17" Type="http://schemas.openxmlformats.org/officeDocument/2006/relationships/image" Target="../media/image1.emf"/><Relationship Id="rId2" Type="http://schemas.openxmlformats.org/officeDocument/2006/relationships/tags" Target="../tags/tag258.xml"/><Relationship Id="rId16"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262.xml"/><Relationship Id="rId11" Type="http://schemas.openxmlformats.org/officeDocument/2006/relationships/tags" Target="../tags/tag267.xml"/><Relationship Id="rId5" Type="http://schemas.openxmlformats.org/officeDocument/2006/relationships/tags" Target="../tags/tag261.xml"/><Relationship Id="rId15" Type="http://schemas.openxmlformats.org/officeDocument/2006/relationships/slideMaster" Target="../slideMasters/slideMaster2.xml"/><Relationship Id="rId10" Type="http://schemas.openxmlformats.org/officeDocument/2006/relationships/tags" Target="../tags/tag266.xml"/><Relationship Id="rId4" Type="http://schemas.openxmlformats.org/officeDocument/2006/relationships/tags" Target="../tags/tag260.xml"/><Relationship Id="rId9" Type="http://schemas.openxmlformats.org/officeDocument/2006/relationships/tags" Target="../tags/tag265.xml"/><Relationship Id="rId14" Type="http://schemas.openxmlformats.org/officeDocument/2006/relationships/tags" Target="../tags/tag270.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tags" Target="../tags/tag282.xml"/><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tags" Target="../tags/tag281.xml"/><Relationship Id="rId17" Type="http://schemas.openxmlformats.org/officeDocument/2006/relationships/image" Target="../media/image10.emf"/><Relationship Id="rId2" Type="http://schemas.openxmlformats.org/officeDocument/2006/relationships/tags" Target="../tags/tag271.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275.xml"/><Relationship Id="rId11" Type="http://schemas.openxmlformats.org/officeDocument/2006/relationships/tags" Target="../tags/tag280.xml"/><Relationship Id="rId5" Type="http://schemas.openxmlformats.org/officeDocument/2006/relationships/tags" Target="../tags/tag274.xml"/><Relationship Id="rId15" Type="http://schemas.openxmlformats.org/officeDocument/2006/relationships/slideMaster" Target="../slideMasters/slideMaster2.xml"/><Relationship Id="rId10" Type="http://schemas.openxmlformats.org/officeDocument/2006/relationships/tags" Target="../tags/tag279.xml"/><Relationship Id="rId4" Type="http://schemas.openxmlformats.org/officeDocument/2006/relationships/tags" Target="../tags/tag273.xml"/><Relationship Id="rId9" Type="http://schemas.openxmlformats.org/officeDocument/2006/relationships/tags" Target="../tags/tag278.xml"/><Relationship Id="rId14" Type="http://schemas.openxmlformats.org/officeDocument/2006/relationships/tags" Target="../tags/tag283.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90.xml"/><Relationship Id="rId13" Type="http://schemas.openxmlformats.org/officeDocument/2006/relationships/tags" Target="../tags/tag295.xml"/><Relationship Id="rId3" Type="http://schemas.openxmlformats.org/officeDocument/2006/relationships/tags" Target="../tags/tag285.xml"/><Relationship Id="rId7" Type="http://schemas.openxmlformats.org/officeDocument/2006/relationships/tags" Target="../tags/tag289.xml"/><Relationship Id="rId12" Type="http://schemas.openxmlformats.org/officeDocument/2006/relationships/tags" Target="../tags/tag294.xml"/><Relationship Id="rId17" Type="http://schemas.openxmlformats.org/officeDocument/2006/relationships/image" Target="../media/image10.emf"/><Relationship Id="rId2" Type="http://schemas.openxmlformats.org/officeDocument/2006/relationships/tags" Target="../tags/tag284.xml"/><Relationship Id="rId16" Type="http://schemas.openxmlformats.org/officeDocument/2006/relationships/oleObject" Target="../embeddings/oleObject25.bin"/><Relationship Id="rId1" Type="http://schemas.openxmlformats.org/officeDocument/2006/relationships/vmlDrawing" Target="../drawings/vmlDrawing25.vml"/><Relationship Id="rId6" Type="http://schemas.openxmlformats.org/officeDocument/2006/relationships/tags" Target="../tags/tag288.xml"/><Relationship Id="rId11" Type="http://schemas.openxmlformats.org/officeDocument/2006/relationships/tags" Target="../tags/tag293.xml"/><Relationship Id="rId5" Type="http://schemas.openxmlformats.org/officeDocument/2006/relationships/tags" Target="../tags/tag287.xml"/><Relationship Id="rId15" Type="http://schemas.openxmlformats.org/officeDocument/2006/relationships/slideMaster" Target="../slideMasters/slideMaster2.xml"/><Relationship Id="rId10" Type="http://schemas.openxmlformats.org/officeDocument/2006/relationships/tags" Target="../tags/tag292.xml"/><Relationship Id="rId4" Type="http://schemas.openxmlformats.org/officeDocument/2006/relationships/tags" Target="../tags/tag286.xml"/><Relationship Id="rId9" Type="http://schemas.openxmlformats.org/officeDocument/2006/relationships/tags" Target="../tags/tag291.xml"/><Relationship Id="rId14" Type="http://schemas.openxmlformats.org/officeDocument/2006/relationships/tags" Target="../tags/tag296.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303.xml"/><Relationship Id="rId13" Type="http://schemas.openxmlformats.org/officeDocument/2006/relationships/tags" Target="../tags/tag308.xml"/><Relationship Id="rId3" Type="http://schemas.openxmlformats.org/officeDocument/2006/relationships/tags" Target="../tags/tag298.xml"/><Relationship Id="rId7" Type="http://schemas.openxmlformats.org/officeDocument/2006/relationships/tags" Target="../tags/tag302.xml"/><Relationship Id="rId12" Type="http://schemas.openxmlformats.org/officeDocument/2006/relationships/tags" Target="../tags/tag307.xml"/><Relationship Id="rId17" Type="http://schemas.openxmlformats.org/officeDocument/2006/relationships/image" Target="../media/image1.emf"/><Relationship Id="rId2" Type="http://schemas.openxmlformats.org/officeDocument/2006/relationships/tags" Target="../tags/tag297.xml"/><Relationship Id="rId16" Type="http://schemas.openxmlformats.org/officeDocument/2006/relationships/oleObject" Target="../embeddings/oleObject26.bin"/><Relationship Id="rId1" Type="http://schemas.openxmlformats.org/officeDocument/2006/relationships/vmlDrawing" Target="../drawings/vmlDrawing26.vml"/><Relationship Id="rId6" Type="http://schemas.openxmlformats.org/officeDocument/2006/relationships/tags" Target="../tags/tag301.xml"/><Relationship Id="rId11" Type="http://schemas.openxmlformats.org/officeDocument/2006/relationships/tags" Target="../tags/tag306.xml"/><Relationship Id="rId5" Type="http://schemas.openxmlformats.org/officeDocument/2006/relationships/tags" Target="../tags/tag300.xml"/><Relationship Id="rId15" Type="http://schemas.openxmlformats.org/officeDocument/2006/relationships/slideMaster" Target="../slideMasters/slideMaster2.xml"/><Relationship Id="rId10" Type="http://schemas.openxmlformats.org/officeDocument/2006/relationships/tags" Target="../tags/tag305.xml"/><Relationship Id="rId4" Type="http://schemas.openxmlformats.org/officeDocument/2006/relationships/tags" Target="../tags/tag299.xml"/><Relationship Id="rId9" Type="http://schemas.openxmlformats.org/officeDocument/2006/relationships/tags" Target="../tags/tag304.xml"/><Relationship Id="rId14" Type="http://schemas.openxmlformats.org/officeDocument/2006/relationships/tags" Target="../tags/tag309.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316.xml"/><Relationship Id="rId13" Type="http://schemas.openxmlformats.org/officeDocument/2006/relationships/tags" Target="../tags/tag321.xml"/><Relationship Id="rId3" Type="http://schemas.openxmlformats.org/officeDocument/2006/relationships/tags" Target="../tags/tag311.xml"/><Relationship Id="rId7" Type="http://schemas.openxmlformats.org/officeDocument/2006/relationships/tags" Target="../tags/tag315.xml"/><Relationship Id="rId12" Type="http://schemas.openxmlformats.org/officeDocument/2006/relationships/tags" Target="../tags/tag320.xml"/><Relationship Id="rId17" Type="http://schemas.openxmlformats.org/officeDocument/2006/relationships/image" Target="../media/image1.emf"/><Relationship Id="rId2" Type="http://schemas.openxmlformats.org/officeDocument/2006/relationships/tags" Target="../tags/tag310.xml"/><Relationship Id="rId16" Type="http://schemas.openxmlformats.org/officeDocument/2006/relationships/oleObject" Target="../embeddings/oleObject27.bin"/><Relationship Id="rId1" Type="http://schemas.openxmlformats.org/officeDocument/2006/relationships/vmlDrawing" Target="../drawings/vmlDrawing27.vml"/><Relationship Id="rId6" Type="http://schemas.openxmlformats.org/officeDocument/2006/relationships/tags" Target="../tags/tag314.xml"/><Relationship Id="rId11" Type="http://schemas.openxmlformats.org/officeDocument/2006/relationships/tags" Target="../tags/tag319.xml"/><Relationship Id="rId5" Type="http://schemas.openxmlformats.org/officeDocument/2006/relationships/tags" Target="../tags/tag313.xml"/><Relationship Id="rId15" Type="http://schemas.openxmlformats.org/officeDocument/2006/relationships/slideMaster" Target="../slideMasters/slideMaster2.xml"/><Relationship Id="rId10" Type="http://schemas.openxmlformats.org/officeDocument/2006/relationships/tags" Target="../tags/tag318.xml"/><Relationship Id="rId4" Type="http://schemas.openxmlformats.org/officeDocument/2006/relationships/tags" Target="../tags/tag312.xml"/><Relationship Id="rId9" Type="http://schemas.openxmlformats.org/officeDocument/2006/relationships/tags" Target="../tags/tag317.xml"/><Relationship Id="rId14" Type="http://schemas.openxmlformats.org/officeDocument/2006/relationships/tags" Target="../tags/tag322.xml"/></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25.xml"/><Relationship Id="rId7" Type="http://schemas.openxmlformats.org/officeDocument/2006/relationships/tags" Target="../tags/tag329.xml"/><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tags" Target="../tags/tag328.xml"/><Relationship Id="rId5" Type="http://schemas.openxmlformats.org/officeDocument/2006/relationships/tags" Target="../tags/tag327.xml"/><Relationship Id="rId4" Type="http://schemas.openxmlformats.org/officeDocument/2006/relationships/tags" Target="../tags/tag326.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332.xml"/><Relationship Id="rId2" Type="http://schemas.openxmlformats.org/officeDocument/2006/relationships/tags" Target="../tags/tag331.xml"/><Relationship Id="rId1" Type="http://schemas.openxmlformats.org/officeDocument/2006/relationships/tags" Target="../tags/tag330.xml"/><Relationship Id="rId5" Type="http://schemas.openxmlformats.org/officeDocument/2006/relationships/slideMaster" Target="../slideMasters/slideMaster2.xml"/><Relationship Id="rId4" Type="http://schemas.openxmlformats.org/officeDocument/2006/relationships/tags" Target="../tags/tag333.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35.xml"/><Relationship Id="rId7" Type="http://schemas.openxmlformats.org/officeDocument/2006/relationships/oleObject" Target="../embeddings/oleObject28.bin"/><Relationship Id="rId2" Type="http://schemas.openxmlformats.org/officeDocument/2006/relationships/tags" Target="../tags/tag334.xml"/><Relationship Id="rId1" Type="http://schemas.openxmlformats.org/officeDocument/2006/relationships/vmlDrawing" Target="../drawings/vmlDrawing28.vml"/><Relationship Id="rId6" Type="http://schemas.openxmlformats.org/officeDocument/2006/relationships/image" Target="../media/image9.png"/><Relationship Id="rId5" Type="http://schemas.openxmlformats.org/officeDocument/2006/relationships/slideMaster" Target="../slideMasters/slideMaster2.xml"/><Relationship Id="rId4" Type="http://schemas.openxmlformats.org/officeDocument/2006/relationships/tags" Target="../tags/tag336.xml"/><Relationship Id="rId9"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5.xml"/><Relationship Id="rId1" Type="http://schemas.openxmlformats.org/officeDocument/2006/relationships/vmlDrawing" Target="../drawings/vmlDrawing30.vml"/><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357.xml"/><Relationship Id="rId2" Type="http://schemas.openxmlformats.org/officeDocument/2006/relationships/tags" Target="../tags/tag356.xml"/><Relationship Id="rId1" Type="http://schemas.openxmlformats.org/officeDocument/2006/relationships/vmlDrawing" Target="../drawings/vmlDrawing31.vml"/><Relationship Id="rId6" Type="http://schemas.openxmlformats.org/officeDocument/2006/relationships/image" Target="../media/image12.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8.xml"/><Relationship Id="rId1" Type="http://schemas.openxmlformats.org/officeDocument/2006/relationships/vmlDrawing" Target="../drawings/vmlDrawing32.vml"/><Relationship Id="rId5" Type="http://schemas.openxmlformats.org/officeDocument/2006/relationships/image" Target="../media/image7.emf"/><Relationship Id="rId4" Type="http://schemas.openxmlformats.org/officeDocument/2006/relationships/oleObject" Target="../embeddings/oleObject32.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9.xml"/><Relationship Id="rId1" Type="http://schemas.openxmlformats.org/officeDocument/2006/relationships/vmlDrawing" Target="../drawings/vmlDrawing33.vml"/><Relationship Id="rId5" Type="http://schemas.openxmlformats.org/officeDocument/2006/relationships/image" Target="../media/image13.emf"/><Relationship Id="rId4" Type="http://schemas.openxmlformats.org/officeDocument/2006/relationships/oleObject" Target="../embeddings/oleObject33.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4.emf"/><Relationship Id="rId4" Type="http://schemas.openxmlformats.org/officeDocument/2006/relationships/tags" Target="../tags/tag50.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tags" Target="../tags/tag58.xml"/><Relationship Id="rId11" Type="http://schemas.openxmlformats.org/officeDocument/2006/relationships/image" Target="../media/image4.emf"/><Relationship Id="rId5" Type="http://schemas.openxmlformats.org/officeDocument/2006/relationships/tags" Target="../tags/tag57.xml"/><Relationship Id="rId10" Type="http://schemas.openxmlformats.org/officeDocument/2006/relationships/oleObject" Target="../embeddings/oleObject5.bin"/><Relationship Id="rId4" Type="http://schemas.openxmlformats.org/officeDocument/2006/relationships/tags" Target="../tags/tag56.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1.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image" Target="../media/image1.emf"/><Relationship Id="rId2" Type="http://schemas.openxmlformats.org/officeDocument/2006/relationships/tags" Target="../tags/tag74.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slideMaster" Target="../slideMasters/slideMaster1.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1.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8.bin"/><Relationship Id="rId2" Type="http://schemas.openxmlformats.org/officeDocument/2006/relationships/tags" Target="../tags/tag87.xml"/><Relationship Id="rId16" Type="http://schemas.openxmlformats.org/officeDocument/2006/relationships/slideMaster" Target="../slideMasters/slideMaster1.xml"/><Relationship Id="rId1" Type="http://schemas.openxmlformats.org/officeDocument/2006/relationships/vmlDrawing" Target="../drawings/vmlDrawing8.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tags" Target="../tags/tag10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p:custDataLst>
              <p:tags r:id="rId2"/>
            </p:custDataLst>
            <p:extLst>
              <p:ext uri="{D42A27DB-BD31-4B8C-83A1-F6EECF244321}">
                <p14:modId xmlns:p14="http://schemas.microsoft.com/office/powerpoint/2010/main" val="40632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6"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grpSp>
        <p:nvGrpSpPr>
          <p:cNvPr id="4" name="LogoImage">
            <a:extLst>
              <a:ext uri="{FF2B5EF4-FFF2-40B4-BE49-F238E27FC236}">
                <a16:creationId xmlns:a16="http://schemas.microsoft.com/office/drawing/2014/main" id="{275CA5E5-0CE7-4325-8DA5-DA17C9380A0C}"/>
              </a:ext>
            </a:extLst>
          </p:cNvPr>
          <p:cNvGrpSpPr>
            <a:grpSpLocks noChangeAspect="1"/>
          </p:cNvGrpSpPr>
          <p:nvPr>
            <p:custDataLst>
              <p:tags r:id="rId4"/>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pic>
        <p:nvPicPr>
          <p:cNvPr id="7" name="Partnership">
            <a:extLst>
              <a:ext uri="{FF2B5EF4-FFF2-40B4-BE49-F238E27FC236}">
                <a16:creationId xmlns:a16="http://schemas.microsoft.com/office/drawing/2014/main" id="{584C7219-5480-4637-A895-DD70A997B5EF}"/>
              </a:ext>
            </a:extLst>
          </p:cNvPr>
          <p:cNvPicPr>
            <a:picLocks noChangeAspect="1"/>
          </p:cNvPicPr>
          <p:nvPr userDrawn="1"/>
        </p:nvPicPr>
        <p:blipFill>
          <a:blip r:embed="rId13"/>
          <a:stretch>
            <a:fillRect/>
          </a:stretch>
        </p:blipFill>
        <p:spPr>
          <a:xfrm>
            <a:off x="0" y="857"/>
            <a:ext cx="12192000" cy="6856286"/>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p:custDataLst>
              <p:tags r:id="rId2"/>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4"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p:custDataLst>
              <p:tags r:id="rId7"/>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p:custDataLst>
              <p:tags r:id="rId8"/>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p:custDataLst>
              <p:tags r:id="rId12"/>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2"/>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p:custDataLst>
              <p:tags r:id="rId10"/>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p:custDataLst>
              <p:tags r:id="rId2"/>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2"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p:nvPicPr>
        <p:blipFill>
          <a:blip r:embed="rId8"/>
          <a:stretch>
            <a:fillRect/>
          </a:stretch>
        </p:blipFill>
        <p:spPr>
          <a:xfrm>
            <a:off x="0" y="0"/>
            <a:ext cx="12192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p:custDataLst>
              <p:tags r:id="rId3"/>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2562955"/>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1994"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2. Slide Title"/>
          <p:cNvSpPr>
            <a:spLocks noGrp="1"/>
          </p:cNvSpPr>
          <p:nvPr>
            <p:ph type="title"/>
          </p:nvPr>
        </p:nvSpPr>
        <p:spPr bwMode="auto">
          <a:xfrm>
            <a:off x="373195" y="233243"/>
            <a:ext cx="11725484" cy="410369"/>
          </a:xfrm>
        </p:spPr>
        <p:txBody>
          <a:bodyPr/>
          <a:lstStyle>
            <a:lvl1pPr>
              <a:defRPr lang="en-US" sz="2667" b="0" baseline="0" dirty="0">
                <a:solidFill>
                  <a:schemeClr val="tx1"/>
                </a:solidFill>
                <a:latin typeface="Georgia" panose="02040502050405020303" pitchFamily="18" charset="0"/>
                <a:ea typeface="+mj-ea"/>
                <a:cs typeface="+mj-cs"/>
              </a:defRPr>
            </a:lvl1pPr>
          </a:lstStyle>
          <a:p>
            <a:pPr lvl="0" algn="l" defTabSz="913518" rtl="0" eaLnBrk="1" fontAlgn="base" latinLnBrk="0" hangingPunct="1">
              <a:spcBef>
                <a:spcPct val="0"/>
              </a:spcBef>
              <a:spcAft>
                <a:spcPct val="0"/>
              </a:spcAft>
              <a:tabLst>
                <a:tab pos="275350" algn="l"/>
              </a:tabLst>
            </a:pPr>
            <a:r>
              <a:rPr lang="en-US" dirty="0"/>
              <a:t>Click to edit Master title style</a:t>
            </a:r>
          </a:p>
        </p:txBody>
      </p:sp>
      <p:sp>
        <p:nvSpPr>
          <p:cNvPr id="5" name="doc id" hidden="1"/>
          <p:cNvSpPr>
            <a:spLocks noChangeArrowheads="1"/>
          </p:cNvSpPr>
          <p:nvPr/>
        </p:nvSpPr>
        <p:spPr bwMode="auto">
          <a:xfrm>
            <a:off x="10995481" y="51837"/>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18"/>
            <a:endParaRPr lang="en-US" sz="816" dirty="0">
              <a:solidFill>
                <a:srgbClr val="808080"/>
              </a:solidFill>
              <a:latin typeface="Arial"/>
            </a:endParaRPr>
          </a:p>
        </p:txBody>
      </p:sp>
    </p:spTree>
    <p:extLst>
      <p:ext uri="{BB962C8B-B14F-4D97-AF65-F5344CB8AC3E}">
        <p14:creationId xmlns:p14="http://schemas.microsoft.com/office/powerpoint/2010/main" val="3194130624"/>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403273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5431644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AT + ST">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GB"/>
              <a:t>Click to add title</a:t>
            </a:r>
          </a:p>
        </p:txBody>
      </p:sp>
      <p:sp>
        <p:nvSpPr>
          <p:cNvPr id="8" name="Text Placeholder 6">
            <a:extLst>
              <a:ext uri="{FF2B5EF4-FFF2-40B4-BE49-F238E27FC236}">
                <a16:creationId xmlns:a16="http://schemas.microsoft.com/office/drawing/2014/main" id="{37CA877F-464E-4529-A717-FC19761F1B14}"/>
              </a:ext>
            </a:extLst>
          </p:cNvPr>
          <p:cNvSpPr>
            <a:spLocks noGrp="1"/>
          </p:cNvSpPr>
          <p:nvPr>
            <p:ph type="body" sz="quarter" idx="12" hasCustomPrompt="1"/>
          </p:nvPr>
        </p:nvSpPr>
        <p:spPr>
          <a:xfrm>
            <a:off x="431800" y="1203120"/>
            <a:ext cx="11328400" cy="287867"/>
          </a:xfrm>
          <a:noFill/>
        </p:spPr>
        <p:txBody>
          <a:bodyPr wrap="square" lIns="0" tIns="0" rIns="0" bIns="0" rtlCol="0">
            <a:noAutofit/>
          </a:bodyPr>
          <a:lstStyle>
            <a:lvl1pPr>
              <a:defRPr lang="en-US" b="0" dirty="0" smtClean="0">
                <a:solidFill>
                  <a:schemeClr val="bg2"/>
                </a:solidFill>
              </a:defRPr>
            </a:lvl1pPr>
            <a:lvl2pPr>
              <a:defRPr lang="en-US" sz="2400" b="0" dirty="0" smtClean="0">
                <a:solidFill>
                  <a:schemeClr val="tx1"/>
                </a:solidFill>
              </a:defRPr>
            </a:lvl2pPr>
            <a:lvl3pPr>
              <a:defRPr lang="en-US" sz="2400" b="0" dirty="0" smtClean="0">
                <a:solidFill>
                  <a:schemeClr val="tx1"/>
                </a:solidFill>
              </a:defRPr>
            </a:lvl3pPr>
            <a:lvl4pPr>
              <a:defRPr lang="en-US" sz="2400" b="0" dirty="0" smtClean="0">
                <a:solidFill>
                  <a:schemeClr val="tx1"/>
                </a:solidFill>
              </a:defRPr>
            </a:lvl4pPr>
            <a:lvl5pPr>
              <a:defRPr lang="en-US" sz="2400" b="0" dirty="0">
                <a:solidFill>
                  <a:schemeClr val="tx1"/>
                </a:solidFill>
              </a:defRPr>
            </a:lvl5pPr>
          </a:lstStyle>
          <a:p>
            <a:pPr lvl="0">
              <a:buClr>
                <a:schemeClr val="accent2"/>
              </a:buClr>
              <a:buFont typeface="Wingdings" panose="05000000000000000000" pitchFamily="2" charset="2"/>
            </a:pPr>
            <a:r>
              <a:rPr lang="en-US"/>
              <a:t>xxx</a:t>
            </a:r>
          </a:p>
        </p:txBody>
      </p:sp>
    </p:spTree>
    <p:custDataLst>
      <p:tags r:id="rId1"/>
    </p:custDataLst>
    <p:extLst>
      <p:ext uri="{BB962C8B-B14F-4D97-AF65-F5344CB8AC3E}">
        <p14:creationId xmlns:p14="http://schemas.microsoft.com/office/powerpoint/2010/main" val="8870088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1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EBFD9DF-0FB3-43A0-A6CA-7F0AF6AC39D2}"/>
              </a:ext>
            </a:extLst>
          </p:cNvPr>
          <p:cNvGraphicFramePr>
            <a:graphicFrameLocks noChangeAspect="1"/>
          </p:cNvGraphicFramePr>
          <p:nvPr>
            <p:custDataLst>
              <p:tags r:id="rId2"/>
            </p:custDataLst>
            <p:extLst>
              <p:ext uri="{D42A27DB-BD31-4B8C-83A1-F6EECF244321}">
                <p14:modId xmlns:p14="http://schemas.microsoft.com/office/powerpoint/2010/main" val="4199437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4" name="think-cell Slide" r:id="rId8" imgW="463" imgH="463" progId="TCLayout.ActiveDocument.1">
                  <p:embed/>
                </p:oleObj>
              </mc:Choice>
              <mc:Fallback>
                <p:oleObj name="think-cell Slide" r:id="rId8" imgW="463" imgH="463" progId="TCLayout.ActiveDocument.1">
                  <p:embed/>
                  <p:pic>
                    <p:nvPicPr>
                      <p:cNvPr id="2" name="Object 1" hidden="1">
                        <a:extLst>
                          <a:ext uri="{FF2B5EF4-FFF2-40B4-BE49-F238E27FC236}">
                            <a16:creationId xmlns:a16="http://schemas.microsoft.com/office/drawing/2014/main" id="{0EBFD9DF-0FB3-43A0-A6CA-7F0AF6AC39D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SlideLogoText">
            <a:extLst>
              <a:ext uri="{FF2B5EF4-FFF2-40B4-BE49-F238E27FC236}">
                <a16:creationId xmlns:a16="http://schemas.microsoft.com/office/drawing/2014/main" id="{92A63429-03F1-4595-BAE1-A5F5E74A0DF2}"/>
              </a:ext>
            </a:extLst>
          </p:cNvPr>
          <p:cNvSpPr txBox="1"/>
          <p:nvPr>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bg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6"/>
            </p:custDataLst>
          </p:nvPr>
        </p:nvSpPr>
        <p:spPr>
          <a:xfrm>
            <a:off x="7156704" y="89319"/>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1470108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1_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29371988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2"/>
            </p:custDataLst>
            <p:extLst>
              <p:ext uri="{D42A27DB-BD31-4B8C-83A1-F6EECF244321}">
                <p14:modId xmlns:p14="http://schemas.microsoft.com/office/powerpoint/2010/main" val="231973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0"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4"/>
            </p:custDataLst>
          </p:nvPr>
        </p:nvGrpSpPr>
        <p:grpSpPr bwMode="black">
          <a:xfrm>
            <a:off x="551942" y="481161"/>
            <a:ext cx="1893202"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5"/>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6"/>
            </p:custDataLst>
          </p:nvPr>
        </p:nvSpPr>
        <p:spPr>
          <a:xfrm>
            <a:off x="551942"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7"/>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8"/>
            </p:custDataLst>
          </p:nvPr>
        </p:nvSpPr>
        <p:spPr>
          <a:xfrm>
            <a:off x="551942"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9"/>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pic>
        <p:nvPicPr>
          <p:cNvPr id="5" name="Partnership">
            <a:extLst>
              <a:ext uri="{FF2B5EF4-FFF2-40B4-BE49-F238E27FC236}">
                <a16:creationId xmlns:a16="http://schemas.microsoft.com/office/drawing/2014/main" id="{A8772CBB-049B-42D8-B10E-A3ABB7480EDA}"/>
              </a:ext>
            </a:extLst>
          </p:cNvPr>
          <p:cNvPicPr>
            <a:picLocks noChangeAspect="1"/>
          </p:cNvPicPr>
          <p:nvPr userDrawn="1"/>
        </p:nvPicPr>
        <p:blipFill>
          <a:blip r:embed="rId14"/>
          <a:stretch>
            <a:fillRect/>
          </a:stretch>
        </p:blipFill>
        <p:spPr>
          <a:xfrm>
            <a:off x="0" y="857"/>
            <a:ext cx="12192000" cy="6856286"/>
          </a:xfrm>
          <a:prstGeom prst="rect">
            <a:avLst/>
          </a:prstGeom>
        </p:spPr>
      </p:pic>
    </p:spTree>
    <p:extLst>
      <p:ext uri="{BB962C8B-B14F-4D97-AF65-F5344CB8AC3E}">
        <p14:creationId xmlns:p14="http://schemas.microsoft.com/office/powerpoint/2010/main" val="26885933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6"/>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2"/>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8"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2"/>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2"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934044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554736" y="2744369"/>
            <a:ext cx="2514600" cy="769441"/>
          </a:xfrm>
        </p:spPr>
        <p:txBody>
          <a:bodyPr vert="horz" anchor="b">
            <a:noAutofit/>
          </a:bodyPr>
          <a:lstStyle>
            <a:lvl1pPr>
              <a:defRPr>
                <a:solidFill>
                  <a:schemeClr val="tx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38077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2383756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0" name="think-cell Slide" r:id="rId16" imgW="413" imgH="416" progId="TCLayout.ActiveDocument.1">
                  <p:embed/>
                </p:oleObj>
              </mc:Choice>
              <mc:Fallback>
                <p:oleObj name="think-cell Slide" r:id="rId16"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11"/>
            </p:custDataLst>
          </p:nvPr>
        </p:nvSpPr>
        <p:spPr>
          <a:xfrm>
            <a:off x="554736" y="2744369"/>
            <a:ext cx="3465576" cy="769441"/>
          </a:xfrm>
          <a:prstGeom prst="rect">
            <a:avLst/>
          </a:prstGeom>
        </p:spPr>
        <p:txBody>
          <a:bodyPr vert="horz" wrap="square" anchor="b">
            <a:noAutofit/>
          </a:bodyPr>
          <a:lstStyle>
            <a:lvl1pPr algn="l">
              <a:defRPr>
                <a:solidFill>
                  <a:schemeClr val="tx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1287880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703914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4"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554736" y="182372"/>
            <a:ext cx="5065776" cy="731520"/>
          </a:xfrm>
        </p:spPr>
        <p:txBody>
          <a:bodyPr vert="horz"/>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247193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905110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2"/>
            </p:custDataLst>
          </p:nvPr>
        </p:nvSpPr>
        <p:spPr>
          <a:xfrm>
            <a:off x="554736" y="182372"/>
            <a:ext cx="6967728" cy="731520"/>
          </a:xfrm>
        </p:spPr>
        <p:txBody>
          <a:bodyPr vert="horz"/>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3"/>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4"/>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695030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745614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2"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7"/>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8"/>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9"/>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10"/>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2"/>
            </p:custDataLst>
          </p:nvPr>
        </p:nvSpPr>
        <p:spPr>
          <a:xfrm>
            <a:off x="554736" y="182372"/>
            <a:ext cx="7918704" cy="731520"/>
          </a:xfrm>
        </p:spPr>
        <p:txBody>
          <a:bodyPr vert="horz"/>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3"/>
            </p:custDataLst>
          </p:nvPr>
        </p:nvSpPr>
        <p:spPr>
          <a:xfrm>
            <a:off x="554736" y="903861"/>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4"/>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130981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2"/>
            </p:custDataLst>
            <p:extLst>
              <p:ext uri="{D42A27DB-BD31-4B8C-83A1-F6EECF244321}">
                <p14:modId xmlns:p14="http://schemas.microsoft.com/office/powerpoint/2010/main" val="2703389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6" name="think-cell Slide" r:id="rId16" imgW="473" imgH="473" progId="TCLayout.ActiveDocument.1">
                  <p:embed/>
                </p:oleObj>
              </mc:Choice>
              <mc:Fallback>
                <p:oleObj name="think-cell Slide" r:id="rId16"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2"/>
            </p:custDataLst>
          </p:nvPr>
        </p:nvSpPr>
        <p:spPr>
          <a:xfrm>
            <a:off x="554736" y="18237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3"/>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781094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855422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2"/>
            </p:custDataLst>
          </p:nvPr>
        </p:nvSpPr>
        <p:spPr>
          <a:xfrm>
            <a:off x="554736" y="2743200"/>
            <a:ext cx="3465576" cy="770400"/>
          </a:xfrm>
        </p:spPr>
        <p:txBody>
          <a:bodyPr vert="horz"/>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3"/>
            </p:custDataLst>
          </p:nvPr>
        </p:nvSpPr>
        <p:spPr>
          <a:xfrm>
            <a:off x="554736" y="3661200"/>
            <a:ext cx="3465576" cy="244800"/>
          </a:xfrm>
        </p:spPr>
        <p:txBody>
          <a:bodyPr anchor="t"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4480180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127790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7"/>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8"/>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10"/>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2"/>
            </p:custDataLst>
          </p:nvPr>
        </p:nvSpPr>
        <p:spPr>
          <a:xfrm>
            <a:off x="554736" y="2743200"/>
            <a:ext cx="2514600" cy="770400"/>
          </a:xfrm>
        </p:spPr>
        <p:txBody>
          <a:bodyPr vert="horz"/>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3"/>
            </p:custDataLst>
          </p:nvPr>
        </p:nvSpPr>
        <p:spPr>
          <a:xfrm>
            <a:off x="554736" y="3661200"/>
            <a:ext cx="2514600" cy="493200"/>
          </a:xfrm>
        </p:spPr>
        <p:txBody>
          <a:bodyPr anchor="t"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29610467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2"/>
            </p:custDataLst>
            <p:extLst>
              <p:ext uri="{D42A27DB-BD31-4B8C-83A1-F6EECF244321}">
                <p14:modId xmlns:p14="http://schemas.microsoft.com/office/powerpoint/2010/main" val="338447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8"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9"/>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3"/>
            </p:custDataLst>
          </p:nvPr>
        </p:nvGrpSpPr>
        <p:grpSpPr bwMode="black">
          <a:xfrm>
            <a:off x="549271" y="481161"/>
            <a:ext cx="1893202"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42603753"/>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5066"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2. Slide Title"/>
          <p:cNvSpPr>
            <a:spLocks noGrp="1"/>
          </p:cNvSpPr>
          <p:nvPr>
            <p:ph type="title"/>
          </p:nvPr>
        </p:nvSpPr>
        <p:spPr bwMode="auto">
          <a:xfrm>
            <a:off x="373195" y="233243"/>
            <a:ext cx="11725484" cy="410433"/>
          </a:xfrm>
        </p:spPr>
        <p:txBody>
          <a:bodyPr/>
          <a:lstStyle>
            <a:lvl1pPr>
              <a:defRPr lang="en-US" sz="2667" b="0" baseline="0" dirty="0">
                <a:solidFill>
                  <a:schemeClr val="tx1"/>
                </a:solidFill>
                <a:latin typeface="Georgia" panose="02040502050405020303" pitchFamily="18" charset="0"/>
                <a:ea typeface="+mj-ea"/>
                <a:cs typeface="+mj-cs"/>
              </a:defRPr>
            </a:lvl1pPr>
          </a:lstStyle>
          <a:p>
            <a:pPr lvl="0" algn="l" defTabSz="913518" rtl="0" eaLnBrk="1" fontAlgn="base" latinLnBrk="0" hangingPunct="1">
              <a:spcBef>
                <a:spcPct val="0"/>
              </a:spcBef>
              <a:spcAft>
                <a:spcPct val="0"/>
              </a:spcAft>
              <a:tabLst>
                <a:tab pos="275350" algn="l"/>
              </a:tabLst>
            </a:pPr>
            <a:r>
              <a:rPr lang="en-US" dirty="0"/>
              <a:t>Click to edit Master title style</a:t>
            </a:r>
          </a:p>
        </p:txBody>
      </p:sp>
      <p:sp>
        <p:nvSpPr>
          <p:cNvPr id="5" name="doc id" hidden="1"/>
          <p:cNvSpPr>
            <a:spLocks noChangeArrowheads="1"/>
          </p:cNvSpPr>
          <p:nvPr/>
        </p:nvSpPr>
        <p:spPr bwMode="auto">
          <a:xfrm>
            <a:off x="10995481" y="51837"/>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18"/>
            <a:endParaRPr lang="en-US" sz="816" dirty="0">
              <a:solidFill>
                <a:srgbClr val="808080"/>
              </a:solidFill>
              <a:latin typeface="Arial"/>
            </a:endParaRPr>
          </a:p>
        </p:txBody>
      </p:sp>
    </p:spTree>
    <p:extLst>
      <p:ext uri="{BB962C8B-B14F-4D97-AF65-F5344CB8AC3E}">
        <p14:creationId xmlns:p14="http://schemas.microsoft.com/office/powerpoint/2010/main" val="2581386353"/>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59141995"/>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6090" name="think-cell Slide" r:id="rId5" imgW="347" imgH="348" progId="TCLayout.ActiveDocument.1">
                  <p:embed/>
                </p:oleObj>
              </mc:Choice>
              <mc:Fallback>
                <p:oleObj name="think-cell Slide" r:id="rId5" imgW="347" imgH="348" progId="TCLayout.ActiveDocument.1">
                  <p:embed/>
                  <p:pic>
                    <p:nvPicPr>
                      <p:cNvPr id="3" name="Object 2"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 name="Freeform 3"/>
          <p:cNvSpPr/>
          <p:nvPr/>
        </p:nvSpPr>
        <p:spPr>
          <a:xfrm flipH="1">
            <a:off x="8100707" y="2"/>
            <a:ext cx="4091293" cy="6862452"/>
          </a:xfrm>
          <a:custGeom>
            <a:avLst/>
            <a:gdLst>
              <a:gd name="connsiteX0" fmla="*/ 93816 w 3068470"/>
              <a:gd name="connsiteY0" fmla="*/ 0 h 5146839"/>
              <a:gd name="connsiteX1" fmla="*/ 0 w 3068470"/>
              <a:gd name="connsiteY1" fmla="*/ 0 h 5146839"/>
              <a:gd name="connsiteX2" fmla="*/ 0 w 3068470"/>
              <a:gd name="connsiteY2" fmla="*/ 5146839 h 5146839"/>
              <a:gd name="connsiteX3" fmla="*/ 3068470 w 3068470"/>
              <a:gd name="connsiteY3" fmla="*/ 5143500 h 5146839"/>
            </a:gdLst>
            <a:ahLst/>
            <a:cxnLst>
              <a:cxn ang="0">
                <a:pos x="connsiteX0" y="connsiteY0"/>
              </a:cxn>
              <a:cxn ang="0">
                <a:pos x="connsiteX1" y="connsiteY1"/>
              </a:cxn>
              <a:cxn ang="0">
                <a:pos x="connsiteX2" y="connsiteY2"/>
              </a:cxn>
              <a:cxn ang="0">
                <a:pos x="connsiteX3" y="connsiteY3"/>
              </a:cxn>
            </a:cxnLst>
            <a:rect l="l" t="t" r="r" b="b"/>
            <a:pathLst>
              <a:path w="3068470" h="5146839">
                <a:moveTo>
                  <a:pt x="93816" y="0"/>
                </a:moveTo>
                <a:lnTo>
                  <a:pt x="0" y="0"/>
                </a:lnTo>
                <a:lnTo>
                  <a:pt x="0" y="5146839"/>
                </a:lnTo>
                <a:lnTo>
                  <a:pt x="3068470" y="51435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65" dirty="0">
              <a:solidFill>
                <a:srgbClr val="FFFFFF"/>
              </a:solidFill>
            </a:endParaRPr>
          </a:p>
        </p:txBody>
      </p:sp>
      <p:sp>
        <p:nvSpPr>
          <p:cNvPr id="2" name="2. Slide Title"/>
          <p:cNvSpPr>
            <a:spLocks noGrp="1"/>
          </p:cNvSpPr>
          <p:nvPr>
            <p:ph type="title"/>
          </p:nvPr>
        </p:nvSpPr>
        <p:spPr bwMode="auto">
          <a:xfrm>
            <a:off x="373195" y="233243"/>
            <a:ext cx="11725484" cy="410433"/>
          </a:xfrm>
        </p:spPr>
        <p:txBody>
          <a:bodyPr/>
          <a:lstStyle>
            <a:lvl1pPr>
              <a:defRPr lang="en-US" sz="2667" b="0" baseline="0" dirty="0">
                <a:solidFill>
                  <a:schemeClr val="tx1"/>
                </a:solidFill>
                <a:latin typeface="Georgia" panose="02040502050405020303" pitchFamily="18" charset="0"/>
                <a:ea typeface="+mj-ea"/>
                <a:cs typeface="+mj-cs"/>
              </a:defRPr>
            </a:lvl1pPr>
          </a:lstStyle>
          <a:p>
            <a:pPr lvl="0" algn="l" defTabSz="913518" rtl="0" eaLnBrk="1" fontAlgn="base" latinLnBrk="0" hangingPunct="1">
              <a:spcBef>
                <a:spcPct val="0"/>
              </a:spcBef>
              <a:spcAft>
                <a:spcPct val="0"/>
              </a:spcAft>
              <a:tabLst>
                <a:tab pos="275350" algn="l"/>
              </a:tabLst>
            </a:pPr>
            <a:r>
              <a:rPr lang="en-US" dirty="0"/>
              <a:t>Click to edit Master title style</a:t>
            </a:r>
          </a:p>
        </p:txBody>
      </p:sp>
      <p:sp>
        <p:nvSpPr>
          <p:cNvPr id="5" name="doc id" hidden="1"/>
          <p:cNvSpPr>
            <a:spLocks noChangeArrowheads="1"/>
          </p:cNvSpPr>
          <p:nvPr/>
        </p:nvSpPr>
        <p:spPr bwMode="auto">
          <a:xfrm>
            <a:off x="10995481" y="51837"/>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18"/>
            <a:endParaRPr lang="en-US" sz="816" dirty="0">
              <a:solidFill>
                <a:srgbClr val="808080"/>
              </a:solidFill>
              <a:latin typeface="Arial"/>
            </a:endParaRPr>
          </a:p>
        </p:txBody>
      </p:sp>
      <p:sp>
        <p:nvSpPr>
          <p:cNvPr id="8" name="Slide Number"/>
          <p:cNvSpPr txBox="1">
            <a:spLocks/>
          </p:cNvSpPr>
          <p:nvPr/>
        </p:nvSpPr>
        <p:spPr bwMode="gray">
          <a:xfrm>
            <a:off x="11880653" y="6640501"/>
            <a:ext cx="128240"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sz="816" smtClean="0">
                <a:solidFill>
                  <a:schemeClr val="tx1">
                    <a:lumMod val="50000"/>
                    <a:lumOff val="50000"/>
                  </a:schemeClr>
                </a:solidFill>
              </a:rPr>
              <a:pPr/>
              <a:t>‹#›</a:t>
            </a:fld>
            <a:endParaRPr sz="816" dirty="0">
              <a:solidFill>
                <a:schemeClr val="tx1">
                  <a:lumMod val="50000"/>
                  <a:lumOff val="50000"/>
                </a:schemeClr>
              </a:solidFill>
            </a:endParaRPr>
          </a:p>
        </p:txBody>
      </p:sp>
      <p:sp>
        <p:nvSpPr>
          <p:cNvPr id="9" name="SlideLogoText"/>
          <p:cNvSpPr>
            <a:spLocks noChangeArrowheads="1"/>
          </p:cNvSpPr>
          <p:nvPr>
            <p:custDataLst>
              <p:tags r:id="rId3"/>
            </p:custDataLst>
          </p:nvPr>
        </p:nvSpPr>
        <p:spPr bwMode="gray">
          <a:xfrm>
            <a:off x="10714595" y="6640501"/>
            <a:ext cx="1029128" cy="12554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26"/>
            <a:r>
              <a:rPr lang="en-US" sz="816" dirty="0">
                <a:solidFill>
                  <a:schemeClr val="tx1">
                    <a:lumMod val="50000"/>
                    <a:lumOff val="50000"/>
                  </a:schemeClr>
                </a:solidFill>
                <a:latin typeface="Arial"/>
              </a:rPr>
              <a:t>McKinsey &amp; Company</a:t>
            </a:r>
          </a:p>
        </p:txBody>
      </p:sp>
    </p:spTree>
    <p:extLst>
      <p:ext uri="{BB962C8B-B14F-4D97-AF65-F5344CB8AC3E}">
        <p14:creationId xmlns:p14="http://schemas.microsoft.com/office/powerpoint/2010/main" val="2870370153"/>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6005055"/>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7114"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5" name="doc id"/>
          <p:cNvSpPr>
            <a:spLocks noChangeArrowheads="1"/>
          </p:cNvSpPr>
          <p:nvPr/>
        </p:nvSpPr>
        <p:spPr bwMode="gray">
          <a:xfrm>
            <a:off x="10670215" y="51834"/>
            <a:ext cx="1190120" cy="9419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p>
            <a:pPr algn="r" defTabSz="913473"/>
            <a:endParaRPr lang="x-none" sz="612" dirty="0">
              <a:solidFill>
                <a:srgbClr val="808080"/>
              </a:solidFill>
              <a:latin typeface="Arial"/>
            </a:endParaRPr>
          </a:p>
        </p:txBody>
      </p:sp>
      <p:sp>
        <p:nvSpPr>
          <p:cNvPr id="6" name="Rectangle 5"/>
          <p:cNvSpPr/>
          <p:nvPr/>
        </p:nvSpPr>
        <p:spPr>
          <a:xfrm>
            <a:off x="91" y="1"/>
            <a:ext cx="4305283" cy="685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rgbClr val="000000"/>
              </a:solidFill>
            </a:endParaRPr>
          </a:p>
        </p:txBody>
      </p:sp>
      <p:sp>
        <p:nvSpPr>
          <p:cNvPr id="12" name="Title Placeholder 3"/>
          <p:cNvSpPr>
            <a:spLocks noGrp="1"/>
          </p:cNvSpPr>
          <p:nvPr>
            <p:ph type="title"/>
          </p:nvPr>
        </p:nvSpPr>
        <p:spPr>
          <a:xfrm>
            <a:off x="373196" y="233244"/>
            <a:ext cx="3574691" cy="816633"/>
          </a:xfrm>
          <a:prstGeom prst="rect">
            <a:avLst/>
          </a:prstGeom>
        </p:spPr>
        <p:txBody>
          <a:bodyPr vert="horz" wrap="square" lIns="0" tIns="0" rIns="0" bIns="0" rtlCol="0" anchor="t" anchorCtr="0">
            <a:spAutoFit/>
          </a:bodyPr>
          <a:lstStyle>
            <a:lvl1pPr>
              <a:defRPr sz="2667">
                <a:solidFill>
                  <a:schemeClr val="accent5"/>
                </a:solidFill>
                <a:latin typeface="Georgia" panose="02040502050405020303" pitchFamily="18" charset="0"/>
              </a:defRPr>
            </a:lvl1pPr>
          </a:lstStyle>
          <a:p>
            <a:r>
              <a:rPr lang="en-US" dirty="0"/>
              <a:t>Click to edit Master title style</a:t>
            </a:r>
          </a:p>
        </p:txBody>
      </p:sp>
    </p:spTree>
    <p:extLst>
      <p:ext uri="{BB962C8B-B14F-4D97-AF65-F5344CB8AC3E}">
        <p14:creationId xmlns:p14="http://schemas.microsoft.com/office/powerpoint/2010/main" val="2860882794"/>
      </p:ext>
    </p:extLst>
  </p:cSld>
  <p:clrMapOvr>
    <a:masterClrMapping/>
  </p:clrMapOvr>
  <p:extLst>
    <p:ext uri="{DCECCB84-F9BA-43D5-87BE-67443E8EF086}">
      <p15:sldGuideLst xmlns:p15="http://schemas.microsoft.com/office/powerpoint/2012/main">
        <p15:guide id="1" pos="99">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3D4211-0045-4221-9247-762ECC85E82D}"/>
              </a:ext>
            </a:extLst>
          </p:cNvPr>
          <p:cNvGraphicFramePr>
            <a:graphicFrameLocks noChangeAspect="1"/>
          </p:cNvGraphicFramePr>
          <p:nvPr>
            <p:custDataLst>
              <p:tags r:id="rId2"/>
            </p:custDataLst>
            <p:extLst>
              <p:ext uri="{D42A27DB-BD31-4B8C-83A1-F6EECF244321}">
                <p14:modId xmlns:p14="http://schemas.microsoft.com/office/powerpoint/2010/main" val="735199953"/>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8138" name="think-cell Slide" r:id="rId4" imgW="524" imgH="526" progId="TCLayout.ActiveDocument.1">
                  <p:embed/>
                </p:oleObj>
              </mc:Choice>
              <mc:Fallback>
                <p:oleObj name="think-cell Slide" r:id="rId4" imgW="524" imgH="526" progId="TCLayout.ActiveDocument.1">
                  <p:embed/>
                  <p:pic>
                    <p:nvPicPr>
                      <p:cNvPr id="3" name="Object 2" hidden="1">
                        <a:extLst>
                          <a:ext uri="{FF2B5EF4-FFF2-40B4-BE49-F238E27FC236}">
                            <a16:creationId xmlns:a16="http://schemas.microsoft.com/office/drawing/2014/main" id="{6E3D4211-0045-4221-9247-762ECC85E82D}"/>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80527A-A3CF-45F3-BC4F-DE7E657ED0F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87315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p:custDataLst>
              <p:tags r:id="rId2"/>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4"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p:custDataLst>
              <p:tags r:id="rId2"/>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8"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p:custDataLst>
              <p:tags r:id="rId2"/>
            </p:custDataLst>
            <p:extLst>
              <p:ext uri="{D42A27DB-BD31-4B8C-83A1-F6EECF244321}">
                <p14:modId xmlns:p14="http://schemas.microsoft.com/office/powerpoint/2010/main" val="109193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p:custDataLst>
              <p:tags r:id="rId5"/>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7"/>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8"/>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9"/>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554736" y="2744369"/>
            <a:ext cx="2514600" cy="769441"/>
          </a:xfrm>
        </p:spPr>
        <p:txBody>
          <a:bodyPr vert="horz"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p:custDataLst>
              <p:tags r:id="rId2"/>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p:custDataLst>
              <p:tags r:id="rId7"/>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p:custDataLst>
              <p:tags r:id="rId8"/>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p:custDataLst>
              <p:tags r:id="rId9"/>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p:custDataLst>
              <p:tags r:id="rId2"/>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0"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p:custDataLst>
              <p:tags r:id="rId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p:custDataLst>
              <p:tags r:id="rId7"/>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p:custDataLst>
              <p:tags r:id="rId8"/>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p:custDataLst>
              <p:tags r:id="rId9"/>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9" Type="http://schemas.openxmlformats.org/officeDocument/2006/relationships/tags" Target="../tags/tag19.xml"/><Relationship Id="rId21" Type="http://schemas.openxmlformats.org/officeDocument/2006/relationships/vmlDrawing" Target="../drawings/vmlDrawing1.v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1.xml"/><Relationship Id="rId44" Type="http://schemas.openxmlformats.org/officeDocument/2006/relationships/tags" Target="../tags/tag2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tags" Target="../tags/tag2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 Id="rId46" Type="http://schemas.openxmlformats.org/officeDocument/2006/relationships/image" Target="../media/image1.emf"/><Relationship Id="rId20" Type="http://schemas.openxmlformats.org/officeDocument/2006/relationships/theme" Target="../theme/theme1.xml"/><Relationship Id="rId41" Type="http://schemas.openxmlformats.org/officeDocument/2006/relationships/tags" Target="../tags/tag2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theme" Target="../theme/theme2.xml"/><Relationship Id="rId26" Type="http://schemas.openxmlformats.org/officeDocument/2006/relationships/tags" Target="../tags/tag166.xml"/><Relationship Id="rId39" Type="http://schemas.openxmlformats.org/officeDocument/2006/relationships/tags" Target="../tags/tag179.xml"/><Relationship Id="rId21" Type="http://schemas.openxmlformats.org/officeDocument/2006/relationships/tags" Target="../tags/tag161.xml"/><Relationship Id="rId34" Type="http://schemas.openxmlformats.org/officeDocument/2006/relationships/tags" Target="../tags/tag174.xml"/><Relationship Id="rId42" Type="http://schemas.openxmlformats.org/officeDocument/2006/relationships/tags" Target="../tags/tag18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ags" Target="../tags/tag160.xml"/><Relationship Id="rId29" Type="http://schemas.openxmlformats.org/officeDocument/2006/relationships/tags" Target="../tags/tag169.xml"/><Relationship Id="rId41" Type="http://schemas.openxmlformats.org/officeDocument/2006/relationships/tags" Target="../tags/tag18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164.xml"/><Relationship Id="rId32" Type="http://schemas.openxmlformats.org/officeDocument/2006/relationships/tags" Target="../tags/tag172.xml"/><Relationship Id="rId37" Type="http://schemas.openxmlformats.org/officeDocument/2006/relationships/tags" Target="../tags/tag177.xml"/><Relationship Id="rId40" Type="http://schemas.openxmlformats.org/officeDocument/2006/relationships/tags" Target="../tags/tag18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163.xml"/><Relationship Id="rId28" Type="http://schemas.openxmlformats.org/officeDocument/2006/relationships/tags" Target="../tags/tag168.xml"/><Relationship Id="rId36" Type="http://schemas.openxmlformats.org/officeDocument/2006/relationships/tags" Target="../tags/tag176.xml"/><Relationship Id="rId10" Type="http://schemas.openxmlformats.org/officeDocument/2006/relationships/slideLayout" Target="../slideLayouts/slideLayout29.xml"/><Relationship Id="rId19" Type="http://schemas.openxmlformats.org/officeDocument/2006/relationships/vmlDrawing" Target="../drawings/vmlDrawing15.vml"/><Relationship Id="rId31" Type="http://schemas.openxmlformats.org/officeDocument/2006/relationships/tags" Target="../tags/tag171.xml"/><Relationship Id="rId44" Type="http://schemas.openxmlformats.org/officeDocument/2006/relationships/image" Target="../media/image2.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162.xml"/><Relationship Id="rId27" Type="http://schemas.openxmlformats.org/officeDocument/2006/relationships/tags" Target="../tags/tag167.xml"/><Relationship Id="rId30" Type="http://schemas.openxmlformats.org/officeDocument/2006/relationships/tags" Target="../tags/tag170.xml"/><Relationship Id="rId35" Type="http://schemas.openxmlformats.org/officeDocument/2006/relationships/tags" Target="../tags/tag175.xml"/><Relationship Id="rId43" Type="http://schemas.openxmlformats.org/officeDocument/2006/relationships/oleObject" Target="../embeddings/oleObject15.bin"/><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165.xml"/><Relationship Id="rId33" Type="http://schemas.openxmlformats.org/officeDocument/2006/relationships/tags" Target="../tags/tag173.xml"/><Relationship Id="rId38" Type="http://schemas.openxmlformats.org/officeDocument/2006/relationships/tags" Target="../tags/tag17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38.xml"/><Relationship Id="rId13" Type="http://schemas.openxmlformats.org/officeDocument/2006/relationships/tags" Target="../tags/tag343.xml"/><Relationship Id="rId18" Type="http://schemas.openxmlformats.org/officeDocument/2006/relationships/tags" Target="../tags/tag348.xml"/><Relationship Id="rId26" Type="http://schemas.openxmlformats.org/officeDocument/2006/relationships/image" Target="../media/image11.emf"/><Relationship Id="rId3" Type="http://schemas.openxmlformats.org/officeDocument/2006/relationships/slideLayout" Target="../slideLayouts/slideLayout39.xml"/><Relationship Id="rId21" Type="http://schemas.openxmlformats.org/officeDocument/2006/relationships/tags" Target="../tags/tag351.xml"/><Relationship Id="rId7" Type="http://schemas.openxmlformats.org/officeDocument/2006/relationships/tags" Target="../tags/tag337.xml"/><Relationship Id="rId12" Type="http://schemas.openxmlformats.org/officeDocument/2006/relationships/tags" Target="../tags/tag342.xml"/><Relationship Id="rId17" Type="http://schemas.openxmlformats.org/officeDocument/2006/relationships/tags" Target="../tags/tag347.xml"/><Relationship Id="rId25" Type="http://schemas.openxmlformats.org/officeDocument/2006/relationships/oleObject" Target="../embeddings/oleObject29.bin"/><Relationship Id="rId2" Type="http://schemas.openxmlformats.org/officeDocument/2006/relationships/slideLayout" Target="../slideLayouts/slideLayout38.xml"/><Relationship Id="rId16" Type="http://schemas.openxmlformats.org/officeDocument/2006/relationships/tags" Target="../tags/tag346.xml"/><Relationship Id="rId20" Type="http://schemas.openxmlformats.org/officeDocument/2006/relationships/tags" Target="../tags/tag350.xml"/><Relationship Id="rId1" Type="http://schemas.openxmlformats.org/officeDocument/2006/relationships/slideLayout" Target="../slideLayouts/slideLayout37.xml"/><Relationship Id="rId6" Type="http://schemas.openxmlformats.org/officeDocument/2006/relationships/vmlDrawing" Target="../drawings/vmlDrawing29.vml"/><Relationship Id="rId11" Type="http://schemas.openxmlformats.org/officeDocument/2006/relationships/tags" Target="../tags/tag341.xml"/><Relationship Id="rId24" Type="http://schemas.openxmlformats.org/officeDocument/2006/relationships/tags" Target="../tags/tag354.xml"/><Relationship Id="rId5" Type="http://schemas.openxmlformats.org/officeDocument/2006/relationships/theme" Target="../theme/theme3.xml"/><Relationship Id="rId15" Type="http://schemas.openxmlformats.org/officeDocument/2006/relationships/tags" Target="../tags/tag345.xml"/><Relationship Id="rId23" Type="http://schemas.openxmlformats.org/officeDocument/2006/relationships/tags" Target="../tags/tag353.xml"/><Relationship Id="rId10" Type="http://schemas.openxmlformats.org/officeDocument/2006/relationships/tags" Target="../tags/tag340.xml"/><Relationship Id="rId19" Type="http://schemas.openxmlformats.org/officeDocument/2006/relationships/tags" Target="../tags/tag349.xml"/><Relationship Id="rId4" Type="http://schemas.openxmlformats.org/officeDocument/2006/relationships/slideLayout" Target="../slideLayouts/slideLayout40.xml"/><Relationship Id="rId9" Type="http://schemas.openxmlformats.org/officeDocument/2006/relationships/tags" Target="../tags/tag339.xml"/><Relationship Id="rId14" Type="http://schemas.openxmlformats.org/officeDocument/2006/relationships/tags" Target="../tags/tag344.xml"/><Relationship Id="rId22" Type="http://schemas.openxmlformats.org/officeDocument/2006/relationships/tags" Target="../tags/tag3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p:custDataLst>
              <p:tags r:id="rId22"/>
            </p:custDataLst>
            <p:extLst>
              <p:ext uri="{D42A27DB-BD31-4B8C-83A1-F6EECF244321}">
                <p14:modId xmlns:p14="http://schemas.microsoft.com/office/powerpoint/2010/main" val="355464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6" name="think-cell Slide" r:id="rId45" imgW="413" imgH="416" progId="TCLayout.ActiveDocument.1">
                  <p:embed/>
                </p:oleObj>
              </mc:Choice>
              <mc:Fallback>
                <p:oleObj name="think-cell Slide" r:id="rId45"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p:custDataLst>
              <p:tags r:id="rId2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p:custDataLst>
              <p:tags r:id="rId2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p:custDataLst>
              <p:tags r:id="rId2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p:custDataLst>
              <p:tags r:id="rId29"/>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30"/>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31"/>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2"/>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3"/>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4"/>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 id="2147483886" r:id="rId15"/>
    <p:sldLayoutId id="2147483892" r:id="rId16"/>
    <p:sldLayoutId id="2147483893" r:id="rId17"/>
    <p:sldLayoutId id="2147483894" r:id="rId18"/>
    <p:sldLayoutId id="2147483895" r:id="rId19"/>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20"/>
            </p:custDataLst>
            <p:extLst>
              <p:ext uri="{D42A27DB-BD31-4B8C-83A1-F6EECF244321}">
                <p14:modId xmlns:p14="http://schemas.microsoft.com/office/powerpoint/2010/main" val="53818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6" name="think-cell Slide" r:id="rId43" imgW="344" imgH="344" progId="TCLayout.ActiveDocument.1">
                  <p:embed/>
                </p:oleObj>
              </mc:Choice>
              <mc:Fallback>
                <p:oleObj name="think-cell Slide" r:id="rId43"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3"/>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4"/>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0"/>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3" r:id="rId12"/>
    <p:sldLayoutId id="2147483884" r:id="rId13"/>
    <p:sldLayoutId id="2147483885" r:id="rId14"/>
    <p:sldLayoutId id="2147483880" r:id="rId15"/>
    <p:sldLayoutId id="2147483877" r:id="rId16"/>
    <p:sldLayoutId id="2147483878"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771429722"/>
              </p:ex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44042"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1"/>
                        <a:ext cx="215979" cy="161975"/>
                      </a:xfrm>
                      <a:prstGeom prst="rect">
                        <a:avLst/>
                      </a:prstGeom>
                    </p:spPr>
                  </p:pic>
                </p:oleObj>
              </mc:Fallback>
            </mc:AlternateContent>
          </a:graphicData>
        </a:graphic>
      </p:graphicFrame>
      <p:sp>
        <p:nvSpPr>
          <p:cNvPr id="6" name="Rectangle 5" hidden="1"/>
          <p:cNvSpPr/>
          <p:nvPr>
            <p:custDataLst>
              <p:tags r:id="rId8"/>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32"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gray">
          <a:xfrm>
            <a:off x="373195" y="233243"/>
            <a:ext cx="11725484" cy="410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lgn="l" defTabSz="913518" rtl="0" eaLnBrk="1" fontAlgn="base" latinLnBrk="0" hangingPunct="1">
              <a:spcBef>
                <a:spcPct val="0"/>
              </a:spcBef>
              <a:spcAft>
                <a:spcPct val="0"/>
              </a:spcAft>
              <a:tabLst>
                <a:tab pos="275350" algn="l"/>
              </a:tabLst>
            </a:pPr>
            <a:r>
              <a:rPr lang="en-US" dirty="0"/>
              <a:t>Click to edit Master title style</a:t>
            </a:r>
            <a:endParaRPr lang="en-US" noProof="0" dirty="0"/>
          </a:p>
        </p:txBody>
      </p:sp>
      <p:sp>
        <p:nvSpPr>
          <p:cNvPr id="10" name="1. On-page tracker" hidden="1"/>
          <p:cNvSpPr>
            <a:spLocks noChangeArrowheads="1"/>
          </p:cNvSpPr>
          <p:nvPr/>
        </p:nvSpPr>
        <p:spPr bwMode="gray">
          <a:xfrm>
            <a:off x="161988" y="77307"/>
            <a:ext cx="50174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dirty="0">
                <a:solidFill>
                  <a:srgbClr val="808080"/>
                </a:solidFill>
                <a:latin typeface="Arial"/>
              </a:rPr>
              <a:t>Tracker</a:t>
            </a:r>
          </a:p>
        </p:txBody>
      </p:sp>
      <p:sp>
        <p:nvSpPr>
          <p:cNvPr id="11" name="3. Unit of measure" hidden="1"/>
          <p:cNvSpPr txBox="1">
            <a:spLocks noChangeArrowheads="1"/>
          </p:cNvSpPr>
          <p:nvPr/>
        </p:nvSpPr>
        <p:spPr bwMode="gray">
          <a:xfrm>
            <a:off x="161989" y="566141"/>
            <a:ext cx="11725484" cy="251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dirty="0">
                <a:solidFill>
                  <a:srgbClr val="808080"/>
                </a:solidFill>
                <a:latin typeface="Arial"/>
              </a:rPr>
              <a:t>Unit of measure</a:t>
            </a:r>
          </a:p>
        </p:txBody>
      </p:sp>
      <p:sp>
        <p:nvSpPr>
          <p:cNvPr id="13" name="4. Footnote" hidden="1"/>
          <p:cNvSpPr txBox="1">
            <a:spLocks noChangeArrowheads="1"/>
          </p:cNvSpPr>
          <p:nvPr/>
        </p:nvSpPr>
        <p:spPr bwMode="gray">
          <a:xfrm>
            <a:off x="161989" y="6434824"/>
            <a:ext cx="11725484"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16" dirty="0">
                <a:solidFill>
                  <a:srgbClr val="808080"/>
                </a:solidFill>
                <a:latin typeface="Arial"/>
              </a:rPr>
              <a:t>1 Footnote</a:t>
            </a:r>
          </a:p>
        </p:txBody>
      </p:sp>
      <p:sp>
        <p:nvSpPr>
          <p:cNvPr id="14" name="5. Source" hidden="1"/>
          <p:cNvSpPr>
            <a:spLocks noChangeArrowheads="1"/>
          </p:cNvSpPr>
          <p:nvPr/>
        </p:nvSpPr>
        <p:spPr bwMode="gray">
          <a:xfrm>
            <a:off x="161988" y="6640532"/>
            <a:ext cx="9795571"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1" indent="-621971" defTabSz="913518">
              <a:tabLst>
                <a:tab pos="643027" algn="l"/>
              </a:tabLst>
            </a:pPr>
            <a:r>
              <a:rPr lang="en-US" sz="816" dirty="0">
                <a:solidFill>
                  <a:srgbClr val="808080"/>
                </a:solidFill>
                <a:latin typeface="Arial"/>
              </a:rPr>
              <a:t>SOURCE: Source</a:t>
            </a:r>
          </a:p>
        </p:txBody>
      </p:sp>
      <p:sp>
        <p:nvSpPr>
          <p:cNvPr id="3" name="Text Placeholder 2"/>
          <p:cNvSpPr>
            <a:spLocks noGrp="1"/>
          </p:cNvSpPr>
          <p:nvPr>
            <p:ph type="body" idx="1"/>
          </p:nvPr>
        </p:nvSpPr>
        <p:spPr bwMode="gray">
          <a:xfrm>
            <a:off x="1976211" y="1991016"/>
            <a:ext cx="5853024" cy="1099099"/>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976207" y="1280066"/>
            <a:ext cx="5801189" cy="521559"/>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dirty="0">
                  <a:solidFill>
                    <a:srgbClr val="000000"/>
                  </a:solidFill>
                  <a:latin typeface="Arial"/>
                </a:rPr>
                <a:t>Title</a:t>
              </a:r>
            </a:p>
            <a:p>
              <a:r>
                <a:rPr lang="en-US" sz="1632" dirty="0">
                  <a:solidFill>
                    <a:srgbClr val="808080"/>
                  </a:solidFill>
                  <a:latin typeface="Arial"/>
                </a:rPr>
                <a:t>Unit of measure</a:t>
              </a:r>
            </a:p>
          </p:txBody>
        </p:sp>
      </p:grpSp>
      <p:grpSp>
        <p:nvGrpSpPr>
          <p:cNvPr id="17" name="Sticker" hidden="1"/>
          <p:cNvGrpSpPr/>
          <p:nvPr/>
        </p:nvGrpSpPr>
        <p:grpSpPr bwMode="gray">
          <a:xfrm>
            <a:off x="11404493" y="291558"/>
            <a:ext cx="482953" cy="153247"/>
            <a:chOff x="8385792" y="285750"/>
            <a:chExt cx="354983" cy="150196"/>
          </a:xfrm>
        </p:grpSpPr>
        <p:sp>
          <p:nvSpPr>
            <p:cNvPr id="20" name="StickerRectangle"/>
            <p:cNvSpPr>
              <a:spLocks noChangeArrowheads="1"/>
            </p:cNvSpPr>
            <p:nvPr/>
          </p:nvSpPr>
          <p:spPr bwMode="gray">
            <a:xfrm>
              <a:off x="8385792" y="285750"/>
              <a:ext cx="354983" cy="15019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18">
                <a:buClr>
                  <a:srgbClr val="002960"/>
                </a:buClr>
              </a:pPr>
              <a:r>
                <a:rPr lang="en-US" sz="816" dirty="0">
                  <a:solidFill>
                    <a:srgbClr val="808080"/>
                  </a:solidFill>
                  <a:latin typeface="Arial"/>
                </a:rPr>
                <a:t>STICKER</a:t>
              </a:r>
            </a:p>
          </p:txBody>
        </p:sp>
        <p:cxnSp>
          <p:nvCxnSpPr>
            <p:cNvPr id="21" name="AutoShape 31"/>
            <p:cNvCxnSpPr>
              <a:cxnSpLocks noChangeShapeType="1"/>
              <a:stCxn id="20" idx="2"/>
              <a:endCxn id="20" idx="4"/>
            </p:cNvCxnSpPr>
            <p:nvPr/>
          </p:nvCxnSpPr>
          <p:spPr bwMode="gray">
            <a:xfrm>
              <a:off x="8385792" y="285750"/>
              <a:ext cx="0" cy="150196"/>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92" y="435946"/>
              <a:ext cx="35498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p:nvSpPr>
        <p:spPr>
          <a:xfrm>
            <a:off x="11576464" y="6455863"/>
            <a:ext cx="6220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rgbClr val="000000"/>
              </a:solidFill>
            </a:endParaRPr>
          </a:p>
        </p:txBody>
      </p:sp>
      <p:sp>
        <p:nvSpPr>
          <p:cNvPr id="23" name="doc id" hidden="1"/>
          <p:cNvSpPr>
            <a:spLocks noChangeArrowheads="1"/>
          </p:cNvSpPr>
          <p:nvPr/>
        </p:nvSpPr>
        <p:spPr bwMode="auto">
          <a:xfrm>
            <a:off x="10995481" y="51837"/>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18"/>
            <a:endParaRPr lang="en-US" sz="816" dirty="0">
              <a:solidFill>
                <a:srgbClr val="808080"/>
              </a:solidFill>
              <a:latin typeface="Arial"/>
            </a:endParaRPr>
          </a:p>
        </p:txBody>
      </p:sp>
      <p:grpSp>
        <p:nvGrpSpPr>
          <p:cNvPr id="26" name="LegendBoxes" hidden="1"/>
          <p:cNvGrpSpPr/>
          <p:nvPr/>
        </p:nvGrpSpPr>
        <p:grpSpPr bwMode="gray">
          <a:xfrm>
            <a:off x="10768457" y="285080"/>
            <a:ext cx="864940" cy="1017694"/>
            <a:chOff x="7835905" y="279400"/>
            <a:chExt cx="635753" cy="997436"/>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latin typeface="Arial"/>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latin typeface="Arial"/>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latin typeface="Arial"/>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latin typeface="Arial"/>
              </a:endParaRPr>
            </a:p>
          </p:txBody>
        </p:sp>
        <p:sp>
          <p:nvSpPr>
            <p:cNvPr id="31" name="Legend1"/>
            <p:cNvSpPr>
              <a:spLocks noChangeArrowheads="1"/>
            </p:cNvSpPr>
            <p:nvPr/>
          </p:nvSpPr>
          <p:spPr bwMode="gray">
            <a:xfrm>
              <a:off x="8089905" y="27940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18">
                <a:buClr>
                  <a:srgbClr val="002960"/>
                </a:buClr>
              </a:pPr>
              <a:r>
                <a:rPr lang="en-US" sz="1224" dirty="0">
                  <a:solidFill>
                    <a:srgbClr val="000000"/>
                  </a:solidFill>
                  <a:latin typeface="Arial"/>
                </a:rPr>
                <a:t>Legend</a:t>
              </a:r>
            </a:p>
          </p:txBody>
        </p:sp>
        <p:sp>
          <p:nvSpPr>
            <p:cNvPr id="32" name="Legend2"/>
            <p:cNvSpPr>
              <a:spLocks noChangeArrowheads="1"/>
            </p:cNvSpPr>
            <p:nvPr/>
          </p:nvSpPr>
          <p:spPr bwMode="gray">
            <a:xfrm>
              <a:off x="8089905" y="54927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18">
                <a:buClr>
                  <a:srgbClr val="002960"/>
                </a:buClr>
              </a:pPr>
              <a:r>
                <a:rPr lang="en-US" sz="1224" dirty="0">
                  <a:solidFill>
                    <a:srgbClr val="000000"/>
                  </a:solidFill>
                  <a:latin typeface="Arial"/>
                </a:rPr>
                <a:t>Legend</a:t>
              </a:r>
            </a:p>
          </p:txBody>
        </p:sp>
        <p:sp>
          <p:nvSpPr>
            <p:cNvPr id="33" name="Legend3"/>
            <p:cNvSpPr>
              <a:spLocks noChangeArrowheads="1"/>
            </p:cNvSpPr>
            <p:nvPr/>
          </p:nvSpPr>
          <p:spPr bwMode="gray">
            <a:xfrm>
              <a:off x="8089905" y="820738"/>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18">
                <a:buClr>
                  <a:srgbClr val="002960"/>
                </a:buClr>
              </a:pPr>
              <a:r>
                <a:rPr lang="en-US" sz="1224" dirty="0">
                  <a:solidFill>
                    <a:srgbClr val="000000"/>
                  </a:solidFill>
                  <a:latin typeface="Arial"/>
                </a:rPr>
                <a:t>Legend</a:t>
              </a:r>
            </a:p>
          </p:txBody>
        </p:sp>
        <p:sp>
          <p:nvSpPr>
            <p:cNvPr id="34" name="Legend4"/>
            <p:cNvSpPr>
              <a:spLocks noChangeArrowheads="1"/>
            </p:cNvSpPr>
            <p:nvPr/>
          </p:nvSpPr>
          <p:spPr bwMode="gray">
            <a:xfrm>
              <a:off x="8089905" y="1092201"/>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18">
                <a:buClr>
                  <a:srgbClr val="002960"/>
                </a:buClr>
              </a:pPr>
              <a:r>
                <a:rPr lang="en-US" sz="1224" dirty="0">
                  <a:solidFill>
                    <a:srgbClr val="000000"/>
                  </a:solidFill>
                  <a:latin typeface="Arial"/>
                </a:rPr>
                <a:t>Legend</a:t>
              </a:r>
            </a:p>
          </p:txBody>
        </p:sp>
      </p:grpSp>
      <p:grpSp>
        <p:nvGrpSpPr>
          <p:cNvPr id="35" name="LegendLines" hidden="1"/>
          <p:cNvGrpSpPr/>
          <p:nvPr/>
        </p:nvGrpSpPr>
        <p:grpSpPr bwMode="gray">
          <a:xfrm>
            <a:off x="10349677" y="285078"/>
            <a:ext cx="1283938" cy="745578"/>
            <a:chOff x="7540629" y="279400"/>
            <a:chExt cx="943728" cy="730736"/>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dirty="0">
                <a:solidFill>
                  <a:srgbClr val="000000"/>
                </a:solidFill>
                <a:latin typeface="Arial"/>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dirty="0">
                <a:solidFill>
                  <a:srgbClr val="000000"/>
                </a:solidFill>
                <a:latin typeface="Arial"/>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dirty="0">
                <a:solidFill>
                  <a:srgbClr val="000000"/>
                </a:solidFill>
                <a:latin typeface="Arial"/>
              </a:endParaRPr>
            </a:p>
          </p:txBody>
        </p:sp>
        <p:sp>
          <p:nvSpPr>
            <p:cNvPr id="39" name="Legend1"/>
            <p:cNvSpPr>
              <a:spLocks noChangeArrowheads="1"/>
            </p:cNvSpPr>
            <p:nvPr/>
          </p:nvSpPr>
          <p:spPr bwMode="gray">
            <a:xfrm>
              <a:off x="8102604" y="27940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18">
                <a:buClr>
                  <a:srgbClr val="002960"/>
                </a:buClr>
              </a:pPr>
              <a:r>
                <a:rPr lang="en-US" sz="1224" dirty="0">
                  <a:solidFill>
                    <a:srgbClr val="000000"/>
                  </a:solidFill>
                  <a:latin typeface="Arial"/>
                </a:rPr>
                <a:t>Legend</a:t>
              </a:r>
            </a:p>
          </p:txBody>
        </p:sp>
        <p:sp>
          <p:nvSpPr>
            <p:cNvPr id="40" name="Legend2"/>
            <p:cNvSpPr>
              <a:spLocks noChangeArrowheads="1"/>
            </p:cNvSpPr>
            <p:nvPr/>
          </p:nvSpPr>
          <p:spPr bwMode="gray">
            <a:xfrm>
              <a:off x="8102604" y="54610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18">
                <a:buClr>
                  <a:srgbClr val="002960"/>
                </a:buClr>
              </a:pPr>
              <a:r>
                <a:rPr lang="en-US" sz="1224" dirty="0">
                  <a:solidFill>
                    <a:srgbClr val="000000"/>
                  </a:solidFill>
                  <a:latin typeface="Arial"/>
                </a:rPr>
                <a:t>Legend</a:t>
              </a:r>
            </a:p>
          </p:txBody>
        </p:sp>
        <p:sp>
          <p:nvSpPr>
            <p:cNvPr id="41" name="Legend3"/>
            <p:cNvSpPr>
              <a:spLocks noChangeArrowheads="1"/>
            </p:cNvSpPr>
            <p:nvPr/>
          </p:nvSpPr>
          <p:spPr bwMode="gray">
            <a:xfrm>
              <a:off x="8102604" y="825501"/>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18">
                <a:buClr>
                  <a:srgbClr val="002960"/>
                </a:buClr>
              </a:pPr>
              <a:r>
                <a:rPr lang="en-US" sz="1224" dirty="0">
                  <a:solidFill>
                    <a:srgbClr val="000000"/>
                  </a:solidFill>
                  <a:latin typeface="Arial"/>
                </a:rPr>
                <a:t>Legend</a:t>
              </a:r>
            </a:p>
          </p:txBody>
        </p:sp>
      </p:grpSp>
      <p:grpSp>
        <p:nvGrpSpPr>
          <p:cNvPr id="42" name="LegendMoons" hidden="1"/>
          <p:cNvGrpSpPr/>
          <p:nvPr/>
        </p:nvGrpSpPr>
        <p:grpSpPr bwMode="gray">
          <a:xfrm>
            <a:off x="10677744" y="255920"/>
            <a:ext cx="955651" cy="1333053"/>
            <a:chOff x="7769225" y="250825"/>
            <a:chExt cx="702428"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latin typeface="Arial"/>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latin typeface="Arial"/>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latin typeface="Arial"/>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latin typeface="Arial"/>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latin typeface="Arial"/>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latin typeface="Arial"/>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latin typeface="Arial"/>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latin typeface="Arial"/>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latin typeface="Arial"/>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latin typeface="Arial"/>
                </a:endParaRPr>
              </a:p>
            </p:txBody>
          </p:sp>
        </p:grpSp>
        <p:sp>
          <p:nvSpPr>
            <p:cNvPr id="48" name="Legend1"/>
            <p:cNvSpPr>
              <a:spLocks noChangeArrowheads="1"/>
            </p:cNvSpPr>
            <p:nvPr/>
          </p:nvSpPr>
          <p:spPr bwMode="gray">
            <a:xfrm>
              <a:off x="8089900" y="263524"/>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18">
                <a:buClr>
                  <a:srgbClr val="002960"/>
                </a:buClr>
              </a:pPr>
              <a:r>
                <a:rPr lang="en-US" sz="1224" dirty="0">
                  <a:solidFill>
                    <a:srgbClr val="000000"/>
                  </a:solidFill>
                  <a:latin typeface="Arial"/>
                </a:rPr>
                <a:t>Legend</a:t>
              </a:r>
            </a:p>
          </p:txBody>
        </p:sp>
        <p:sp>
          <p:nvSpPr>
            <p:cNvPr id="49" name="Legend2"/>
            <p:cNvSpPr>
              <a:spLocks noChangeArrowheads="1"/>
            </p:cNvSpPr>
            <p:nvPr/>
          </p:nvSpPr>
          <p:spPr bwMode="gray">
            <a:xfrm>
              <a:off x="8089900" y="538163"/>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18">
                <a:buClr>
                  <a:srgbClr val="002960"/>
                </a:buClr>
              </a:pPr>
              <a:r>
                <a:rPr lang="en-US" sz="1224" dirty="0">
                  <a:solidFill>
                    <a:srgbClr val="000000"/>
                  </a:solidFill>
                  <a:latin typeface="Arial"/>
                </a:rPr>
                <a:t>Legend</a:t>
              </a:r>
            </a:p>
          </p:txBody>
        </p:sp>
        <p:sp>
          <p:nvSpPr>
            <p:cNvPr id="50" name="Legend3"/>
            <p:cNvSpPr>
              <a:spLocks noChangeArrowheads="1"/>
            </p:cNvSpPr>
            <p:nvPr/>
          </p:nvSpPr>
          <p:spPr bwMode="gray">
            <a:xfrm>
              <a:off x="8089900" y="812802"/>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18">
                <a:buClr>
                  <a:srgbClr val="002960"/>
                </a:buClr>
              </a:pPr>
              <a:r>
                <a:rPr lang="en-US" sz="1224" dirty="0">
                  <a:solidFill>
                    <a:srgbClr val="000000"/>
                  </a:solidFill>
                  <a:latin typeface="Arial"/>
                </a:rPr>
                <a:t>Legend</a:t>
              </a:r>
            </a:p>
          </p:txBody>
        </p:sp>
        <p:sp>
          <p:nvSpPr>
            <p:cNvPr id="51" name="Legend4"/>
            <p:cNvSpPr>
              <a:spLocks noChangeArrowheads="1"/>
            </p:cNvSpPr>
            <p:nvPr/>
          </p:nvSpPr>
          <p:spPr bwMode="gray">
            <a:xfrm>
              <a:off x="8089900" y="108426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18">
                <a:buClr>
                  <a:srgbClr val="002960"/>
                </a:buClr>
              </a:pPr>
              <a:r>
                <a:rPr lang="en-US" sz="1224" dirty="0">
                  <a:solidFill>
                    <a:srgbClr val="000000"/>
                  </a:solidFill>
                  <a:latin typeface="Arial"/>
                </a:rPr>
                <a:t>Legend</a:t>
              </a:r>
            </a:p>
          </p:txBody>
        </p:sp>
        <p:sp>
          <p:nvSpPr>
            <p:cNvPr id="52" name="Legend5"/>
            <p:cNvSpPr>
              <a:spLocks noChangeArrowheads="1"/>
            </p:cNvSpPr>
            <p:nvPr/>
          </p:nvSpPr>
          <p:spPr bwMode="gray">
            <a:xfrm>
              <a:off x="8089900" y="136049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18">
                <a:buClr>
                  <a:srgbClr val="002960"/>
                </a:buClr>
              </a:pPr>
              <a:r>
                <a:rPr lang="en-US" sz="1224" dirty="0">
                  <a:solidFill>
                    <a:srgbClr val="000000"/>
                  </a:solidFill>
                  <a:latin typeface="Arial"/>
                </a:rPr>
                <a:t>Legend</a:t>
              </a:r>
            </a:p>
          </p:txBody>
        </p:sp>
      </p:grpSp>
      <p:sp>
        <p:nvSpPr>
          <p:cNvPr id="63" name="Slide Number">
            <a:extLst>
              <a:ext uri="{FF2B5EF4-FFF2-40B4-BE49-F238E27FC236}">
                <a16:creationId xmlns:a16="http://schemas.microsoft.com/office/drawing/2014/main" id="{F471BE28-3772-4100-8E3F-2E7F424F26B5}"/>
              </a:ext>
            </a:extLst>
          </p:cNvPr>
          <p:cNvSpPr txBox="1">
            <a:spLocks/>
          </p:cNvSpPr>
          <p:nvPr/>
        </p:nvSpPr>
        <p:spPr bwMode="gray">
          <a:xfrm>
            <a:off x="11988233" y="6683533"/>
            <a:ext cx="128240"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sz="816" smtClean="0">
                <a:solidFill>
                  <a:schemeClr val="tx1">
                    <a:lumMod val="50000"/>
                    <a:lumOff val="50000"/>
                  </a:schemeClr>
                </a:solidFill>
              </a:rPr>
              <a:pPr/>
              <a:t>‹#›</a:t>
            </a:fld>
            <a:endParaRPr sz="816" dirty="0">
              <a:solidFill>
                <a:schemeClr val="tx1">
                  <a:lumMod val="50000"/>
                  <a:lumOff val="50000"/>
                </a:schemeClr>
              </a:solidFill>
            </a:endParaRPr>
          </a:p>
        </p:txBody>
      </p:sp>
      <p:sp>
        <p:nvSpPr>
          <p:cNvPr id="64" name="SlideLogoText">
            <a:extLst>
              <a:ext uri="{FF2B5EF4-FFF2-40B4-BE49-F238E27FC236}">
                <a16:creationId xmlns:a16="http://schemas.microsoft.com/office/drawing/2014/main" id="{F87B11DC-F46C-4E8B-A1CA-B2FE075667B9}"/>
              </a:ext>
            </a:extLst>
          </p:cNvPr>
          <p:cNvSpPr>
            <a:spLocks noChangeArrowheads="1"/>
          </p:cNvSpPr>
          <p:nvPr>
            <p:custDataLst>
              <p:tags r:id="rId9"/>
            </p:custDataLst>
          </p:nvPr>
        </p:nvSpPr>
        <p:spPr bwMode="gray">
          <a:xfrm>
            <a:off x="10822175" y="6683533"/>
            <a:ext cx="1029128" cy="12554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26"/>
            <a:r>
              <a:rPr lang="en-US" sz="816" dirty="0">
                <a:solidFill>
                  <a:schemeClr val="tx1">
                    <a:lumMod val="50000"/>
                    <a:lumOff val="50000"/>
                  </a:schemeClr>
                </a:solidFill>
                <a:latin typeface="Arial"/>
              </a:rPr>
              <a:t>McKinsey &amp; Company</a:t>
            </a:r>
          </a:p>
        </p:txBody>
      </p:sp>
    </p:spTree>
    <p:extLst>
      <p:ext uri="{BB962C8B-B14F-4D97-AF65-F5344CB8AC3E}">
        <p14:creationId xmlns:p14="http://schemas.microsoft.com/office/powerpoint/2010/main" val="2314648335"/>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Lst>
  <p:txStyles>
    <p:titleStyle>
      <a:lvl1pPr algn="l" defTabSz="913518" rtl="0" eaLnBrk="1" fontAlgn="base" hangingPunct="1">
        <a:spcBef>
          <a:spcPct val="0"/>
        </a:spcBef>
        <a:spcAft>
          <a:spcPct val="0"/>
        </a:spcAft>
        <a:tabLst>
          <a:tab pos="275350" algn="l"/>
        </a:tabLst>
        <a:defRPr lang="en-US" sz="2667" b="0" baseline="0" noProof="0" dirty="0">
          <a:solidFill>
            <a:schemeClr val="tx1"/>
          </a:solidFill>
          <a:latin typeface="Georgia" panose="02040502050405020303" pitchFamily="18" charset="0"/>
          <a:ea typeface="+mj-ea"/>
          <a:cs typeface="+mj-cs"/>
        </a:defRPr>
      </a:lvl1pPr>
      <a:lvl2pPr algn="l" defTabSz="913518" rtl="0" eaLnBrk="1" fontAlgn="base" hangingPunct="1">
        <a:spcBef>
          <a:spcPct val="0"/>
        </a:spcBef>
        <a:spcAft>
          <a:spcPct val="0"/>
        </a:spcAft>
        <a:defRPr sz="1939" b="1">
          <a:solidFill>
            <a:schemeClr val="tx2"/>
          </a:solidFill>
          <a:latin typeface="Arial" charset="0"/>
        </a:defRPr>
      </a:lvl2pPr>
      <a:lvl3pPr algn="l" defTabSz="913518" rtl="0" eaLnBrk="1" fontAlgn="base" hangingPunct="1">
        <a:spcBef>
          <a:spcPct val="0"/>
        </a:spcBef>
        <a:spcAft>
          <a:spcPct val="0"/>
        </a:spcAft>
        <a:defRPr sz="1939" b="1">
          <a:solidFill>
            <a:schemeClr val="tx2"/>
          </a:solidFill>
          <a:latin typeface="Arial" charset="0"/>
        </a:defRPr>
      </a:lvl3pPr>
      <a:lvl4pPr algn="l" defTabSz="913518" rtl="0" eaLnBrk="1" fontAlgn="base" hangingPunct="1">
        <a:spcBef>
          <a:spcPct val="0"/>
        </a:spcBef>
        <a:spcAft>
          <a:spcPct val="0"/>
        </a:spcAft>
        <a:defRPr sz="1939" b="1">
          <a:solidFill>
            <a:schemeClr val="tx2"/>
          </a:solidFill>
          <a:latin typeface="Arial" charset="0"/>
        </a:defRPr>
      </a:lvl4pPr>
      <a:lvl5pPr algn="l" defTabSz="913518" rtl="0" eaLnBrk="1" fontAlgn="base" hangingPunct="1">
        <a:spcBef>
          <a:spcPct val="0"/>
        </a:spcBef>
        <a:spcAft>
          <a:spcPct val="0"/>
        </a:spcAft>
        <a:defRPr sz="1939" b="1">
          <a:solidFill>
            <a:schemeClr val="tx2"/>
          </a:solidFill>
          <a:latin typeface="Arial" charset="0"/>
        </a:defRPr>
      </a:lvl5pPr>
      <a:lvl6pPr marL="466478" algn="l" defTabSz="913518" rtl="0" eaLnBrk="1" fontAlgn="base" hangingPunct="1">
        <a:spcBef>
          <a:spcPct val="0"/>
        </a:spcBef>
        <a:spcAft>
          <a:spcPct val="0"/>
        </a:spcAft>
        <a:defRPr sz="1939" b="1">
          <a:solidFill>
            <a:schemeClr val="tx2"/>
          </a:solidFill>
          <a:latin typeface="Arial" charset="0"/>
        </a:defRPr>
      </a:lvl6pPr>
      <a:lvl7pPr marL="932955" algn="l" defTabSz="913518" rtl="0" eaLnBrk="1" fontAlgn="base" hangingPunct="1">
        <a:spcBef>
          <a:spcPct val="0"/>
        </a:spcBef>
        <a:spcAft>
          <a:spcPct val="0"/>
        </a:spcAft>
        <a:defRPr sz="1939" b="1">
          <a:solidFill>
            <a:schemeClr val="tx2"/>
          </a:solidFill>
          <a:latin typeface="Arial" charset="0"/>
        </a:defRPr>
      </a:lvl7pPr>
      <a:lvl8pPr marL="1399432" algn="l" defTabSz="913518" rtl="0" eaLnBrk="1" fontAlgn="base" hangingPunct="1">
        <a:spcBef>
          <a:spcPct val="0"/>
        </a:spcBef>
        <a:spcAft>
          <a:spcPct val="0"/>
        </a:spcAft>
        <a:defRPr sz="1939" b="1">
          <a:solidFill>
            <a:schemeClr val="tx2"/>
          </a:solidFill>
          <a:latin typeface="Arial" charset="0"/>
        </a:defRPr>
      </a:lvl8pPr>
      <a:lvl9pPr marL="1865911" algn="l" defTabSz="913518" rtl="0" eaLnBrk="1" fontAlgn="base" hangingPunct="1">
        <a:spcBef>
          <a:spcPct val="0"/>
        </a:spcBef>
        <a:spcAft>
          <a:spcPct val="0"/>
        </a:spcAft>
        <a:defRPr sz="1939" b="1">
          <a:solidFill>
            <a:schemeClr val="tx2"/>
          </a:solidFill>
          <a:latin typeface="Arial" charset="0"/>
        </a:defRPr>
      </a:lvl9pPr>
    </p:titleStyle>
    <p:bodyStyle>
      <a:lvl1pPr marL="0" indent="0" algn="l" defTabSz="913518" rtl="0" eaLnBrk="1" fontAlgn="base" hangingPunct="1">
        <a:spcBef>
          <a:spcPct val="0"/>
        </a:spcBef>
        <a:spcAft>
          <a:spcPct val="0"/>
        </a:spcAft>
        <a:buClr>
          <a:schemeClr val="tx2"/>
        </a:buClr>
        <a:buSzPct val="100000"/>
        <a:defRPr sz="1428" baseline="0">
          <a:solidFill>
            <a:schemeClr val="tx1"/>
          </a:solidFill>
          <a:latin typeface="+mn-lt"/>
          <a:ea typeface="+mn-ea"/>
          <a:cs typeface="+mn-cs"/>
        </a:defRPr>
      </a:lvl1pPr>
      <a:lvl2pPr marL="197606" indent="-195986" algn="l" defTabSz="913518" rtl="0" eaLnBrk="1" fontAlgn="base" hangingPunct="1">
        <a:spcBef>
          <a:spcPct val="0"/>
        </a:spcBef>
        <a:spcAft>
          <a:spcPct val="0"/>
        </a:spcAft>
        <a:buClr>
          <a:schemeClr val="accent5"/>
        </a:buClr>
        <a:buSzPct val="125000"/>
        <a:buFont typeface="Arial" charset="0"/>
        <a:buChar char="▪"/>
        <a:defRPr sz="1428" baseline="0">
          <a:solidFill>
            <a:schemeClr val="tx1"/>
          </a:solidFill>
          <a:latin typeface="+mn-lt"/>
        </a:defRPr>
      </a:lvl2pPr>
      <a:lvl3pPr marL="466478" indent="-267253" algn="l" defTabSz="913518" rtl="0" eaLnBrk="1" fontAlgn="base" hangingPunct="1">
        <a:spcBef>
          <a:spcPct val="0"/>
        </a:spcBef>
        <a:spcAft>
          <a:spcPct val="0"/>
        </a:spcAft>
        <a:buClr>
          <a:schemeClr val="accent5"/>
        </a:buClr>
        <a:buSzPct val="120000"/>
        <a:buFont typeface="Arial" charset="0"/>
        <a:buChar char="–"/>
        <a:defRPr sz="1428" baseline="0">
          <a:solidFill>
            <a:schemeClr val="tx1"/>
          </a:solidFill>
          <a:latin typeface="+mn-lt"/>
        </a:defRPr>
      </a:lvl3pPr>
      <a:lvl4pPr marL="626830" indent="-158732" algn="l" defTabSz="913518" rtl="0" eaLnBrk="1" fontAlgn="base" hangingPunct="1">
        <a:spcBef>
          <a:spcPct val="0"/>
        </a:spcBef>
        <a:spcAft>
          <a:spcPct val="0"/>
        </a:spcAft>
        <a:buClr>
          <a:schemeClr val="accent5"/>
        </a:buClr>
        <a:buSzPct val="120000"/>
        <a:buFont typeface="Arial" charset="0"/>
        <a:buChar char="▫"/>
        <a:defRPr sz="1428" baseline="0">
          <a:solidFill>
            <a:schemeClr val="tx1"/>
          </a:solidFill>
          <a:latin typeface="+mn-lt"/>
        </a:defRPr>
      </a:lvl4pPr>
      <a:lvl5pPr marL="765024" indent="-132817" algn="l" defTabSz="913518" rtl="0" eaLnBrk="1" fontAlgn="base" hangingPunct="1">
        <a:spcBef>
          <a:spcPct val="0"/>
        </a:spcBef>
        <a:spcAft>
          <a:spcPct val="0"/>
        </a:spcAft>
        <a:buClr>
          <a:schemeClr val="accent5"/>
        </a:buClr>
        <a:buSzPct val="89000"/>
        <a:buFont typeface="Arial" charset="0"/>
        <a:buChar char="-"/>
        <a:defRPr sz="1428" baseline="0">
          <a:solidFill>
            <a:schemeClr val="tx1"/>
          </a:solidFill>
          <a:latin typeface="+mn-lt"/>
        </a:defRPr>
      </a:lvl5pPr>
      <a:lvl6pPr marL="765024" indent="-132817" algn="l" defTabSz="913518"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4" indent="-132817" algn="l" defTabSz="913518"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4" indent="-132817" algn="l" defTabSz="913518"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4" indent="-132817" algn="l" defTabSz="913518"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55" rtl="0" eaLnBrk="1" latinLnBrk="0" hangingPunct="1">
        <a:defRPr sz="1836" kern="1200">
          <a:solidFill>
            <a:schemeClr val="tx1"/>
          </a:solidFill>
          <a:latin typeface="+mn-lt"/>
          <a:ea typeface="+mn-ea"/>
          <a:cs typeface="+mn-cs"/>
        </a:defRPr>
      </a:lvl1pPr>
      <a:lvl2pPr marL="466478" algn="l" defTabSz="932955" rtl="0" eaLnBrk="1" latinLnBrk="0" hangingPunct="1">
        <a:defRPr sz="1836" kern="1200">
          <a:solidFill>
            <a:schemeClr val="tx1"/>
          </a:solidFill>
          <a:latin typeface="+mn-lt"/>
          <a:ea typeface="+mn-ea"/>
          <a:cs typeface="+mn-cs"/>
        </a:defRPr>
      </a:lvl2pPr>
      <a:lvl3pPr marL="932955" algn="l" defTabSz="932955" rtl="0" eaLnBrk="1" latinLnBrk="0" hangingPunct="1">
        <a:defRPr sz="1836" kern="1200">
          <a:solidFill>
            <a:schemeClr val="tx1"/>
          </a:solidFill>
          <a:latin typeface="+mn-lt"/>
          <a:ea typeface="+mn-ea"/>
          <a:cs typeface="+mn-cs"/>
        </a:defRPr>
      </a:lvl3pPr>
      <a:lvl4pPr marL="1399432" algn="l" defTabSz="932955" rtl="0" eaLnBrk="1" latinLnBrk="0" hangingPunct="1">
        <a:defRPr sz="1836" kern="1200">
          <a:solidFill>
            <a:schemeClr val="tx1"/>
          </a:solidFill>
          <a:latin typeface="+mn-lt"/>
          <a:ea typeface="+mn-ea"/>
          <a:cs typeface="+mn-cs"/>
        </a:defRPr>
      </a:lvl4pPr>
      <a:lvl5pPr marL="1865911" algn="l" defTabSz="932955" rtl="0" eaLnBrk="1" latinLnBrk="0" hangingPunct="1">
        <a:defRPr sz="1836" kern="1200">
          <a:solidFill>
            <a:schemeClr val="tx1"/>
          </a:solidFill>
          <a:latin typeface="+mn-lt"/>
          <a:ea typeface="+mn-ea"/>
          <a:cs typeface="+mn-cs"/>
        </a:defRPr>
      </a:lvl5pPr>
      <a:lvl6pPr marL="2332387" algn="l" defTabSz="932955" rtl="0" eaLnBrk="1" latinLnBrk="0" hangingPunct="1">
        <a:defRPr sz="1836" kern="1200">
          <a:solidFill>
            <a:schemeClr val="tx1"/>
          </a:solidFill>
          <a:latin typeface="+mn-lt"/>
          <a:ea typeface="+mn-ea"/>
          <a:cs typeface="+mn-cs"/>
        </a:defRPr>
      </a:lvl6pPr>
      <a:lvl7pPr marL="2798865" algn="l" defTabSz="932955" rtl="0" eaLnBrk="1" latinLnBrk="0" hangingPunct="1">
        <a:defRPr sz="1836" kern="1200">
          <a:solidFill>
            <a:schemeClr val="tx1"/>
          </a:solidFill>
          <a:latin typeface="+mn-lt"/>
          <a:ea typeface="+mn-ea"/>
          <a:cs typeface="+mn-cs"/>
        </a:defRPr>
      </a:lvl7pPr>
      <a:lvl8pPr marL="3265344" algn="l" defTabSz="932955" rtl="0" eaLnBrk="1" latinLnBrk="0" hangingPunct="1">
        <a:defRPr sz="1836" kern="1200">
          <a:solidFill>
            <a:schemeClr val="tx1"/>
          </a:solidFill>
          <a:latin typeface="+mn-lt"/>
          <a:ea typeface="+mn-ea"/>
          <a:cs typeface="+mn-cs"/>
        </a:defRPr>
      </a:lvl8pPr>
      <a:lvl9pPr marL="3731821" algn="l" defTabSz="932955"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361.xml"/><Relationship Id="rId7" Type="http://schemas.openxmlformats.org/officeDocument/2006/relationships/notesSlide" Target="../notesSlides/notesSlide1.xml"/><Relationship Id="rId2" Type="http://schemas.openxmlformats.org/officeDocument/2006/relationships/tags" Target="../tags/tag360.xml"/><Relationship Id="rId1" Type="http://schemas.openxmlformats.org/officeDocument/2006/relationships/vmlDrawing" Target="../drawings/vmlDrawing34.vml"/><Relationship Id="rId6" Type="http://schemas.openxmlformats.org/officeDocument/2006/relationships/slideLayout" Target="../slideLayouts/slideLayout1.xml"/><Relationship Id="rId11" Type="http://schemas.openxmlformats.org/officeDocument/2006/relationships/image" Target="../media/image14.jpeg"/><Relationship Id="rId5" Type="http://schemas.openxmlformats.org/officeDocument/2006/relationships/tags" Target="../tags/tag363.xml"/><Relationship Id="rId10" Type="http://schemas.openxmlformats.org/officeDocument/2006/relationships/hyperlink" Target="mailto:k_ganesh@mckinse.com" TargetMode="External"/><Relationship Id="rId4" Type="http://schemas.openxmlformats.org/officeDocument/2006/relationships/tags" Target="../tags/tag362.xml"/><Relationship Id="rId9" Type="http://schemas.openxmlformats.org/officeDocument/2006/relationships/image" Target="../media/image5.emf"/></Relationships>
</file>

<file path=ppt/slides/_rels/slide10.xml.rels><?xml version="1.0" encoding="UTF-8" standalone="yes"?>
<Relationships xmlns="http://schemas.openxmlformats.org/package/2006/relationships"><Relationship Id="rId26" Type="http://schemas.openxmlformats.org/officeDocument/2006/relationships/image" Target="../media/image43.svg"/><Relationship Id="rId21" Type="http://schemas.openxmlformats.org/officeDocument/2006/relationships/image" Target="../media/image118.png"/><Relationship Id="rId42" Type="http://schemas.openxmlformats.org/officeDocument/2006/relationships/image" Target="../media/image137.png"/><Relationship Id="rId47" Type="http://schemas.openxmlformats.org/officeDocument/2006/relationships/image" Target="../media/image142.png"/><Relationship Id="rId63" Type="http://schemas.openxmlformats.org/officeDocument/2006/relationships/image" Target="../media/image158.png"/><Relationship Id="rId68" Type="http://schemas.openxmlformats.org/officeDocument/2006/relationships/image" Target="../media/image163.png"/><Relationship Id="rId16" Type="http://schemas.openxmlformats.org/officeDocument/2006/relationships/notesSlide" Target="../notesSlides/notesSlide5.xml"/><Relationship Id="rId11" Type="http://schemas.openxmlformats.org/officeDocument/2006/relationships/tags" Target="../tags/tag569.xml"/><Relationship Id="rId24" Type="http://schemas.openxmlformats.org/officeDocument/2006/relationships/image" Target="../media/image121.svg"/><Relationship Id="rId32" Type="http://schemas.openxmlformats.org/officeDocument/2006/relationships/image" Target="../media/image127.svg"/><Relationship Id="rId37" Type="http://schemas.openxmlformats.org/officeDocument/2006/relationships/image" Target="../media/image132.png"/><Relationship Id="rId40" Type="http://schemas.openxmlformats.org/officeDocument/2006/relationships/image" Target="../media/image135.png"/><Relationship Id="rId45" Type="http://schemas.openxmlformats.org/officeDocument/2006/relationships/image" Target="../media/image140.png"/><Relationship Id="rId53" Type="http://schemas.openxmlformats.org/officeDocument/2006/relationships/image" Target="../media/image148.png"/><Relationship Id="rId58" Type="http://schemas.openxmlformats.org/officeDocument/2006/relationships/image" Target="../media/image153.png"/><Relationship Id="rId66" Type="http://schemas.openxmlformats.org/officeDocument/2006/relationships/image" Target="../media/image161.png"/><Relationship Id="rId74" Type="http://schemas.openxmlformats.org/officeDocument/2006/relationships/image" Target="../media/image169.png"/><Relationship Id="rId79" Type="http://schemas.openxmlformats.org/officeDocument/2006/relationships/image" Target="../media/image14.jpeg"/><Relationship Id="rId5" Type="http://schemas.openxmlformats.org/officeDocument/2006/relationships/tags" Target="../tags/tag563.xml"/><Relationship Id="rId61" Type="http://schemas.openxmlformats.org/officeDocument/2006/relationships/image" Target="../media/image156.png"/><Relationship Id="rId19" Type="http://schemas.openxmlformats.org/officeDocument/2006/relationships/image" Target="../media/image116.png"/><Relationship Id="rId14" Type="http://schemas.openxmlformats.org/officeDocument/2006/relationships/tags" Target="../tags/tag572.xml"/><Relationship Id="rId22" Type="http://schemas.openxmlformats.org/officeDocument/2006/relationships/image" Target="../media/image119.svg"/><Relationship Id="rId27" Type="http://schemas.openxmlformats.org/officeDocument/2006/relationships/image" Target="../media/image122.png"/><Relationship Id="rId30" Type="http://schemas.openxmlformats.org/officeDocument/2006/relationships/image" Target="../media/image125.svg"/><Relationship Id="rId35" Type="http://schemas.openxmlformats.org/officeDocument/2006/relationships/image" Target="../media/image130.png"/><Relationship Id="rId43" Type="http://schemas.openxmlformats.org/officeDocument/2006/relationships/image" Target="../media/image138.png"/><Relationship Id="rId48" Type="http://schemas.openxmlformats.org/officeDocument/2006/relationships/image" Target="../media/image143.png"/><Relationship Id="rId56" Type="http://schemas.openxmlformats.org/officeDocument/2006/relationships/image" Target="../media/image151.png"/><Relationship Id="rId64" Type="http://schemas.openxmlformats.org/officeDocument/2006/relationships/image" Target="../media/image159.jpeg"/><Relationship Id="rId69" Type="http://schemas.openxmlformats.org/officeDocument/2006/relationships/image" Target="../media/image164.png"/><Relationship Id="rId77" Type="http://schemas.openxmlformats.org/officeDocument/2006/relationships/image" Target="../media/image172.png"/><Relationship Id="rId8" Type="http://schemas.openxmlformats.org/officeDocument/2006/relationships/tags" Target="../tags/tag566.xml"/><Relationship Id="rId51" Type="http://schemas.openxmlformats.org/officeDocument/2006/relationships/image" Target="../media/image146.png"/><Relationship Id="rId72" Type="http://schemas.openxmlformats.org/officeDocument/2006/relationships/image" Target="../media/image167.png"/><Relationship Id="rId3" Type="http://schemas.openxmlformats.org/officeDocument/2006/relationships/tags" Target="../tags/tag561.xml"/><Relationship Id="rId12" Type="http://schemas.openxmlformats.org/officeDocument/2006/relationships/tags" Target="../tags/tag570.xml"/><Relationship Id="rId17" Type="http://schemas.openxmlformats.org/officeDocument/2006/relationships/oleObject" Target="../embeddings/oleObject43.bin"/><Relationship Id="rId25" Type="http://schemas.openxmlformats.org/officeDocument/2006/relationships/image" Target="../media/image42.png"/><Relationship Id="rId33" Type="http://schemas.openxmlformats.org/officeDocument/2006/relationships/image" Target="../media/image128.png"/><Relationship Id="rId38" Type="http://schemas.openxmlformats.org/officeDocument/2006/relationships/image" Target="../media/image133.jpeg"/><Relationship Id="rId46" Type="http://schemas.openxmlformats.org/officeDocument/2006/relationships/image" Target="../media/image141.png"/><Relationship Id="rId59" Type="http://schemas.openxmlformats.org/officeDocument/2006/relationships/image" Target="../media/image154.png"/><Relationship Id="rId67" Type="http://schemas.openxmlformats.org/officeDocument/2006/relationships/image" Target="../media/image162.png"/><Relationship Id="rId20" Type="http://schemas.openxmlformats.org/officeDocument/2006/relationships/image" Target="../media/image117.svg"/><Relationship Id="rId41" Type="http://schemas.openxmlformats.org/officeDocument/2006/relationships/image" Target="../media/image136.png"/><Relationship Id="rId54" Type="http://schemas.openxmlformats.org/officeDocument/2006/relationships/image" Target="../media/image149.png"/><Relationship Id="rId62" Type="http://schemas.openxmlformats.org/officeDocument/2006/relationships/image" Target="../media/image157.png"/><Relationship Id="rId70" Type="http://schemas.openxmlformats.org/officeDocument/2006/relationships/image" Target="../media/image165.png"/><Relationship Id="rId75" Type="http://schemas.openxmlformats.org/officeDocument/2006/relationships/image" Target="../media/image170.png"/><Relationship Id="rId1" Type="http://schemas.openxmlformats.org/officeDocument/2006/relationships/vmlDrawing" Target="../drawings/vmlDrawing43.vml"/><Relationship Id="rId6" Type="http://schemas.openxmlformats.org/officeDocument/2006/relationships/tags" Target="../tags/tag564.xml"/><Relationship Id="rId15" Type="http://schemas.openxmlformats.org/officeDocument/2006/relationships/slideLayout" Target="../slideLayouts/slideLayout2.xml"/><Relationship Id="rId23" Type="http://schemas.openxmlformats.org/officeDocument/2006/relationships/image" Target="../media/image120.png"/><Relationship Id="rId28" Type="http://schemas.openxmlformats.org/officeDocument/2006/relationships/image" Target="../media/image123.svg"/><Relationship Id="rId36" Type="http://schemas.openxmlformats.org/officeDocument/2006/relationships/image" Target="../media/image131.png"/><Relationship Id="rId49" Type="http://schemas.openxmlformats.org/officeDocument/2006/relationships/image" Target="../media/image144.png"/><Relationship Id="rId57" Type="http://schemas.openxmlformats.org/officeDocument/2006/relationships/image" Target="../media/image152.png"/><Relationship Id="rId10" Type="http://schemas.openxmlformats.org/officeDocument/2006/relationships/tags" Target="../tags/tag568.xml"/><Relationship Id="rId31" Type="http://schemas.openxmlformats.org/officeDocument/2006/relationships/image" Target="../media/image126.png"/><Relationship Id="rId44" Type="http://schemas.openxmlformats.org/officeDocument/2006/relationships/image" Target="../media/image139.png"/><Relationship Id="rId52" Type="http://schemas.openxmlformats.org/officeDocument/2006/relationships/image" Target="../media/image147.jpeg"/><Relationship Id="rId60" Type="http://schemas.openxmlformats.org/officeDocument/2006/relationships/image" Target="../media/image155.png"/><Relationship Id="rId65" Type="http://schemas.openxmlformats.org/officeDocument/2006/relationships/image" Target="../media/image160.png"/><Relationship Id="rId73" Type="http://schemas.openxmlformats.org/officeDocument/2006/relationships/image" Target="../media/image168.png"/><Relationship Id="rId78" Type="http://schemas.openxmlformats.org/officeDocument/2006/relationships/image" Target="../media/image173.png"/><Relationship Id="rId4" Type="http://schemas.openxmlformats.org/officeDocument/2006/relationships/tags" Target="../tags/tag562.xml"/><Relationship Id="rId9" Type="http://schemas.openxmlformats.org/officeDocument/2006/relationships/tags" Target="../tags/tag567.xml"/><Relationship Id="rId13" Type="http://schemas.openxmlformats.org/officeDocument/2006/relationships/tags" Target="../tags/tag571.xml"/><Relationship Id="rId18" Type="http://schemas.openxmlformats.org/officeDocument/2006/relationships/image" Target="../media/image10.emf"/><Relationship Id="rId39" Type="http://schemas.openxmlformats.org/officeDocument/2006/relationships/image" Target="../media/image134.png"/><Relationship Id="rId34" Type="http://schemas.openxmlformats.org/officeDocument/2006/relationships/image" Target="../media/image129.png"/><Relationship Id="rId50" Type="http://schemas.openxmlformats.org/officeDocument/2006/relationships/image" Target="../media/image145.png"/><Relationship Id="rId55" Type="http://schemas.openxmlformats.org/officeDocument/2006/relationships/image" Target="../media/image150.png"/><Relationship Id="rId76" Type="http://schemas.openxmlformats.org/officeDocument/2006/relationships/image" Target="../media/image171.jpeg"/><Relationship Id="rId7" Type="http://schemas.openxmlformats.org/officeDocument/2006/relationships/tags" Target="../tags/tag565.xml"/><Relationship Id="rId71" Type="http://schemas.openxmlformats.org/officeDocument/2006/relationships/image" Target="../media/image166.png"/><Relationship Id="rId2" Type="http://schemas.openxmlformats.org/officeDocument/2006/relationships/tags" Target="../tags/tag560.xml"/><Relationship Id="rId29" Type="http://schemas.openxmlformats.org/officeDocument/2006/relationships/image" Target="../media/image124.png"/></Relationships>
</file>

<file path=ppt/slides/_rels/slide11.xml.rels><?xml version="1.0" encoding="UTF-8" standalone="yes"?>
<Relationships xmlns="http://schemas.openxmlformats.org/package/2006/relationships"><Relationship Id="rId8" Type="http://schemas.openxmlformats.org/officeDocument/2006/relationships/tags" Target="../tags/tag579.xml"/><Relationship Id="rId13" Type="http://schemas.openxmlformats.org/officeDocument/2006/relationships/image" Target="../media/image10.emf"/><Relationship Id="rId18" Type="http://schemas.openxmlformats.org/officeDocument/2006/relationships/image" Target="../media/image176.png"/><Relationship Id="rId3" Type="http://schemas.openxmlformats.org/officeDocument/2006/relationships/tags" Target="../tags/tag574.xml"/><Relationship Id="rId21" Type="http://schemas.openxmlformats.org/officeDocument/2006/relationships/image" Target="../media/image179.png"/><Relationship Id="rId7" Type="http://schemas.openxmlformats.org/officeDocument/2006/relationships/tags" Target="../tags/tag578.xml"/><Relationship Id="rId12" Type="http://schemas.openxmlformats.org/officeDocument/2006/relationships/oleObject" Target="../embeddings/oleObject44.bin"/><Relationship Id="rId17" Type="http://schemas.openxmlformats.org/officeDocument/2006/relationships/image" Target="../media/image175.png"/><Relationship Id="rId2" Type="http://schemas.openxmlformats.org/officeDocument/2006/relationships/tags" Target="../tags/tag573.xml"/><Relationship Id="rId16" Type="http://schemas.openxmlformats.org/officeDocument/2006/relationships/image" Target="../media/image174.png"/><Relationship Id="rId20" Type="http://schemas.openxmlformats.org/officeDocument/2006/relationships/image" Target="../media/image178.png"/><Relationship Id="rId1" Type="http://schemas.openxmlformats.org/officeDocument/2006/relationships/vmlDrawing" Target="../drawings/vmlDrawing44.vml"/><Relationship Id="rId6" Type="http://schemas.openxmlformats.org/officeDocument/2006/relationships/tags" Target="../tags/tag577.xml"/><Relationship Id="rId11" Type="http://schemas.openxmlformats.org/officeDocument/2006/relationships/slideLayout" Target="../slideLayouts/slideLayout9.xml"/><Relationship Id="rId24" Type="http://schemas.openxmlformats.org/officeDocument/2006/relationships/image" Target="../media/image14.jpeg"/><Relationship Id="rId5" Type="http://schemas.openxmlformats.org/officeDocument/2006/relationships/tags" Target="../tags/tag576.xml"/><Relationship Id="rId15" Type="http://schemas.openxmlformats.org/officeDocument/2006/relationships/image" Target="../media/image159.jpeg"/><Relationship Id="rId23" Type="http://schemas.openxmlformats.org/officeDocument/2006/relationships/chart" Target="../charts/chart5.xml"/><Relationship Id="rId10" Type="http://schemas.openxmlformats.org/officeDocument/2006/relationships/tags" Target="../tags/tag581.xml"/><Relationship Id="rId19" Type="http://schemas.openxmlformats.org/officeDocument/2006/relationships/image" Target="../media/image177.png"/><Relationship Id="rId4" Type="http://schemas.openxmlformats.org/officeDocument/2006/relationships/tags" Target="../tags/tag575.xml"/><Relationship Id="rId9" Type="http://schemas.openxmlformats.org/officeDocument/2006/relationships/tags" Target="../tags/tag580.xml"/><Relationship Id="rId14" Type="http://schemas.openxmlformats.org/officeDocument/2006/relationships/image" Target="../media/image158.png"/><Relationship Id="rId22" Type="http://schemas.openxmlformats.org/officeDocument/2006/relationships/image" Target="../media/image180.png"/></Relationships>
</file>

<file path=ppt/slides/_rels/slide12.xml.rels><?xml version="1.0" encoding="UTF-8" standalone="yes"?>
<Relationships xmlns="http://schemas.openxmlformats.org/package/2006/relationships"><Relationship Id="rId8" Type="http://schemas.openxmlformats.org/officeDocument/2006/relationships/tags" Target="../tags/tag588.xml"/><Relationship Id="rId13" Type="http://schemas.openxmlformats.org/officeDocument/2006/relationships/image" Target="../media/image27.emf"/><Relationship Id="rId3" Type="http://schemas.openxmlformats.org/officeDocument/2006/relationships/tags" Target="../tags/tag583.xml"/><Relationship Id="rId7" Type="http://schemas.openxmlformats.org/officeDocument/2006/relationships/tags" Target="../tags/tag587.xml"/><Relationship Id="rId12" Type="http://schemas.openxmlformats.org/officeDocument/2006/relationships/oleObject" Target="../embeddings/oleObject45.bin"/><Relationship Id="rId2" Type="http://schemas.openxmlformats.org/officeDocument/2006/relationships/tags" Target="../tags/tag582.xml"/><Relationship Id="rId16" Type="http://schemas.openxmlformats.org/officeDocument/2006/relationships/image" Target="../media/image14.jpeg"/><Relationship Id="rId1" Type="http://schemas.openxmlformats.org/officeDocument/2006/relationships/vmlDrawing" Target="../drawings/vmlDrawing45.vml"/><Relationship Id="rId6" Type="http://schemas.openxmlformats.org/officeDocument/2006/relationships/tags" Target="../tags/tag586.xml"/><Relationship Id="rId11" Type="http://schemas.openxmlformats.org/officeDocument/2006/relationships/notesSlide" Target="../notesSlides/notesSlide6.xml"/><Relationship Id="rId5" Type="http://schemas.openxmlformats.org/officeDocument/2006/relationships/tags" Target="../tags/tag585.xml"/><Relationship Id="rId15" Type="http://schemas.openxmlformats.org/officeDocument/2006/relationships/slide" Target="slide18.xml"/><Relationship Id="rId10" Type="http://schemas.openxmlformats.org/officeDocument/2006/relationships/slideLayout" Target="../slideLayouts/slideLayout3.xml"/><Relationship Id="rId4" Type="http://schemas.openxmlformats.org/officeDocument/2006/relationships/tags" Target="../tags/tag584.xml"/><Relationship Id="rId9" Type="http://schemas.openxmlformats.org/officeDocument/2006/relationships/tags" Target="../tags/tag589.xml"/><Relationship Id="rId14" Type="http://schemas.openxmlformats.org/officeDocument/2006/relationships/slide" Target="slide5.xml"/></Relationships>
</file>

<file path=ppt/slides/_rels/slide13.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591.xml"/><Relationship Id="rId7" Type="http://schemas.openxmlformats.org/officeDocument/2006/relationships/oleObject" Target="../embeddings/oleObject46.bin"/><Relationship Id="rId2" Type="http://schemas.openxmlformats.org/officeDocument/2006/relationships/tags" Target="../tags/tag590.xml"/><Relationship Id="rId1" Type="http://schemas.openxmlformats.org/officeDocument/2006/relationships/vmlDrawing" Target="../drawings/vmlDrawing46.vml"/><Relationship Id="rId6" Type="http://schemas.openxmlformats.org/officeDocument/2006/relationships/slideLayout" Target="../slideLayouts/slideLayout15.xml"/><Relationship Id="rId5" Type="http://schemas.openxmlformats.org/officeDocument/2006/relationships/tags" Target="../tags/tag593.xml"/><Relationship Id="rId4" Type="http://schemas.openxmlformats.org/officeDocument/2006/relationships/tags" Target="../tags/tag592.xml"/><Relationship Id="rId9" Type="http://schemas.openxmlformats.org/officeDocument/2006/relationships/image" Target="../media/image14.jpeg"/></Relationships>
</file>

<file path=ppt/slides/_rels/slide14.xml.rels><?xml version="1.0" encoding="UTF-8" standalone="yes"?>
<Relationships xmlns="http://schemas.openxmlformats.org/package/2006/relationships"><Relationship Id="rId8" Type="http://schemas.openxmlformats.org/officeDocument/2006/relationships/image" Target="../media/image183.png"/><Relationship Id="rId3" Type="http://schemas.openxmlformats.org/officeDocument/2006/relationships/slideLayout" Target="../slideLayouts/slideLayout15.xml"/><Relationship Id="rId7" Type="http://schemas.openxmlformats.org/officeDocument/2006/relationships/image" Target="../media/image182.png"/><Relationship Id="rId2" Type="http://schemas.openxmlformats.org/officeDocument/2006/relationships/tags" Target="../tags/tag594.xml"/><Relationship Id="rId1" Type="http://schemas.openxmlformats.org/officeDocument/2006/relationships/vmlDrawing" Target="../drawings/vmlDrawing47.vml"/><Relationship Id="rId6" Type="http://schemas.openxmlformats.org/officeDocument/2006/relationships/image" Target="../media/image181.jpeg"/><Relationship Id="rId5" Type="http://schemas.openxmlformats.org/officeDocument/2006/relationships/image" Target="../media/image26.emf"/><Relationship Id="rId4" Type="http://schemas.openxmlformats.org/officeDocument/2006/relationships/oleObject" Target="../embeddings/oleObject47.bin"/><Relationship Id="rId9" Type="http://schemas.openxmlformats.org/officeDocument/2006/relationships/image" Target="../media/image14.jpeg"/></Relationships>
</file>

<file path=ppt/slides/_rels/slide15.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slideLayout" Target="../slideLayouts/slideLayout15.xml"/><Relationship Id="rId7" Type="http://schemas.openxmlformats.org/officeDocument/2006/relationships/image" Target="../media/image185.png"/><Relationship Id="rId2" Type="http://schemas.openxmlformats.org/officeDocument/2006/relationships/tags" Target="../tags/tag595.xml"/><Relationship Id="rId1" Type="http://schemas.openxmlformats.org/officeDocument/2006/relationships/vmlDrawing" Target="../drawings/vmlDrawing48.vml"/><Relationship Id="rId6" Type="http://schemas.openxmlformats.org/officeDocument/2006/relationships/image" Target="../media/image184.jpeg"/><Relationship Id="rId5" Type="http://schemas.openxmlformats.org/officeDocument/2006/relationships/image" Target="../media/image26.emf"/><Relationship Id="rId4" Type="http://schemas.openxmlformats.org/officeDocument/2006/relationships/oleObject" Target="../embeddings/oleObject48.bin"/></Relationships>
</file>

<file path=ppt/slides/_rels/slide16.xml.rels><?xml version="1.0" encoding="UTF-8" standalone="yes"?>
<Relationships xmlns="http://schemas.openxmlformats.org/package/2006/relationships"><Relationship Id="rId8" Type="http://schemas.openxmlformats.org/officeDocument/2006/relationships/image" Target="../media/image186.jpeg"/><Relationship Id="rId13" Type="http://schemas.openxmlformats.org/officeDocument/2006/relationships/image" Target="../media/image191.png"/><Relationship Id="rId3" Type="http://schemas.openxmlformats.org/officeDocument/2006/relationships/tags" Target="../tags/tag596.xml"/><Relationship Id="rId7" Type="http://schemas.openxmlformats.org/officeDocument/2006/relationships/image" Target="../media/image26.emf"/><Relationship Id="rId12" Type="http://schemas.openxmlformats.org/officeDocument/2006/relationships/image" Target="../media/image190.png"/><Relationship Id="rId2" Type="http://schemas.openxmlformats.org/officeDocument/2006/relationships/vmlDrawing" Target="../drawings/vmlDrawing49.vml"/><Relationship Id="rId16" Type="http://schemas.openxmlformats.org/officeDocument/2006/relationships/image" Target="../media/image14.jpeg"/><Relationship Id="rId1" Type="http://schemas.openxmlformats.org/officeDocument/2006/relationships/themeOverride" Target="../theme/themeOverride1.xml"/><Relationship Id="rId6" Type="http://schemas.openxmlformats.org/officeDocument/2006/relationships/oleObject" Target="../embeddings/oleObject49.bin"/><Relationship Id="rId11" Type="http://schemas.openxmlformats.org/officeDocument/2006/relationships/image" Target="../media/image189.png"/><Relationship Id="rId5" Type="http://schemas.openxmlformats.org/officeDocument/2006/relationships/slideLayout" Target="../slideLayouts/slideLayout37.xml"/><Relationship Id="rId15" Type="http://schemas.openxmlformats.org/officeDocument/2006/relationships/image" Target="../media/image193.png"/><Relationship Id="rId10" Type="http://schemas.openxmlformats.org/officeDocument/2006/relationships/image" Target="../media/image188.png"/><Relationship Id="rId4" Type="http://schemas.openxmlformats.org/officeDocument/2006/relationships/tags" Target="../tags/tag597.xml"/><Relationship Id="rId9" Type="http://schemas.openxmlformats.org/officeDocument/2006/relationships/image" Target="../media/image187.jpeg"/><Relationship Id="rId14" Type="http://schemas.openxmlformats.org/officeDocument/2006/relationships/image" Target="../media/image192.png"/></Relationships>
</file>

<file path=ppt/slides/_rels/slide17.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slideLayout" Target="../slideLayouts/slideLayout37.xml"/><Relationship Id="rId7" Type="http://schemas.openxmlformats.org/officeDocument/2006/relationships/image" Target="../media/image195.png"/><Relationship Id="rId2" Type="http://schemas.openxmlformats.org/officeDocument/2006/relationships/tags" Target="../tags/tag598.xml"/><Relationship Id="rId1" Type="http://schemas.openxmlformats.org/officeDocument/2006/relationships/vmlDrawing" Target="../drawings/vmlDrawing50.vml"/><Relationship Id="rId6" Type="http://schemas.openxmlformats.org/officeDocument/2006/relationships/image" Target="../media/image194.png"/><Relationship Id="rId5" Type="http://schemas.openxmlformats.org/officeDocument/2006/relationships/image" Target="../media/image10.emf"/><Relationship Id="rId4" Type="http://schemas.openxmlformats.org/officeDocument/2006/relationships/oleObject" Target="../embeddings/oleObject50.bin"/><Relationship Id="rId9" Type="http://schemas.openxmlformats.org/officeDocument/2006/relationships/image" Target="../media/image14.jpeg"/></Relationships>
</file>

<file path=ppt/slides/_rels/slide18.xml.rels><?xml version="1.0" encoding="UTF-8" standalone="yes"?>
<Relationships xmlns="http://schemas.openxmlformats.org/package/2006/relationships"><Relationship Id="rId8" Type="http://schemas.openxmlformats.org/officeDocument/2006/relationships/tags" Target="../tags/tag605.xml"/><Relationship Id="rId13" Type="http://schemas.openxmlformats.org/officeDocument/2006/relationships/image" Target="../media/image27.emf"/><Relationship Id="rId3" Type="http://schemas.openxmlformats.org/officeDocument/2006/relationships/tags" Target="../tags/tag600.xml"/><Relationship Id="rId7" Type="http://schemas.openxmlformats.org/officeDocument/2006/relationships/tags" Target="../tags/tag604.xml"/><Relationship Id="rId12" Type="http://schemas.openxmlformats.org/officeDocument/2006/relationships/oleObject" Target="../embeddings/oleObject51.bin"/><Relationship Id="rId2" Type="http://schemas.openxmlformats.org/officeDocument/2006/relationships/tags" Target="../tags/tag599.xml"/><Relationship Id="rId16" Type="http://schemas.openxmlformats.org/officeDocument/2006/relationships/image" Target="../media/image14.jpeg"/><Relationship Id="rId1" Type="http://schemas.openxmlformats.org/officeDocument/2006/relationships/vmlDrawing" Target="../drawings/vmlDrawing51.vml"/><Relationship Id="rId6" Type="http://schemas.openxmlformats.org/officeDocument/2006/relationships/tags" Target="../tags/tag603.xml"/><Relationship Id="rId11" Type="http://schemas.openxmlformats.org/officeDocument/2006/relationships/notesSlide" Target="../notesSlides/notesSlide7.xml"/><Relationship Id="rId5" Type="http://schemas.openxmlformats.org/officeDocument/2006/relationships/tags" Target="../tags/tag602.xml"/><Relationship Id="rId15" Type="http://schemas.openxmlformats.org/officeDocument/2006/relationships/slide" Target="slide12.xml"/><Relationship Id="rId10" Type="http://schemas.openxmlformats.org/officeDocument/2006/relationships/slideLayout" Target="../slideLayouts/slideLayout3.xml"/><Relationship Id="rId4" Type="http://schemas.openxmlformats.org/officeDocument/2006/relationships/tags" Target="../tags/tag601.xml"/><Relationship Id="rId9" Type="http://schemas.openxmlformats.org/officeDocument/2006/relationships/tags" Target="../tags/tag606.xml"/><Relationship Id="rId14" Type="http://schemas.openxmlformats.org/officeDocument/2006/relationships/slide" Target="slide5.xml"/></Relationships>
</file>

<file path=ppt/slides/_rels/slide19.xml.rels><?xml version="1.0" encoding="UTF-8" standalone="yes"?>
<Relationships xmlns="http://schemas.openxmlformats.org/package/2006/relationships"><Relationship Id="rId13" Type="http://schemas.openxmlformats.org/officeDocument/2006/relationships/tags" Target="../tags/tag618.xml"/><Relationship Id="rId18" Type="http://schemas.openxmlformats.org/officeDocument/2006/relationships/tags" Target="../tags/tag623.xml"/><Relationship Id="rId26" Type="http://schemas.openxmlformats.org/officeDocument/2006/relationships/tags" Target="../tags/tag631.xml"/><Relationship Id="rId3" Type="http://schemas.openxmlformats.org/officeDocument/2006/relationships/tags" Target="../tags/tag608.xml"/><Relationship Id="rId21" Type="http://schemas.openxmlformats.org/officeDocument/2006/relationships/tags" Target="../tags/tag626.xml"/><Relationship Id="rId34" Type="http://schemas.openxmlformats.org/officeDocument/2006/relationships/image" Target="../media/image14.jpeg"/><Relationship Id="rId7" Type="http://schemas.openxmlformats.org/officeDocument/2006/relationships/tags" Target="../tags/tag612.xml"/><Relationship Id="rId12" Type="http://schemas.openxmlformats.org/officeDocument/2006/relationships/tags" Target="../tags/tag617.xml"/><Relationship Id="rId17" Type="http://schemas.openxmlformats.org/officeDocument/2006/relationships/tags" Target="../tags/tag622.xml"/><Relationship Id="rId25" Type="http://schemas.openxmlformats.org/officeDocument/2006/relationships/tags" Target="../tags/tag630.xml"/><Relationship Id="rId33" Type="http://schemas.openxmlformats.org/officeDocument/2006/relationships/chart" Target="../charts/chart6.xml"/><Relationship Id="rId2" Type="http://schemas.openxmlformats.org/officeDocument/2006/relationships/tags" Target="../tags/tag607.xml"/><Relationship Id="rId16" Type="http://schemas.openxmlformats.org/officeDocument/2006/relationships/tags" Target="../tags/tag621.xml"/><Relationship Id="rId20" Type="http://schemas.openxmlformats.org/officeDocument/2006/relationships/tags" Target="../tags/tag625.xml"/><Relationship Id="rId29" Type="http://schemas.openxmlformats.org/officeDocument/2006/relationships/notesSlide" Target="../notesSlides/notesSlide8.xml"/><Relationship Id="rId1" Type="http://schemas.openxmlformats.org/officeDocument/2006/relationships/vmlDrawing" Target="../drawings/vmlDrawing52.vml"/><Relationship Id="rId6" Type="http://schemas.openxmlformats.org/officeDocument/2006/relationships/tags" Target="../tags/tag611.xml"/><Relationship Id="rId11" Type="http://schemas.openxmlformats.org/officeDocument/2006/relationships/tags" Target="../tags/tag616.xml"/><Relationship Id="rId24" Type="http://schemas.openxmlformats.org/officeDocument/2006/relationships/tags" Target="../tags/tag629.xml"/><Relationship Id="rId32" Type="http://schemas.openxmlformats.org/officeDocument/2006/relationships/image" Target="../media/image197.png"/><Relationship Id="rId5" Type="http://schemas.openxmlformats.org/officeDocument/2006/relationships/tags" Target="../tags/tag610.xml"/><Relationship Id="rId15" Type="http://schemas.openxmlformats.org/officeDocument/2006/relationships/tags" Target="../tags/tag620.xml"/><Relationship Id="rId23" Type="http://schemas.openxmlformats.org/officeDocument/2006/relationships/tags" Target="../tags/tag628.xml"/><Relationship Id="rId28" Type="http://schemas.openxmlformats.org/officeDocument/2006/relationships/slideLayout" Target="../slideLayouts/slideLayout2.xml"/><Relationship Id="rId10" Type="http://schemas.openxmlformats.org/officeDocument/2006/relationships/tags" Target="../tags/tag615.xml"/><Relationship Id="rId19" Type="http://schemas.openxmlformats.org/officeDocument/2006/relationships/tags" Target="../tags/tag624.xml"/><Relationship Id="rId31" Type="http://schemas.openxmlformats.org/officeDocument/2006/relationships/image" Target="../media/image4.emf"/><Relationship Id="rId4" Type="http://schemas.openxmlformats.org/officeDocument/2006/relationships/tags" Target="../tags/tag609.xml"/><Relationship Id="rId9" Type="http://schemas.openxmlformats.org/officeDocument/2006/relationships/tags" Target="../tags/tag614.xml"/><Relationship Id="rId14" Type="http://schemas.openxmlformats.org/officeDocument/2006/relationships/tags" Target="../tags/tag619.xml"/><Relationship Id="rId22" Type="http://schemas.openxmlformats.org/officeDocument/2006/relationships/tags" Target="../tags/tag627.xml"/><Relationship Id="rId27" Type="http://schemas.openxmlformats.org/officeDocument/2006/relationships/tags" Target="../tags/tag632.xml"/><Relationship Id="rId30" Type="http://schemas.openxmlformats.org/officeDocument/2006/relationships/oleObject" Target="../embeddings/oleObject52.bin"/><Relationship Id="rId8" Type="http://schemas.openxmlformats.org/officeDocument/2006/relationships/tags" Target="../tags/tag613.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18" Type="http://schemas.openxmlformats.org/officeDocument/2006/relationships/image" Target="../media/image14.jpeg"/><Relationship Id="rId3" Type="http://schemas.openxmlformats.org/officeDocument/2006/relationships/tags" Target="../tags/tag365.xml"/><Relationship Id="rId7" Type="http://schemas.openxmlformats.org/officeDocument/2006/relationships/image" Target="../media/image4.emf"/><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tags" Target="../tags/tag364.xml"/><Relationship Id="rId16" Type="http://schemas.openxmlformats.org/officeDocument/2006/relationships/image" Target="../media/image23.png"/><Relationship Id="rId1" Type="http://schemas.openxmlformats.org/officeDocument/2006/relationships/vmlDrawing" Target="../drawings/vmlDrawing35.vml"/><Relationship Id="rId6" Type="http://schemas.openxmlformats.org/officeDocument/2006/relationships/oleObject" Target="../embeddings/oleObject35.bin"/><Relationship Id="rId11" Type="http://schemas.openxmlformats.org/officeDocument/2006/relationships/image" Target="../media/image18.png"/><Relationship Id="rId5" Type="http://schemas.openxmlformats.org/officeDocument/2006/relationships/slideLayout" Target="../slideLayouts/slideLayout18.xml"/><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tags" Target="../tags/tag366.xml"/><Relationship Id="rId9" Type="http://schemas.openxmlformats.org/officeDocument/2006/relationships/image" Target="../media/image16.png"/><Relationship Id="rId14" Type="http://schemas.openxmlformats.org/officeDocument/2006/relationships/image" Target="../media/image21.jpeg"/></Relationships>
</file>

<file path=ppt/slides/_rels/slide20.xml.rels><?xml version="1.0" encoding="UTF-8" standalone="yes"?>
<Relationships xmlns="http://schemas.openxmlformats.org/package/2006/relationships"><Relationship Id="rId13" Type="http://schemas.openxmlformats.org/officeDocument/2006/relationships/tags" Target="../tags/tag644.xml"/><Relationship Id="rId18" Type="http://schemas.openxmlformats.org/officeDocument/2006/relationships/tags" Target="../tags/tag649.xml"/><Relationship Id="rId26" Type="http://schemas.openxmlformats.org/officeDocument/2006/relationships/tags" Target="../tags/tag657.xml"/><Relationship Id="rId39" Type="http://schemas.openxmlformats.org/officeDocument/2006/relationships/tags" Target="../tags/tag670.xml"/><Relationship Id="rId21" Type="http://schemas.openxmlformats.org/officeDocument/2006/relationships/tags" Target="../tags/tag652.xml"/><Relationship Id="rId34" Type="http://schemas.openxmlformats.org/officeDocument/2006/relationships/tags" Target="../tags/tag665.xml"/><Relationship Id="rId42" Type="http://schemas.openxmlformats.org/officeDocument/2006/relationships/slideLayout" Target="../slideLayouts/slideLayout16.xml"/><Relationship Id="rId47" Type="http://schemas.openxmlformats.org/officeDocument/2006/relationships/image" Target="../media/image14.jpeg"/><Relationship Id="rId7" Type="http://schemas.openxmlformats.org/officeDocument/2006/relationships/tags" Target="../tags/tag638.xml"/><Relationship Id="rId2" Type="http://schemas.openxmlformats.org/officeDocument/2006/relationships/tags" Target="../tags/tag633.xml"/><Relationship Id="rId16" Type="http://schemas.openxmlformats.org/officeDocument/2006/relationships/tags" Target="../tags/tag647.xml"/><Relationship Id="rId29" Type="http://schemas.openxmlformats.org/officeDocument/2006/relationships/tags" Target="../tags/tag660.xml"/><Relationship Id="rId1" Type="http://schemas.openxmlformats.org/officeDocument/2006/relationships/vmlDrawing" Target="../drawings/vmlDrawing53.vml"/><Relationship Id="rId6" Type="http://schemas.openxmlformats.org/officeDocument/2006/relationships/tags" Target="../tags/tag637.xml"/><Relationship Id="rId11" Type="http://schemas.openxmlformats.org/officeDocument/2006/relationships/tags" Target="../tags/tag642.xml"/><Relationship Id="rId24" Type="http://schemas.openxmlformats.org/officeDocument/2006/relationships/tags" Target="../tags/tag655.xml"/><Relationship Id="rId32" Type="http://schemas.openxmlformats.org/officeDocument/2006/relationships/tags" Target="../tags/tag663.xml"/><Relationship Id="rId37" Type="http://schemas.openxmlformats.org/officeDocument/2006/relationships/tags" Target="../tags/tag668.xml"/><Relationship Id="rId40" Type="http://schemas.openxmlformats.org/officeDocument/2006/relationships/tags" Target="../tags/tag671.xml"/><Relationship Id="rId45" Type="http://schemas.openxmlformats.org/officeDocument/2006/relationships/image" Target="../media/image4.emf"/><Relationship Id="rId5" Type="http://schemas.openxmlformats.org/officeDocument/2006/relationships/tags" Target="../tags/tag636.xml"/><Relationship Id="rId15" Type="http://schemas.openxmlformats.org/officeDocument/2006/relationships/tags" Target="../tags/tag646.xml"/><Relationship Id="rId23" Type="http://schemas.openxmlformats.org/officeDocument/2006/relationships/tags" Target="../tags/tag654.xml"/><Relationship Id="rId28" Type="http://schemas.openxmlformats.org/officeDocument/2006/relationships/tags" Target="../tags/tag659.xml"/><Relationship Id="rId36" Type="http://schemas.openxmlformats.org/officeDocument/2006/relationships/tags" Target="../tags/tag667.xml"/><Relationship Id="rId10" Type="http://schemas.openxmlformats.org/officeDocument/2006/relationships/tags" Target="../tags/tag641.xml"/><Relationship Id="rId19" Type="http://schemas.openxmlformats.org/officeDocument/2006/relationships/tags" Target="../tags/tag650.xml"/><Relationship Id="rId31" Type="http://schemas.openxmlformats.org/officeDocument/2006/relationships/tags" Target="../tags/tag662.xml"/><Relationship Id="rId44" Type="http://schemas.openxmlformats.org/officeDocument/2006/relationships/oleObject" Target="../embeddings/oleObject53.bin"/><Relationship Id="rId4" Type="http://schemas.openxmlformats.org/officeDocument/2006/relationships/tags" Target="../tags/tag635.xml"/><Relationship Id="rId9" Type="http://schemas.openxmlformats.org/officeDocument/2006/relationships/tags" Target="../tags/tag640.xml"/><Relationship Id="rId14" Type="http://schemas.openxmlformats.org/officeDocument/2006/relationships/tags" Target="../tags/tag645.xml"/><Relationship Id="rId22" Type="http://schemas.openxmlformats.org/officeDocument/2006/relationships/tags" Target="../tags/tag653.xml"/><Relationship Id="rId27" Type="http://schemas.openxmlformats.org/officeDocument/2006/relationships/tags" Target="../tags/tag658.xml"/><Relationship Id="rId30" Type="http://schemas.openxmlformats.org/officeDocument/2006/relationships/tags" Target="../tags/tag661.xml"/><Relationship Id="rId35" Type="http://schemas.openxmlformats.org/officeDocument/2006/relationships/tags" Target="../tags/tag666.xml"/><Relationship Id="rId43" Type="http://schemas.openxmlformats.org/officeDocument/2006/relationships/notesSlide" Target="../notesSlides/notesSlide9.xml"/><Relationship Id="rId8" Type="http://schemas.openxmlformats.org/officeDocument/2006/relationships/tags" Target="../tags/tag639.xml"/><Relationship Id="rId3" Type="http://schemas.openxmlformats.org/officeDocument/2006/relationships/tags" Target="../tags/tag634.xml"/><Relationship Id="rId12" Type="http://schemas.openxmlformats.org/officeDocument/2006/relationships/tags" Target="../tags/tag643.xml"/><Relationship Id="rId17" Type="http://schemas.openxmlformats.org/officeDocument/2006/relationships/tags" Target="../tags/tag648.xml"/><Relationship Id="rId25" Type="http://schemas.openxmlformats.org/officeDocument/2006/relationships/tags" Target="../tags/tag656.xml"/><Relationship Id="rId33" Type="http://schemas.openxmlformats.org/officeDocument/2006/relationships/tags" Target="../tags/tag664.xml"/><Relationship Id="rId38" Type="http://schemas.openxmlformats.org/officeDocument/2006/relationships/tags" Target="../tags/tag669.xml"/><Relationship Id="rId46" Type="http://schemas.openxmlformats.org/officeDocument/2006/relationships/chart" Target="../charts/chart7.xml"/><Relationship Id="rId20" Type="http://schemas.openxmlformats.org/officeDocument/2006/relationships/tags" Target="../tags/tag651.xml"/><Relationship Id="rId41" Type="http://schemas.openxmlformats.org/officeDocument/2006/relationships/tags" Target="../tags/tag672.xml"/></Relationships>
</file>

<file path=ppt/slides/_rels/slide21.xml.rels><?xml version="1.0" encoding="UTF-8" standalone="yes"?>
<Relationships xmlns="http://schemas.openxmlformats.org/package/2006/relationships"><Relationship Id="rId13" Type="http://schemas.openxmlformats.org/officeDocument/2006/relationships/tags" Target="../tags/tag684.xml"/><Relationship Id="rId18" Type="http://schemas.openxmlformats.org/officeDocument/2006/relationships/tags" Target="../tags/tag689.xml"/><Relationship Id="rId26" Type="http://schemas.openxmlformats.org/officeDocument/2006/relationships/tags" Target="../tags/tag697.xml"/><Relationship Id="rId21" Type="http://schemas.openxmlformats.org/officeDocument/2006/relationships/tags" Target="../tags/tag692.xml"/><Relationship Id="rId34" Type="http://schemas.openxmlformats.org/officeDocument/2006/relationships/notesSlide" Target="../notesSlides/notesSlide10.xml"/><Relationship Id="rId7" Type="http://schemas.openxmlformats.org/officeDocument/2006/relationships/tags" Target="../tags/tag678.xml"/><Relationship Id="rId12" Type="http://schemas.openxmlformats.org/officeDocument/2006/relationships/tags" Target="../tags/tag683.xml"/><Relationship Id="rId17" Type="http://schemas.openxmlformats.org/officeDocument/2006/relationships/tags" Target="../tags/tag688.xml"/><Relationship Id="rId25" Type="http://schemas.openxmlformats.org/officeDocument/2006/relationships/tags" Target="../tags/tag696.xml"/><Relationship Id="rId33" Type="http://schemas.openxmlformats.org/officeDocument/2006/relationships/slideLayout" Target="../slideLayouts/slideLayout11.xml"/><Relationship Id="rId38" Type="http://schemas.openxmlformats.org/officeDocument/2006/relationships/image" Target="../media/image14.jpeg"/><Relationship Id="rId2" Type="http://schemas.openxmlformats.org/officeDocument/2006/relationships/tags" Target="../tags/tag673.xml"/><Relationship Id="rId16" Type="http://schemas.openxmlformats.org/officeDocument/2006/relationships/tags" Target="../tags/tag687.xml"/><Relationship Id="rId20" Type="http://schemas.openxmlformats.org/officeDocument/2006/relationships/tags" Target="../tags/tag691.xml"/><Relationship Id="rId29" Type="http://schemas.openxmlformats.org/officeDocument/2006/relationships/tags" Target="../tags/tag700.xml"/><Relationship Id="rId1" Type="http://schemas.openxmlformats.org/officeDocument/2006/relationships/vmlDrawing" Target="../drawings/vmlDrawing54.vml"/><Relationship Id="rId6" Type="http://schemas.openxmlformats.org/officeDocument/2006/relationships/tags" Target="../tags/tag677.xml"/><Relationship Id="rId11" Type="http://schemas.openxmlformats.org/officeDocument/2006/relationships/tags" Target="../tags/tag682.xml"/><Relationship Id="rId24" Type="http://schemas.openxmlformats.org/officeDocument/2006/relationships/tags" Target="../tags/tag695.xml"/><Relationship Id="rId32" Type="http://schemas.openxmlformats.org/officeDocument/2006/relationships/tags" Target="../tags/tag703.xml"/><Relationship Id="rId37" Type="http://schemas.openxmlformats.org/officeDocument/2006/relationships/chart" Target="../charts/chart8.xml"/><Relationship Id="rId5" Type="http://schemas.openxmlformats.org/officeDocument/2006/relationships/tags" Target="../tags/tag676.xml"/><Relationship Id="rId15" Type="http://schemas.openxmlformats.org/officeDocument/2006/relationships/tags" Target="../tags/tag686.xml"/><Relationship Id="rId23" Type="http://schemas.openxmlformats.org/officeDocument/2006/relationships/tags" Target="../tags/tag694.xml"/><Relationship Id="rId28" Type="http://schemas.openxmlformats.org/officeDocument/2006/relationships/tags" Target="../tags/tag699.xml"/><Relationship Id="rId36" Type="http://schemas.openxmlformats.org/officeDocument/2006/relationships/image" Target="../media/image4.emf"/><Relationship Id="rId10" Type="http://schemas.openxmlformats.org/officeDocument/2006/relationships/tags" Target="../tags/tag681.xml"/><Relationship Id="rId19" Type="http://schemas.openxmlformats.org/officeDocument/2006/relationships/tags" Target="../tags/tag690.xml"/><Relationship Id="rId31" Type="http://schemas.openxmlformats.org/officeDocument/2006/relationships/tags" Target="../tags/tag702.xml"/><Relationship Id="rId4" Type="http://schemas.openxmlformats.org/officeDocument/2006/relationships/tags" Target="../tags/tag675.xml"/><Relationship Id="rId9" Type="http://schemas.openxmlformats.org/officeDocument/2006/relationships/tags" Target="../tags/tag680.xml"/><Relationship Id="rId14" Type="http://schemas.openxmlformats.org/officeDocument/2006/relationships/tags" Target="../tags/tag685.xml"/><Relationship Id="rId22" Type="http://schemas.openxmlformats.org/officeDocument/2006/relationships/tags" Target="../tags/tag693.xml"/><Relationship Id="rId27" Type="http://schemas.openxmlformats.org/officeDocument/2006/relationships/tags" Target="../tags/tag698.xml"/><Relationship Id="rId30" Type="http://schemas.openxmlformats.org/officeDocument/2006/relationships/tags" Target="../tags/tag701.xml"/><Relationship Id="rId35" Type="http://schemas.openxmlformats.org/officeDocument/2006/relationships/oleObject" Target="../embeddings/oleObject54.bin"/><Relationship Id="rId8" Type="http://schemas.openxmlformats.org/officeDocument/2006/relationships/tags" Target="../tags/tag679.xml"/><Relationship Id="rId3" Type="http://schemas.openxmlformats.org/officeDocument/2006/relationships/tags" Target="../tags/tag674.xml"/></Relationships>
</file>

<file path=ppt/slides/_rels/slide22.xml.rels><?xml version="1.0" encoding="UTF-8" standalone="yes"?>
<Relationships xmlns="http://schemas.openxmlformats.org/package/2006/relationships"><Relationship Id="rId13" Type="http://schemas.openxmlformats.org/officeDocument/2006/relationships/tags" Target="../tags/tag715.xml"/><Relationship Id="rId18" Type="http://schemas.openxmlformats.org/officeDocument/2006/relationships/tags" Target="../tags/tag720.xml"/><Relationship Id="rId26" Type="http://schemas.openxmlformats.org/officeDocument/2006/relationships/slideLayout" Target="../slideLayouts/slideLayout17.xml"/><Relationship Id="rId39" Type="http://schemas.openxmlformats.org/officeDocument/2006/relationships/image" Target="../media/image207.png"/><Relationship Id="rId21" Type="http://schemas.openxmlformats.org/officeDocument/2006/relationships/tags" Target="../tags/tag723.xml"/><Relationship Id="rId34" Type="http://schemas.openxmlformats.org/officeDocument/2006/relationships/image" Target="../media/image202.png"/><Relationship Id="rId42" Type="http://schemas.openxmlformats.org/officeDocument/2006/relationships/image" Target="../media/image210.png"/><Relationship Id="rId7" Type="http://schemas.openxmlformats.org/officeDocument/2006/relationships/tags" Target="../tags/tag709.xml"/><Relationship Id="rId2" Type="http://schemas.openxmlformats.org/officeDocument/2006/relationships/tags" Target="../tags/tag704.xml"/><Relationship Id="rId16" Type="http://schemas.openxmlformats.org/officeDocument/2006/relationships/tags" Target="../tags/tag718.xml"/><Relationship Id="rId20" Type="http://schemas.openxmlformats.org/officeDocument/2006/relationships/tags" Target="../tags/tag722.xml"/><Relationship Id="rId29" Type="http://schemas.openxmlformats.org/officeDocument/2006/relationships/image" Target="../media/image198.emf"/><Relationship Id="rId41" Type="http://schemas.openxmlformats.org/officeDocument/2006/relationships/image" Target="../media/image209.png"/><Relationship Id="rId1" Type="http://schemas.openxmlformats.org/officeDocument/2006/relationships/vmlDrawing" Target="../drawings/vmlDrawing55.vml"/><Relationship Id="rId6" Type="http://schemas.openxmlformats.org/officeDocument/2006/relationships/tags" Target="../tags/tag708.xml"/><Relationship Id="rId11" Type="http://schemas.openxmlformats.org/officeDocument/2006/relationships/tags" Target="../tags/tag713.xml"/><Relationship Id="rId24" Type="http://schemas.openxmlformats.org/officeDocument/2006/relationships/tags" Target="../tags/tag726.xml"/><Relationship Id="rId32" Type="http://schemas.openxmlformats.org/officeDocument/2006/relationships/image" Target="../media/image200.png"/><Relationship Id="rId37" Type="http://schemas.openxmlformats.org/officeDocument/2006/relationships/image" Target="../media/image205.jpeg"/><Relationship Id="rId40" Type="http://schemas.openxmlformats.org/officeDocument/2006/relationships/image" Target="../media/image208.png"/><Relationship Id="rId5" Type="http://schemas.openxmlformats.org/officeDocument/2006/relationships/tags" Target="../tags/tag707.xml"/><Relationship Id="rId15" Type="http://schemas.openxmlformats.org/officeDocument/2006/relationships/tags" Target="../tags/tag717.xml"/><Relationship Id="rId23" Type="http://schemas.openxmlformats.org/officeDocument/2006/relationships/tags" Target="../tags/tag725.xml"/><Relationship Id="rId28" Type="http://schemas.openxmlformats.org/officeDocument/2006/relationships/oleObject" Target="../embeddings/oleObject55.bin"/><Relationship Id="rId36" Type="http://schemas.openxmlformats.org/officeDocument/2006/relationships/image" Target="../media/image204.png"/><Relationship Id="rId10" Type="http://schemas.openxmlformats.org/officeDocument/2006/relationships/tags" Target="../tags/tag712.xml"/><Relationship Id="rId19" Type="http://schemas.openxmlformats.org/officeDocument/2006/relationships/tags" Target="../tags/tag721.xml"/><Relationship Id="rId31" Type="http://schemas.openxmlformats.org/officeDocument/2006/relationships/chart" Target="../charts/chart9.xml"/><Relationship Id="rId44" Type="http://schemas.openxmlformats.org/officeDocument/2006/relationships/image" Target="../media/image14.jpeg"/><Relationship Id="rId4" Type="http://schemas.openxmlformats.org/officeDocument/2006/relationships/tags" Target="../tags/tag706.xml"/><Relationship Id="rId9" Type="http://schemas.openxmlformats.org/officeDocument/2006/relationships/tags" Target="../tags/tag711.xml"/><Relationship Id="rId14" Type="http://schemas.openxmlformats.org/officeDocument/2006/relationships/tags" Target="../tags/tag716.xml"/><Relationship Id="rId22" Type="http://schemas.openxmlformats.org/officeDocument/2006/relationships/tags" Target="../tags/tag724.xml"/><Relationship Id="rId27" Type="http://schemas.openxmlformats.org/officeDocument/2006/relationships/notesSlide" Target="../notesSlides/notesSlide11.xml"/><Relationship Id="rId30" Type="http://schemas.openxmlformats.org/officeDocument/2006/relationships/image" Target="../media/image199.jpeg"/><Relationship Id="rId35" Type="http://schemas.openxmlformats.org/officeDocument/2006/relationships/image" Target="../media/image203.png"/><Relationship Id="rId43" Type="http://schemas.openxmlformats.org/officeDocument/2006/relationships/image" Target="../media/image211.png"/><Relationship Id="rId8" Type="http://schemas.openxmlformats.org/officeDocument/2006/relationships/tags" Target="../tags/tag710.xml"/><Relationship Id="rId3" Type="http://schemas.openxmlformats.org/officeDocument/2006/relationships/tags" Target="../tags/tag705.xml"/><Relationship Id="rId12" Type="http://schemas.openxmlformats.org/officeDocument/2006/relationships/tags" Target="../tags/tag714.xml"/><Relationship Id="rId17" Type="http://schemas.openxmlformats.org/officeDocument/2006/relationships/tags" Target="../tags/tag719.xml"/><Relationship Id="rId25" Type="http://schemas.openxmlformats.org/officeDocument/2006/relationships/tags" Target="../tags/tag727.xml"/><Relationship Id="rId33" Type="http://schemas.openxmlformats.org/officeDocument/2006/relationships/image" Target="../media/image201.png"/><Relationship Id="rId38" Type="http://schemas.openxmlformats.org/officeDocument/2006/relationships/image" Target="../media/image206.png"/></Relationships>
</file>

<file path=ppt/slides/_rels/slide23.xml.rels><?xml version="1.0" encoding="UTF-8" standalone="yes"?>
<Relationships xmlns="http://schemas.openxmlformats.org/package/2006/relationships"><Relationship Id="rId8" Type="http://schemas.openxmlformats.org/officeDocument/2006/relationships/tags" Target="../tags/tag734.xml"/><Relationship Id="rId13" Type="http://schemas.openxmlformats.org/officeDocument/2006/relationships/image" Target="../media/image212.png"/><Relationship Id="rId18" Type="http://schemas.openxmlformats.org/officeDocument/2006/relationships/image" Target="../media/image217.svg"/><Relationship Id="rId3" Type="http://schemas.openxmlformats.org/officeDocument/2006/relationships/tags" Target="../tags/tag729.xml"/><Relationship Id="rId7" Type="http://schemas.openxmlformats.org/officeDocument/2006/relationships/tags" Target="../tags/tag733.xml"/><Relationship Id="rId12" Type="http://schemas.openxmlformats.org/officeDocument/2006/relationships/image" Target="../media/image4.emf"/><Relationship Id="rId17" Type="http://schemas.openxmlformats.org/officeDocument/2006/relationships/image" Target="../media/image216.png"/><Relationship Id="rId2" Type="http://schemas.openxmlformats.org/officeDocument/2006/relationships/tags" Target="../tags/tag728.xml"/><Relationship Id="rId16" Type="http://schemas.openxmlformats.org/officeDocument/2006/relationships/image" Target="../media/image215.svg"/><Relationship Id="rId1" Type="http://schemas.openxmlformats.org/officeDocument/2006/relationships/vmlDrawing" Target="../drawings/vmlDrawing56.vml"/><Relationship Id="rId6" Type="http://schemas.openxmlformats.org/officeDocument/2006/relationships/tags" Target="../tags/tag732.xml"/><Relationship Id="rId11" Type="http://schemas.openxmlformats.org/officeDocument/2006/relationships/oleObject" Target="../embeddings/oleObject56.bin"/><Relationship Id="rId5" Type="http://schemas.openxmlformats.org/officeDocument/2006/relationships/tags" Target="../tags/tag731.xml"/><Relationship Id="rId15" Type="http://schemas.openxmlformats.org/officeDocument/2006/relationships/image" Target="../media/image214.png"/><Relationship Id="rId10" Type="http://schemas.openxmlformats.org/officeDocument/2006/relationships/notesSlide" Target="../notesSlides/notesSlide12.xml"/><Relationship Id="rId19" Type="http://schemas.openxmlformats.org/officeDocument/2006/relationships/image" Target="../media/image14.jpeg"/><Relationship Id="rId4" Type="http://schemas.openxmlformats.org/officeDocument/2006/relationships/tags" Target="../tags/tag730.xml"/><Relationship Id="rId9" Type="http://schemas.openxmlformats.org/officeDocument/2006/relationships/slideLayout" Target="../slideLayouts/slideLayout13.xml"/><Relationship Id="rId14" Type="http://schemas.openxmlformats.org/officeDocument/2006/relationships/image" Target="../media/image213.svg"/></Relationships>
</file>

<file path=ppt/slides/_rels/slide2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736.xml"/><Relationship Id="rId7" Type="http://schemas.openxmlformats.org/officeDocument/2006/relationships/image" Target="../media/image26.emf"/><Relationship Id="rId2" Type="http://schemas.openxmlformats.org/officeDocument/2006/relationships/tags" Target="../tags/tag735.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slideLayout" Target="../slideLayouts/slideLayout13.xml"/><Relationship Id="rId4" Type="http://schemas.openxmlformats.org/officeDocument/2006/relationships/tags" Target="../tags/tag737.xml"/></Relationships>
</file>

<file path=ppt/slides/_rels/slide25.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739.xml"/><Relationship Id="rId7" Type="http://schemas.openxmlformats.org/officeDocument/2006/relationships/image" Target="../media/image26.emf"/><Relationship Id="rId2" Type="http://schemas.openxmlformats.org/officeDocument/2006/relationships/tags" Target="../tags/tag738.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slideLayout" Target="../slideLayouts/slideLayout3.xml"/><Relationship Id="rId4" Type="http://schemas.openxmlformats.org/officeDocument/2006/relationships/tags" Target="../tags/tag740.xml"/></Relationships>
</file>

<file path=ppt/slides/_rels/slide3.xml.rels><?xml version="1.0" encoding="UTF-8" standalone="yes"?>
<Relationships xmlns="http://schemas.openxmlformats.org/package/2006/relationships"><Relationship Id="rId8" Type="http://schemas.openxmlformats.org/officeDocument/2006/relationships/tags" Target="../tags/tag373.xml"/><Relationship Id="rId13" Type="http://schemas.openxmlformats.org/officeDocument/2006/relationships/slideLayout" Target="../slideLayouts/slideLayout19.xml"/><Relationship Id="rId18" Type="http://schemas.openxmlformats.org/officeDocument/2006/relationships/image" Target="../media/image25.png"/><Relationship Id="rId3" Type="http://schemas.openxmlformats.org/officeDocument/2006/relationships/tags" Target="../tags/tag368.xml"/><Relationship Id="rId7" Type="http://schemas.openxmlformats.org/officeDocument/2006/relationships/tags" Target="../tags/tag372.xml"/><Relationship Id="rId12" Type="http://schemas.openxmlformats.org/officeDocument/2006/relationships/tags" Target="../tags/tag377.xml"/><Relationship Id="rId17" Type="http://schemas.openxmlformats.org/officeDocument/2006/relationships/chart" Target="../charts/chart1.xml"/><Relationship Id="rId2" Type="http://schemas.openxmlformats.org/officeDocument/2006/relationships/tags" Target="../tags/tag367.xml"/><Relationship Id="rId16" Type="http://schemas.openxmlformats.org/officeDocument/2006/relationships/image" Target="../media/image4.emf"/><Relationship Id="rId1" Type="http://schemas.openxmlformats.org/officeDocument/2006/relationships/vmlDrawing" Target="../drawings/vmlDrawing36.vml"/><Relationship Id="rId6" Type="http://schemas.openxmlformats.org/officeDocument/2006/relationships/tags" Target="../tags/tag371.xml"/><Relationship Id="rId11" Type="http://schemas.openxmlformats.org/officeDocument/2006/relationships/tags" Target="../tags/tag376.xml"/><Relationship Id="rId5" Type="http://schemas.openxmlformats.org/officeDocument/2006/relationships/tags" Target="../tags/tag370.xml"/><Relationship Id="rId15" Type="http://schemas.openxmlformats.org/officeDocument/2006/relationships/oleObject" Target="../embeddings/oleObject36.bin"/><Relationship Id="rId10" Type="http://schemas.openxmlformats.org/officeDocument/2006/relationships/tags" Target="../tags/tag375.xml"/><Relationship Id="rId19" Type="http://schemas.openxmlformats.org/officeDocument/2006/relationships/image" Target="../media/image14.jpeg"/><Relationship Id="rId4" Type="http://schemas.openxmlformats.org/officeDocument/2006/relationships/tags" Target="../tags/tag369.xml"/><Relationship Id="rId9" Type="http://schemas.openxmlformats.org/officeDocument/2006/relationships/tags" Target="../tags/tag374.xml"/><Relationship Id="rId1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379.xml"/><Relationship Id="rId7" Type="http://schemas.openxmlformats.org/officeDocument/2006/relationships/oleObject" Target="../embeddings/oleObject37.bin"/><Relationship Id="rId2" Type="http://schemas.openxmlformats.org/officeDocument/2006/relationships/tags" Target="../tags/tag378.xml"/><Relationship Id="rId1" Type="http://schemas.openxmlformats.org/officeDocument/2006/relationships/vmlDrawing" Target="../drawings/vmlDrawing37.vml"/><Relationship Id="rId6" Type="http://schemas.openxmlformats.org/officeDocument/2006/relationships/slideLayout" Target="../slideLayouts/slideLayout2.xml"/><Relationship Id="rId5" Type="http://schemas.openxmlformats.org/officeDocument/2006/relationships/tags" Target="../tags/tag381.xml"/><Relationship Id="rId4" Type="http://schemas.openxmlformats.org/officeDocument/2006/relationships/tags" Target="../tags/tag380.xml"/><Relationship Id="rId9" Type="http://schemas.openxmlformats.org/officeDocument/2006/relationships/image" Target="../media/image14.jpeg"/></Relationships>
</file>

<file path=ppt/slides/_rels/slide5.xml.rels><?xml version="1.0" encoding="UTF-8" standalone="yes"?>
<Relationships xmlns="http://schemas.openxmlformats.org/package/2006/relationships"><Relationship Id="rId8" Type="http://schemas.openxmlformats.org/officeDocument/2006/relationships/tags" Target="../tags/tag388.xml"/><Relationship Id="rId13" Type="http://schemas.openxmlformats.org/officeDocument/2006/relationships/image" Target="../media/image27.emf"/><Relationship Id="rId3" Type="http://schemas.openxmlformats.org/officeDocument/2006/relationships/tags" Target="../tags/tag383.xml"/><Relationship Id="rId7" Type="http://schemas.openxmlformats.org/officeDocument/2006/relationships/tags" Target="../tags/tag387.xml"/><Relationship Id="rId12" Type="http://schemas.openxmlformats.org/officeDocument/2006/relationships/oleObject" Target="../embeddings/oleObject38.bin"/><Relationship Id="rId2" Type="http://schemas.openxmlformats.org/officeDocument/2006/relationships/tags" Target="../tags/tag382.xml"/><Relationship Id="rId16" Type="http://schemas.openxmlformats.org/officeDocument/2006/relationships/image" Target="../media/image14.jpeg"/><Relationship Id="rId1" Type="http://schemas.openxmlformats.org/officeDocument/2006/relationships/vmlDrawing" Target="../drawings/vmlDrawing38.vml"/><Relationship Id="rId6" Type="http://schemas.openxmlformats.org/officeDocument/2006/relationships/tags" Target="../tags/tag386.xml"/><Relationship Id="rId11" Type="http://schemas.openxmlformats.org/officeDocument/2006/relationships/notesSlide" Target="../notesSlides/notesSlide3.xml"/><Relationship Id="rId5" Type="http://schemas.openxmlformats.org/officeDocument/2006/relationships/tags" Target="../tags/tag385.xml"/><Relationship Id="rId15" Type="http://schemas.openxmlformats.org/officeDocument/2006/relationships/slide" Target="slide18.xml"/><Relationship Id="rId10" Type="http://schemas.openxmlformats.org/officeDocument/2006/relationships/slideLayout" Target="../slideLayouts/slideLayout3.xml"/><Relationship Id="rId4" Type="http://schemas.openxmlformats.org/officeDocument/2006/relationships/tags" Target="../tags/tag384.xml"/><Relationship Id="rId9" Type="http://schemas.openxmlformats.org/officeDocument/2006/relationships/tags" Target="../tags/tag389.xml"/><Relationship Id="rId14" Type="http://schemas.openxmlformats.org/officeDocument/2006/relationships/slide" Target="slide12.xml"/></Relationships>
</file>

<file path=ppt/slides/_rels/slide6.xml.rels><?xml version="1.0" encoding="UTF-8" standalone="yes"?>
<Relationships xmlns="http://schemas.openxmlformats.org/package/2006/relationships"><Relationship Id="rId13" Type="http://schemas.openxmlformats.org/officeDocument/2006/relationships/tags" Target="../tags/tag401.xml"/><Relationship Id="rId18" Type="http://schemas.openxmlformats.org/officeDocument/2006/relationships/tags" Target="../tags/tag406.xml"/><Relationship Id="rId26" Type="http://schemas.openxmlformats.org/officeDocument/2006/relationships/tags" Target="../tags/tag414.xml"/><Relationship Id="rId3" Type="http://schemas.openxmlformats.org/officeDocument/2006/relationships/tags" Target="../tags/tag391.xml"/><Relationship Id="rId21" Type="http://schemas.openxmlformats.org/officeDocument/2006/relationships/tags" Target="../tags/tag409.xml"/><Relationship Id="rId34" Type="http://schemas.openxmlformats.org/officeDocument/2006/relationships/image" Target="../media/image10.emf"/><Relationship Id="rId7" Type="http://schemas.openxmlformats.org/officeDocument/2006/relationships/tags" Target="../tags/tag395.xml"/><Relationship Id="rId12" Type="http://schemas.openxmlformats.org/officeDocument/2006/relationships/tags" Target="../tags/tag400.xml"/><Relationship Id="rId17" Type="http://schemas.openxmlformats.org/officeDocument/2006/relationships/tags" Target="../tags/tag405.xml"/><Relationship Id="rId25" Type="http://schemas.openxmlformats.org/officeDocument/2006/relationships/tags" Target="../tags/tag413.xml"/><Relationship Id="rId33" Type="http://schemas.openxmlformats.org/officeDocument/2006/relationships/oleObject" Target="../embeddings/oleObject39.bin"/><Relationship Id="rId2" Type="http://schemas.openxmlformats.org/officeDocument/2006/relationships/tags" Target="../tags/tag390.xml"/><Relationship Id="rId16" Type="http://schemas.openxmlformats.org/officeDocument/2006/relationships/tags" Target="../tags/tag404.xml"/><Relationship Id="rId20" Type="http://schemas.openxmlformats.org/officeDocument/2006/relationships/tags" Target="../tags/tag408.xml"/><Relationship Id="rId29" Type="http://schemas.openxmlformats.org/officeDocument/2006/relationships/tags" Target="../tags/tag417.xml"/><Relationship Id="rId1" Type="http://schemas.openxmlformats.org/officeDocument/2006/relationships/vmlDrawing" Target="../drawings/vmlDrawing39.vml"/><Relationship Id="rId6" Type="http://schemas.openxmlformats.org/officeDocument/2006/relationships/tags" Target="../tags/tag394.xml"/><Relationship Id="rId11" Type="http://schemas.openxmlformats.org/officeDocument/2006/relationships/tags" Target="../tags/tag399.xml"/><Relationship Id="rId24" Type="http://schemas.openxmlformats.org/officeDocument/2006/relationships/tags" Target="../tags/tag412.xml"/><Relationship Id="rId32" Type="http://schemas.openxmlformats.org/officeDocument/2006/relationships/notesSlide" Target="../notesSlides/notesSlide4.xml"/><Relationship Id="rId5" Type="http://schemas.openxmlformats.org/officeDocument/2006/relationships/tags" Target="../tags/tag393.xml"/><Relationship Id="rId15" Type="http://schemas.openxmlformats.org/officeDocument/2006/relationships/tags" Target="../tags/tag403.xml"/><Relationship Id="rId23" Type="http://schemas.openxmlformats.org/officeDocument/2006/relationships/tags" Target="../tags/tag411.xml"/><Relationship Id="rId28" Type="http://schemas.openxmlformats.org/officeDocument/2006/relationships/tags" Target="../tags/tag416.xml"/><Relationship Id="rId36" Type="http://schemas.openxmlformats.org/officeDocument/2006/relationships/image" Target="../media/image14.jpeg"/><Relationship Id="rId10" Type="http://schemas.openxmlformats.org/officeDocument/2006/relationships/tags" Target="../tags/tag398.xml"/><Relationship Id="rId19" Type="http://schemas.openxmlformats.org/officeDocument/2006/relationships/tags" Target="../tags/tag407.xml"/><Relationship Id="rId31" Type="http://schemas.openxmlformats.org/officeDocument/2006/relationships/slideLayout" Target="../slideLayouts/slideLayout11.xml"/><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tags" Target="../tags/tag402.xml"/><Relationship Id="rId22" Type="http://schemas.openxmlformats.org/officeDocument/2006/relationships/tags" Target="../tags/tag410.xml"/><Relationship Id="rId27" Type="http://schemas.openxmlformats.org/officeDocument/2006/relationships/tags" Target="../tags/tag415.xml"/><Relationship Id="rId30" Type="http://schemas.openxmlformats.org/officeDocument/2006/relationships/tags" Target="../tags/tag418.xml"/><Relationship Id="rId35" Type="http://schemas.openxmlformats.org/officeDocument/2006/relationships/chart" Target="../charts/chart2.xml"/><Relationship Id="rId8" Type="http://schemas.openxmlformats.org/officeDocument/2006/relationships/tags" Target="../tags/tag396.xml"/></Relationships>
</file>

<file path=ppt/slides/_rels/slide7.xml.rels><?xml version="1.0" encoding="UTF-8" standalone="yes"?>
<Relationships xmlns="http://schemas.openxmlformats.org/package/2006/relationships"><Relationship Id="rId26" Type="http://schemas.openxmlformats.org/officeDocument/2006/relationships/tags" Target="../tags/tag443.xml"/><Relationship Id="rId21" Type="http://schemas.openxmlformats.org/officeDocument/2006/relationships/tags" Target="../tags/tag438.xml"/><Relationship Id="rId42" Type="http://schemas.openxmlformats.org/officeDocument/2006/relationships/oleObject" Target="../embeddings/oleObject40.bin"/><Relationship Id="rId47" Type="http://schemas.openxmlformats.org/officeDocument/2006/relationships/image" Target="../media/image31.svg"/><Relationship Id="rId63" Type="http://schemas.openxmlformats.org/officeDocument/2006/relationships/image" Target="../media/image47.svg"/><Relationship Id="rId68" Type="http://schemas.openxmlformats.org/officeDocument/2006/relationships/image" Target="../media/image52.png"/><Relationship Id="rId2" Type="http://schemas.openxmlformats.org/officeDocument/2006/relationships/tags" Target="../tags/tag419.xml"/><Relationship Id="rId16" Type="http://schemas.openxmlformats.org/officeDocument/2006/relationships/tags" Target="../tags/tag433.xml"/><Relationship Id="rId29" Type="http://schemas.openxmlformats.org/officeDocument/2006/relationships/tags" Target="../tags/tag446.xml"/><Relationship Id="rId11" Type="http://schemas.openxmlformats.org/officeDocument/2006/relationships/tags" Target="../tags/tag428.xml"/><Relationship Id="rId24" Type="http://schemas.openxmlformats.org/officeDocument/2006/relationships/tags" Target="../tags/tag441.xml"/><Relationship Id="rId32" Type="http://schemas.openxmlformats.org/officeDocument/2006/relationships/tags" Target="../tags/tag449.xml"/><Relationship Id="rId37" Type="http://schemas.openxmlformats.org/officeDocument/2006/relationships/tags" Target="../tags/tag454.xml"/><Relationship Id="rId40" Type="http://schemas.openxmlformats.org/officeDocument/2006/relationships/tags" Target="../tags/tag457.xml"/><Relationship Id="rId45" Type="http://schemas.openxmlformats.org/officeDocument/2006/relationships/image" Target="../media/image29.svg"/><Relationship Id="rId53" Type="http://schemas.openxmlformats.org/officeDocument/2006/relationships/image" Target="../media/image37.svg"/><Relationship Id="rId58" Type="http://schemas.openxmlformats.org/officeDocument/2006/relationships/image" Target="../media/image42.png"/><Relationship Id="rId66" Type="http://schemas.openxmlformats.org/officeDocument/2006/relationships/image" Target="../media/image50.png"/><Relationship Id="rId74" Type="http://schemas.openxmlformats.org/officeDocument/2006/relationships/image" Target="../media/image14.jpeg"/><Relationship Id="rId5" Type="http://schemas.openxmlformats.org/officeDocument/2006/relationships/tags" Target="../tags/tag422.xml"/><Relationship Id="rId61" Type="http://schemas.openxmlformats.org/officeDocument/2006/relationships/image" Target="../media/image45.svg"/><Relationship Id="rId19" Type="http://schemas.openxmlformats.org/officeDocument/2006/relationships/tags" Target="../tags/tag436.xml"/><Relationship Id="rId14" Type="http://schemas.openxmlformats.org/officeDocument/2006/relationships/tags" Target="../tags/tag431.xml"/><Relationship Id="rId22" Type="http://schemas.openxmlformats.org/officeDocument/2006/relationships/tags" Target="../tags/tag439.xml"/><Relationship Id="rId27" Type="http://schemas.openxmlformats.org/officeDocument/2006/relationships/tags" Target="../tags/tag444.xml"/><Relationship Id="rId30" Type="http://schemas.openxmlformats.org/officeDocument/2006/relationships/tags" Target="../tags/tag447.xml"/><Relationship Id="rId35" Type="http://schemas.openxmlformats.org/officeDocument/2006/relationships/tags" Target="../tags/tag452.xml"/><Relationship Id="rId43" Type="http://schemas.openxmlformats.org/officeDocument/2006/relationships/image" Target="../media/image4.emf"/><Relationship Id="rId48" Type="http://schemas.openxmlformats.org/officeDocument/2006/relationships/image" Target="../media/image32.png"/><Relationship Id="rId56" Type="http://schemas.openxmlformats.org/officeDocument/2006/relationships/image" Target="../media/image40.png"/><Relationship Id="rId64" Type="http://schemas.openxmlformats.org/officeDocument/2006/relationships/image" Target="../media/image48.png"/><Relationship Id="rId69" Type="http://schemas.openxmlformats.org/officeDocument/2006/relationships/image" Target="../media/image53.svg"/><Relationship Id="rId8" Type="http://schemas.openxmlformats.org/officeDocument/2006/relationships/tags" Target="../tags/tag425.xml"/><Relationship Id="rId51" Type="http://schemas.openxmlformats.org/officeDocument/2006/relationships/image" Target="../media/image35.svg"/><Relationship Id="rId72" Type="http://schemas.openxmlformats.org/officeDocument/2006/relationships/image" Target="../media/image56.png"/><Relationship Id="rId3" Type="http://schemas.openxmlformats.org/officeDocument/2006/relationships/tags" Target="../tags/tag420.xml"/><Relationship Id="rId12" Type="http://schemas.openxmlformats.org/officeDocument/2006/relationships/tags" Target="../tags/tag429.xml"/><Relationship Id="rId17" Type="http://schemas.openxmlformats.org/officeDocument/2006/relationships/tags" Target="../tags/tag434.xml"/><Relationship Id="rId25" Type="http://schemas.openxmlformats.org/officeDocument/2006/relationships/tags" Target="../tags/tag442.xml"/><Relationship Id="rId33" Type="http://schemas.openxmlformats.org/officeDocument/2006/relationships/tags" Target="../tags/tag450.xml"/><Relationship Id="rId38" Type="http://schemas.openxmlformats.org/officeDocument/2006/relationships/tags" Target="../tags/tag455.xml"/><Relationship Id="rId46" Type="http://schemas.openxmlformats.org/officeDocument/2006/relationships/image" Target="../media/image30.png"/><Relationship Id="rId59" Type="http://schemas.openxmlformats.org/officeDocument/2006/relationships/image" Target="../media/image43.svg"/><Relationship Id="rId67" Type="http://schemas.openxmlformats.org/officeDocument/2006/relationships/image" Target="../media/image51.svg"/><Relationship Id="rId20" Type="http://schemas.openxmlformats.org/officeDocument/2006/relationships/tags" Target="../tags/tag437.xml"/><Relationship Id="rId41" Type="http://schemas.openxmlformats.org/officeDocument/2006/relationships/slideLayout" Target="../slideLayouts/slideLayout2.xml"/><Relationship Id="rId54" Type="http://schemas.openxmlformats.org/officeDocument/2006/relationships/image" Target="../media/image38.png"/><Relationship Id="rId62" Type="http://schemas.openxmlformats.org/officeDocument/2006/relationships/image" Target="../media/image46.png"/><Relationship Id="rId70" Type="http://schemas.openxmlformats.org/officeDocument/2006/relationships/image" Target="../media/image54.png"/><Relationship Id="rId1" Type="http://schemas.openxmlformats.org/officeDocument/2006/relationships/vmlDrawing" Target="../drawings/vmlDrawing40.vml"/><Relationship Id="rId6" Type="http://schemas.openxmlformats.org/officeDocument/2006/relationships/tags" Target="../tags/tag423.xml"/><Relationship Id="rId15" Type="http://schemas.openxmlformats.org/officeDocument/2006/relationships/tags" Target="../tags/tag432.xml"/><Relationship Id="rId23" Type="http://schemas.openxmlformats.org/officeDocument/2006/relationships/tags" Target="../tags/tag440.xml"/><Relationship Id="rId28" Type="http://schemas.openxmlformats.org/officeDocument/2006/relationships/tags" Target="../tags/tag445.xml"/><Relationship Id="rId36" Type="http://schemas.openxmlformats.org/officeDocument/2006/relationships/tags" Target="../tags/tag453.xml"/><Relationship Id="rId49" Type="http://schemas.openxmlformats.org/officeDocument/2006/relationships/image" Target="../media/image33.svg"/><Relationship Id="rId57" Type="http://schemas.openxmlformats.org/officeDocument/2006/relationships/image" Target="../media/image41.svg"/><Relationship Id="rId10" Type="http://schemas.openxmlformats.org/officeDocument/2006/relationships/tags" Target="../tags/tag427.xml"/><Relationship Id="rId31" Type="http://schemas.openxmlformats.org/officeDocument/2006/relationships/tags" Target="../tags/tag448.xml"/><Relationship Id="rId44" Type="http://schemas.openxmlformats.org/officeDocument/2006/relationships/image" Target="../media/image28.png"/><Relationship Id="rId52" Type="http://schemas.openxmlformats.org/officeDocument/2006/relationships/image" Target="../media/image36.png"/><Relationship Id="rId60" Type="http://schemas.openxmlformats.org/officeDocument/2006/relationships/image" Target="../media/image44.png"/><Relationship Id="rId65" Type="http://schemas.openxmlformats.org/officeDocument/2006/relationships/image" Target="../media/image49.svg"/><Relationship Id="rId73" Type="http://schemas.openxmlformats.org/officeDocument/2006/relationships/image" Target="../media/image57.svg"/><Relationship Id="rId4" Type="http://schemas.openxmlformats.org/officeDocument/2006/relationships/tags" Target="../tags/tag421.xml"/><Relationship Id="rId9" Type="http://schemas.openxmlformats.org/officeDocument/2006/relationships/tags" Target="../tags/tag426.xml"/><Relationship Id="rId13" Type="http://schemas.openxmlformats.org/officeDocument/2006/relationships/tags" Target="../tags/tag430.xml"/><Relationship Id="rId18" Type="http://schemas.openxmlformats.org/officeDocument/2006/relationships/tags" Target="../tags/tag435.xml"/><Relationship Id="rId39" Type="http://schemas.openxmlformats.org/officeDocument/2006/relationships/tags" Target="../tags/tag456.xml"/><Relationship Id="rId34" Type="http://schemas.openxmlformats.org/officeDocument/2006/relationships/tags" Target="../tags/tag451.xml"/><Relationship Id="rId50" Type="http://schemas.openxmlformats.org/officeDocument/2006/relationships/image" Target="../media/image34.png"/><Relationship Id="rId55" Type="http://schemas.openxmlformats.org/officeDocument/2006/relationships/image" Target="../media/image39.svg"/><Relationship Id="rId7" Type="http://schemas.openxmlformats.org/officeDocument/2006/relationships/tags" Target="../tags/tag424.xml"/><Relationship Id="rId71" Type="http://schemas.openxmlformats.org/officeDocument/2006/relationships/image" Target="../media/image55.svg"/></Relationships>
</file>

<file path=ppt/slides/_rels/slide8.xml.rels><?xml version="1.0" encoding="UTF-8" standalone="yes"?>
<Relationships xmlns="http://schemas.openxmlformats.org/package/2006/relationships"><Relationship Id="rId13" Type="http://schemas.openxmlformats.org/officeDocument/2006/relationships/tags" Target="../tags/tag469.xml"/><Relationship Id="rId18" Type="http://schemas.openxmlformats.org/officeDocument/2006/relationships/tags" Target="../tags/tag474.xml"/><Relationship Id="rId26" Type="http://schemas.openxmlformats.org/officeDocument/2006/relationships/tags" Target="../tags/tag482.xml"/><Relationship Id="rId39" Type="http://schemas.openxmlformats.org/officeDocument/2006/relationships/image" Target="../media/image65.png"/><Relationship Id="rId21" Type="http://schemas.openxmlformats.org/officeDocument/2006/relationships/tags" Target="../tags/tag477.xml"/><Relationship Id="rId34" Type="http://schemas.openxmlformats.org/officeDocument/2006/relationships/image" Target="../media/image60.png"/><Relationship Id="rId42" Type="http://schemas.openxmlformats.org/officeDocument/2006/relationships/image" Target="../media/image68.png"/><Relationship Id="rId47" Type="http://schemas.openxmlformats.org/officeDocument/2006/relationships/image" Target="../media/image73.png"/><Relationship Id="rId50" Type="http://schemas.openxmlformats.org/officeDocument/2006/relationships/image" Target="../media/image76.png"/><Relationship Id="rId7" Type="http://schemas.openxmlformats.org/officeDocument/2006/relationships/tags" Target="../tags/tag463.xml"/><Relationship Id="rId2" Type="http://schemas.openxmlformats.org/officeDocument/2006/relationships/tags" Target="../tags/tag458.xml"/><Relationship Id="rId16" Type="http://schemas.openxmlformats.org/officeDocument/2006/relationships/tags" Target="../tags/tag472.xml"/><Relationship Id="rId29" Type="http://schemas.openxmlformats.org/officeDocument/2006/relationships/oleObject" Target="../embeddings/oleObject41.bin"/><Relationship Id="rId11" Type="http://schemas.openxmlformats.org/officeDocument/2006/relationships/tags" Target="../tags/tag467.xml"/><Relationship Id="rId24" Type="http://schemas.openxmlformats.org/officeDocument/2006/relationships/tags" Target="../tags/tag480.xml"/><Relationship Id="rId32" Type="http://schemas.openxmlformats.org/officeDocument/2006/relationships/image" Target="../media/image58.png"/><Relationship Id="rId37" Type="http://schemas.openxmlformats.org/officeDocument/2006/relationships/image" Target="../media/image63.png"/><Relationship Id="rId40" Type="http://schemas.openxmlformats.org/officeDocument/2006/relationships/image" Target="../media/image66.png"/><Relationship Id="rId45" Type="http://schemas.openxmlformats.org/officeDocument/2006/relationships/image" Target="../media/image71.png"/><Relationship Id="rId53" Type="http://schemas.openxmlformats.org/officeDocument/2006/relationships/image" Target="../media/image79.png"/><Relationship Id="rId5" Type="http://schemas.openxmlformats.org/officeDocument/2006/relationships/tags" Target="../tags/tag461.xml"/><Relationship Id="rId10" Type="http://schemas.openxmlformats.org/officeDocument/2006/relationships/tags" Target="../tags/tag466.xml"/><Relationship Id="rId19" Type="http://schemas.openxmlformats.org/officeDocument/2006/relationships/tags" Target="../tags/tag475.xml"/><Relationship Id="rId31" Type="http://schemas.openxmlformats.org/officeDocument/2006/relationships/chart" Target="../charts/chart3.xml"/><Relationship Id="rId44" Type="http://schemas.openxmlformats.org/officeDocument/2006/relationships/image" Target="../media/image70.png"/><Relationship Id="rId52" Type="http://schemas.openxmlformats.org/officeDocument/2006/relationships/image" Target="../media/image78.png"/><Relationship Id="rId4" Type="http://schemas.openxmlformats.org/officeDocument/2006/relationships/tags" Target="../tags/tag460.xml"/><Relationship Id="rId9" Type="http://schemas.openxmlformats.org/officeDocument/2006/relationships/tags" Target="../tags/tag465.xml"/><Relationship Id="rId14" Type="http://schemas.openxmlformats.org/officeDocument/2006/relationships/tags" Target="../tags/tag470.xml"/><Relationship Id="rId22" Type="http://schemas.openxmlformats.org/officeDocument/2006/relationships/tags" Target="../tags/tag478.xml"/><Relationship Id="rId27" Type="http://schemas.openxmlformats.org/officeDocument/2006/relationships/tags" Target="../tags/tag483.xml"/><Relationship Id="rId30" Type="http://schemas.openxmlformats.org/officeDocument/2006/relationships/image" Target="../media/image10.emf"/><Relationship Id="rId35" Type="http://schemas.openxmlformats.org/officeDocument/2006/relationships/image" Target="../media/image61.png"/><Relationship Id="rId43" Type="http://schemas.openxmlformats.org/officeDocument/2006/relationships/image" Target="../media/image69.png"/><Relationship Id="rId48" Type="http://schemas.openxmlformats.org/officeDocument/2006/relationships/image" Target="../media/image74.png"/><Relationship Id="rId8" Type="http://schemas.openxmlformats.org/officeDocument/2006/relationships/tags" Target="../tags/tag464.xml"/><Relationship Id="rId51" Type="http://schemas.openxmlformats.org/officeDocument/2006/relationships/image" Target="../media/image77.png"/><Relationship Id="rId3" Type="http://schemas.openxmlformats.org/officeDocument/2006/relationships/tags" Target="../tags/tag459.xml"/><Relationship Id="rId12" Type="http://schemas.openxmlformats.org/officeDocument/2006/relationships/tags" Target="../tags/tag468.xml"/><Relationship Id="rId17" Type="http://schemas.openxmlformats.org/officeDocument/2006/relationships/tags" Target="../tags/tag473.xml"/><Relationship Id="rId25" Type="http://schemas.openxmlformats.org/officeDocument/2006/relationships/tags" Target="../tags/tag481.xml"/><Relationship Id="rId33" Type="http://schemas.openxmlformats.org/officeDocument/2006/relationships/image" Target="../media/image59.png"/><Relationship Id="rId38" Type="http://schemas.openxmlformats.org/officeDocument/2006/relationships/image" Target="../media/image64.png"/><Relationship Id="rId46" Type="http://schemas.openxmlformats.org/officeDocument/2006/relationships/image" Target="../media/image72.png"/><Relationship Id="rId20" Type="http://schemas.openxmlformats.org/officeDocument/2006/relationships/tags" Target="../tags/tag476.xml"/><Relationship Id="rId41" Type="http://schemas.openxmlformats.org/officeDocument/2006/relationships/image" Target="../media/image67.png"/><Relationship Id="rId54" Type="http://schemas.openxmlformats.org/officeDocument/2006/relationships/image" Target="../media/image14.jpeg"/><Relationship Id="rId1" Type="http://schemas.openxmlformats.org/officeDocument/2006/relationships/vmlDrawing" Target="../drawings/vmlDrawing41.vml"/><Relationship Id="rId6" Type="http://schemas.openxmlformats.org/officeDocument/2006/relationships/tags" Target="../tags/tag462.xml"/><Relationship Id="rId15" Type="http://schemas.openxmlformats.org/officeDocument/2006/relationships/tags" Target="../tags/tag471.xml"/><Relationship Id="rId23" Type="http://schemas.openxmlformats.org/officeDocument/2006/relationships/tags" Target="../tags/tag479.xml"/><Relationship Id="rId28" Type="http://schemas.openxmlformats.org/officeDocument/2006/relationships/slideLayout" Target="../slideLayouts/slideLayout2.xml"/><Relationship Id="rId36" Type="http://schemas.openxmlformats.org/officeDocument/2006/relationships/image" Target="../media/image62.png"/><Relationship Id="rId49" Type="http://schemas.openxmlformats.org/officeDocument/2006/relationships/image" Target="../media/image75.png"/></Relationships>
</file>

<file path=ppt/slides/_rels/slide9.xml.rels><?xml version="1.0" encoding="UTF-8" standalone="yes"?>
<Relationships xmlns="http://schemas.openxmlformats.org/package/2006/relationships"><Relationship Id="rId26" Type="http://schemas.openxmlformats.org/officeDocument/2006/relationships/tags" Target="../tags/tag508.xml"/><Relationship Id="rId117" Type="http://schemas.openxmlformats.org/officeDocument/2006/relationships/image" Target="../media/image115.svg"/><Relationship Id="rId21" Type="http://schemas.openxmlformats.org/officeDocument/2006/relationships/tags" Target="../tags/tag503.xml"/><Relationship Id="rId42" Type="http://schemas.openxmlformats.org/officeDocument/2006/relationships/tags" Target="../tags/tag524.xml"/><Relationship Id="rId47" Type="http://schemas.openxmlformats.org/officeDocument/2006/relationships/tags" Target="../tags/tag529.xml"/><Relationship Id="rId63" Type="http://schemas.openxmlformats.org/officeDocument/2006/relationships/tags" Target="../tags/tag545.xml"/><Relationship Id="rId68" Type="http://schemas.openxmlformats.org/officeDocument/2006/relationships/tags" Target="../tags/tag550.xml"/><Relationship Id="rId84" Type="http://schemas.openxmlformats.org/officeDocument/2006/relationships/image" Target="../media/image82.png"/><Relationship Id="rId89" Type="http://schemas.openxmlformats.org/officeDocument/2006/relationships/image" Target="../media/image87.svg"/><Relationship Id="rId112" Type="http://schemas.openxmlformats.org/officeDocument/2006/relationships/image" Target="../media/image110.png"/><Relationship Id="rId16" Type="http://schemas.openxmlformats.org/officeDocument/2006/relationships/tags" Target="../tags/tag498.xml"/><Relationship Id="rId107" Type="http://schemas.openxmlformats.org/officeDocument/2006/relationships/image" Target="../media/image105.svg"/><Relationship Id="rId11" Type="http://schemas.openxmlformats.org/officeDocument/2006/relationships/tags" Target="../tags/tag493.xml"/><Relationship Id="rId32" Type="http://schemas.openxmlformats.org/officeDocument/2006/relationships/tags" Target="../tags/tag514.xml"/><Relationship Id="rId37" Type="http://schemas.openxmlformats.org/officeDocument/2006/relationships/tags" Target="../tags/tag519.xml"/><Relationship Id="rId53" Type="http://schemas.openxmlformats.org/officeDocument/2006/relationships/tags" Target="../tags/tag535.xml"/><Relationship Id="rId58" Type="http://schemas.openxmlformats.org/officeDocument/2006/relationships/tags" Target="../tags/tag540.xml"/><Relationship Id="rId74" Type="http://schemas.openxmlformats.org/officeDocument/2006/relationships/tags" Target="../tags/tag556.xml"/><Relationship Id="rId79" Type="http://schemas.openxmlformats.org/officeDocument/2006/relationships/oleObject" Target="../embeddings/oleObject42.bin"/><Relationship Id="rId102" Type="http://schemas.openxmlformats.org/officeDocument/2006/relationships/image" Target="../media/image100.png"/><Relationship Id="rId5" Type="http://schemas.openxmlformats.org/officeDocument/2006/relationships/tags" Target="../tags/tag487.xml"/><Relationship Id="rId90" Type="http://schemas.openxmlformats.org/officeDocument/2006/relationships/image" Target="../media/image88.png"/><Relationship Id="rId95" Type="http://schemas.openxmlformats.org/officeDocument/2006/relationships/image" Target="../media/image93.svg"/><Relationship Id="rId22" Type="http://schemas.openxmlformats.org/officeDocument/2006/relationships/tags" Target="../tags/tag504.xml"/><Relationship Id="rId27" Type="http://schemas.openxmlformats.org/officeDocument/2006/relationships/tags" Target="../tags/tag509.xml"/><Relationship Id="rId43" Type="http://schemas.openxmlformats.org/officeDocument/2006/relationships/tags" Target="../tags/tag525.xml"/><Relationship Id="rId48" Type="http://schemas.openxmlformats.org/officeDocument/2006/relationships/tags" Target="../tags/tag530.xml"/><Relationship Id="rId64" Type="http://schemas.openxmlformats.org/officeDocument/2006/relationships/tags" Target="../tags/tag546.xml"/><Relationship Id="rId69" Type="http://schemas.openxmlformats.org/officeDocument/2006/relationships/tags" Target="../tags/tag551.xml"/><Relationship Id="rId113" Type="http://schemas.openxmlformats.org/officeDocument/2006/relationships/image" Target="../media/image111.svg"/><Relationship Id="rId118" Type="http://schemas.openxmlformats.org/officeDocument/2006/relationships/image" Target="../media/image14.jpeg"/><Relationship Id="rId80" Type="http://schemas.openxmlformats.org/officeDocument/2006/relationships/image" Target="../media/image10.emf"/><Relationship Id="rId85" Type="http://schemas.openxmlformats.org/officeDocument/2006/relationships/image" Target="../media/image83.svg"/><Relationship Id="rId12" Type="http://schemas.openxmlformats.org/officeDocument/2006/relationships/tags" Target="../tags/tag494.xml"/><Relationship Id="rId17" Type="http://schemas.openxmlformats.org/officeDocument/2006/relationships/tags" Target="../tags/tag499.xml"/><Relationship Id="rId33" Type="http://schemas.openxmlformats.org/officeDocument/2006/relationships/tags" Target="../tags/tag515.xml"/><Relationship Id="rId38" Type="http://schemas.openxmlformats.org/officeDocument/2006/relationships/tags" Target="../tags/tag520.xml"/><Relationship Id="rId59" Type="http://schemas.openxmlformats.org/officeDocument/2006/relationships/tags" Target="../tags/tag541.xml"/><Relationship Id="rId103" Type="http://schemas.openxmlformats.org/officeDocument/2006/relationships/image" Target="../media/image101.svg"/><Relationship Id="rId108" Type="http://schemas.openxmlformats.org/officeDocument/2006/relationships/image" Target="../media/image106.png"/><Relationship Id="rId54" Type="http://schemas.openxmlformats.org/officeDocument/2006/relationships/tags" Target="../tags/tag536.xml"/><Relationship Id="rId70" Type="http://schemas.openxmlformats.org/officeDocument/2006/relationships/tags" Target="../tags/tag552.xml"/><Relationship Id="rId75" Type="http://schemas.openxmlformats.org/officeDocument/2006/relationships/tags" Target="../tags/tag557.xml"/><Relationship Id="rId91" Type="http://schemas.openxmlformats.org/officeDocument/2006/relationships/image" Target="../media/image89.svg"/><Relationship Id="rId96" Type="http://schemas.openxmlformats.org/officeDocument/2006/relationships/image" Target="../media/image94.png"/><Relationship Id="rId1" Type="http://schemas.openxmlformats.org/officeDocument/2006/relationships/vmlDrawing" Target="../drawings/vmlDrawing42.vml"/><Relationship Id="rId6" Type="http://schemas.openxmlformats.org/officeDocument/2006/relationships/tags" Target="../tags/tag488.xml"/><Relationship Id="rId23" Type="http://schemas.openxmlformats.org/officeDocument/2006/relationships/tags" Target="../tags/tag505.xml"/><Relationship Id="rId28" Type="http://schemas.openxmlformats.org/officeDocument/2006/relationships/tags" Target="../tags/tag510.xml"/><Relationship Id="rId49" Type="http://schemas.openxmlformats.org/officeDocument/2006/relationships/tags" Target="../tags/tag531.xml"/><Relationship Id="rId114" Type="http://schemas.openxmlformats.org/officeDocument/2006/relationships/image" Target="../media/image112.png"/><Relationship Id="rId10" Type="http://schemas.openxmlformats.org/officeDocument/2006/relationships/tags" Target="../tags/tag492.xml"/><Relationship Id="rId31" Type="http://schemas.openxmlformats.org/officeDocument/2006/relationships/tags" Target="../tags/tag513.xml"/><Relationship Id="rId44" Type="http://schemas.openxmlformats.org/officeDocument/2006/relationships/tags" Target="../tags/tag526.xml"/><Relationship Id="rId52" Type="http://schemas.openxmlformats.org/officeDocument/2006/relationships/tags" Target="../tags/tag534.xml"/><Relationship Id="rId60" Type="http://schemas.openxmlformats.org/officeDocument/2006/relationships/tags" Target="../tags/tag542.xml"/><Relationship Id="rId65" Type="http://schemas.openxmlformats.org/officeDocument/2006/relationships/tags" Target="../tags/tag547.xml"/><Relationship Id="rId73" Type="http://schemas.openxmlformats.org/officeDocument/2006/relationships/tags" Target="../tags/tag555.xml"/><Relationship Id="rId78" Type="http://schemas.openxmlformats.org/officeDocument/2006/relationships/slideLayout" Target="../slideLayouts/slideLayout12.xml"/><Relationship Id="rId81" Type="http://schemas.openxmlformats.org/officeDocument/2006/relationships/chart" Target="../charts/chart4.xml"/><Relationship Id="rId86" Type="http://schemas.openxmlformats.org/officeDocument/2006/relationships/image" Target="../media/image84.png"/><Relationship Id="rId94" Type="http://schemas.openxmlformats.org/officeDocument/2006/relationships/image" Target="../media/image92.png"/><Relationship Id="rId99" Type="http://schemas.openxmlformats.org/officeDocument/2006/relationships/image" Target="../media/image97.svg"/><Relationship Id="rId101" Type="http://schemas.openxmlformats.org/officeDocument/2006/relationships/image" Target="../media/image99.svg"/><Relationship Id="rId4" Type="http://schemas.openxmlformats.org/officeDocument/2006/relationships/tags" Target="../tags/tag486.xml"/><Relationship Id="rId9" Type="http://schemas.openxmlformats.org/officeDocument/2006/relationships/tags" Target="../tags/tag491.xml"/><Relationship Id="rId13" Type="http://schemas.openxmlformats.org/officeDocument/2006/relationships/tags" Target="../tags/tag495.xml"/><Relationship Id="rId18" Type="http://schemas.openxmlformats.org/officeDocument/2006/relationships/tags" Target="../tags/tag500.xml"/><Relationship Id="rId39" Type="http://schemas.openxmlformats.org/officeDocument/2006/relationships/tags" Target="../tags/tag521.xml"/><Relationship Id="rId109" Type="http://schemas.openxmlformats.org/officeDocument/2006/relationships/image" Target="../media/image107.svg"/><Relationship Id="rId34" Type="http://schemas.openxmlformats.org/officeDocument/2006/relationships/tags" Target="../tags/tag516.xml"/><Relationship Id="rId50" Type="http://schemas.openxmlformats.org/officeDocument/2006/relationships/tags" Target="../tags/tag532.xml"/><Relationship Id="rId55" Type="http://schemas.openxmlformats.org/officeDocument/2006/relationships/tags" Target="../tags/tag537.xml"/><Relationship Id="rId76" Type="http://schemas.openxmlformats.org/officeDocument/2006/relationships/tags" Target="../tags/tag558.xml"/><Relationship Id="rId97" Type="http://schemas.openxmlformats.org/officeDocument/2006/relationships/image" Target="../media/image95.svg"/><Relationship Id="rId104" Type="http://schemas.openxmlformats.org/officeDocument/2006/relationships/image" Target="../media/image102.png"/><Relationship Id="rId7" Type="http://schemas.openxmlformats.org/officeDocument/2006/relationships/tags" Target="../tags/tag489.xml"/><Relationship Id="rId71" Type="http://schemas.openxmlformats.org/officeDocument/2006/relationships/tags" Target="../tags/tag553.xml"/><Relationship Id="rId92" Type="http://schemas.openxmlformats.org/officeDocument/2006/relationships/image" Target="../media/image90.png"/><Relationship Id="rId2" Type="http://schemas.openxmlformats.org/officeDocument/2006/relationships/tags" Target="../tags/tag484.xml"/><Relationship Id="rId29" Type="http://schemas.openxmlformats.org/officeDocument/2006/relationships/tags" Target="../tags/tag511.xml"/><Relationship Id="rId24" Type="http://schemas.openxmlformats.org/officeDocument/2006/relationships/tags" Target="../tags/tag506.xml"/><Relationship Id="rId40" Type="http://schemas.openxmlformats.org/officeDocument/2006/relationships/tags" Target="../tags/tag522.xml"/><Relationship Id="rId45" Type="http://schemas.openxmlformats.org/officeDocument/2006/relationships/tags" Target="../tags/tag527.xml"/><Relationship Id="rId66" Type="http://schemas.openxmlformats.org/officeDocument/2006/relationships/tags" Target="../tags/tag548.xml"/><Relationship Id="rId87" Type="http://schemas.openxmlformats.org/officeDocument/2006/relationships/image" Target="../media/image85.svg"/><Relationship Id="rId110" Type="http://schemas.openxmlformats.org/officeDocument/2006/relationships/image" Target="../media/image108.png"/><Relationship Id="rId115" Type="http://schemas.openxmlformats.org/officeDocument/2006/relationships/image" Target="../media/image113.svg"/><Relationship Id="rId61" Type="http://schemas.openxmlformats.org/officeDocument/2006/relationships/tags" Target="../tags/tag543.xml"/><Relationship Id="rId82" Type="http://schemas.openxmlformats.org/officeDocument/2006/relationships/image" Target="../media/image80.png"/><Relationship Id="rId19" Type="http://schemas.openxmlformats.org/officeDocument/2006/relationships/tags" Target="../tags/tag501.xml"/><Relationship Id="rId14" Type="http://schemas.openxmlformats.org/officeDocument/2006/relationships/tags" Target="../tags/tag496.xml"/><Relationship Id="rId30" Type="http://schemas.openxmlformats.org/officeDocument/2006/relationships/tags" Target="../tags/tag512.xml"/><Relationship Id="rId35" Type="http://schemas.openxmlformats.org/officeDocument/2006/relationships/tags" Target="../tags/tag517.xml"/><Relationship Id="rId56" Type="http://schemas.openxmlformats.org/officeDocument/2006/relationships/tags" Target="../tags/tag538.xml"/><Relationship Id="rId77" Type="http://schemas.openxmlformats.org/officeDocument/2006/relationships/tags" Target="../tags/tag559.xml"/><Relationship Id="rId100" Type="http://schemas.openxmlformats.org/officeDocument/2006/relationships/image" Target="../media/image98.png"/><Relationship Id="rId105" Type="http://schemas.openxmlformats.org/officeDocument/2006/relationships/image" Target="../media/image103.svg"/><Relationship Id="rId8" Type="http://schemas.openxmlformats.org/officeDocument/2006/relationships/tags" Target="../tags/tag490.xml"/><Relationship Id="rId51" Type="http://schemas.openxmlformats.org/officeDocument/2006/relationships/tags" Target="../tags/tag533.xml"/><Relationship Id="rId72" Type="http://schemas.openxmlformats.org/officeDocument/2006/relationships/tags" Target="../tags/tag554.xml"/><Relationship Id="rId93" Type="http://schemas.openxmlformats.org/officeDocument/2006/relationships/image" Target="../media/image91.svg"/><Relationship Id="rId98" Type="http://schemas.openxmlformats.org/officeDocument/2006/relationships/image" Target="../media/image96.png"/><Relationship Id="rId3" Type="http://schemas.openxmlformats.org/officeDocument/2006/relationships/tags" Target="../tags/tag485.xml"/><Relationship Id="rId25" Type="http://schemas.openxmlformats.org/officeDocument/2006/relationships/tags" Target="../tags/tag507.xml"/><Relationship Id="rId46" Type="http://schemas.openxmlformats.org/officeDocument/2006/relationships/tags" Target="../tags/tag528.xml"/><Relationship Id="rId67" Type="http://schemas.openxmlformats.org/officeDocument/2006/relationships/tags" Target="../tags/tag549.xml"/><Relationship Id="rId116" Type="http://schemas.openxmlformats.org/officeDocument/2006/relationships/image" Target="../media/image114.png"/><Relationship Id="rId20" Type="http://schemas.openxmlformats.org/officeDocument/2006/relationships/tags" Target="../tags/tag502.xml"/><Relationship Id="rId41" Type="http://schemas.openxmlformats.org/officeDocument/2006/relationships/tags" Target="../tags/tag523.xml"/><Relationship Id="rId62" Type="http://schemas.openxmlformats.org/officeDocument/2006/relationships/tags" Target="../tags/tag544.xml"/><Relationship Id="rId83" Type="http://schemas.openxmlformats.org/officeDocument/2006/relationships/image" Target="../media/image81.svg"/><Relationship Id="rId88" Type="http://schemas.openxmlformats.org/officeDocument/2006/relationships/image" Target="../media/image86.png"/><Relationship Id="rId111" Type="http://schemas.openxmlformats.org/officeDocument/2006/relationships/image" Target="../media/image109.svg"/><Relationship Id="rId15" Type="http://schemas.openxmlformats.org/officeDocument/2006/relationships/tags" Target="../tags/tag497.xml"/><Relationship Id="rId36" Type="http://schemas.openxmlformats.org/officeDocument/2006/relationships/tags" Target="../tags/tag518.xml"/><Relationship Id="rId57" Type="http://schemas.openxmlformats.org/officeDocument/2006/relationships/tags" Target="../tags/tag539.xml"/><Relationship Id="rId106" Type="http://schemas.openxmlformats.org/officeDocument/2006/relationships/image" Target="../media/image10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FC82A3A-0A2D-4C91-9164-E53833C359F6}"/>
              </a:ext>
            </a:extLst>
          </p:cNvPr>
          <p:cNvGraphicFramePr>
            <a:graphicFrameLocks noChangeAspect="1"/>
          </p:cNvGraphicFramePr>
          <p:nvPr>
            <p:custDataLst>
              <p:tags r:id="rId2"/>
            </p:custDataLst>
            <p:extLst>
              <p:ext uri="{D42A27DB-BD31-4B8C-83A1-F6EECF244321}">
                <p14:modId xmlns:p14="http://schemas.microsoft.com/office/powerpoint/2010/main" val="3094795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3" name="think-cell Slide" r:id="rId8" imgW="572" imgH="588" progId="TCLayout.ActiveDocument.1">
                  <p:embed/>
                </p:oleObj>
              </mc:Choice>
              <mc:Fallback>
                <p:oleObj name="think-cell Slide" r:id="rId8" imgW="572" imgH="588" progId="TCLayout.ActiveDocument.1">
                  <p:embed/>
                  <p:pic>
                    <p:nvPicPr>
                      <p:cNvPr id="3" name="Object 8" hidden="1">
                        <a:extLst>
                          <a:ext uri="{FF2B5EF4-FFF2-40B4-BE49-F238E27FC236}">
                            <a16:creationId xmlns:a16="http://schemas.microsoft.com/office/drawing/2014/main" id="{DFC82A3A-0A2D-4C91-9164-E53833C359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108DE052-9238-470A-B7A3-D8EB461E3CE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4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1" name="Subtitle">
            <a:extLst>
              <a:ext uri="{FF2B5EF4-FFF2-40B4-BE49-F238E27FC236}">
                <a16:creationId xmlns:a16="http://schemas.microsoft.com/office/drawing/2014/main" id="{20BEFABD-F324-4FAB-9070-4ABF9FDF650E}"/>
              </a:ext>
            </a:extLst>
          </p:cNvPr>
          <p:cNvSpPr>
            <a:spLocks noGrp="1"/>
          </p:cNvSpPr>
          <p:nvPr>
            <p:ph type="subTitle" idx="1"/>
            <p:custDataLst>
              <p:tags r:id="rId4"/>
            </p:custDataLst>
          </p:nvPr>
        </p:nvSpPr>
        <p:spPr>
          <a:xfrm>
            <a:off x="551941" y="4092559"/>
            <a:ext cx="7706233" cy="307777"/>
          </a:xfrm>
        </p:spPr>
        <p:txBody>
          <a:bodyPr/>
          <a:lstStyle/>
          <a:p>
            <a:r>
              <a:rPr lang="en-US" dirty="0"/>
              <a:t>Dr.K.Ganesh</a:t>
            </a:r>
          </a:p>
          <a:p>
            <a:r>
              <a:rPr lang="en-US" dirty="0"/>
              <a:t>Global Lead, Manufacturing &amp; Supply Chain Center of Competence</a:t>
            </a:r>
          </a:p>
          <a:p>
            <a:r>
              <a:rPr lang="en-US" dirty="0"/>
              <a:t>Senior Knowledge Expert and Associate Partner</a:t>
            </a:r>
          </a:p>
          <a:p>
            <a:r>
              <a:rPr lang="en-US" dirty="0"/>
              <a:t>+91-9867604177, </a:t>
            </a:r>
            <a:r>
              <a:rPr lang="en-US" dirty="0">
                <a:hlinkClick r:id="rId10"/>
              </a:rPr>
              <a:t>k_ganesh@mckinse.com</a:t>
            </a:r>
            <a:endParaRPr lang="en-US" dirty="0"/>
          </a:p>
          <a:p>
            <a:r>
              <a:rPr lang="en-US" dirty="0"/>
              <a:t>December 2021</a:t>
            </a:r>
          </a:p>
        </p:txBody>
      </p:sp>
      <p:sp>
        <p:nvSpPr>
          <p:cNvPr id="4" name="Title">
            <a:extLst>
              <a:ext uri="{FF2B5EF4-FFF2-40B4-BE49-F238E27FC236}">
                <a16:creationId xmlns:a16="http://schemas.microsoft.com/office/drawing/2014/main" id="{FA5D4630-F7DD-45DE-8B28-13C4C3DDAD21}"/>
              </a:ext>
            </a:extLst>
          </p:cNvPr>
          <p:cNvSpPr>
            <a:spLocks noGrp="1"/>
          </p:cNvSpPr>
          <p:nvPr>
            <p:ph type="title"/>
            <p:custDataLst>
              <p:tags r:id="rId5"/>
            </p:custDataLst>
          </p:nvPr>
        </p:nvSpPr>
        <p:spPr>
          <a:xfrm>
            <a:off x="551941" y="1763008"/>
            <a:ext cx="10392283" cy="1921708"/>
          </a:xfrm>
        </p:spPr>
        <p:txBody>
          <a:bodyPr vert="horz">
            <a:normAutofit fontScale="90000"/>
          </a:bodyPr>
          <a:lstStyle/>
          <a:p>
            <a:pPr algn="l"/>
            <a:r>
              <a:rPr lang="en-US" dirty="0"/>
              <a:t>Re-defining and driving growth trajectory of chemicals supply chain -</a:t>
            </a:r>
            <a:br>
              <a:rPr lang="en-US" dirty="0"/>
            </a:br>
            <a:r>
              <a:rPr lang="en-US" dirty="0"/>
              <a:t>Leveraging assets and networks </a:t>
            </a:r>
          </a:p>
        </p:txBody>
      </p:sp>
      <p:pic>
        <p:nvPicPr>
          <p:cNvPr id="23" name="Content Placeholder 1">
            <a:extLst>
              <a:ext uri="{FF2B5EF4-FFF2-40B4-BE49-F238E27FC236}">
                <a16:creationId xmlns:a16="http://schemas.microsoft.com/office/drawing/2014/main" id="{AD9410B9-A7C5-4156-BCE0-34BADEEC190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445556" y="138883"/>
            <a:ext cx="2691306" cy="1150945"/>
          </a:xfrm>
          <a:prstGeom prst="rect">
            <a:avLst/>
          </a:prstGeom>
        </p:spPr>
      </p:pic>
    </p:spTree>
    <p:extLst>
      <p:ext uri="{BB962C8B-B14F-4D97-AF65-F5344CB8AC3E}">
        <p14:creationId xmlns:p14="http://schemas.microsoft.com/office/powerpoint/2010/main" val="3095890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67D591D2-2DCE-437D-8849-3B2C2500FCED}"/>
              </a:ext>
            </a:extLst>
          </p:cNvPr>
          <p:cNvGraphicFramePr>
            <a:graphicFrameLocks noChangeAspect="1"/>
          </p:cNvGraphicFramePr>
          <p:nvPr>
            <p:custDataLst>
              <p:tags r:id="rId2"/>
            </p:custDataLst>
            <p:extLst>
              <p:ext uri="{D42A27DB-BD31-4B8C-83A1-F6EECF244321}">
                <p14:modId xmlns:p14="http://schemas.microsoft.com/office/powerpoint/2010/main" val="312839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3" name="think-cell Slide" r:id="rId17" imgW="395" imgH="394" progId="TCLayout.ActiveDocument.1">
                  <p:embed/>
                </p:oleObj>
              </mc:Choice>
              <mc:Fallback>
                <p:oleObj name="think-cell Slide" r:id="rId17" imgW="395" imgH="394" progId="TCLayout.ActiveDocument.1">
                  <p:embed/>
                  <p:pic>
                    <p:nvPicPr>
                      <p:cNvPr id="8" name="Object 2" hidden="1">
                        <a:extLst>
                          <a:ext uri="{FF2B5EF4-FFF2-40B4-BE49-F238E27FC236}">
                            <a16:creationId xmlns:a16="http://schemas.microsoft.com/office/drawing/2014/main" id="{67D591D2-2DCE-437D-8849-3B2C2500FCED}"/>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699B2C10-0427-4B73-A02F-EC4A6231DCD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5" name="2. Slide Title">
            <a:extLst>
              <a:ext uri="{FF2B5EF4-FFF2-40B4-BE49-F238E27FC236}">
                <a16:creationId xmlns:a16="http://schemas.microsoft.com/office/drawing/2014/main" id="{AEAC06CE-561F-4296-A7DA-450E712059B0}"/>
              </a:ext>
            </a:extLst>
          </p:cNvPr>
          <p:cNvSpPr>
            <a:spLocks noGrp="1"/>
          </p:cNvSpPr>
          <p:nvPr>
            <p:ph type="title"/>
            <p:custDataLst>
              <p:tags r:id="rId4"/>
            </p:custDataLst>
          </p:nvPr>
        </p:nvSpPr>
        <p:spPr/>
        <p:txBody>
          <a:bodyPr vert="horz"/>
          <a:lstStyle/>
          <a:p>
            <a:r>
              <a:rPr lang="en-US" dirty="0"/>
              <a:t>Key industries holding best cost country (BCC) sourcing opportunities in India</a:t>
            </a:r>
          </a:p>
        </p:txBody>
      </p:sp>
      <p:sp>
        <p:nvSpPr>
          <p:cNvPr id="11" name="Rectangle 5">
            <a:extLst>
              <a:ext uri="{FF2B5EF4-FFF2-40B4-BE49-F238E27FC236}">
                <a16:creationId xmlns:a16="http://schemas.microsoft.com/office/drawing/2014/main" id="{D4014D20-B067-4E0F-9FB8-A3B28392529E}"/>
              </a:ext>
            </a:extLst>
          </p:cNvPr>
          <p:cNvSpPr txBox="1">
            <a:spLocks/>
          </p:cNvSpPr>
          <p:nvPr/>
        </p:nvSpPr>
        <p:spPr>
          <a:xfrm>
            <a:off x="554736" y="1412240"/>
            <a:ext cx="2950466" cy="1402080"/>
          </a:xfrm>
          <a:prstGeom prst="rect">
            <a:avLst/>
          </a:prstGeom>
          <a:solidFill>
            <a:schemeClr val="bg1"/>
          </a:solidFill>
          <a:ln w="12700">
            <a:solidFill>
              <a:schemeClr val="bg1">
                <a:lumMod val="50000"/>
              </a:schemeClr>
            </a:solidFill>
          </a:ln>
        </p:spPr>
        <p:txBody>
          <a:bodyPr vert="horz" wrap="square" lIns="46648" tIns="46648" rIns="279892" bIns="46648" rtlCol="0" anchor="t" anchorCtr="0">
            <a:noAutofit/>
          </a:bodyPr>
          <a:lstStyle>
            <a:defPPr>
              <a:defRPr lang="en-US"/>
            </a:defPPr>
            <a:lvl1pPr marL="0" lvl="0" indent="0" defTabSz="895350" eaLnBrk="1" hangingPunct="1">
              <a:lnSpc>
                <a:spcPct val="90000"/>
              </a:lnSpc>
              <a:spcBef>
                <a:spcPts val="100"/>
              </a:spcBef>
              <a:buClr>
                <a:schemeClr val="tx2"/>
              </a:buClr>
              <a:defRPr sz="612"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100" dirty="0">
                <a:solidFill>
                  <a:schemeClr val="tx1"/>
                </a:solidFill>
              </a:rPr>
              <a:t>Pharmaceutical</a:t>
            </a:r>
          </a:p>
          <a:p>
            <a:endParaRPr lang="en-US" sz="1100" b="0" dirty="0">
              <a:solidFill>
                <a:schemeClr val="tx1"/>
              </a:solidFill>
            </a:endParaRPr>
          </a:p>
        </p:txBody>
      </p:sp>
      <p:sp>
        <p:nvSpPr>
          <p:cNvPr id="12" name="Rectangle 5">
            <a:extLst>
              <a:ext uri="{FF2B5EF4-FFF2-40B4-BE49-F238E27FC236}">
                <a16:creationId xmlns:a16="http://schemas.microsoft.com/office/drawing/2014/main" id="{087AB339-6C6B-4E87-BAEB-D115AD78145A}"/>
              </a:ext>
            </a:extLst>
          </p:cNvPr>
          <p:cNvSpPr txBox="1">
            <a:spLocks/>
          </p:cNvSpPr>
          <p:nvPr/>
        </p:nvSpPr>
        <p:spPr>
          <a:xfrm>
            <a:off x="554735" y="3018005"/>
            <a:ext cx="2950466" cy="1402080"/>
          </a:xfrm>
          <a:prstGeom prst="rect">
            <a:avLst/>
          </a:prstGeom>
          <a:solidFill>
            <a:schemeClr val="bg1"/>
          </a:solidFill>
          <a:ln w="12700">
            <a:solidFill>
              <a:schemeClr val="bg1">
                <a:lumMod val="50000"/>
              </a:schemeClr>
            </a:solidFill>
          </a:ln>
        </p:spPr>
        <p:txBody>
          <a:bodyPr vert="horz" wrap="square" lIns="46648" tIns="46648" rIns="279892" bIns="46648" rtlCol="0" anchor="t" anchorCtr="0">
            <a:noAutofit/>
          </a:bodyPr>
          <a:lstStyle>
            <a:defPPr>
              <a:defRPr lang="en-US"/>
            </a:defPPr>
            <a:lvl1pPr marL="0" lvl="0" indent="0" defTabSz="895350" eaLnBrk="1" hangingPunct="1">
              <a:lnSpc>
                <a:spcPct val="90000"/>
              </a:lnSpc>
              <a:spcBef>
                <a:spcPts val="100"/>
              </a:spcBef>
              <a:buClr>
                <a:schemeClr val="tx2"/>
              </a:buClr>
              <a:defRPr sz="612"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100" dirty="0">
                <a:solidFill>
                  <a:schemeClr val="tx1"/>
                </a:solidFill>
              </a:rPr>
              <a:t>Automobile</a:t>
            </a:r>
          </a:p>
          <a:p>
            <a:endParaRPr lang="en-US" sz="1100" b="0" dirty="0">
              <a:solidFill>
                <a:schemeClr val="tx1"/>
              </a:solidFill>
            </a:endParaRPr>
          </a:p>
        </p:txBody>
      </p:sp>
      <p:sp>
        <p:nvSpPr>
          <p:cNvPr id="13" name="Rectangle 5">
            <a:extLst>
              <a:ext uri="{FF2B5EF4-FFF2-40B4-BE49-F238E27FC236}">
                <a16:creationId xmlns:a16="http://schemas.microsoft.com/office/drawing/2014/main" id="{C95BB679-CFB8-4310-B22D-4509FB5670EB}"/>
              </a:ext>
            </a:extLst>
          </p:cNvPr>
          <p:cNvSpPr txBox="1">
            <a:spLocks/>
          </p:cNvSpPr>
          <p:nvPr/>
        </p:nvSpPr>
        <p:spPr>
          <a:xfrm>
            <a:off x="554734" y="4623769"/>
            <a:ext cx="2950466" cy="1402080"/>
          </a:xfrm>
          <a:prstGeom prst="rect">
            <a:avLst/>
          </a:prstGeom>
          <a:solidFill>
            <a:schemeClr val="bg1"/>
          </a:solidFill>
          <a:ln w="12700">
            <a:solidFill>
              <a:schemeClr val="bg1">
                <a:lumMod val="50000"/>
              </a:schemeClr>
            </a:solidFill>
          </a:ln>
        </p:spPr>
        <p:txBody>
          <a:bodyPr vert="horz" wrap="square" lIns="46648" tIns="46648" rIns="279892" bIns="46648" rtlCol="0" anchor="t" anchorCtr="0">
            <a:noAutofit/>
          </a:bodyPr>
          <a:lstStyle>
            <a:defPPr>
              <a:defRPr lang="en-US"/>
            </a:defPPr>
            <a:lvl1pPr marL="0" lvl="0" indent="0" defTabSz="895350" eaLnBrk="1" hangingPunct="1">
              <a:lnSpc>
                <a:spcPct val="90000"/>
              </a:lnSpc>
              <a:spcBef>
                <a:spcPts val="100"/>
              </a:spcBef>
              <a:buClr>
                <a:schemeClr val="tx2"/>
              </a:buClr>
              <a:defRPr sz="612"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100" dirty="0">
                <a:solidFill>
                  <a:schemeClr val="tx1"/>
                </a:solidFill>
              </a:rPr>
              <a:t>Textiles and Apparels</a:t>
            </a:r>
          </a:p>
          <a:p>
            <a:endParaRPr lang="en-US" sz="1100" b="0" dirty="0">
              <a:solidFill>
                <a:schemeClr val="tx1"/>
              </a:solidFill>
            </a:endParaRPr>
          </a:p>
        </p:txBody>
      </p:sp>
      <p:sp>
        <p:nvSpPr>
          <p:cNvPr id="14" name="Rectangle 5">
            <a:extLst>
              <a:ext uri="{FF2B5EF4-FFF2-40B4-BE49-F238E27FC236}">
                <a16:creationId xmlns:a16="http://schemas.microsoft.com/office/drawing/2014/main" id="{24FB76CD-6DCB-4C94-92EA-7BF97E3FA08A}"/>
              </a:ext>
            </a:extLst>
          </p:cNvPr>
          <p:cNvSpPr txBox="1">
            <a:spLocks/>
          </p:cNvSpPr>
          <p:nvPr/>
        </p:nvSpPr>
        <p:spPr>
          <a:xfrm>
            <a:off x="9113283" y="1412240"/>
            <a:ext cx="2523981" cy="1402080"/>
          </a:xfrm>
          <a:prstGeom prst="rect">
            <a:avLst/>
          </a:prstGeom>
          <a:solidFill>
            <a:schemeClr val="bg1"/>
          </a:solidFill>
          <a:ln w="12700">
            <a:solidFill>
              <a:schemeClr val="bg1">
                <a:lumMod val="50000"/>
              </a:schemeClr>
            </a:solidFill>
          </a:ln>
        </p:spPr>
        <p:txBody>
          <a:bodyPr vert="horz" wrap="square" lIns="46648" tIns="46648" rIns="279892" bIns="46648" rtlCol="0" anchor="t" anchorCtr="0">
            <a:noAutofit/>
          </a:bodyPr>
          <a:lstStyle>
            <a:defPPr>
              <a:defRPr lang="en-US"/>
            </a:defPPr>
            <a:lvl1pPr marL="0" lvl="0" indent="0" defTabSz="895350" eaLnBrk="1" hangingPunct="1">
              <a:lnSpc>
                <a:spcPct val="90000"/>
              </a:lnSpc>
              <a:spcBef>
                <a:spcPts val="100"/>
              </a:spcBef>
              <a:buClr>
                <a:schemeClr val="tx2"/>
              </a:buClr>
              <a:defRPr sz="612"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100" dirty="0">
                <a:solidFill>
                  <a:schemeClr val="tx1"/>
                </a:solidFill>
              </a:rPr>
              <a:t>Chemical and Petrochemicals</a:t>
            </a:r>
          </a:p>
          <a:p>
            <a:endParaRPr lang="en-US" sz="1100" b="0" dirty="0">
              <a:solidFill>
                <a:schemeClr val="tx1"/>
              </a:solidFill>
            </a:endParaRPr>
          </a:p>
        </p:txBody>
      </p:sp>
      <p:sp>
        <p:nvSpPr>
          <p:cNvPr id="15" name="Rectangle 5">
            <a:extLst>
              <a:ext uri="{FF2B5EF4-FFF2-40B4-BE49-F238E27FC236}">
                <a16:creationId xmlns:a16="http://schemas.microsoft.com/office/drawing/2014/main" id="{13A4C2B9-8B97-4699-A9F0-F0DF3A57138B}"/>
              </a:ext>
            </a:extLst>
          </p:cNvPr>
          <p:cNvSpPr txBox="1">
            <a:spLocks/>
          </p:cNvSpPr>
          <p:nvPr/>
        </p:nvSpPr>
        <p:spPr>
          <a:xfrm>
            <a:off x="9113283" y="2965184"/>
            <a:ext cx="2523981" cy="1402080"/>
          </a:xfrm>
          <a:prstGeom prst="rect">
            <a:avLst/>
          </a:prstGeom>
          <a:solidFill>
            <a:schemeClr val="bg1"/>
          </a:solidFill>
          <a:ln w="12700">
            <a:solidFill>
              <a:schemeClr val="bg1">
                <a:lumMod val="50000"/>
              </a:schemeClr>
            </a:solidFill>
          </a:ln>
        </p:spPr>
        <p:txBody>
          <a:bodyPr vert="horz" wrap="square" lIns="46648" tIns="46648" rIns="279892" bIns="46648" rtlCol="0" anchor="t" anchorCtr="0">
            <a:noAutofit/>
          </a:bodyPr>
          <a:lstStyle>
            <a:defPPr>
              <a:defRPr lang="en-US"/>
            </a:defPPr>
            <a:lvl1pPr marL="0" lvl="0" indent="0" defTabSz="895350" eaLnBrk="1" hangingPunct="1">
              <a:lnSpc>
                <a:spcPct val="90000"/>
              </a:lnSpc>
              <a:spcBef>
                <a:spcPts val="100"/>
              </a:spcBef>
              <a:buClr>
                <a:schemeClr val="tx2"/>
              </a:buClr>
              <a:defRPr sz="612"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100" b="0" dirty="0">
                <a:solidFill>
                  <a:schemeClr val="tx1"/>
                </a:solidFill>
              </a:rPr>
              <a:t> </a:t>
            </a:r>
            <a:r>
              <a:rPr lang="en-US" sz="1100" dirty="0">
                <a:solidFill>
                  <a:schemeClr val="tx1"/>
                </a:solidFill>
              </a:rPr>
              <a:t>Engineering</a:t>
            </a:r>
          </a:p>
          <a:p>
            <a:endParaRPr lang="en-US" sz="1100" b="0" dirty="0">
              <a:solidFill>
                <a:schemeClr val="tx1"/>
              </a:solidFill>
            </a:endParaRPr>
          </a:p>
        </p:txBody>
      </p:sp>
      <p:sp>
        <p:nvSpPr>
          <p:cNvPr id="16" name="Rectangle 5">
            <a:extLst>
              <a:ext uri="{FF2B5EF4-FFF2-40B4-BE49-F238E27FC236}">
                <a16:creationId xmlns:a16="http://schemas.microsoft.com/office/drawing/2014/main" id="{8CF438D5-63FC-4EF4-93B9-02D88764CE2D}"/>
              </a:ext>
            </a:extLst>
          </p:cNvPr>
          <p:cNvSpPr txBox="1">
            <a:spLocks/>
          </p:cNvSpPr>
          <p:nvPr/>
        </p:nvSpPr>
        <p:spPr>
          <a:xfrm>
            <a:off x="9113283" y="4518127"/>
            <a:ext cx="2523981" cy="1402080"/>
          </a:xfrm>
          <a:prstGeom prst="rect">
            <a:avLst/>
          </a:prstGeom>
          <a:solidFill>
            <a:schemeClr val="bg1"/>
          </a:solidFill>
          <a:ln w="12700">
            <a:solidFill>
              <a:schemeClr val="bg1">
                <a:lumMod val="50000"/>
              </a:schemeClr>
            </a:solidFill>
          </a:ln>
        </p:spPr>
        <p:txBody>
          <a:bodyPr vert="horz" wrap="square" lIns="46648" tIns="46648" rIns="279892" bIns="46648" rtlCol="0" anchor="t" anchorCtr="0">
            <a:noAutofit/>
          </a:bodyPr>
          <a:lstStyle>
            <a:defPPr>
              <a:defRPr lang="en-US"/>
            </a:defPPr>
            <a:lvl1pPr marL="0" lvl="0" indent="0" defTabSz="895350" eaLnBrk="1" hangingPunct="1">
              <a:lnSpc>
                <a:spcPct val="90000"/>
              </a:lnSpc>
              <a:spcBef>
                <a:spcPts val="100"/>
              </a:spcBef>
              <a:buClr>
                <a:schemeClr val="tx2"/>
              </a:buClr>
              <a:defRPr sz="612"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100" dirty="0">
                <a:solidFill>
                  <a:schemeClr val="tx1"/>
                </a:solidFill>
              </a:rPr>
              <a:t>FMCG</a:t>
            </a:r>
          </a:p>
          <a:p>
            <a:endParaRPr lang="en-US" sz="1100" b="0" dirty="0">
              <a:solidFill>
                <a:schemeClr val="tx1"/>
              </a:solidFill>
            </a:endParaRPr>
          </a:p>
        </p:txBody>
      </p:sp>
      <p:grpSp>
        <p:nvGrpSpPr>
          <p:cNvPr id="28" name="Group 27">
            <a:extLst>
              <a:ext uri="{FF2B5EF4-FFF2-40B4-BE49-F238E27FC236}">
                <a16:creationId xmlns:a16="http://schemas.microsoft.com/office/drawing/2014/main" id="{AF503FD7-6510-40F6-B9FD-EAB81E03112A}"/>
              </a:ext>
            </a:extLst>
          </p:cNvPr>
          <p:cNvGrpSpPr/>
          <p:nvPr/>
        </p:nvGrpSpPr>
        <p:grpSpPr>
          <a:xfrm>
            <a:off x="3789631" y="1412374"/>
            <a:ext cx="4554270" cy="4809796"/>
            <a:chOff x="3476626" y="1201737"/>
            <a:chExt cx="4951413" cy="5229229"/>
          </a:xfrm>
        </p:grpSpPr>
        <p:sp>
          <p:nvSpPr>
            <p:cNvPr id="29" name="Freeform: Shape 28">
              <a:extLst>
                <a:ext uri="{FF2B5EF4-FFF2-40B4-BE49-F238E27FC236}">
                  <a16:creationId xmlns:a16="http://schemas.microsoft.com/office/drawing/2014/main" id="{9AE88534-7D4E-4983-A853-B67B8BD7D46A}"/>
                </a:ext>
              </a:extLst>
            </p:cNvPr>
            <p:cNvSpPr/>
            <p:nvPr/>
          </p:nvSpPr>
          <p:spPr bwMode="gray">
            <a:xfrm>
              <a:off x="4324351" y="1201738"/>
              <a:ext cx="1292225" cy="828676"/>
            </a:xfrm>
            <a:custGeom>
              <a:avLst/>
              <a:gdLst>
                <a:gd name="connsiteX0" fmla="*/ 374650 w 1292225"/>
                <a:gd name="connsiteY0" fmla="*/ 0 h 828675"/>
                <a:gd name="connsiteX1" fmla="*/ 381000 w 1292225"/>
                <a:gd name="connsiteY1" fmla="*/ 12700 h 828675"/>
                <a:gd name="connsiteX2" fmla="*/ 387350 w 1292225"/>
                <a:gd name="connsiteY2" fmla="*/ 12700 h 828675"/>
                <a:gd name="connsiteX3" fmla="*/ 390525 w 1292225"/>
                <a:gd name="connsiteY3" fmla="*/ 6350 h 828675"/>
                <a:gd name="connsiteX4" fmla="*/ 398462 w 1292225"/>
                <a:gd name="connsiteY4" fmla="*/ 6350 h 828675"/>
                <a:gd name="connsiteX5" fmla="*/ 398462 w 1292225"/>
                <a:gd name="connsiteY5" fmla="*/ 12700 h 828675"/>
                <a:gd name="connsiteX6" fmla="*/ 404812 w 1292225"/>
                <a:gd name="connsiteY6" fmla="*/ 26987 h 828675"/>
                <a:gd name="connsiteX7" fmla="*/ 411162 w 1292225"/>
                <a:gd name="connsiteY7" fmla="*/ 26987 h 828675"/>
                <a:gd name="connsiteX8" fmla="*/ 411162 w 1292225"/>
                <a:gd name="connsiteY8" fmla="*/ 20637 h 828675"/>
                <a:gd name="connsiteX9" fmla="*/ 417512 w 1292225"/>
                <a:gd name="connsiteY9" fmla="*/ 17462 h 828675"/>
                <a:gd name="connsiteX10" fmla="*/ 430212 w 1292225"/>
                <a:gd name="connsiteY10" fmla="*/ 12700 h 828675"/>
                <a:gd name="connsiteX11" fmla="*/ 441325 w 1292225"/>
                <a:gd name="connsiteY11" fmla="*/ 12700 h 828675"/>
                <a:gd name="connsiteX12" fmla="*/ 447675 w 1292225"/>
                <a:gd name="connsiteY12" fmla="*/ 9525 h 828675"/>
                <a:gd name="connsiteX13" fmla="*/ 450850 w 1292225"/>
                <a:gd name="connsiteY13" fmla="*/ 12700 h 828675"/>
                <a:gd name="connsiteX14" fmla="*/ 450850 w 1292225"/>
                <a:gd name="connsiteY14" fmla="*/ 17462 h 828675"/>
                <a:gd name="connsiteX15" fmla="*/ 463550 w 1292225"/>
                <a:gd name="connsiteY15" fmla="*/ 20637 h 828675"/>
                <a:gd name="connsiteX16" fmla="*/ 471487 w 1292225"/>
                <a:gd name="connsiteY16" fmla="*/ 17462 h 828675"/>
                <a:gd name="connsiteX17" fmla="*/ 484187 w 1292225"/>
                <a:gd name="connsiteY17" fmla="*/ 23812 h 828675"/>
                <a:gd name="connsiteX18" fmla="*/ 490537 w 1292225"/>
                <a:gd name="connsiteY18" fmla="*/ 20637 h 828675"/>
                <a:gd name="connsiteX19" fmla="*/ 487362 w 1292225"/>
                <a:gd name="connsiteY19" fmla="*/ 30162 h 828675"/>
                <a:gd name="connsiteX20" fmla="*/ 493713 w 1292225"/>
                <a:gd name="connsiteY20" fmla="*/ 33337 h 828675"/>
                <a:gd name="connsiteX21" fmla="*/ 493713 w 1292225"/>
                <a:gd name="connsiteY21" fmla="*/ 42862 h 828675"/>
                <a:gd name="connsiteX22" fmla="*/ 490537 w 1292225"/>
                <a:gd name="connsiteY22" fmla="*/ 50800 h 828675"/>
                <a:gd name="connsiteX23" fmla="*/ 496888 w 1292225"/>
                <a:gd name="connsiteY23" fmla="*/ 60325 h 828675"/>
                <a:gd name="connsiteX24" fmla="*/ 500063 w 1292225"/>
                <a:gd name="connsiteY24" fmla="*/ 63500 h 828675"/>
                <a:gd name="connsiteX25" fmla="*/ 503238 w 1292225"/>
                <a:gd name="connsiteY25" fmla="*/ 60325 h 828675"/>
                <a:gd name="connsiteX26" fmla="*/ 508000 w 1292225"/>
                <a:gd name="connsiteY26" fmla="*/ 63500 h 828675"/>
                <a:gd name="connsiteX27" fmla="*/ 508000 w 1292225"/>
                <a:gd name="connsiteY27" fmla="*/ 53975 h 828675"/>
                <a:gd name="connsiteX28" fmla="*/ 527050 w 1292225"/>
                <a:gd name="connsiteY28" fmla="*/ 53975 h 828675"/>
                <a:gd name="connsiteX29" fmla="*/ 536575 w 1292225"/>
                <a:gd name="connsiteY29" fmla="*/ 57150 h 828675"/>
                <a:gd name="connsiteX30" fmla="*/ 542925 w 1292225"/>
                <a:gd name="connsiteY30" fmla="*/ 57150 h 828675"/>
                <a:gd name="connsiteX31" fmla="*/ 554038 w 1292225"/>
                <a:gd name="connsiteY31" fmla="*/ 63500 h 828675"/>
                <a:gd name="connsiteX32" fmla="*/ 560388 w 1292225"/>
                <a:gd name="connsiteY32" fmla="*/ 69850 h 828675"/>
                <a:gd name="connsiteX33" fmla="*/ 563563 w 1292225"/>
                <a:gd name="connsiteY33" fmla="*/ 73025 h 828675"/>
                <a:gd name="connsiteX34" fmla="*/ 566738 w 1292225"/>
                <a:gd name="connsiteY34" fmla="*/ 76200 h 828675"/>
                <a:gd name="connsiteX35" fmla="*/ 576263 w 1292225"/>
                <a:gd name="connsiteY35" fmla="*/ 82550 h 828675"/>
                <a:gd name="connsiteX36" fmla="*/ 573088 w 1292225"/>
                <a:gd name="connsiteY36" fmla="*/ 88900 h 828675"/>
                <a:gd name="connsiteX37" fmla="*/ 576263 w 1292225"/>
                <a:gd name="connsiteY37" fmla="*/ 90487 h 828675"/>
                <a:gd name="connsiteX38" fmla="*/ 606425 w 1292225"/>
                <a:gd name="connsiteY38" fmla="*/ 103187 h 828675"/>
                <a:gd name="connsiteX39" fmla="*/ 623888 w 1292225"/>
                <a:gd name="connsiteY39" fmla="*/ 119062 h 828675"/>
                <a:gd name="connsiteX40" fmla="*/ 630238 w 1292225"/>
                <a:gd name="connsiteY40" fmla="*/ 122237 h 828675"/>
                <a:gd name="connsiteX41" fmla="*/ 636588 w 1292225"/>
                <a:gd name="connsiteY41" fmla="*/ 122237 h 828675"/>
                <a:gd name="connsiteX42" fmla="*/ 655638 w 1292225"/>
                <a:gd name="connsiteY42" fmla="*/ 125412 h 828675"/>
                <a:gd name="connsiteX43" fmla="*/ 658813 w 1292225"/>
                <a:gd name="connsiteY43" fmla="*/ 133350 h 828675"/>
                <a:gd name="connsiteX44" fmla="*/ 669925 w 1292225"/>
                <a:gd name="connsiteY44" fmla="*/ 149225 h 828675"/>
                <a:gd name="connsiteX45" fmla="*/ 688975 w 1292225"/>
                <a:gd name="connsiteY45" fmla="*/ 155575 h 828675"/>
                <a:gd name="connsiteX46" fmla="*/ 703263 w 1292225"/>
                <a:gd name="connsiteY46" fmla="*/ 165100 h 828675"/>
                <a:gd name="connsiteX47" fmla="*/ 712788 w 1292225"/>
                <a:gd name="connsiteY47" fmla="*/ 169863 h 828675"/>
                <a:gd name="connsiteX48" fmla="*/ 709613 w 1292225"/>
                <a:gd name="connsiteY48" fmla="*/ 179388 h 828675"/>
                <a:gd name="connsiteX49" fmla="*/ 703263 w 1292225"/>
                <a:gd name="connsiteY49" fmla="*/ 188913 h 828675"/>
                <a:gd name="connsiteX50" fmla="*/ 703263 w 1292225"/>
                <a:gd name="connsiteY50" fmla="*/ 195263 h 828675"/>
                <a:gd name="connsiteX51" fmla="*/ 731838 w 1292225"/>
                <a:gd name="connsiteY51" fmla="*/ 215900 h 828675"/>
                <a:gd name="connsiteX52" fmla="*/ 746125 w 1292225"/>
                <a:gd name="connsiteY52" fmla="*/ 222250 h 828675"/>
                <a:gd name="connsiteX53" fmla="*/ 765175 w 1292225"/>
                <a:gd name="connsiteY53" fmla="*/ 222250 h 828675"/>
                <a:gd name="connsiteX54" fmla="*/ 776288 w 1292225"/>
                <a:gd name="connsiteY54" fmla="*/ 222250 h 828675"/>
                <a:gd name="connsiteX55" fmla="*/ 785813 w 1292225"/>
                <a:gd name="connsiteY55" fmla="*/ 231775 h 828675"/>
                <a:gd name="connsiteX56" fmla="*/ 801688 w 1292225"/>
                <a:gd name="connsiteY56" fmla="*/ 234950 h 828675"/>
                <a:gd name="connsiteX57" fmla="*/ 809625 w 1292225"/>
                <a:gd name="connsiteY57" fmla="*/ 234950 h 828675"/>
                <a:gd name="connsiteX58" fmla="*/ 819150 w 1292225"/>
                <a:gd name="connsiteY58" fmla="*/ 244475 h 828675"/>
                <a:gd name="connsiteX59" fmla="*/ 819150 w 1292225"/>
                <a:gd name="connsiteY59" fmla="*/ 252413 h 828675"/>
                <a:gd name="connsiteX60" fmla="*/ 825500 w 1292225"/>
                <a:gd name="connsiteY60" fmla="*/ 258763 h 828675"/>
                <a:gd name="connsiteX61" fmla="*/ 822325 w 1292225"/>
                <a:gd name="connsiteY61" fmla="*/ 265113 h 828675"/>
                <a:gd name="connsiteX62" fmla="*/ 809625 w 1292225"/>
                <a:gd name="connsiteY62" fmla="*/ 258763 h 828675"/>
                <a:gd name="connsiteX63" fmla="*/ 804863 w 1292225"/>
                <a:gd name="connsiteY63" fmla="*/ 258763 h 828675"/>
                <a:gd name="connsiteX64" fmla="*/ 798513 w 1292225"/>
                <a:gd name="connsiteY64" fmla="*/ 261938 h 828675"/>
                <a:gd name="connsiteX65" fmla="*/ 795338 w 1292225"/>
                <a:gd name="connsiteY65" fmla="*/ 271463 h 828675"/>
                <a:gd name="connsiteX66" fmla="*/ 795338 w 1292225"/>
                <a:gd name="connsiteY66" fmla="*/ 268288 h 828675"/>
                <a:gd name="connsiteX67" fmla="*/ 788988 w 1292225"/>
                <a:gd name="connsiteY67" fmla="*/ 265113 h 828675"/>
                <a:gd name="connsiteX68" fmla="*/ 786989 w 1292225"/>
                <a:gd name="connsiteY68" fmla="*/ 266112 h 828675"/>
                <a:gd name="connsiteX69" fmla="*/ 789758 w 1292225"/>
                <a:gd name="connsiteY69" fmla="*/ 270068 h 828675"/>
                <a:gd name="connsiteX70" fmla="*/ 795338 w 1292225"/>
                <a:gd name="connsiteY70" fmla="*/ 271463 h 828675"/>
                <a:gd name="connsiteX71" fmla="*/ 795338 w 1292225"/>
                <a:gd name="connsiteY71" fmla="*/ 274638 h 828675"/>
                <a:gd name="connsiteX72" fmla="*/ 801688 w 1292225"/>
                <a:gd name="connsiteY72" fmla="*/ 274638 h 828675"/>
                <a:gd name="connsiteX73" fmla="*/ 801688 w 1292225"/>
                <a:gd name="connsiteY73" fmla="*/ 277813 h 828675"/>
                <a:gd name="connsiteX74" fmla="*/ 809625 w 1292225"/>
                <a:gd name="connsiteY74" fmla="*/ 280988 h 828675"/>
                <a:gd name="connsiteX75" fmla="*/ 828675 w 1292225"/>
                <a:gd name="connsiteY75" fmla="*/ 274638 h 828675"/>
                <a:gd name="connsiteX76" fmla="*/ 844550 w 1292225"/>
                <a:gd name="connsiteY76" fmla="*/ 280988 h 828675"/>
                <a:gd name="connsiteX77" fmla="*/ 847725 w 1292225"/>
                <a:gd name="connsiteY77" fmla="*/ 277813 h 828675"/>
                <a:gd name="connsiteX78" fmla="*/ 852488 w 1292225"/>
                <a:gd name="connsiteY78" fmla="*/ 282575 h 828675"/>
                <a:gd name="connsiteX79" fmla="*/ 858838 w 1292225"/>
                <a:gd name="connsiteY79" fmla="*/ 280988 h 828675"/>
                <a:gd name="connsiteX80" fmla="*/ 865188 w 1292225"/>
                <a:gd name="connsiteY80" fmla="*/ 274638 h 828675"/>
                <a:gd name="connsiteX81" fmla="*/ 871538 w 1292225"/>
                <a:gd name="connsiteY81" fmla="*/ 274638 h 828675"/>
                <a:gd name="connsiteX82" fmla="*/ 874713 w 1292225"/>
                <a:gd name="connsiteY82" fmla="*/ 271463 h 828675"/>
                <a:gd name="connsiteX83" fmla="*/ 881063 w 1292225"/>
                <a:gd name="connsiteY83" fmla="*/ 274638 h 828675"/>
                <a:gd name="connsiteX84" fmla="*/ 884238 w 1292225"/>
                <a:gd name="connsiteY84" fmla="*/ 274638 h 828675"/>
                <a:gd name="connsiteX85" fmla="*/ 889000 w 1292225"/>
                <a:gd name="connsiteY85" fmla="*/ 280988 h 828675"/>
                <a:gd name="connsiteX86" fmla="*/ 892175 w 1292225"/>
                <a:gd name="connsiteY86" fmla="*/ 274638 h 828675"/>
                <a:gd name="connsiteX87" fmla="*/ 895350 w 1292225"/>
                <a:gd name="connsiteY87" fmla="*/ 277813 h 828675"/>
                <a:gd name="connsiteX88" fmla="*/ 898525 w 1292225"/>
                <a:gd name="connsiteY88" fmla="*/ 274638 h 828675"/>
                <a:gd name="connsiteX89" fmla="*/ 895350 w 1292225"/>
                <a:gd name="connsiteY89" fmla="*/ 265113 h 828675"/>
                <a:gd name="connsiteX90" fmla="*/ 925513 w 1292225"/>
                <a:gd name="connsiteY90" fmla="*/ 265113 h 828675"/>
                <a:gd name="connsiteX91" fmla="*/ 928688 w 1292225"/>
                <a:gd name="connsiteY91" fmla="*/ 261938 h 828675"/>
                <a:gd name="connsiteX92" fmla="*/ 931863 w 1292225"/>
                <a:gd name="connsiteY92" fmla="*/ 249238 h 828675"/>
                <a:gd name="connsiteX93" fmla="*/ 935038 w 1292225"/>
                <a:gd name="connsiteY93" fmla="*/ 246063 h 828675"/>
                <a:gd name="connsiteX94" fmla="*/ 941388 w 1292225"/>
                <a:gd name="connsiteY94" fmla="*/ 244475 h 828675"/>
                <a:gd name="connsiteX95" fmla="*/ 947738 w 1292225"/>
                <a:gd name="connsiteY95" fmla="*/ 244475 h 828675"/>
                <a:gd name="connsiteX96" fmla="*/ 962025 w 1292225"/>
                <a:gd name="connsiteY96" fmla="*/ 234950 h 828675"/>
                <a:gd name="connsiteX97" fmla="*/ 974725 w 1292225"/>
                <a:gd name="connsiteY97" fmla="*/ 228600 h 828675"/>
                <a:gd name="connsiteX98" fmla="*/ 977900 w 1292225"/>
                <a:gd name="connsiteY98" fmla="*/ 225425 h 828675"/>
                <a:gd name="connsiteX99" fmla="*/ 993775 w 1292225"/>
                <a:gd name="connsiteY99" fmla="*/ 222250 h 828675"/>
                <a:gd name="connsiteX100" fmla="*/ 998538 w 1292225"/>
                <a:gd name="connsiteY100" fmla="*/ 219075 h 828675"/>
                <a:gd name="connsiteX101" fmla="*/ 1014413 w 1292225"/>
                <a:gd name="connsiteY101" fmla="*/ 209550 h 828675"/>
                <a:gd name="connsiteX102" fmla="*/ 1023938 w 1292225"/>
                <a:gd name="connsiteY102" fmla="*/ 201613 h 828675"/>
                <a:gd name="connsiteX103" fmla="*/ 1041400 w 1292225"/>
                <a:gd name="connsiteY103" fmla="*/ 198438 h 828675"/>
                <a:gd name="connsiteX104" fmla="*/ 1044575 w 1292225"/>
                <a:gd name="connsiteY104" fmla="*/ 198438 h 828675"/>
                <a:gd name="connsiteX105" fmla="*/ 1054100 w 1292225"/>
                <a:gd name="connsiteY105" fmla="*/ 201613 h 828675"/>
                <a:gd name="connsiteX106" fmla="*/ 1063625 w 1292225"/>
                <a:gd name="connsiteY106" fmla="*/ 201613 h 828675"/>
                <a:gd name="connsiteX107" fmla="*/ 1074738 w 1292225"/>
                <a:gd name="connsiteY107" fmla="*/ 201613 h 828675"/>
                <a:gd name="connsiteX108" fmla="*/ 1090613 w 1292225"/>
                <a:gd name="connsiteY108" fmla="*/ 198438 h 828675"/>
                <a:gd name="connsiteX109" fmla="*/ 1100138 w 1292225"/>
                <a:gd name="connsiteY109" fmla="*/ 198438 h 828675"/>
                <a:gd name="connsiteX110" fmla="*/ 1111250 w 1292225"/>
                <a:gd name="connsiteY110" fmla="*/ 198438 h 828675"/>
                <a:gd name="connsiteX111" fmla="*/ 1120775 w 1292225"/>
                <a:gd name="connsiteY111" fmla="*/ 188913 h 828675"/>
                <a:gd name="connsiteX112" fmla="*/ 1139825 w 1292225"/>
                <a:gd name="connsiteY112" fmla="*/ 192088 h 828675"/>
                <a:gd name="connsiteX113" fmla="*/ 1143000 w 1292225"/>
                <a:gd name="connsiteY113" fmla="*/ 188913 h 828675"/>
                <a:gd name="connsiteX114" fmla="*/ 1146175 w 1292225"/>
                <a:gd name="connsiteY114" fmla="*/ 192088 h 828675"/>
                <a:gd name="connsiteX115" fmla="*/ 1146175 w 1292225"/>
                <a:gd name="connsiteY115" fmla="*/ 206375 h 828675"/>
                <a:gd name="connsiteX116" fmla="*/ 1150938 w 1292225"/>
                <a:gd name="connsiteY116" fmla="*/ 209550 h 828675"/>
                <a:gd name="connsiteX117" fmla="*/ 1160463 w 1292225"/>
                <a:gd name="connsiteY117" fmla="*/ 206375 h 828675"/>
                <a:gd name="connsiteX118" fmla="*/ 1163638 w 1292225"/>
                <a:gd name="connsiteY118" fmla="*/ 209550 h 828675"/>
                <a:gd name="connsiteX119" fmla="*/ 1173163 w 1292225"/>
                <a:gd name="connsiteY119" fmla="*/ 219075 h 828675"/>
                <a:gd name="connsiteX120" fmla="*/ 1179513 w 1292225"/>
                <a:gd name="connsiteY120" fmla="*/ 228600 h 828675"/>
                <a:gd name="connsiteX121" fmla="*/ 1182688 w 1292225"/>
                <a:gd name="connsiteY121" fmla="*/ 238125 h 828675"/>
                <a:gd name="connsiteX122" fmla="*/ 1185863 w 1292225"/>
                <a:gd name="connsiteY122" fmla="*/ 244475 h 828675"/>
                <a:gd name="connsiteX123" fmla="*/ 1200150 w 1292225"/>
                <a:gd name="connsiteY123" fmla="*/ 246063 h 828675"/>
                <a:gd name="connsiteX124" fmla="*/ 1206500 w 1292225"/>
                <a:gd name="connsiteY124" fmla="*/ 258763 h 828675"/>
                <a:gd name="connsiteX125" fmla="*/ 1212850 w 1292225"/>
                <a:gd name="connsiteY125" fmla="*/ 258763 h 828675"/>
                <a:gd name="connsiteX126" fmla="*/ 1222375 w 1292225"/>
                <a:gd name="connsiteY126" fmla="*/ 255588 h 828675"/>
                <a:gd name="connsiteX127" fmla="*/ 1225550 w 1292225"/>
                <a:gd name="connsiteY127" fmla="*/ 258763 h 828675"/>
                <a:gd name="connsiteX128" fmla="*/ 1227138 w 1292225"/>
                <a:gd name="connsiteY128" fmla="*/ 265113 h 828675"/>
                <a:gd name="connsiteX129" fmla="*/ 1230313 w 1292225"/>
                <a:gd name="connsiteY129" fmla="*/ 271463 h 828675"/>
                <a:gd name="connsiteX130" fmla="*/ 1233488 w 1292225"/>
                <a:gd name="connsiteY130" fmla="*/ 280988 h 828675"/>
                <a:gd name="connsiteX131" fmla="*/ 1239838 w 1292225"/>
                <a:gd name="connsiteY131" fmla="*/ 288925 h 828675"/>
                <a:gd name="connsiteX132" fmla="*/ 1255713 w 1292225"/>
                <a:gd name="connsiteY132" fmla="*/ 285750 h 828675"/>
                <a:gd name="connsiteX133" fmla="*/ 1255713 w 1292225"/>
                <a:gd name="connsiteY133" fmla="*/ 277813 h 828675"/>
                <a:gd name="connsiteX134" fmla="*/ 1263650 w 1292225"/>
                <a:gd name="connsiteY134" fmla="*/ 274638 h 828675"/>
                <a:gd name="connsiteX135" fmla="*/ 1266825 w 1292225"/>
                <a:gd name="connsiteY135" fmla="*/ 265113 h 828675"/>
                <a:gd name="connsiteX136" fmla="*/ 1282700 w 1292225"/>
                <a:gd name="connsiteY136" fmla="*/ 271463 h 828675"/>
                <a:gd name="connsiteX137" fmla="*/ 1292225 w 1292225"/>
                <a:gd name="connsiteY137" fmla="*/ 280988 h 828675"/>
                <a:gd name="connsiteX138" fmla="*/ 1289050 w 1292225"/>
                <a:gd name="connsiteY138" fmla="*/ 285750 h 828675"/>
                <a:gd name="connsiteX139" fmla="*/ 1282700 w 1292225"/>
                <a:gd name="connsiteY139" fmla="*/ 295275 h 828675"/>
                <a:gd name="connsiteX140" fmla="*/ 1279525 w 1292225"/>
                <a:gd name="connsiteY140" fmla="*/ 304800 h 828675"/>
                <a:gd name="connsiteX141" fmla="*/ 1279525 w 1292225"/>
                <a:gd name="connsiteY141" fmla="*/ 311150 h 828675"/>
                <a:gd name="connsiteX142" fmla="*/ 1276350 w 1292225"/>
                <a:gd name="connsiteY142" fmla="*/ 322263 h 828675"/>
                <a:gd name="connsiteX143" fmla="*/ 1276350 w 1292225"/>
                <a:gd name="connsiteY143" fmla="*/ 325438 h 828675"/>
                <a:gd name="connsiteX144" fmla="*/ 1270000 w 1292225"/>
                <a:gd name="connsiteY144" fmla="*/ 334963 h 828675"/>
                <a:gd name="connsiteX145" fmla="*/ 1266825 w 1292225"/>
                <a:gd name="connsiteY145" fmla="*/ 341313 h 828675"/>
                <a:gd name="connsiteX146" fmla="*/ 1263650 w 1292225"/>
                <a:gd name="connsiteY146" fmla="*/ 347663 h 828675"/>
                <a:gd name="connsiteX147" fmla="*/ 1262063 w 1292225"/>
                <a:gd name="connsiteY147" fmla="*/ 360363 h 828675"/>
                <a:gd name="connsiteX148" fmla="*/ 1262063 w 1292225"/>
                <a:gd name="connsiteY148" fmla="*/ 368300 h 828675"/>
                <a:gd name="connsiteX149" fmla="*/ 1262063 w 1292225"/>
                <a:gd name="connsiteY149" fmla="*/ 377825 h 828675"/>
                <a:gd name="connsiteX150" fmla="*/ 1258888 w 1292225"/>
                <a:gd name="connsiteY150" fmla="*/ 387350 h 828675"/>
                <a:gd name="connsiteX151" fmla="*/ 1249363 w 1292225"/>
                <a:gd name="connsiteY151" fmla="*/ 393700 h 828675"/>
                <a:gd name="connsiteX152" fmla="*/ 1243013 w 1292225"/>
                <a:gd name="connsiteY152" fmla="*/ 398463 h 828675"/>
                <a:gd name="connsiteX153" fmla="*/ 1236663 w 1292225"/>
                <a:gd name="connsiteY153" fmla="*/ 407988 h 828675"/>
                <a:gd name="connsiteX154" fmla="*/ 1236663 w 1292225"/>
                <a:gd name="connsiteY154" fmla="*/ 417513 h 828675"/>
                <a:gd name="connsiteX155" fmla="*/ 1233488 w 1292225"/>
                <a:gd name="connsiteY155" fmla="*/ 417513 h 828675"/>
                <a:gd name="connsiteX156" fmla="*/ 1225550 w 1292225"/>
                <a:gd name="connsiteY156" fmla="*/ 417513 h 828675"/>
                <a:gd name="connsiteX157" fmla="*/ 1209675 w 1292225"/>
                <a:gd name="connsiteY157" fmla="*/ 420688 h 828675"/>
                <a:gd name="connsiteX158" fmla="*/ 1200150 w 1292225"/>
                <a:gd name="connsiteY158" fmla="*/ 433388 h 828675"/>
                <a:gd name="connsiteX159" fmla="*/ 1185863 w 1292225"/>
                <a:gd name="connsiteY159" fmla="*/ 438150 h 828675"/>
                <a:gd name="connsiteX160" fmla="*/ 1185863 w 1292225"/>
                <a:gd name="connsiteY160" fmla="*/ 444500 h 828675"/>
                <a:gd name="connsiteX161" fmla="*/ 1182688 w 1292225"/>
                <a:gd name="connsiteY161" fmla="*/ 447675 h 828675"/>
                <a:gd name="connsiteX162" fmla="*/ 1185863 w 1292225"/>
                <a:gd name="connsiteY162" fmla="*/ 454025 h 828675"/>
                <a:gd name="connsiteX163" fmla="*/ 1182688 w 1292225"/>
                <a:gd name="connsiteY163" fmla="*/ 457200 h 828675"/>
                <a:gd name="connsiteX164" fmla="*/ 1166813 w 1292225"/>
                <a:gd name="connsiteY164" fmla="*/ 460375 h 828675"/>
                <a:gd name="connsiteX165" fmla="*/ 1160463 w 1292225"/>
                <a:gd name="connsiteY165" fmla="*/ 457200 h 828675"/>
                <a:gd name="connsiteX166" fmla="*/ 1150938 w 1292225"/>
                <a:gd name="connsiteY166" fmla="*/ 450850 h 828675"/>
                <a:gd name="connsiteX167" fmla="*/ 1146175 w 1292225"/>
                <a:gd name="connsiteY167" fmla="*/ 454025 h 828675"/>
                <a:gd name="connsiteX168" fmla="*/ 1146175 w 1292225"/>
                <a:gd name="connsiteY168" fmla="*/ 457200 h 828675"/>
                <a:gd name="connsiteX169" fmla="*/ 1150938 w 1292225"/>
                <a:gd name="connsiteY169" fmla="*/ 463550 h 828675"/>
                <a:gd name="connsiteX170" fmla="*/ 1154113 w 1292225"/>
                <a:gd name="connsiteY170" fmla="*/ 474663 h 828675"/>
                <a:gd name="connsiteX171" fmla="*/ 1154113 w 1292225"/>
                <a:gd name="connsiteY171" fmla="*/ 481013 h 828675"/>
                <a:gd name="connsiteX172" fmla="*/ 1146175 w 1292225"/>
                <a:gd name="connsiteY172" fmla="*/ 493713 h 828675"/>
                <a:gd name="connsiteX173" fmla="*/ 1143000 w 1292225"/>
                <a:gd name="connsiteY173" fmla="*/ 509588 h 828675"/>
                <a:gd name="connsiteX174" fmla="*/ 1133475 w 1292225"/>
                <a:gd name="connsiteY174" fmla="*/ 514350 h 828675"/>
                <a:gd name="connsiteX175" fmla="*/ 1127125 w 1292225"/>
                <a:gd name="connsiteY175" fmla="*/ 530225 h 828675"/>
                <a:gd name="connsiteX176" fmla="*/ 1123950 w 1292225"/>
                <a:gd name="connsiteY176" fmla="*/ 533400 h 828675"/>
                <a:gd name="connsiteX177" fmla="*/ 1120775 w 1292225"/>
                <a:gd name="connsiteY177" fmla="*/ 533400 h 828675"/>
                <a:gd name="connsiteX178" fmla="*/ 1103313 w 1292225"/>
                <a:gd name="connsiteY178" fmla="*/ 530225 h 828675"/>
                <a:gd name="connsiteX179" fmla="*/ 1100138 w 1292225"/>
                <a:gd name="connsiteY179" fmla="*/ 530225 h 828675"/>
                <a:gd name="connsiteX180" fmla="*/ 1090613 w 1292225"/>
                <a:gd name="connsiteY180" fmla="*/ 530225 h 828675"/>
                <a:gd name="connsiteX181" fmla="*/ 1074738 w 1292225"/>
                <a:gd name="connsiteY181" fmla="*/ 533400 h 828675"/>
                <a:gd name="connsiteX182" fmla="*/ 1066800 w 1292225"/>
                <a:gd name="connsiteY182" fmla="*/ 533400 h 828675"/>
                <a:gd name="connsiteX183" fmla="*/ 1054100 w 1292225"/>
                <a:gd name="connsiteY183" fmla="*/ 527050 h 828675"/>
                <a:gd name="connsiteX184" fmla="*/ 1041400 w 1292225"/>
                <a:gd name="connsiteY184" fmla="*/ 533400 h 828675"/>
                <a:gd name="connsiteX185" fmla="*/ 1041400 w 1292225"/>
                <a:gd name="connsiteY185" fmla="*/ 539750 h 828675"/>
                <a:gd name="connsiteX186" fmla="*/ 1050925 w 1292225"/>
                <a:gd name="connsiteY186" fmla="*/ 557213 h 828675"/>
                <a:gd name="connsiteX187" fmla="*/ 1054100 w 1292225"/>
                <a:gd name="connsiteY187" fmla="*/ 566738 h 828675"/>
                <a:gd name="connsiteX188" fmla="*/ 1060450 w 1292225"/>
                <a:gd name="connsiteY188" fmla="*/ 582613 h 828675"/>
                <a:gd name="connsiteX189" fmla="*/ 1066800 w 1292225"/>
                <a:gd name="connsiteY189" fmla="*/ 590550 h 828675"/>
                <a:gd name="connsiteX190" fmla="*/ 1069975 w 1292225"/>
                <a:gd name="connsiteY190" fmla="*/ 593725 h 828675"/>
                <a:gd name="connsiteX191" fmla="*/ 1066800 w 1292225"/>
                <a:gd name="connsiteY191" fmla="*/ 596900 h 828675"/>
                <a:gd name="connsiteX192" fmla="*/ 1057275 w 1292225"/>
                <a:gd name="connsiteY192" fmla="*/ 596900 h 828675"/>
                <a:gd name="connsiteX193" fmla="*/ 1047750 w 1292225"/>
                <a:gd name="connsiteY193" fmla="*/ 600075 h 828675"/>
                <a:gd name="connsiteX194" fmla="*/ 1041400 w 1292225"/>
                <a:gd name="connsiteY194" fmla="*/ 600075 h 828675"/>
                <a:gd name="connsiteX195" fmla="*/ 1036638 w 1292225"/>
                <a:gd name="connsiteY195" fmla="*/ 603250 h 828675"/>
                <a:gd name="connsiteX196" fmla="*/ 1044575 w 1292225"/>
                <a:gd name="connsiteY196" fmla="*/ 615950 h 828675"/>
                <a:gd name="connsiteX197" fmla="*/ 1041400 w 1292225"/>
                <a:gd name="connsiteY197" fmla="*/ 622300 h 828675"/>
                <a:gd name="connsiteX198" fmla="*/ 1041400 w 1292225"/>
                <a:gd name="connsiteY198" fmla="*/ 630238 h 828675"/>
                <a:gd name="connsiteX199" fmla="*/ 1041400 w 1292225"/>
                <a:gd name="connsiteY199" fmla="*/ 636588 h 828675"/>
                <a:gd name="connsiteX200" fmla="*/ 1050925 w 1292225"/>
                <a:gd name="connsiteY200" fmla="*/ 646113 h 828675"/>
                <a:gd name="connsiteX201" fmla="*/ 1054100 w 1292225"/>
                <a:gd name="connsiteY201" fmla="*/ 646113 h 828675"/>
                <a:gd name="connsiteX202" fmla="*/ 1057275 w 1292225"/>
                <a:gd name="connsiteY202" fmla="*/ 649288 h 828675"/>
                <a:gd name="connsiteX203" fmla="*/ 1063625 w 1292225"/>
                <a:gd name="connsiteY203" fmla="*/ 652463 h 828675"/>
                <a:gd name="connsiteX204" fmla="*/ 1063625 w 1292225"/>
                <a:gd name="connsiteY204" fmla="*/ 665163 h 828675"/>
                <a:gd name="connsiteX205" fmla="*/ 1073150 w 1292225"/>
                <a:gd name="connsiteY205" fmla="*/ 669925 h 828675"/>
                <a:gd name="connsiteX206" fmla="*/ 1081088 w 1292225"/>
                <a:gd name="connsiteY206" fmla="*/ 669925 h 828675"/>
                <a:gd name="connsiteX207" fmla="*/ 1084263 w 1292225"/>
                <a:gd name="connsiteY207" fmla="*/ 669925 h 828675"/>
                <a:gd name="connsiteX208" fmla="*/ 1103313 w 1292225"/>
                <a:gd name="connsiteY208" fmla="*/ 673100 h 828675"/>
                <a:gd name="connsiteX209" fmla="*/ 1114425 w 1292225"/>
                <a:gd name="connsiteY209" fmla="*/ 673100 h 828675"/>
                <a:gd name="connsiteX210" fmla="*/ 1117600 w 1292225"/>
                <a:gd name="connsiteY210" fmla="*/ 673100 h 828675"/>
                <a:gd name="connsiteX211" fmla="*/ 1117600 w 1292225"/>
                <a:gd name="connsiteY211" fmla="*/ 679450 h 828675"/>
                <a:gd name="connsiteX212" fmla="*/ 1114425 w 1292225"/>
                <a:gd name="connsiteY212" fmla="*/ 685800 h 828675"/>
                <a:gd name="connsiteX213" fmla="*/ 1109663 w 1292225"/>
                <a:gd name="connsiteY213" fmla="*/ 695325 h 828675"/>
                <a:gd name="connsiteX214" fmla="*/ 1109663 w 1292225"/>
                <a:gd name="connsiteY214" fmla="*/ 698500 h 828675"/>
                <a:gd name="connsiteX215" fmla="*/ 1106488 w 1292225"/>
                <a:gd name="connsiteY215" fmla="*/ 706438 h 828675"/>
                <a:gd name="connsiteX216" fmla="*/ 1111250 w 1292225"/>
                <a:gd name="connsiteY216" fmla="*/ 715963 h 828675"/>
                <a:gd name="connsiteX217" fmla="*/ 1123950 w 1292225"/>
                <a:gd name="connsiteY217" fmla="*/ 722313 h 828675"/>
                <a:gd name="connsiteX218" fmla="*/ 1127125 w 1292225"/>
                <a:gd name="connsiteY218" fmla="*/ 738188 h 828675"/>
                <a:gd name="connsiteX219" fmla="*/ 1133475 w 1292225"/>
                <a:gd name="connsiteY219" fmla="*/ 744538 h 828675"/>
                <a:gd name="connsiteX220" fmla="*/ 1139825 w 1292225"/>
                <a:gd name="connsiteY220" fmla="*/ 755650 h 828675"/>
                <a:gd name="connsiteX221" fmla="*/ 1139825 w 1292225"/>
                <a:gd name="connsiteY221" fmla="*/ 762000 h 828675"/>
                <a:gd name="connsiteX222" fmla="*/ 1136650 w 1292225"/>
                <a:gd name="connsiteY222" fmla="*/ 771525 h 828675"/>
                <a:gd name="connsiteX223" fmla="*/ 1120775 w 1292225"/>
                <a:gd name="connsiteY223" fmla="*/ 777875 h 828675"/>
                <a:gd name="connsiteX224" fmla="*/ 1111250 w 1292225"/>
                <a:gd name="connsiteY224" fmla="*/ 781050 h 828675"/>
                <a:gd name="connsiteX225" fmla="*/ 1103313 w 1292225"/>
                <a:gd name="connsiteY225" fmla="*/ 785813 h 828675"/>
                <a:gd name="connsiteX226" fmla="*/ 1096963 w 1292225"/>
                <a:gd name="connsiteY226" fmla="*/ 792163 h 828675"/>
                <a:gd name="connsiteX227" fmla="*/ 1087438 w 1292225"/>
                <a:gd name="connsiteY227" fmla="*/ 785813 h 828675"/>
                <a:gd name="connsiteX228" fmla="*/ 1090613 w 1292225"/>
                <a:gd name="connsiteY228" fmla="*/ 781050 h 828675"/>
                <a:gd name="connsiteX229" fmla="*/ 1093788 w 1292225"/>
                <a:gd name="connsiteY229" fmla="*/ 774700 h 828675"/>
                <a:gd name="connsiteX230" fmla="*/ 1087438 w 1292225"/>
                <a:gd name="connsiteY230" fmla="*/ 785813 h 828675"/>
                <a:gd name="connsiteX231" fmla="*/ 1074738 w 1292225"/>
                <a:gd name="connsiteY231" fmla="*/ 788988 h 828675"/>
                <a:gd name="connsiteX232" fmla="*/ 1069975 w 1292225"/>
                <a:gd name="connsiteY232" fmla="*/ 795338 h 828675"/>
                <a:gd name="connsiteX233" fmla="*/ 1066800 w 1292225"/>
                <a:gd name="connsiteY233" fmla="*/ 795338 h 828675"/>
                <a:gd name="connsiteX234" fmla="*/ 1066800 w 1292225"/>
                <a:gd name="connsiteY234" fmla="*/ 804863 h 828675"/>
                <a:gd name="connsiteX235" fmla="*/ 1060450 w 1292225"/>
                <a:gd name="connsiteY235" fmla="*/ 808038 h 828675"/>
                <a:gd name="connsiteX236" fmla="*/ 1060450 w 1292225"/>
                <a:gd name="connsiteY236" fmla="*/ 814388 h 828675"/>
                <a:gd name="connsiteX237" fmla="*/ 1054100 w 1292225"/>
                <a:gd name="connsiteY237" fmla="*/ 811213 h 828675"/>
                <a:gd name="connsiteX238" fmla="*/ 1047750 w 1292225"/>
                <a:gd name="connsiteY238" fmla="*/ 811213 h 828675"/>
                <a:gd name="connsiteX239" fmla="*/ 1038225 w 1292225"/>
                <a:gd name="connsiteY239" fmla="*/ 820738 h 828675"/>
                <a:gd name="connsiteX240" fmla="*/ 1030288 w 1292225"/>
                <a:gd name="connsiteY240" fmla="*/ 814388 h 828675"/>
                <a:gd name="connsiteX241" fmla="*/ 1027113 w 1292225"/>
                <a:gd name="connsiteY241" fmla="*/ 808038 h 828675"/>
                <a:gd name="connsiteX242" fmla="*/ 1017588 w 1292225"/>
                <a:gd name="connsiteY242" fmla="*/ 804863 h 828675"/>
                <a:gd name="connsiteX243" fmla="*/ 1008063 w 1292225"/>
                <a:gd name="connsiteY243" fmla="*/ 795338 h 828675"/>
                <a:gd name="connsiteX244" fmla="*/ 1008063 w 1292225"/>
                <a:gd name="connsiteY244" fmla="*/ 788988 h 828675"/>
                <a:gd name="connsiteX245" fmla="*/ 1004888 w 1292225"/>
                <a:gd name="connsiteY245" fmla="*/ 781050 h 828675"/>
                <a:gd name="connsiteX246" fmla="*/ 1008063 w 1292225"/>
                <a:gd name="connsiteY246" fmla="*/ 771525 h 828675"/>
                <a:gd name="connsiteX247" fmla="*/ 1001713 w 1292225"/>
                <a:gd name="connsiteY247" fmla="*/ 765175 h 828675"/>
                <a:gd name="connsiteX248" fmla="*/ 1001713 w 1292225"/>
                <a:gd name="connsiteY248" fmla="*/ 755650 h 828675"/>
                <a:gd name="connsiteX249" fmla="*/ 998538 w 1292225"/>
                <a:gd name="connsiteY249" fmla="*/ 755650 h 828675"/>
                <a:gd name="connsiteX250" fmla="*/ 998538 w 1292225"/>
                <a:gd name="connsiteY250" fmla="*/ 758825 h 828675"/>
                <a:gd name="connsiteX251" fmla="*/ 993775 w 1292225"/>
                <a:gd name="connsiteY251" fmla="*/ 758825 h 828675"/>
                <a:gd name="connsiteX252" fmla="*/ 984250 w 1292225"/>
                <a:gd name="connsiteY252" fmla="*/ 768350 h 828675"/>
                <a:gd name="connsiteX253" fmla="*/ 977900 w 1292225"/>
                <a:gd name="connsiteY253" fmla="*/ 765175 h 828675"/>
                <a:gd name="connsiteX254" fmla="*/ 971550 w 1292225"/>
                <a:gd name="connsiteY254" fmla="*/ 771525 h 828675"/>
                <a:gd name="connsiteX255" fmla="*/ 965200 w 1292225"/>
                <a:gd name="connsiteY255" fmla="*/ 771525 h 828675"/>
                <a:gd name="connsiteX256" fmla="*/ 962025 w 1292225"/>
                <a:gd name="connsiteY256" fmla="*/ 777875 h 828675"/>
                <a:gd name="connsiteX257" fmla="*/ 950913 w 1292225"/>
                <a:gd name="connsiteY257" fmla="*/ 781050 h 828675"/>
                <a:gd name="connsiteX258" fmla="*/ 944563 w 1292225"/>
                <a:gd name="connsiteY258" fmla="*/ 785813 h 828675"/>
                <a:gd name="connsiteX259" fmla="*/ 931863 w 1292225"/>
                <a:gd name="connsiteY259" fmla="*/ 795338 h 828675"/>
                <a:gd name="connsiteX260" fmla="*/ 928688 w 1292225"/>
                <a:gd name="connsiteY260" fmla="*/ 788988 h 828675"/>
                <a:gd name="connsiteX261" fmla="*/ 931863 w 1292225"/>
                <a:gd name="connsiteY261" fmla="*/ 777875 h 828675"/>
                <a:gd name="connsiteX262" fmla="*/ 941388 w 1292225"/>
                <a:gd name="connsiteY262" fmla="*/ 774700 h 828675"/>
                <a:gd name="connsiteX263" fmla="*/ 947738 w 1292225"/>
                <a:gd name="connsiteY263" fmla="*/ 768350 h 828675"/>
                <a:gd name="connsiteX264" fmla="*/ 944563 w 1292225"/>
                <a:gd name="connsiteY264" fmla="*/ 765175 h 828675"/>
                <a:gd name="connsiteX265" fmla="*/ 947738 w 1292225"/>
                <a:gd name="connsiteY265" fmla="*/ 755650 h 828675"/>
                <a:gd name="connsiteX266" fmla="*/ 944563 w 1292225"/>
                <a:gd name="connsiteY266" fmla="*/ 746125 h 828675"/>
                <a:gd name="connsiteX267" fmla="*/ 931863 w 1292225"/>
                <a:gd name="connsiteY267" fmla="*/ 749300 h 828675"/>
                <a:gd name="connsiteX268" fmla="*/ 931863 w 1292225"/>
                <a:gd name="connsiteY268" fmla="*/ 755650 h 828675"/>
                <a:gd name="connsiteX269" fmla="*/ 922338 w 1292225"/>
                <a:gd name="connsiteY269" fmla="*/ 755650 h 828675"/>
                <a:gd name="connsiteX270" fmla="*/ 920750 w 1292225"/>
                <a:gd name="connsiteY270" fmla="*/ 762000 h 828675"/>
                <a:gd name="connsiteX271" fmla="*/ 917575 w 1292225"/>
                <a:gd name="connsiteY271" fmla="*/ 762000 h 828675"/>
                <a:gd name="connsiteX272" fmla="*/ 908050 w 1292225"/>
                <a:gd name="connsiteY272" fmla="*/ 758825 h 828675"/>
                <a:gd name="connsiteX273" fmla="*/ 901700 w 1292225"/>
                <a:gd name="connsiteY273" fmla="*/ 768350 h 828675"/>
                <a:gd name="connsiteX274" fmla="*/ 898525 w 1292225"/>
                <a:gd name="connsiteY274" fmla="*/ 762000 h 828675"/>
                <a:gd name="connsiteX275" fmla="*/ 892175 w 1292225"/>
                <a:gd name="connsiteY275" fmla="*/ 771525 h 828675"/>
                <a:gd name="connsiteX276" fmla="*/ 889000 w 1292225"/>
                <a:gd name="connsiteY276" fmla="*/ 768350 h 828675"/>
                <a:gd name="connsiteX277" fmla="*/ 889000 w 1292225"/>
                <a:gd name="connsiteY277" fmla="*/ 774700 h 828675"/>
                <a:gd name="connsiteX278" fmla="*/ 881063 w 1292225"/>
                <a:gd name="connsiteY278" fmla="*/ 774700 h 828675"/>
                <a:gd name="connsiteX279" fmla="*/ 877888 w 1292225"/>
                <a:gd name="connsiteY279" fmla="*/ 774700 h 828675"/>
                <a:gd name="connsiteX280" fmla="*/ 881063 w 1292225"/>
                <a:gd name="connsiteY280" fmla="*/ 768350 h 828675"/>
                <a:gd name="connsiteX281" fmla="*/ 865188 w 1292225"/>
                <a:gd name="connsiteY281" fmla="*/ 758825 h 828675"/>
                <a:gd name="connsiteX282" fmla="*/ 868363 w 1292225"/>
                <a:gd name="connsiteY282" fmla="*/ 746125 h 828675"/>
                <a:gd name="connsiteX283" fmla="*/ 862013 w 1292225"/>
                <a:gd name="connsiteY283" fmla="*/ 744538 h 828675"/>
                <a:gd name="connsiteX284" fmla="*/ 858838 w 1292225"/>
                <a:gd name="connsiteY284" fmla="*/ 735013 h 828675"/>
                <a:gd name="connsiteX285" fmla="*/ 847725 w 1292225"/>
                <a:gd name="connsiteY285" fmla="*/ 728663 h 828675"/>
                <a:gd name="connsiteX286" fmla="*/ 847725 w 1292225"/>
                <a:gd name="connsiteY286" fmla="*/ 725488 h 828675"/>
                <a:gd name="connsiteX287" fmla="*/ 849313 w 1292225"/>
                <a:gd name="connsiteY287" fmla="*/ 719138 h 828675"/>
                <a:gd name="connsiteX288" fmla="*/ 841375 w 1292225"/>
                <a:gd name="connsiteY288" fmla="*/ 709613 h 828675"/>
                <a:gd name="connsiteX289" fmla="*/ 838200 w 1292225"/>
                <a:gd name="connsiteY289" fmla="*/ 706438 h 828675"/>
                <a:gd name="connsiteX290" fmla="*/ 835025 w 1292225"/>
                <a:gd name="connsiteY290" fmla="*/ 709613 h 828675"/>
                <a:gd name="connsiteX291" fmla="*/ 831850 w 1292225"/>
                <a:gd name="connsiteY291" fmla="*/ 706438 h 828675"/>
                <a:gd name="connsiteX292" fmla="*/ 828675 w 1292225"/>
                <a:gd name="connsiteY292" fmla="*/ 709613 h 828675"/>
                <a:gd name="connsiteX293" fmla="*/ 819150 w 1292225"/>
                <a:gd name="connsiteY293" fmla="*/ 712788 h 828675"/>
                <a:gd name="connsiteX294" fmla="*/ 809625 w 1292225"/>
                <a:gd name="connsiteY294" fmla="*/ 719138 h 828675"/>
                <a:gd name="connsiteX295" fmla="*/ 804863 w 1292225"/>
                <a:gd name="connsiteY295" fmla="*/ 725488 h 828675"/>
                <a:gd name="connsiteX296" fmla="*/ 798513 w 1292225"/>
                <a:gd name="connsiteY296" fmla="*/ 725488 h 828675"/>
                <a:gd name="connsiteX297" fmla="*/ 792163 w 1292225"/>
                <a:gd name="connsiteY297" fmla="*/ 728663 h 828675"/>
                <a:gd name="connsiteX298" fmla="*/ 788988 w 1292225"/>
                <a:gd name="connsiteY298" fmla="*/ 725488 h 828675"/>
                <a:gd name="connsiteX299" fmla="*/ 782638 w 1292225"/>
                <a:gd name="connsiteY299" fmla="*/ 725488 h 828675"/>
                <a:gd name="connsiteX300" fmla="*/ 776288 w 1292225"/>
                <a:gd name="connsiteY300" fmla="*/ 728663 h 828675"/>
                <a:gd name="connsiteX301" fmla="*/ 776288 w 1292225"/>
                <a:gd name="connsiteY301" fmla="*/ 735013 h 828675"/>
                <a:gd name="connsiteX302" fmla="*/ 771525 w 1292225"/>
                <a:gd name="connsiteY302" fmla="*/ 738188 h 828675"/>
                <a:gd name="connsiteX303" fmla="*/ 768350 w 1292225"/>
                <a:gd name="connsiteY303" fmla="*/ 731838 h 828675"/>
                <a:gd name="connsiteX304" fmla="*/ 765175 w 1292225"/>
                <a:gd name="connsiteY304" fmla="*/ 731838 h 828675"/>
                <a:gd name="connsiteX305" fmla="*/ 762000 w 1292225"/>
                <a:gd name="connsiteY305" fmla="*/ 725488 h 828675"/>
                <a:gd name="connsiteX306" fmla="*/ 758825 w 1292225"/>
                <a:gd name="connsiteY306" fmla="*/ 728663 h 828675"/>
                <a:gd name="connsiteX307" fmla="*/ 755650 w 1292225"/>
                <a:gd name="connsiteY307" fmla="*/ 722313 h 828675"/>
                <a:gd name="connsiteX308" fmla="*/ 746125 w 1292225"/>
                <a:gd name="connsiteY308" fmla="*/ 715963 h 828675"/>
                <a:gd name="connsiteX309" fmla="*/ 742950 w 1292225"/>
                <a:gd name="connsiteY309" fmla="*/ 722313 h 828675"/>
                <a:gd name="connsiteX310" fmla="*/ 736600 w 1292225"/>
                <a:gd name="connsiteY310" fmla="*/ 722313 h 828675"/>
                <a:gd name="connsiteX311" fmla="*/ 742950 w 1292225"/>
                <a:gd name="connsiteY311" fmla="*/ 715963 h 828675"/>
                <a:gd name="connsiteX312" fmla="*/ 739775 w 1292225"/>
                <a:gd name="connsiteY312" fmla="*/ 706438 h 828675"/>
                <a:gd name="connsiteX313" fmla="*/ 733425 w 1292225"/>
                <a:gd name="connsiteY313" fmla="*/ 706438 h 828675"/>
                <a:gd name="connsiteX314" fmla="*/ 731838 w 1292225"/>
                <a:gd name="connsiteY314" fmla="*/ 709613 h 828675"/>
                <a:gd name="connsiteX315" fmla="*/ 725488 w 1292225"/>
                <a:gd name="connsiteY315" fmla="*/ 704850 h 828675"/>
                <a:gd name="connsiteX316" fmla="*/ 719138 w 1292225"/>
                <a:gd name="connsiteY316" fmla="*/ 706438 h 828675"/>
                <a:gd name="connsiteX317" fmla="*/ 709613 w 1292225"/>
                <a:gd name="connsiteY317" fmla="*/ 704850 h 828675"/>
                <a:gd name="connsiteX318" fmla="*/ 706438 w 1292225"/>
                <a:gd name="connsiteY318" fmla="*/ 698500 h 828675"/>
                <a:gd name="connsiteX319" fmla="*/ 703263 w 1292225"/>
                <a:gd name="connsiteY319" fmla="*/ 688975 h 828675"/>
                <a:gd name="connsiteX320" fmla="*/ 696913 w 1292225"/>
                <a:gd name="connsiteY320" fmla="*/ 685800 h 828675"/>
                <a:gd name="connsiteX321" fmla="*/ 692150 w 1292225"/>
                <a:gd name="connsiteY321" fmla="*/ 685800 h 828675"/>
                <a:gd name="connsiteX322" fmla="*/ 688975 w 1292225"/>
                <a:gd name="connsiteY322" fmla="*/ 679450 h 828675"/>
                <a:gd name="connsiteX323" fmla="*/ 688975 w 1292225"/>
                <a:gd name="connsiteY323" fmla="*/ 669925 h 828675"/>
                <a:gd name="connsiteX324" fmla="*/ 692150 w 1292225"/>
                <a:gd name="connsiteY324" fmla="*/ 661988 h 828675"/>
                <a:gd name="connsiteX325" fmla="*/ 688975 w 1292225"/>
                <a:gd name="connsiteY325" fmla="*/ 661988 h 828675"/>
                <a:gd name="connsiteX326" fmla="*/ 685800 w 1292225"/>
                <a:gd name="connsiteY326" fmla="*/ 661988 h 828675"/>
                <a:gd name="connsiteX327" fmla="*/ 679450 w 1292225"/>
                <a:gd name="connsiteY327" fmla="*/ 661988 h 828675"/>
                <a:gd name="connsiteX328" fmla="*/ 682625 w 1292225"/>
                <a:gd name="connsiteY328" fmla="*/ 665163 h 828675"/>
                <a:gd name="connsiteX329" fmla="*/ 676275 w 1292225"/>
                <a:gd name="connsiteY329" fmla="*/ 673100 h 828675"/>
                <a:gd name="connsiteX330" fmla="*/ 658813 w 1292225"/>
                <a:gd name="connsiteY330" fmla="*/ 676275 h 828675"/>
                <a:gd name="connsiteX331" fmla="*/ 655638 w 1292225"/>
                <a:gd name="connsiteY331" fmla="*/ 673100 h 828675"/>
                <a:gd name="connsiteX332" fmla="*/ 652463 w 1292225"/>
                <a:gd name="connsiteY332" fmla="*/ 669925 h 828675"/>
                <a:gd name="connsiteX333" fmla="*/ 646113 w 1292225"/>
                <a:gd name="connsiteY333" fmla="*/ 668338 h 828675"/>
                <a:gd name="connsiteX334" fmla="*/ 630238 w 1292225"/>
                <a:gd name="connsiteY334" fmla="*/ 673100 h 828675"/>
                <a:gd name="connsiteX335" fmla="*/ 619125 w 1292225"/>
                <a:gd name="connsiteY335" fmla="*/ 673100 h 828675"/>
                <a:gd name="connsiteX336" fmla="*/ 612775 w 1292225"/>
                <a:gd name="connsiteY336" fmla="*/ 676275 h 828675"/>
                <a:gd name="connsiteX337" fmla="*/ 600075 w 1292225"/>
                <a:gd name="connsiteY337" fmla="*/ 682625 h 828675"/>
                <a:gd name="connsiteX338" fmla="*/ 600075 w 1292225"/>
                <a:gd name="connsiteY338" fmla="*/ 685800 h 828675"/>
                <a:gd name="connsiteX339" fmla="*/ 596900 w 1292225"/>
                <a:gd name="connsiteY339" fmla="*/ 698500 h 828675"/>
                <a:gd name="connsiteX340" fmla="*/ 590550 w 1292225"/>
                <a:gd name="connsiteY340" fmla="*/ 701675 h 828675"/>
                <a:gd name="connsiteX341" fmla="*/ 582613 w 1292225"/>
                <a:gd name="connsiteY341" fmla="*/ 701675 h 828675"/>
                <a:gd name="connsiteX342" fmla="*/ 579438 w 1292225"/>
                <a:gd name="connsiteY342" fmla="*/ 704850 h 828675"/>
                <a:gd name="connsiteX343" fmla="*/ 569913 w 1292225"/>
                <a:gd name="connsiteY343" fmla="*/ 704850 h 828675"/>
                <a:gd name="connsiteX344" fmla="*/ 563563 w 1292225"/>
                <a:gd name="connsiteY344" fmla="*/ 709613 h 828675"/>
                <a:gd name="connsiteX345" fmla="*/ 554038 w 1292225"/>
                <a:gd name="connsiteY345" fmla="*/ 719138 h 828675"/>
                <a:gd name="connsiteX346" fmla="*/ 542925 w 1292225"/>
                <a:gd name="connsiteY346" fmla="*/ 725488 h 828675"/>
                <a:gd name="connsiteX347" fmla="*/ 530225 w 1292225"/>
                <a:gd name="connsiteY347" fmla="*/ 715963 h 828675"/>
                <a:gd name="connsiteX348" fmla="*/ 520700 w 1292225"/>
                <a:gd name="connsiteY348" fmla="*/ 715963 h 828675"/>
                <a:gd name="connsiteX349" fmla="*/ 514350 w 1292225"/>
                <a:gd name="connsiteY349" fmla="*/ 725488 h 828675"/>
                <a:gd name="connsiteX350" fmla="*/ 517525 w 1292225"/>
                <a:gd name="connsiteY350" fmla="*/ 728663 h 828675"/>
                <a:gd name="connsiteX351" fmla="*/ 530225 w 1292225"/>
                <a:gd name="connsiteY351" fmla="*/ 738188 h 828675"/>
                <a:gd name="connsiteX352" fmla="*/ 536575 w 1292225"/>
                <a:gd name="connsiteY352" fmla="*/ 746125 h 828675"/>
                <a:gd name="connsiteX353" fmla="*/ 533400 w 1292225"/>
                <a:gd name="connsiteY353" fmla="*/ 758825 h 828675"/>
                <a:gd name="connsiteX354" fmla="*/ 536575 w 1292225"/>
                <a:gd name="connsiteY354" fmla="*/ 765175 h 828675"/>
                <a:gd name="connsiteX355" fmla="*/ 530225 w 1292225"/>
                <a:gd name="connsiteY355" fmla="*/ 774700 h 828675"/>
                <a:gd name="connsiteX356" fmla="*/ 527050 w 1292225"/>
                <a:gd name="connsiteY356" fmla="*/ 777875 h 828675"/>
                <a:gd name="connsiteX357" fmla="*/ 517525 w 1292225"/>
                <a:gd name="connsiteY357" fmla="*/ 788988 h 828675"/>
                <a:gd name="connsiteX358" fmla="*/ 508000 w 1292225"/>
                <a:gd name="connsiteY358" fmla="*/ 798513 h 828675"/>
                <a:gd name="connsiteX359" fmla="*/ 500063 w 1292225"/>
                <a:gd name="connsiteY359" fmla="*/ 798513 h 828675"/>
                <a:gd name="connsiteX360" fmla="*/ 503238 w 1292225"/>
                <a:gd name="connsiteY360" fmla="*/ 801688 h 828675"/>
                <a:gd name="connsiteX361" fmla="*/ 500063 w 1292225"/>
                <a:gd name="connsiteY361" fmla="*/ 801688 h 828675"/>
                <a:gd name="connsiteX362" fmla="*/ 500063 w 1292225"/>
                <a:gd name="connsiteY362" fmla="*/ 808038 h 828675"/>
                <a:gd name="connsiteX363" fmla="*/ 493713 w 1292225"/>
                <a:gd name="connsiteY363" fmla="*/ 811213 h 828675"/>
                <a:gd name="connsiteX364" fmla="*/ 474662 w 1292225"/>
                <a:gd name="connsiteY364" fmla="*/ 814388 h 828675"/>
                <a:gd name="connsiteX365" fmla="*/ 471487 w 1292225"/>
                <a:gd name="connsiteY365" fmla="*/ 817563 h 828675"/>
                <a:gd name="connsiteX366" fmla="*/ 466725 w 1292225"/>
                <a:gd name="connsiteY366" fmla="*/ 820738 h 828675"/>
                <a:gd name="connsiteX367" fmla="*/ 466725 w 1292225"/>
                <a:gd name="connsiteY367" fmla="*/ 828675 h 828675"/>
                <a:gd name="connsiteX368" fmla="*/ 460375 w 1292225"/>
                <a:gd name="connsiteY368" fmla="*/ 825500 h 828675"/>
                <a:gd name="connsiteX369" fmla="*/ 463550 w 1292225"/>
                <a:gd name="connsiteY369" fmla="*/ 822325 h 828675"/>
                <a:gd name="connsiteX370" fmla="*/ 457200 w 1292225"/>
                <a:gd name="connsiteY370" fmla="*/ 822325 h 828675"/>
                <a:gd name="connsiteX371" fmla="*/ 457200 w 1292225"/>
                <a:gd name="connsiteY371" fmla="*/ 820738 h 828675"/>
                <a:gd name="connsiteX372" fmla="*/ 447675 w 1292225"/>
                <a:gd name="connsiteY372" fmla="*/ 822325 h 828675"/>
                <a:gd name="connsiteX373" fmla="*/ 434975 w 1292225"/>
                <a:gd name="connsiteY373" fmla="*/ 817563 h 828675"/>
                <a:gd name="connsiteX374" fmla="*/ 431800 w 1292225"/>
                <a:gd name="connsiteY374" fmla="*/ 820738 h 828675"/>
                <a:gd name="connsiteX375" fmla="*/ 430212 w 1292225"/>
                <a:gd name="connsiteY375" fmla="*/ 820738 h 828675"/>
                <a:gd name="connsiteX376" fmla="*/ 427037 w 1292225"/>
                <a:gd name="connsiteY376" fmla="*/ 814388 h 828675"/>
                <a:gd name="connsiteX377" fmla="*/ 420687 w 1292225"/>
                <a:gd name="connsiteY377" fmla="*/ 814388 h 828675"/>
                <a:gd name="connsiteX378" fmla="*/ 420687 w 1292225"/>
                <a:gd name="connsiteY378" fmla="*/ 811213 h 828675"/>
                <a:gd name="connsiteX379" fmla="*/ 411162 w 1292225"/>
                <a:gd name="connsiteY379" fmla="*/ 808038 h 828675"/>
                <a:gd name="connsiteX380" fmla="*/ 411162 w 1292225"/>
                <a:gd name="connsiteY380" fmla="*/ 804863 h 828675"/>
                <a:gd name="connsiteX381" fmla="*/ 401637 w 1292225"/>
                <a:gd name="connsiteY381" fmla="*/ 808038 h 828675"/>
                <a:gd name="connsiteX382" fmla="*/ 395287 w 1292225"/>
                <a:gd name="connsiteY382" fmla="*/ 795338 h 828675"/>
                <a:gd name="connsiteX383" fmla="*/ 384175 w 1292225"/>
                <a:gd name="connsiteY383" fmla="*/ 792163 h 828675"/>
                <a:gd name="connsiteX384" fmla="*/ 381000 w 1292225"/>
                <a:gd name="connsiteY384" fmla="*/ 798513 h 828675"/>
                <a:gd name="connsiteX385" fmla="*/ 368300 w 1292225"/>
                <a:gd name="connsiteY385" fmla="*/ 798513 h 828675"/>
                <a:gd name="connsiteX386" fmla="*/ 368300 w 1292225"/>
                <a:gd name="connsiteY386" fmla="*/ 795338 h 828675"/>
                <a:gd name="connsiteX387" fmla="*/ 358775 w 1292225"/>
                <a:gd name="connsiteY387" fmla="*/ 795338 h 828675"/>
                <a:gd name="connsiteX388" fmla="*/ 358775 w 1292225"/>
                <a:gd name="connsiteY388" fmla="*/ 792163 h 828675"/>
                <a:gd name="connsiteX389" fmla="*/ 350837 w 1292225"/>
                <a:gd name="connsiteY389" fmla="*/ 792163 h 828675"/>
                <a:gd name="connsiteX390" fmla="*/ 344487 w 1292225"/>
                <a:gd name="connsiteY390" fmla="*/ 795338 h 828675"/>
                <a:gd name="connsiteX391" fmla="*/ 331787 w 1292225"/>
                <a:gd name="connsiteY391" fmla="*/ 795338 h 828675"/>
                <a:gd name="connsiteX392" fmla="*/ 328612 w 1292225"/>
                <a:gd name="connsiteY392" fmla="*/ 792163 h 828675"/>
                <a:gd name="connsiteX393" fmla="*/ 325437 w 1292225"/>
                <a:gd name="connsiteY393" fmla="*/ 792163 h 828675"/>
                <a:gd name="connsiteX394" fmla="*/ 328612 w 1292225"/>
                <a:gd name="connsiteY394" fmla="*/ 785813 h 828675"/>
                <a:gd name="connsiteX395" fmla="*/ 322262 w 1292225"/>
                <a:gd name="connsiteY395" fmla="*/ 782638 h 828675"/>
                <a:gd name="connsiteX396" fmla="*/ 325437 w 1292225"/>
                <a:gd name="connsiteY396" fmla="*/ 781050 h 828675"/>
                <a:gd name="connsiteX397" fmla="*/ 322262 w 1292225"/>
                <a:gd name="connsiteY397" fmla="*/ 781050 h 828675"/>
                <a:gd name="connsiteX398" fmla="*/ 322262 w 1292225"/>
                <a:gd name="connsiteY398" fmla="*/ 774700 h 828675"/>
                <a:gd name="connsiteX399" fmla="*/ 319087 w 1292225"/>
                <a:gd name="connsiteY399" fmla="*/ 771525 h 828675"/>
                <a:gd name="connsiteX400" fmla="*/ 328612 w 1292225"/>
                <a:gd name="connsiteY400" fmla="*/ 762000 h 828675"/>
                <a:gd name="connsiteX401" fmla="*/ 322262 w 1292225"/>
                <a:gd name="connsiteY401" fmla="*/ 755650 h 828675"/>
                <a:gd name="connsiteX402" fmla="*/ 322262 w 1292225"/>
                <a:gd name="connsiteY402" fmla="*/ 749300 h 828675"/>
                <a:gd name="connsiteX403" fmla="*/ 331787 w 1292225"/>
                <a:gd name="connsiteY403" fmla="*/ 741363 h 828675"/>
                <a:gd name="connsiteX404" fmla="*/ 334962 w 1292225"/>
                <a:gd name="connsiteY404" fmla="*/ 735013 h 828675"/>
                <a:gd name="connsiteX405" fmla="*/ 331787 w 1292225"/>
                <a:gd name="connsiteY405" fmla="*/ 731838 h 828675"/>
                <a:gd name="connsiteX406" fmla="*/ 328612 w 1292225"/>
                <a:gd name="connsiteY406" fmla="*/ 731838 h 828675"/>
                <a:gd name="connsiteX407" fmla="*/ 319087 w 1292225"/>
                <a:gd name="connsiteY407" fmla="*/ 744538 h 828675"/>
                <a:gd name="connsiteX408" fmla="*/ 314325 w 1292225"/>
                <a:gd name="connsiteY408" fmla="*/ 746125 h 828675"/>
                <a:gd name="connsiteX409" fmla="*/ 307975 w 1292225"/>
                <a:gd name="connsiteY409" fmla="*/ 746125 h 828675"/>
                <a:gd name="connsiteX410" fmla="*/ 301625 w 1292225"/>
                <a:gd name="connsiteY410" fmla="*/ 749300 h 828675"/>
                <a:gd name="connsiteX411" fmla="*/ 301625 w 1292225"/>
                <a:gd name="connsiteY411" fmla="*/ 746125 h 828675"/>
                <a:gd name="connsiteX412" fmla="*/ 288925 w 1292225"/>
                <a:gd name="connsiteY412" fmla="*/ 741363 h 828675"/>
                <a:gd name="connsiteX413" fmla="*/ 274637 w 1292225"/>
                <a:gd name="connsiteY413" fmla="*/ 744538 h 828675"/>
                <a:gd name="connsiteX414" fmla="*/ 268287 w 1292225"/>
                <a:gd name="connsiteY414" fmla="*/ 741363 h 828675"/>
                <a:gd name="connsiteX415" fmla="*/ 265112 w 1292225"/>
                <a:gd name="connsiteY415" fmla="*/ 735013 h 828675"/>
                <a:gd name="connsiteX416" fmla="*/ 252412 w 1292225"/>
                <a:gd name="connsiteY416" fmla="*/ 731838 h 828675"/>
                <a:gd name="connsiteX417" fmla="*/ 252412 w 1292225"/>
                <a:gd name="connsiteY417" fmla="*/ 728663 h 828675"/>
                <a:gd name="connsiteX418" fmla="*/ 246062 w 1292225"/>
                <a:gd name="connsiteY418" fmla="*/ 725488 h 828675"/>
                <a:gd name="connsiteX419" fmla="*/ 242887 w 1292225"/>
                <a:gd name="connsiteY419" fmla="*/ 722313 h 828675"/>
                <a:gd name="connsiteX420" fmla="*/ 228600 w 1292225"/>
                <a:gd name="connsiteY420" fmla="*/ 719138 h 828675"/>
                <a:gd name="connsiteX421" fmla="*/ 225425 w 1292225"/>
                <a:gd name="connsiteY421" fmla="*/ 715963 h 828675"/>
                <a:gd name="connsiteX422" fmla="*/ 215900 w 1292225"/>
                <a:gd name="connsiteY422" fmla="*/ 715963 h 828675"/>
                <a:gd name="connsiteX423" fmla="*/ 219075 w 1292225"/>
                <a:gd name="connsiteY423" fmla="*/ 712788 h 828675"/>
                <a:gd name="connsiteX424" fmla="*/ 212725 w 1292225"/>
                <a:gd name="connsiteY424" fmla="*/ 709613 h 828675"/>
                <a:gd name="connsiteX425" fmla="*/ 212725 w 1292225"/>
                <a:gd name="connsiteY425" fmla="*/ 706438 h 828675"/>
                <a:gd name="connsiteX426" fmla="*/ 206375 w 1292225"/>
                <a:gd name="connsiteY426" fmla="*/ 706438 h 828675"/>
                <a:gd name="connsiteX427" fmla="*/ 201612 w 1292225"/>
                <a:gd name="connsiteY427" fmla="*/ 704850 h 828675"/>
                <a:gd name="connsiteX428" fmla="*/ 188912 w 1292225"/>
                <a:gd name="connsiteY428" fmla="*/ 704850 h 828675"/>
                <a:gd name="connsiteX429" fmla="*/ 182562 w 1292225"/>
                <a:gd name="connsiteY429" fmla="*/ 704850 h 828675"/>
                <a:gd name="connsiteX430" fmla="*/ 176212 w 1292225"/>
                <a:gd name="connsiteY430" fmla="*/ 695325 h 828675"/>
                <a:gd name="connsiteX431" fmla="*/ 169862 w 1292225"/>
                <a:gd name="connsiteY431" fmla="*/ 688975 h 828675"/>
                <a:gd name="connsiteX432" fmla="*/ 161925 w 1292225"/>
                <a:gd name="connsiteY432" fmla="*/ 682625 h 828675"/>
                <a:gd name="connsiteX433" fmla="*/ 165100 w 1292225"/>
                <a:gd name="connsiteY433" fmla="*/ 669925 h 828675"/>
                <a:gd name="connsiteX434" fmla="*/ 161925 w 1292225"/>
                <a:gd name="connsiteY434" fmla="*/ 668338 h 828675"/>
                <a:gd name="connsiteX435" fmla="*/ 158750 w 1292225"/>
                <a:gd name="connsiteY435" fmla="*/ 669925 h 828675"/>
                <a:gd name="connsiteX436" fmla="*/ 161925 w 1292225"/>
                <a:gd name="connsiteY436" fmla="*/ 665163 h 828675"/>
                <a:gd name="connsiteX437" fmla="*/ 155575 w 1292225"/>
                <a:gd name="connsiteY437" fmla="*/ 661988 h 828675"/>
                <a:gd name="connsiteX438" fmla="*/ 152400 w 1292225"/>
                <a:gd name="connsiteY438" fmla="*/ 649288 h 828675"/>
                <a:gd name="connsiteX439" fmla="*/ 152400 w 1292225"/>
                <a:gd name="connsiteY439" fmla="*/ 642938 h 828675"/>
                <a:gd name="connsiteX440" fmla="*/ 149225 w 1292225"/>
                <a:gd name="connsiteY440" fmla="*/ 639763 h 828675"/>
                <a:gd name="connsiteX441" fmla="*/ 155575 w 1292225"/>
                <a:gd name="connsiteY441" fmla="*/ 630238 h 828675"/>
                <a:gd name="connsiteX442" fmla="*/ 152400 w 1292225"/>
                <a:gd name="connsiteY442" fmla="*/ 630238 h 828675"/>
                <a:gd name="connsiteX443" fmla="*/ 155575 w 1292225"/>
                <a:gd name="connsiteY443" fmla="*/ 628650 h 828675"/>
                <a:gd name="connsiteX444" fmla="*/ 161925 w 1292225"/>
                <a:gd name="connsiteY444" fmla="*/ 628650 h 828675"/>
                <a:gd name="connsiteX445" fmla="*/ 155575 w 1292225"/>
                <a:gd name="connsiteY445" fmla="*/ 619125 h 828675"/>
                <a:gd name="connsiteX446" fmla="*/ 161925 w 1292225"/>
                <a:gd name="connsiteY446" fmla="*/ 612775 h 828675"/>
                <a:gd name="connsiteX447" fmla="*/ 158750 w 1292225"/>
                <a:gd name="connsiteY447" fmla="*/ 600075 h 828675"/>
                <a:gd name="connsiteX448" fmla="*/ 152400 w 1292225"/>
                <a:gd name="connsiteY448" fmla="*/ 596900 h 828675"/>
                <a:gd name="connsiteX449" fmla="*/ 155575 w 1292225"/>
                <a:gd name="connsiteY449" fmla="*/ 593725 h 828675"/>
                <a:gd name="connsiteX450" fmla="*/ 152400 w 1292225"/>
                <a:gd name="connsiteY450" fmla="*/ 590550 h 828675"/>
                <a:gd name="connsiteX451" fmla="*/ 158750 w 1292225"/>
                <a:gd name="connsiteY451" fmla="*/ 579438 h 828675"/>
                <a:gd name="connsiteX452" fmla="*/ 152400 w 1292225"/>
                <a:gd name="connsiteY452" fmla="*/ 569913 h 828675"/>
                <a:gd name="connsiteX453" fmla="*/ 158750 w 1292225"/>
                <a:gd name="connsiteY453" fmla="*/ 557213 h 828675"/>
                <a:gd name="connsiteX454" fmla="*/ 158750 w 1292225"/>
                <a:gd name="connsiteY454" fmla="*/ 552450 h 828675"/>
                <a:gd name="connsiteX455" fmla="*/ 152400 w 1292225"/>
                <a:gd name="connsiteY455" fmla="*/ 542925 h 828675"/>
                <a:gd name="connsiteX456" fmla="*/ 146050 w 1292225"/>
                <a:gd name="connsiteY456" fmla="*/ 533400 h 828675"/>
                <a:gd name="connsiteX457" fmla="*/ 146050 w 1292225"/>
                <a:gd name="connsiteY457" fmla="*/ 527050 h 828675"/>
                <a:gd name="connsiteX458" fmla="*/ 146050 w 1292225"/>
                <a:gd name="connsiteY458" fmla="*/ 520700 h 828675"/>
                <a:gd name="connsiteX459" fmla="*/ 142875 w 1292225"/>
                <a:gd name="connsiteY459" fmla="*/ 512763 h 828675"/>
                <a:gd name="connsiteX460" fmla="*/ 146050 w 1292225"/>
                <a:gd name="connsiteY460" fmla="*/ 496888 h 828675"/>
                <a:gd name="connsiteX461" fmla="*/ 142875 w 1292225"/>
                <a:gd name="connsiteY461" fmla="*/ 487363 h 828675"/>
                <a:gd name="connsiteX462" fmla="*/ 142875 w 1292225"/>
                <a:gd name="connsiteY462" fmla="*/ 481013 h 828675"/>
                <a:gd name="connsiteX463" fmla="*/ 139700 w 1292225"/>
                <a:gd name="connsiteY463" fmla="*/ 484188 h 828675"/>
                <a:gd name="connsiteX464" fmla="*/ 136525 w 1292225"/>
                <a:gd name="connsiteY464" fmla="*/ 473075 h 828675"/>
                <a:gd name="connsiteX465" fmla="*/ 133350 w 1292225"/>
                <a:gd name="connsiteY465" fmla="*/ 473075 h 828675"/>
                <a:gd name="connsiteX466" fmla="*/ 130175 w 1292225"/>
                <a:gd name="connsiteY466" fmla="*/ 469900 h 828675"/>
                <a:gd name="connsiteX467" fmla="*/ 136525 w 1292225"/>
                <a:gd name="connsiteY467" fmla="*/ 457200 h 828675"/>
                <a:gd name="connsiteX468" fmla="*/ 136525 w 1292225"/>
                <a:gd name="connsiteY468" fmla="*/ 441325 h 828675"/>
                <a:gd name="connsiteX469" fmla="*/ 142875 w 1292225"/>
                <a:gd name="connsiteY469" fmla="*/ 436563 h 828675"/>
                <a:gd name="connsiteX470" fmla="*/ 155575 w 1292225"/>
                <a:gd name="connsiteY470" fmla="*/ 433388 h 828675"/>
                <a:gd name="connsiteX471" fmla="*/ 161925 w 1292225"/>
                <a:gd name="connsiteY471" fmla="*/ 430213 h 828675"/>
                <a:gd name="connsiteX472" fmla="*/ 168275 w 1292225"/>
                <a:gd name="connsiteY472" fmla="*/ 433388 h 828675"/>
                <a:gd name="connsiteX473" fmla="*/ 176212 w 1292225"/>
                <a:gd name="connsiteY473" fmla="*/ 436563 h 828675"/>
                <a:gd name="connsiteX474" fmla="*/ 176212 w 1292225"/>
                <a:gd name="connsiteY474" fmla="*/ 430213 h 828675"/>
                <a:gd name="connsiteX475" fmla="*/ 182562 w 1292225"/>
                <a:gd name="connsiteY475" fmla="*/ 420688 h 828675"/>
                <a:gd name="connsiteX476" fmla="*/ 179387 w 1292225"/>
                <a:gd name="connsiteY476" fmla="*/ 417513 h 828675"/>
                <a:gd name="connsiteX477" fmla="*/ 185737 w 1292225"/>
                <a:gd name="connsiteY477" fmla="*/ 407988 h 828675"/>
                <a:gd name="connsiteX478" fmla="*/ 188912 w 1292225"/>
                <a:gd name="connsiteY478" fmla="*/ 398463 h 828675"/>
                <a:gd name="connsiteX479" fmla="*/ 198437 w 1292225"/>
                <a:gd name="connsiteY479" fmla="*/ 396875 h 828675"/>
                <a:gd name="connsiteX480" fmla="*/ 206375 w 1292225"/>
                <a:gd name="connsiteY480" fmla="*/ 396875 h 828675"/>
                <a:gd name="connsiteX481" fmla="*/ 209550 w 1292225"/>
                <a:gd name="connsiteY481" fmla="*/ 393700 h 828675"/>
                <a:gd name="connsiteX482" fmla="*/ 222250 w 1292225"/>
                <a:gd name="connsiteY482" fmla="*/ 393700 h 828675"/>
                <a:gd name="connsiteX483" fmla="*/ 225425 w 1292225"/>
                <a:gd name="connsiteY483" fmla="*/ 390525 h 828675"/>
                <a:gd name="connsiteX484" fmla="*/ 228600 w 1292225"/>
                <a:gd name="connsiteY484" fmla="*/ 387350 h 828675"/>
                <a:gd name="connsiteX485" fmla="*/ 231775 w 1292225"/>
                <a:gd name="connsiteY485" fmla="*/ 384175 h 828675"/>
                <a:gd name="connsiteX486" fmla="*/ 242887 w 1292225"/>
                <a:gd name="connsiteY486" fmla="*/ 377825 h 828675"/>
                <a:gd name="connsiteX487" fmla="*/ 242887 w 1292225"/>
                <a:gd name="connsiteY487" fmla="*/ 374650 h 828675"/>
                <a:gd name="connsiteX488" fmla="*/ 249237 w 1292225"/>
                <a:gd name="connsiteY488" fmla="*/ 371475 h 828675"/>
                <a:gd name="connsiteX489" fmla="*/ 246062 w 1292225"/>
                <a:gd name="connsiteY489" fmla="*/ 368300 h 828675"/>
                <a:gd name="connsiteX490" fmla="*/ 246062 w 1292225"/>
                <a:gd name="connsiteY490" fmla="*/ 361950 h 828675"/>
                <a:gd name="connsiteX491" fmla="*/ 255587 w 1292225"/>
                <a:gd name="connsiteY491" fmla="*/ 357188 h 828675"/>
                <a:gd name="connsiteX492" fmla="*/ 249237 w 1292225"/>
                <a:gd name="connsiteY492" fmla="*/ 350838 h 828675"/>
                <a:gd name="connsiteX493" fmla="*/ 255587 w 1292225"/>
                <a:gd name="connsiteY493" fmla="*/ 341313 h 828675"/>
                <a:gd name="connsiteX494" fmla="*/ 261937 w 1292225"/>
                <a:gd name="connsiteY494" fmla="*/ 341313 h 828675"/>
                <a:gd name="connsiteX495" fmla="*/ 255587 w 1292225"/>
                <a:gd name="connsiteY495" fmla="*/ 338138 h 828675"/>
                <a:gd name="connsiteX496" fmla="*/ 255587 w 1292225"/>
                <a:gd name="connsiteY496" fmla="*/ 334963 h 828675"/>
                <a:gd name="connsiteX497" fmla="*/ 252412 w 1292225"/>
                <a:gd name="connsiteY497" fmla="*/ 334963 h 828675"/>
                <a:gd name="connsiteX498" fmla="*/ 242887 w 1292225"/>
                <a:gd name="connsiteY498" fmla="*/ 334963 h 828675"/>
                <a:gd name="connsiteX499" fmla="*/ 241300 w 1292225"/>
                <a:gd name="connsiteY499" fmla="*/ 328613 h 828675"/>
                <a:gd name="connsiteX500" fmla="*/ 231775 w 1292225"/>
                <a:gd name="connsiteY500" fmla="*/ 331788 h 828675"/>
                <a:gd name="connsiteX501" fmla="*/ 225425 w 1292225"/>
                <a:gd name="connsiteY501" fmla="*/ 322263 h 828675"/>
                <a:gd name="connsiteX502" fmla="*/ 219075 w 1292225"/>
                <a:gd name="connsiteY502" fmla="*/ 325438 h 828675"/>
                <a:gd name="connsiteX503" fmla="*/ 209550 w 1292225"/>
                <a:gd name="connsiteY503" fmla="*/ 320675 h 828675"/>
                <a:gd name="connsiteX504" fmla="*/ 198437 w 1292225"/>
                <a:gd name="connsiteY504" fmla="*/ 322263 h 828675"/>
                <a:gd name="connsiteX505" fmla="*/ 195262 w 1292225"/>
                <a:gd name="connsiteY505" fmla="*/ 314325 h 828675"/>
                <a:gd name="connsiteX506" fmla="*/ 188912 w 1292225"/>
                <a:gd name="connsiteY506" fmla="*/ 304800 h 828675"/>
                <a:gd name="connsiteX507" fmla="*/ 195262 w 1292225"/>
                <a:gd name="connsiteY507" fmla="*/ 292100 h 828675"/>
                <a:gd name="connsiteX508" fmla="*/ 201612 w 1292225"/>
                <a:gd name="connsiteY508" fmla="*/ 282575 h 828675"/>
                <a:gd name="connsiteX509" fmla="*/ 201612 w 1292225"/>
                <a:gd name="connsiteY509" fmla="*/ 280988 h 828675"/>
                <a:gd name="connsiteX510" fmla="*/ 206375 w 1292225"/>
                <a:gd name="connsiteY510" fmla="*/ 274638 h 828675"/>
                <a:gd name="connsiteX511" fmla="*/ 209550 w 1292225"/>
                <a:gd name="connsiteY511" fmla="*/ 271463 h 828675"/>
                <a:gd name="connsiteX512" fmla="*/ 201612 w 1292225"/>
                <a:gd name="connsiteY512" fmla="*/ 271463 h 828675"/>
                <a:gd name="connsiteX513" fmla="*/ 198437 w 1292225"/>
                <a:gd name="connsiteY513" fmla="*/ 268288 h 828675"/>
                <a:gd name="connsiteX514" fmla="*/ 188912 w 1292225"/>
                <a:gd name="connsiteY514" fmla="*/ 268288 h 828675"/>
                <a:gd name="connsiteX515" fmla="*/ 179387 w 1292225"/>
                <a:gd name="connsiteY515" fmla="*/ 265113 h 828675"/>
                <a:gd name="connsiteX516" fmla="*/ 169862 w 1292225"/>
                <a:gd name="connsiteY516" fmla="*/ 268288 h 828675"/>
                <a:gd name="connsiteX517" fmla="*/ 165100 w 1292225"/>
                <a:gd name="connsiteY517" fmla="*/ 265113 h 828675"/>
                <a:gd name="connsiteX518" fmla="*/ 149225 w 1292225"/>
                <a:gd name="connsiteY518" fmla="*/ 268288 h 828675"/>
                <a:gd name="connsiteX519" fmla="*/ 149225 w 1292225"/>
                <a:gd name="connsiteY519" fmla="*/ 261938 h 828675"/>
                <a:gd name="connsiteX520" fmla="*/ 136525 w 1292225"/>
                <a:gd name="connsiteY520" fmla="*/ 255588 h 828675"/>
                <a:gd name="connsiteX521" fmla="*/ 133350 w 1292225"/>
                <a:gd name="connsiteY521" fmla="*/ 246063 h 828675"/>
                <a:gd name="connsiteX522" fmla="*/ 125412 w 1292225"/>
                <a:gd name="connsiteY522" fmla="*/ 244475 h 828675"/>
                <a:gd name="connsiteX523" fmla="*/ 119062 w 1292225"/>
                <a:gd name="connsiteY523" fmla="*/ 246063 h 828675"/>
                <a:gd name="connsiteX524" fmla="*/ 109537 w 1292225"/>
                <a:gd name="connsiteY524" fmla="*/ 241300 h 828675"/>
                <a:gd name="connsiteX525" fmla="*/ 115887 w 1292225"/>
                <a:gd name="connsiteY525" fmla="*/ 228600 h 828675"/>
                <a:gd name="connsiteX526" fmla="*/ 112712 w 1292225"/>
                <a:gd name="connsiteY526" fmla="*/ 215900 h 828675"/>
                <a:gd name="connsiteX527" fmla="*/ 112712 w 1292225"/>
                <a:gd name="connsiteY527" fmla="*/ 212725 h 828675"/>
                <a:gd name="connsiteX528" fmla="*/ 106362 w 1292225"/>
                <a:gd name="connsiteY528" fmla="*/ 215900 h 828675"/>
                <a:gd name="connsiteX529" fmla="*/ 96837 w 1292225"/>
                <a:gd name="connsiteY529" fmla="*/ 209550 h 828675"/>
                <a:gd name="connsiteX530" fmla="*/ 85725 w 1292225"/>
                <a:gd name="connsiteY530" fmla="*/ 215900 h 828675"/>
                <a:gd name="connsiteX531" fmla="*/ 76200 w 1292225"/>
                <a:gd name="connsiteY531" fmla="*/ 209550 h 828675"/>
                <a:gd name="connsiteX532" fmla="*/ 76200 w 1292225"/>
                <a:gd name="connsiteY532" fmla="*/ 212725 h 828675"/>
                <a:gd name="connsiteX533" fmla="*/ 79375 w 1292225"/>
                <a:gd name="connsiteY533" fmla="*/ 215900 h 828675"/>
                <a:gd name="connsiteX534" fmla="*/ 73025 w 1292225"/>
                <a:gd name="connsiteY534" fmla="*/ 215900 h 828675"/>
                <a:gd name="connsiteX535" fmla="*/ 63500 w 1292225"/>
                <a:gd name="connsiteY535" fmla="*/ 219075 h 828675"/>
                <a:gd name="connsiteX536" fmla="*/ 60325 w 1292225"/>
                <a:gd name="connsiteY536" fmla="*/ 212725 h 828675"/>
                <a:gd name="connsiteX537" fmla="*/ 52387 w 1292225"/>
                <a:gd name="connsiteY537" fmla="*/ 206375 h 828675"/>
                <a:gd name="connsiteX538" fmla="*/ 49212 w 1292225"/>
                <a:gd name="connsiteY538" fmla="*/ 215900 h 828675"/>
                <a:gd name="connsiteX539" fmla="*/ 39687 w 1292225"/>
                <a:gd name="connsiteY539" fmla="*/ 219075 h 828675"/>
                <a:gd name="connsiteX540" fmla="*/ 36512 w 1292225"/>
                <a:gd name="connsiteY540" fmla="*/ 212725 h 828675"/>
                <a:gd name="connsiteX541" fmla="*/ 30162 w 1292225"/>
                <a:gd name="connsiteY541" fmla="*/ 212725 h 828675"/>
                <a:gd name="connsiteX542" fmla="*/ 23812 w 1292225"/>
                <a:gd name="connsiteY542" fmla="*/ 215900 h 828675"/>
                <a:gd name="connsiteX543" fmla="*/ 17462 w 1292225"/>
                <a:gd name="connsiteY543" fmla="*/ 209550 h 828675"/>
                <a:gd name="connsiteX544" fmla="*/ 12700 w 1292225"/>
                <a:gd name="connsiteY544" fmla="*/ 212725 h 828675"/>
                <a:gd name="connsiteX545" fmla="*/ 12700 w 1292225"/>
                <a:gd name="connsiteY545" fmla="*/ 209550 h 828675"/>
                <a:gd name="connsiteX546" fmla="*/ 3175 w 1292225"/>
                <a:gd name="connsiteY546" fmla="*/ 206375 h 828675"/>
                <a:gd name="connsiteX547" fmla="*/ 0 w 1292225"/>
                <a:gd name="connsiteY547" fmla="*/ 201613 h 828675"/>
                <a:gd name="connsiteX548" fmla="*/ 9525 w 1292225"/>
                <a:gd name="connsiteY548" fmla="*/ 195263 h 828675"/>
                <a:gd name="connsiteX549" fmla="*/ 12700 w 1292225"/>
                <a:gd name="connsiteY549" fmla="*/ 185738 h 828675"/>
                <a:gd name="connsiteX550" fmla="*/ 6350 w 1292225"/>
                <a:gd name="connsiteY550" fmla="*/ 173038 h 828675"/>
                <a:gd name="connsiteX551" fmla="*/ 6350 w 1292225"/>
                <a:gd name="connsiteY551" fmla="*/ 166688 h 828675"/>
                <a:gd name="connsiteX552" fmla="*/ 12700 w 1292225"/>
                <a:gd name="connsiteY552" fmla="*/ 165100 h 828675"/>
                <a:gd name="connsiteX553" fmla="*/ 12700 w 1292225"/>
                <a:gd name="connsiteY553" fmla="*/ 152400 h 828675"/>
                <a:gd name="connsiteX554" fmla="*/ 15875 w 1292225"/>
                <a:gd name="connsiteY554" fmla="*/ 149225 h 828675"/>
                <a:gd name="connsiteX555" fmla="*/ 17462 w 1292225"/>
                <a:gd name="connsiteY555" fmla="*/ 142875 h 828675"/>
                <a:gd name="connsiteX556" fmla="*/ 20637 w 1292225"/>
                <a:gd name="connsiteY556" fmla="*/ 139700 h 828675"/>
                <a:gd name="connsiteX557" fmla="*/ 33337 w 1292225"/>
                <a:gd name="connsiteY557" fmla="*/ 146050 h 828675"/>
                <a:gd name="connsiteX558" fmla="*/ 33337 w 1292225"/>
                <a:gd name="connsiteY558" fmla="*/ 139700 h 828675"/>
                <a:gd name="connsiteX559" fmla="*/ 42862 w 1292225"/>
                <a:gd name="connsiteY559" fmla="*/ 136525 h 828675"/>
                <a:gd name="connsiteX560" fmla="*/ 46037 w 1292225"/>
                <a:gd name="connsiteY560" fmla="*/ 136525 h 828675"/>
                <a:gd name="connsiteX561" fmla="*/ 57150 w 1292225"/>
                <a:gd name="connsiteY561" fmla="*/ 125412 h 828675"/>
                <a:gd name="connsiteX562" fmla="*/ 63500 w 1292225"/>
                <a:gd name="connsiteY562" fmla="*/ 125412 h 828675"/>
                <a:gd name="connsiteX563" fmla="*/ 66675 w 1292225"/>
                <a:gd name="connsiteY563" fmla="*/ 122237 h 828675"/>
                <a:gd name="connsiteX564" fmla="*/ 63500 w 1292225"/>
                <a:gd name="connsiteY564" fmla="*/ 112712 h 828675"/>
                <a:gd name="connsiteX565" fmla="*/ 73025 w 1292225"/>
                <a:gd name="connsiteY565" fmla="*/ 109537 h 828675"/>
                <a:gd name="connsiteX566" fmla="*/ 85725 w 1292225"/>
                <a:gd name="connsiteY566" fmla="*/ 109537 h 828675"/>
                <a:gd name="connsiteX567" fmla="*/ 88900 w 1292225"/>
                <a:gd name="connsiteY567" fmla="*/ 100012 h 828675"/>
                <a:gd name="connsiteX568" fmla="*/ 96837 w 1292225"/>
                <a:gd name="connsiteY568" fmla="*/ 93662 h 828675"/>
                <a:gd name="connsiteX569" fmla="*/ 106362 w 1292225"/>
                <a:gd name="connsiteY569" fmla="*/ 82550 h 828675"/>
                <a:gd name="connsiteX570" fmla="*/ 103187 w 1292225"/>
                <a:gd name="connsiteY570" fmla="*/ 79375 h 828675"/>
                <a:gd name="connsiteX571" fmla="*/ 100012 w 1292225"/>
                <a:gd name="connsiteY571" fmla="*/ 66675 h 828675"/>
                <a:gd name="connsiteX572" fmla="*/ 109537 w 1292225"/>
                <a:gd name="connsiteY572" fmla="*/ 69850 h 828675"/>
                <a:gd name="connsiteX573" fmla="*/ 122237 w 1292225"/>
                <a:gd name="connsiteY573" fmla="*/ 63500 h 828675"/>
                <a:gd name="connsiteX574" fmla="*/ 125412 w 1292225"/>
                <a:gd name="connsiteY574" fmla="*/ 66675 h 828675"/>
                <a:gd name="connsiteX575" fmla="*/ 130175 w 1292225"/>
                <a:gd name="connsiteY575" fmla="*/ 66675 h 828675"/>
                <a:gd name="connsiteX576" fmla="*/ 130175 w 1292225"/>
                <a:gd name="connsiteY576" fmla="*/ 63500 h 828675"/>
                <a:gd name="connsiteX577" fmla="*/ 139700 w 1292225"/>
                <a:gd name="connsiteY577" fmla="*/ 66675 h 828675"/>
                <a:gd name="connsiteX578" fmla="*/ 149225 w 1292225"/>
                <a:gd name="connsiteY578" fmla="*/ 63500 h 828675"/>
                <a:gd name="connsiteX579" fmla="*/ 149225 w 1292225"/>
                <a:gd name="connsiteY579" fmla="*/ 60325 h 828675"/>
                <a:gd name="connsiteX580" fmla="*/ 161925 w 1292225"/>
                <a:gd name="connsiteY580" fmla="*/ 57150 h 828675"/>
                <a:gd name="connsiteX581" fmla="*/ 173037 w 1292225"/>
                <a:gd name="connsiteY581" fmla="*/ 63500 h 828675"/>
                <a:gd name="connsiteX582" fmla="*/ 185737 w 1292225"/>
                <a:gd name="connsiteY582" fmla="*/ 63500 h 828675"/>
                <a:gd name="connsiteX583" fmla="*/ 188912 w 1292225"/>
                <a:gd name="connsiteY583" fmla="*/ 66675 h 828675"/>
                <a:gd name="connsiteX584" fmla="*/ 204787 w 1292225"/>
                <a:gd name="connsiteY584" fmla="*/ 69850 h 828675"/>
                <a:gd name="connsiteX585" fmla="*/ 209550 w 1292225"/>
                <a:gd name="connsiteY585" fmla="*/ 63500 h 828675"/>
                <a:gd name="connsiteX586" fmla="*/ 219075 w 1292225"/>
                <a:gd name="connsiteY586" fmla="*/ 66675 h 828675"/>
                <a:gd name="connsiteX587" fmla="*/ 228600 w 1292225"/>
                <a:gd name="connsiteY587" fmla="*/ 63500 h 828675"/>
                <a:gd name="connsiteX588" fmla="*/ 234950 w 1292225"/>
                <a:gd name="connsiteY588" fmla="*/ 66675 h 828675"/>
                <a:gd name="connsiteX589" fmla="*/ 238125 w 1292225"/>
                <a:gd name="connsiteY589" fmla="*/ 66675 h 828675"/>
                <a:gd name="connsiteX590" fmla="*/ 238125 w 1292225"/>
                <a:gd name="connsiteY590" fmla="*/ 60325 h 828675"/>
                <a:gd name="connsiteX591" fmla="*/ 234950 w 1292225"/>
                <a:gd name="connsiteY591" fmla="*/ 60325 h 828675"/>
                <a:gd name="connsiteX592" fmla="*/ 238125 w 1292225"/>
                <a:gd name="connsiteY592" fmla="*/ 57150 h 828675"/>
                <a:gd name="connsiteX593" fmla="*/ 234950 w 1292225"/>
                <a:gd name="connsiteY593" fmla="*/ 53975 h 828675"/>
                <a:gd name="connsiteX594" fmla="*/ 225425 w 1292225"/>
                <a:gd name="connsiteY594" fmla="*/ 50800 h 828675"/>
                <a:gd name="connsiteX595" fmla="*/ 222250 w 1292225"/>
                <a:gd name="connsiteY595" fmla="*/ 46037 h 828675"/>
                <a:gd name="connsiteX596" fmla="*/ 219075 w 1292225"/>
                <a:gd name="connsiteY596" fmla="*/ 49212 h 828675"/>
                <a:gd name="connsiteX597" fmla="*/ 206375 w 1292225"/>
                <a:gd name="connsiteY597" fmla="*/ 42862 h 828675"/>
                <a:gd name="connsiteX598" fmla="*/ 209550 w 1292225"/>
                <a:gd name="connsiteY598" fmla="*/ 39687 h 828675"/>
                <a:gd name="connsiteX599" fmla="*/ 204787 w 1292225"/>
                <a:gd name="connsiteY599" fmla="*/ 36512 h 828675"/>
                <a:gd name="connsiteX600" fmla="*/ 204787 w 1292225"/>
                <a:gd name="connsiteY600" fmla="*/ 30162 h 828675"/>
                <a:gd name="connsiteX601" fmla="*/ 219075 w 1292225"/>
                <a:gd name="connsiteY601" fmla="*/ 30162 h 828675"/>
                <a:gd name="connsiteX602" fmla="*/ 228600 w 1292225"/>
                <a:gd name="connsiteY602" fmla="*/ 33337 h 828675"/>
                <a:gd name="connsiteX603" fmla="*/ 234950 w 1292225"/>
                <a:gd name="connsiteY603" fmla="*/ 26987 h 828675"/>
                <a:gd name="connsiteX604" fmla="*/ 241300 w 1292225"/>
                <a:gd name="connsiteY604" fmla="*/ 30162 h 828675"/>
                <a:gd name="connsiteX605" fmla="*/ 242887 w 1292225"/>
                <a:gd name="connsiteY605" fmla="*/ 33337 h 828675"/>
                <a:gd name="connsiteX606" fmla="*/ 241300 w 1292225"/>
                <a:gd name="connsiteY606" fmla="*/ 36512 h 828675"/>
                <a:gd name="connsiteX607" fmla="*/ 246062 w 1292225"/>
                <a:gd name="connsiteY607" fmla="*/ 36512 h 828675"/>
                <a:gd name="connsiteX608" fmla="*/ 252412 w 1292225"/>
                <a:gd name="connsiteY608" fmla="*/ 42862 h 828675"/>
                <a:gd name="connsiteX609" fmla="*/ 265112 w 1292225"/>
                <a:gd name="connsiteY609" fmla="*/ 46037 h 828675"/>
                <a:gd name="connsiteX610" fmla="*/ 268287 w 1292225"/>
                <a:gd name="connsiteY610" fmla="*/ 42862 h 828675"/>
                <a:gd name="connsiteX611" fmla="*/ 277812 w 1292225"/>
                <a:gd name="connsiteY611" fmla="*/ 42862 h 828675"/>
                <a:gd name="connsiteX612" fmla="*/ 282575 w 1292225"/>
                <a:gd name="connsiteY612" fmla="*/ 33337 h 828675"/>
                <a:gd name="connsiteX613" fmla="*/ 285750 w 1292225"/>
                <a:gd name="connsiteY613" fmla="*/ 30162 h 828675"/>
                <a:gd name="connsiteX614" fmla="*/ 298450 w 1292225"/>
                <a:gd name="connsiteY614" fmla="*/ 33337 h 828675"/>
                <a:gd name="connsiteX615" fmla="*/ 307975 w 1292225"/>
                <a:gd name="connsiteY615" fmla="*/ 30162 h 828675"/>
                <a:gd name="connsiteX616" fmla="*/ 317500 w 1292225"/>
                <a:gd name="connsiteY616" fmla="*/ 20637 h 828675"/>
                <a:gd name="connsiteX617" fmla="*/ 328612 w 1292225"/>
                <a:gd name="connsiteY617" fmla="*/ 17462 h 828675"/>
                <a:gd name="connsiteX618" fmla="*/ 328612 w 1292225"/>
                <a:gd name="connsiteY618" fmla="*/ 12700 h 828675"/>
                <a:gd name="connsiteX619" fmla="*/ 341312 w 1292225"/>
                <a:gd name="connsiteY619" fmla="*/ 17462 h 828675"/>
                <a:gd name="connsiteX620" fmla="*/ 341312 w 1292225"/>
                <a:gd name="connsiteY620" fmla="*/ 20637 h 828675"/>
                <a:gd name="connsiteX621" fmla="*/ 347662 w 1292225"/>
                <a:gd name="connsiteY621" fmla="*/ 20637 h 828675"/>
                <a:gd name="connsiteX622" fmla="*/ 344487 w 1292225"/>
                <a:gd name="connsiteY622" fmla="*/ 12700 h 828675"/>
                <a:gd name="connsiteX623" fmla="*/ 358775 w 1292225"/>
                <a:gd name="connsiteY623" fmla="*/ 9525 h 82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Lst>
              <a:rect l="l" t="t" r="r" b="b"/>
              <a:pathLst>
                <a:path w="1292225" h="828675">
                  <a:moveTo>
                    <a:pt x="374650" y="0"/>
                  </a:moveTo>
                  <a:lnTo>
                    <a:pt x="381000" y="12700"/>
                  </a:lnTo>
                  <a:lnTo>
                    <a:pt x="387350" y="12700"/>
                  </a:lnTo>
                  <a:lnTo>
                    <a:pt x="390525" y="6350"/>
                  </a:lnTo>
                  <a:lnTo>
                    <a:pt x="398462" y="6350"/>
                  </a:lnTo>
                  <a:lnTo>
                    <a:pt x="398462" y="12700"/>
                  </a:lnTo>
                  <a:lnTo>
                    <a:pt x="404812" y="26987"/>
                  </a:lnTo>
                  <a:lnTo>
                    <a:pt x="411162" y="26987"/>
                  </a:lnTo>
                  <a:lnTo>
                    <a:pt x="411162" y="20637"/>
                  </a:lnTo>
                  <a:lnTo>
                    <a:pt x="417512" y="17462"/>
                  </a:lnTo>
                  <a:lnTo>
                    <a:pt x="430212" y="12700"/>
                  </a:lnTo>
                  <a:lnTo>
                    <a:pt x="441325" y="12700"/>
                  </a:lnTo>
                  <a:lnTo>
                    <a:pt x="447675" y="9525"/>
                  </a:lnTo>
                  <a:lnTo>
                    <a:pt x="450850" y="12700"/>
                  </a:lnTo>
                  <a:lnTo>
                    <a:pt x="450850" y="17462"/>
                  </a:lnTo>
                  <a:lnTo>
                    <a:pt x="463550" y="20637"/>
                  </a:lnTo>
                  <a:lnTo>
                    <a:pt x="471487" y="17462"/>
                  </a:lnTo>
                  <a:lnTo>
                    <a:pt x="484187" y="23812"/>
                  </a:lnTo>
                  <a:lnTo>
                    <a:pt x="490537" y="20637"/>
                  </a:lnTo>
                  <a:lnTo>
                    <a:pt x="487362" y="30162"/>
                  </a:lnTo>
                  <a:lnTo>
                    <a:pt x="493713" y="33337"/>
                  </a:lnTo>
                  <a:lnTo>
                    <a:pt x="493713" y="42862"/>
                  </a:lnTo>
                  <a:lnTo>
                    <a:pt x="490537" y="50800"/>
                  </a:lnTo>
                  <a:lnTo>
                    <a:pt x="496888" y="60325"/>
                  </a:lnTo>
                  <a:lnTo>
                    <a:pt x="500063" y="63500"/>
                  </a:lnTo>
                  <a:lnTo>
                    <a:pt x="503238" y="60325"/>
                  </a:lnTo>
                  <a:lnTo>
                    <a:pt x="508000" y="63500"/>
                  </a:lnTo>
                  <a:lnTo>
                    <a:pt x="508000" y="53975"/>
                  </a:lnTo>
                  <a:lnTo>
                    <a:pt x="527050" y="53975"/>
                  </a:lnTo>
                  <a:lnTo>
                    <a:pt x="536575" y="57150"/>
                  </a:lnTo>
                  <a:lnTo>
                    <a:pt x="542925" y="57150"/>
                  </a:lnTo>
                  <a:lnTo>
                    <a:pt x="554038" y="63500"/>
                  </a:lnTo>
                  <a:lnTo>
                    <a:pt x="560388" y="69850"/>
                  </a:lnTo>
                  <a:lnTo>
                    <a:pt x="563563" y="73025"/>
                  </a:lnTo>
                  <a:lnTo>
                    <a:pt x="566738" y="76200"/>
                  </a:lnTo>
                  <a:lnTo>
                    <a:pt x="576263" y="82550"/>
                  </a:lnTo>
                  <a:lnTo>
                    <a:pt x="573088" y="88900"/>
                  </a:lnTo>
                  <a:lnTo>
                    <a:pt x="576263" y="90487"/>
                  </a:lnTo>
                  <a:lnTo>
                    <a:pt x="606425" y="103187"/>
                  </a:lnTo>
                  <a:lnTo>
                    <a:pt x="623888" y="119062"/>
                  </a:lnTo>
                  <a:lnTo>
                    <a:pt x="630238" y="122237"/>
                  </a:lnTo>
                  <a:lnTo>
                    <a:pt x="636588" y="122237"/>
                  </a:lnTo>
                  <a:lnTo>
                    <a:pt x="655638" y="125412"/>
                  </a:lnTo>
                  <a:lnTo>
                    <a:pt x="658813" y="133350"/>
                  </a:lnTo>
                  <a:lnTo>
                    <a:pt x="669925" y="149225"/>
                  </a:lnTo>
                  <a:lnTo>
                    <a:pt x="688975" y="155575"/>
                  </a:lnTo>
                  <a:lnTo>
                    <a:pt x="703263" y="165100"/>
                  </a:lnTo>
                  <a:lnTo>
                    <a:pt x="712788" y="169863"/>
                  </a:lnTo>
                  <a:lnTo>
                    <a:pt x="709613" y="179388"/>
                  </a:lnTo>
                  <a:lnTo>
                    <a:pt x="703263" y="188913"/>
                  </a:lnTo>
                  <a:lnTo>
                    <a:pt x="703263" y="195263"/>
                  </a:lnTo>
                  <a:lnTo>
                    <a:pt x="731838" y="215900"/>
                  </a:lnTo>
                  <a:lnTo>
                    <a:pt x="746125" y="222250"/>
                  </a:lnTo>
                  <a:lnTo>
                    <a:pt x="765175" y="222250"/>
                  </a:lnTo>
                  <a:lnTo>
                    <a:pt x="776288" y="222250"/>
                  </a:lnTo>
                  <a:lnTo>
                    <a:pt x="785813" y="231775"/>
                  </a:lnTo>
                  <a:lnTo>
                    <a:pt x="801688" y="234950"/>
                  </a:lnTo>
                  <a:lnTo>
                    <a:pt x="809625" y="234950"/>
                  </a:lnTo>
                  <a:lnTo>
                    <a:pt x="819150" y="244475"/>
                  </a:lnTo>
                  <a:lnTo>
                    <a:pt x="819150" y="252413"/>
                  </a:lnTo>
                  <a:lnTo>
                    <a:pt x="825500" y="258763"/>
                  </a:lnTo>
                  <a:lnTo>
                    <a:pt x="822325" y="265113"/>
                  </a:lnTo>
                  <a:lnTo>
                    <a:pt x="809625" y="258763"/>
                  </a:lnTo>
                  <a:lnTo>
                    <a:pt x="804863" y="258763"/>
                  </a:lnTo>
                  <a:lnTo>
                    <a:pt x="798513" y="261938"/>
                  </a:lnTo>
                  <a:lnTo>
                    <a:pt x="795338" y="271463"/>
                  </a:lnTo>
                  <a:lnTo>
                    <a:pt x="795338" y="268288"/>
                  </a:lnTo>
                  <a:lnTo>
                    <a:pt x="788988" y="265113"/>
                  </a:lnTo>
                  <a:lnTo>
                    <a:pt x="786989" y="266112"/>
                  </a:lnTo>
                  <a:lnTo>
                    <a:pt x="789758" y="270068"/>
                  </a:lnTo>
                  <a:lnTo>
                    <a:pt x="795338" y="271463"/>
                  </a:lnTo>
                  <a:lnTo>
                    <a:pt x="795338" y="274638"/>
                  </a:lnTo>
                  <a:lnTo>
                    <a:pt x="801688" y="274638"/>
                  </a:lnTo>
                  <a:lnTo>
                    <a:pt x="801688" y="277813"/>
                  </a:lnTo>
                  <a:lnTo>
                    <a:pt x="809625" y="280988"/>
                  </a:lnTo>
                  <a:lnTo>
                    <a:pt x="828675" y="274638"/>
                  </a:lnTo>
                  <a:lnTo>
                    <a:pt x="844550" y="280988"/>
                  </a:lnTo>
                  <a:lnTo>
                    <a:pt x="847725" y="277813"/>
                  </a:lnTo>
                  <a:lnTo>
                    <a:pt x="852488" y="282575"/>
                  </a:lnTo>
                  <a:lnTo>
                    <a:pt x="858838" y="280988"/>
                  </a:lnTo>
                  <a:lnTo>
                    <a:pt x="865188" y="274638"/>
                  </a:lnTo>
                  <a:lnTo>
                    <a:pt x="871538" y="274638"/>
                  </a:lnTo>
                  <a:lnTo>
                    <a:pt x="874713" y="271463"/>
                  </a:lnTo>
                  <a:lnTo>
                    <a:pt x="881063" y="274638"/>
                  </a:lnTo>
                  <a:lnTo>
                    <a:pt x="884238" y="274638"/>
                  </a:lnTo>
                  <a:lnTo>
                    <a:pt x="889000" y="280988"/>
                  </a:lnTo>
                  <a:lnTo>
                    <a:pt x="892175" y="274638"/>
                  </a:lnTo>
                  <a:lnTo>
                    <a:pt x="895350" y="277813"/>
                  </a:lnTo>
                  <a:lnTo>
                    <a:pt x="898525" y="274638"/>
                  </a:lnTo>
                  <a:lnTo>
                    <a:pt x="895350" y="265113"/>
                  </a:lnTo>
                  <a:lnTo>
                    <a:pt x="925513" y="265113"/>
                  </a:lnTo>
                  <a:lnTo>
                    <a:pt x="928688" y="261938"/>
                  </a:lnTo>
                  <a:lnTo>
                    <a:pt x="931863" y="249238"/>
                  </a:lnTo>
                  <a:lnTo>
                    <a:pt x="935038" y="246063"/>
                  </a:lnTo>
                  <a:lnTo>
                    <a:pt x="941388" y="244475"/>
                  </a:lnTo>
                  <a:lnTo>
                    <a:pt x="947738" y="244475"/>
                  </a:lnTo>
                  <a:lnTo>
                    <a:pt x="962025" y="234950"/>
                  </a:lnTo>
                  <a:lnTo>
                    <a:pt x="974725" y="228600"/>
                  </a:lnTo>
                  <a:lnTo>
                    <a:pt x="977900" y="225425"/>
                  </a:lnTo>
                  <a:lnTo>
                    <a:pt x="993775" y="222250"/>
                  </a:lnTo>
                  <a:lnTo>
                    <a:pt x="998538" y="219075"/>
                  </a:lnTo>
                  <a:lnTo>
                    <a:pt x="1014413" y="209550"/>
                  </a:lnTo>
                  <a:lnTo>
                    <a:pt x="1023938" y="201613"/>
                  </a:lnTo>
                  <a:lnTo>
                    <a:pt x="1041400" y="198438"/>
                  </a:lnTo>
                  <a:lnTo>
                    <a:pt x="1044575" y="198438"/>
                  </a:lnTo>
                  <a:lnTo>
                    <a:pt x="1054100" y="201613"/>
                  </a:lnTo>
                  <a:lnTo>
                    <a:pt x="1063625" y="201613"/>
                  </a:lnTo>
                  <a:lnTo>
                    <a:pt x="1074738" y="201613"/>
                  </a:lnTo>
                  <a:lnTo>
                    <a:pt x="1090613" y="198438"/>
                  </a:lnTo>
                  <a:lnTo>
                    <a:pt x="1100138" y="198438"/>
                  </a:lnTo>
                  <a:lnTo>
                    <a:pt x="1111250" y="198438"/>
                  </a:lnTo>
                  <a:lnTo>
                    <a:pt x="1120775" y="188913"/>
                  </a:lnTo>
                  <a:lnTo>
                    <a:pt x="1139825" y="192088"/>
                  </a:lnTo>
                  <a:lnTo>
                    <a:pt x="1143000" y="188913"/>
                  </a:lnTo>
                  <a:lnTo>
                    <a:pt x="1146175" y="192088"/>
                  </a:lnTo>
                  <a:lnTo>
                    <a:pt x="1146175" y="206375"/>
                  </a:lnTo>
                  <a:lnTo>
                    <a:pt x="1150938" y="209550"/>
                  </a:lnTo>
                  <a:lnTo>
                    <a:pt x="1160463" y="206375"/>
                  </a:lnTo>
                  <a:lnTo>
                    <a:pt x="1163638" y="209550"/>
                  </a:lnTo>
                  <a:lnTo>
                    <a:pt x="1173163" y="219075"/>
                  </a:lnTo>
                  <a:lnTo>
                    <a:pt x="1179513" y="228600"/>
                  </a:lnTo>
                  <a:lnTo>
                    <a:pt x="1182688" y="238125"/>
                  </a:lnTo>
                  <a:lnTo>
                    <a:pt x="1185863" y="244475"/>
                  </a:lnTo>
                  <a:lnTo>
                    <a:pt x="1200150" y="246063"/>
                  </a:lnTo>
                  <a:lnTo>
                    <a:pt x="1206500" y="258763"/>
                  </a:lnTo>
                  <a:lnTo>
                    <a:pt x="1212850" y="258763"/>
                  </a:lnTo>
                  <a:lnTo>
                    <a:pt x="1222375" y="255588"/>
                  </a:lnTo>
                  <a:lnTo>
                    <a:pt x="1225550" y="258763"/>
                  </a:lnTo>
                  <a:lnTo>
                    <a:pt x="1227138" y="265113"/>
                  </a:lnTo>
                  <a:lnTo>
                    <a:pt x="1230313" y="271463"/>
                  </a:lnTo>
                  <a:lnTo>
                    <a:pt x="1233488" y="280988"/>
                  </a:lnTo>
                  <a:lnTo>
                    <a:pt x="1239838" y="288925"/>
                  </a:lnTo>
                  <a:lnTo>
                    <a:pt x="1255713" y="285750"/>
                  </a:lnTo>
                  <a:lnTo>
                    <a:pt x="1255713" y="277813"/>
                  </a:lnTo>
                  <a:lnTo>
                    <a:pt x="1263650" y="274638"/>
                  </a:lnTo>
                  <a:lnTo>
                    <a:pt x="1266825" y="265113"/>
                  </a:lnTo>
                  <a:lnTo>
                    <a:pt x="1282700" y="271463"/>
                  </a:lnTo>
                  <a:lnTo>
                    <a:pt x="1292225" y="280988"/>
                  </a:lnTo>
                  <a:lnTo>
                    <a:pt x="1289050" y="285750"/>
                  </a:lnTo>
                  <a:lnTo>
                    <a:pt x="1282700" y="295275"/>
                  </a:lnTo>
                  <a:lnTo>
                    <a:pt x="1279525" y="304800"/>
                  </a:lnTo>
                  <a:lnTo>
                    <a:pt x="1279525" y="311150"/>
                  </a:lnTo>
                  <a:lnTo>
                    <a:pt x="1276350" y="322263"/>
                  </a:lnTo>
                  <a:lnTo>
                    <a:pt x="1276350" y="325438"/>
                  </a:lnTo>
                  <a:lnTo>
                    <a:pt x="1270000" y="334963"/>
                  </a:lnTo>
                  <a:lnTo>
                    <a:pt x="1266825" y="341313"/>
                  </a:lnTo>
                  <a:lnTo>
                    <a:pt x="1263650" y="347663"/>
                  </a:lnTo>
                  <a:lnTo>
                    <a:pt x="1262063" y="360363"/>
                  </a:lnTo>
                  <a:lnTo>
                    <a:pt x="1262063" y="368300"/>
                  </a:lnTo>
                  <a:lnTo>
                    <a:pt x="1262063" y="377825"/>
                  </a:lnTo>
                  <a:lnTo>
                    <a:pt x="1258888" y="387350"/>
                  </a:lnTo>
                  <a:lnTo>
                    <a:pt x="1249363" y="393700"/>
                  </a:lnTo>
                  <a:lnTo>
                    <a:pt x="1243013" y="398463"/>
                  </a:lnTo>
                  <a:lnTo>
                    <a:pt x="1236663" y="407988"/>
                  </a:lnTo>
                  <a:lnTo>
                    <a:pt x="1236663" y="417513"/>
                  </a:lnTo>
                  <a:lnTo>
                    <a:pt x="1233488" y="417513"/>
                  </a:lnTo>
                  <a:lnTo>
                    <a:pt x="1225550" y="417513"/>
                  </a:lnTo>
                  <a:lnTo>
                    <a:pt x="1209675" y="420688"/>
                  </a:lnTo>
                  <a:lnTo>
                    <a:pt x="1200150" y="433388"/>
                  </a:lnTo>
                  <a:lnTo>
                    <a:pt x="1185863" y="438150"/>
                  </a:lnTo>
                  <a:lnTo>
                    <a:pt x="1185863" y="444500"/>
                  </a:lnTo>
                  <a:lnTo>
                    <a:pt x="1182688" y="447675"/>
                  </a:lnTo>
                  <a:lnTo>
                    <a:pt x="1185863" y="454025"/>
                  </a:lnTo>
                  <a:lnTo>
                    <a:pt x="1182688" y="457200"/>
                  </a:lnTo>
                  <a:lnTo>
                    <a:pt x="1166813" y="460375"/>
                  </a:lnTo>
                  <a:lnTo>
                    <a:pt x="1160463" y="457200"/>
                  </a:lnTo>
                  <a:lnTo>
                    <a:pt x="1150938" y="450850"/>
                  </a:lnTo>
                  <a:lnTo>
                    <a:pt x="1146175" y="454025"/>
                  </a:lnTo>
                  <a:lnTo>
                    <a:pt x="1146175" y="457200"/>
                  </a:lnTo>
                  <a:lnTo>
                    <a:pt x="1150938" y="463550"/>
                  </a:lnTo>
                  <a:lnTo>
                    <a:pt x="1154113" y="474663"/>
                  </a:lnTo>
                  <a:lnTo>
                    <a:pt x="1154113" y="481013"/>
                  </a:lnTo>
                  <a:lnTo>
                    <a:pt x="1146175" y="493713"/>
                  </a:lnTo>
                  <a:lnTo>
                    <a:pt x="1143000" y="509588"/>
                  </a:lnTo>
                  <a:lnTo>
                    <a:pt x="1133475" y="514350"/>
                  </a:lnTo>
                  <a:lnTo>
                    <a:pt x="1127125" y="530225"/>
                  </a:lnTo>
                  <a:lnTo>
                    <a:pt x="1123950" y="533400"/>
                  </a:lnTo>
                  <a:lnTo>
                    <a:pt x="1120775" y="533400"/>
                  </a:lnTo>
                  <a:lnTo>
                    <a:pt x="1103313" y="530225"/>
                  </a:lnTo>
                  <a:lnTo>
                    <a:pt x="1100138" y="530225"/>
                  </a:lnTo>
                  <a:lnTo>
                    <a:pt x="1090613" y="530225"/>
                  </a:lnTo>
                  <a:lnTo>
                    <a:pt x="1074738" y="533400"/>
                  </a:lnTo>
                  <a:lnTo>
                    <a:pt x="1066800" y="533400"/>
                  </a:lnTo>
                  <a:lnTo>
                    <a:pt x="1054100" y="527050"/>
                  </a:lnTo>
                  <a:lnTo>
                    <a:pt x="1041400" y="533400"/>
                  </a:lnTo>
                  <a:lnTo>
                    <a:pt x="1041400" y="539750"/>
                  </a:lnTo>
                  <a:lnTo>
                    <a:pt x="1050925" y="557213"/>
                  </a:lnTo>
                  <a:lnTo>
                    <a:pt x="1054100" y="566738"/>
                  </a:lnTo>
                  <a:lnTo>
                    <a:pt x="1060450" y="582613"/>
                  </a:lnTo>
                  <a:lnTo>
                    <a:pt x="1066800" y="590550"/>
                  </a:lnTo>
                  <a:lnTo>
                    <a:pt x="1069975" y="593725"/>
                  </a:lnTo>
                  <a:lnTo>
                    <a:pt x="1066800" y="596900"/>
                  </a:lnTo>
                  <a:lnTo>
                    <a:pt x="1057275" y="596900"/>
                  </a:lnTo>
                  <a:lnTo>
                    <a:pt x="1047750" y="600075"/>
                  </a:lnTo>
                  <a:lnTo>
                    <a:pt x="1041400" y="600075"/>
                  </a:lnTo>
                  <a:lnTo>
                    <a:pt x="1036638" y="603250"/>
                  </a:lnTo>
                  <a:lnTo>
                    <a:pt x="1044575" y="615950"/>
                  </a:lnTo>
                  <a:lnTo>
                    <a:pt x="1041400" y="622300"/>
                  </a:lnTo>
                  <a:lnTo>
                    <a:pt x="1041400" y="630238"/>
                  </a:lnTo>
                  <a:lnTo>
                    <a:pt x="1041400" y="636588"/>
                  </a:lnTo>
                  <a:lnTo>
                    <a:pt x="1050925" y="646113"/>
                  </a:lnTo>
                  <a:lnTo>
                    <a:pt x="1054100" y="646113"/>
                  </a:lnTo>
                  <a:lnTo>
                    <a:pt x="1057275" y="649288"/>
                  </a:lnTo>
                  <a:lnTo>
                    <a:pt x="1063625" y="652463"/>
                  </a:lnTo>
                  <a:lnTo>
                    <a:pt x="1063625" y="665163"/>
                  </a:lnTo>
                  <a:lnTo>
                    <a:pt x="1073150" y="669925"/>
                  </a:lnTo>
                  <a:lnTo>
                    <a:pt x="1081088" y="669925"/>
                  </a:lnTo>
                  <a:lnTo>
                    <a:pt x="1084263" y="669925"/>
                  </a:lnTo>
                  <a:lnTo>
                    <a:pt x="1103313" y="673100"/>
                  </a:lnTo>
                  <a:lnTo>
                    <a:pt x="1114425" y="673100"/>
                  </a:lnTo>
                  <a:lnTo>
                    <a:pt x="1117600" y="673100"/>
                  </a:lnTo>
                  <a:lnTo>
                    <a:pt x="1117600" y="679450"/>
                  </a:lnTo>
                  <a:lnTo>
                    <a:pt x="1114425" y="685800"/>
                  </a:lnTo>
                  <a:lnTo>
                    <a:pt x="1109663" y="695325"/>
                  </a:lnTo>
                  <a:lnTo>
                    <a:pt x="1109663" y="698500"/>
                  </a:lnTo>
                  <a:lnTo>
                    <a:pt x="1106488" y="706438"/>
                  </a:lnTo>
                  <a:lnTo>
                    <a:pt x="1111250" y="715963"/>
                  </a:lnTo>
                  <a:lnTo>
                    <a:pt x="1123950" y="722313"/>
                  </a:lnTo>
                  <a:lnTo>
                    <a:pt x="1127125" y="738188"/>
                  </a:lnTo>
                  <a:lnTo>
                    <a:pt x="1133475" y="744538"/>
                  </a:lnTo>
                  <a:lnTo>
                    <a:pt x="1139825" y="755650"/>
                  </a:lnTo>
                  <a:lnTo>
                    <a:pt x="1139825" y="762000"/>
                  </a:lnTo>
                  <a:lnTo>
                    <a:pt x="1136650" y="771525"/>
                  </a:lnTo>
                  <a:lnTo>
                    <a:pt x="1120775" y="777875"/>
                  </a:lnTo>
                  <a:lnTo>
                    <a:pt x="1111250" y="781050"/>
                  </a:lnTo>
                  <a:lnTo>
                    <a:pt x="1103313" y="785813"/>
                  </a:lnTo>
                  <a:lnTo>
                    <a:pt x="1096963" y="792163"/>
                  </a:lnTo>
                  <a:lnTo>
                    <a:pt x="1087438" y="785813"/>
                  </a:lnTo>
                  <a:lnTo>
                    <a:pt x="1090613" y="781050"/>
                  </a:lnTo>
                  <a:lnTo>
                    <a:pt x="1093788" y="774700"/>
                  </a:lnTo>
                  <a:lnTo>
                    <a:pt x="1087438" y="785813"/>
                  </a:lnTo>
                  <a:lnTo>
                    <a:pt x="1074738" y="788988"/>
                  </a:lnTo>
                  <a:lnTo>
                    <a:pt x="1069975" y="795338"/>
                  </a:lnTo>
                  <a:lnTo>
                    <a:pt x="1066800" y="795338"/>
                  </a:lnTo>
                  <a:lnTo>
                    <a:pt x="1066800" y="804863"/>
                  </a:lnTo>
                  <a:lnTo>
                    <a:pt x="1060450" y="808038"/>
                  </a:lnTo>
                  <a:lnTo>
                    <a:pt x="1060450" y="814388"/>
                  </a:lnTo>
                  <a:lnTo>
                    <a:pt x="1054100" y="811213"/>
                  </a:lnTo>
                  <a:lnTo>
                    <a:pt x="1047750" y="811213"/>
                  </a:lnTo>
                  <a:lnTo>
                    <a:pt x="1038225" y="820738"/>
                  </a:lnTo>
                  <a:lnTo>
                    <a:pt x="1030288" y="814388"/>
                  </a:lnTo>
                  <a:lnTo>
                    <a:pt x="1027113" y="808038"/>
                  </a:lnTo>
                  <a:lnTo>
                    <a:pt x="1017588" y="804863"/>
                  </a:lnTo>
                  <a:lnTo>
                    <a:pt x="1008063" y="795338"/>
                  </a:lnTo>
                  <a:lnTo>
                    <a:pt x="1008063" y="788988"/>
                  </a:lnTo>
                  <a:lnTo>
                    <a:pt x="1004888" y="781050"/>
                  </a:lnTo>
                  <a:lnTo>
                    <a:pt x="1008063" y="771525"/>
                  </a:lnTo>
                  <a:lnTo>
                    <a:pt x="1001713" y="765175"/>
                  </a:lnTo>
                  <a:lnTo>
                    <a:pt x="1001713" y="755650"/>
                  </a:lnTo>
                  <a:lnTo>
                    <a:pt x="998538" y="755650"/>
                  </a:lnTo>
                  <a:lnTo>
                    <a:pt x="998538" y="758825"/>
                  </a:lnTo>
                  <a:lnTo>
                    <a:pt x="993775" y="758825"/>
                  </a:lnTo>
                  <a:lnTo>
                    <a:pt x="984250" y="768350"/>
                  </a:lnTo>
                  <a:lnTo>
                    <a:pt x="977900" y="765175"/>
                  </a:lnTo>
                  <a:lnTo>
                    <a:pt x="971550" y="771525"/>
                  </a:lnTo>
                  <a:lnTo>
                    <a:pt x="965200" y="771525"/>
                  </a:lnTo>
                  <a:lnTo>
                    <a:pt x="962025" y="777875"/>
                  </a:lnTo>
                  <a:lnTo>
                    <a:pt x="950913" y="781050"/>
                  </a:lnTo>
                  <a:lnTo>
                    <a:pt x="944563" y="785813"/>
                  </a:lnTo>
                  <a:lnTo>
                    <a:pt x="931863" y="795338"/>
                  </a:lnTo>
                  <a:lnTo>
                    <a:pt x="928688" y="788988"/>
                  </a:lnTo>
                  <a:lnTo>
                    <a:pt x="931863" y="777875"/>
                  </a:lnTo>
                  <a:lnTo>
                    <a:pt x="941388" y="774700"/>
                  </a:lnTo>
                  <a:lnTo>
                    <a:pt x="947738" y="768350"/>
                  </a:lnTo>
                  <a:lnTo>
                    <a:pt x="944563" y="765175"/>
                  </a:lnTo>
                  <a:lnTo>
                    <a:pt x="947738" y="755650"/>
                  </a:lnTo>
                  <a:lnTo>
                    <a:pt x="944563" y="746125"/>
                  </a:lnTo>
                  <a:lnTo>
                    <a:pt x="931863" y="749300"/>
                  </a:lnTo>
                  <a:lnTo>
                    <a:pt x="931863" y="755650"/>
                  </a:lnTo>
                  <a:lnTo>
                    <a:pt x="922338" y="755650"/>
                  </a:lnTo>
                  <a:lnTo>
                    <a:pt x="920750" y="762000"/>
                  </a:lnTo>
                  <a:lnTo>
                    <a:pt x="917575" y="762000"/>
                  </a:lnTo>
                  <a:lnTo>
                    <a:pt x="908050" y="758825"/>
                  </a:lnTo>
                  <a:lnTo>
                    <a:pt x="901700" y="768350"/>
                  </a:lnTo>
                  <a:lnTo>
                    <a:pt x="898525" y="762000"/>
                  </a:lnTo>
                  <a:lnTo>
                    <a:pt x="892175" y="771525"/>
                  </a:lnTo>
                  <a:lnTo>
                    <a:pt x="889000" y="768350"/>
                  </a:lnTo>
                  <a:lnTo>
                    <a:pt x="889000" y="774700"/>
                  </a:lnTo>
                  <a:lnTo>
                    <a:pt x="881063" y="774700"/>
                  </a:lnTo>
                  <a:lnTo>
                    <a:pt x="877888" y="774700"/>
                  </a:lnTo>
                  <a:lnTo>
                    <a:pt x="881063" y="768350"/>
                  </a:lnTo>
                  <a:lnTo>
                    <a:pt x="865188" y="758825"/>
                  </a:lnTo>
                  <a:lnTo>
                    <a:pt x="868363" y="746125"/>
                  </a:lnTo>
                  <a:lnTo>
                    <a:pt x="862013" y="744538"/>
                  </a:lnTo>
                  <a:lnTo>
                    <a:pt x="858838" y="735013"/>
                  </a:lnTo>
                  <a:lnTo>
                    <a:pt x="847725" y="728663"/>
                  </a:lnTo>
                  <a:lnTo>
                    <a:pt x="847725" y="725488"/>
                  </a:lnTo>
                  <a:lnTo>
                    <a:pt x="849313" y="719138"/>
                  </a:lnTo>
                  <a:lnTo>
                    <a:pt x="841375" y="709613"/>
                  </a:lnTo>
                  <a:lnTo>
                    <a:pt x="838200" y="706438"/>
                  </a:lnTo>
                  <a:lnTo>
                    <a:pt x="835025" y="709613"/>
                  </a:lnTo>
                  <a:lnTo>
                    <a:pt x="831850" y="706438"/>
                  </a:lnTo>
                  <a:lnTo>
                    <a:pt x="828675" y="709613"/>
                  </a:lnTo>
                  <a:lnTo>
                    <a:pt x="819150" y="712788"/>
                  </a:lnTo>
                  <a:lnTo>
                    <a:pt x="809625" y="719138"/>
                  </a:lnTo>
                  <a:lnTo>
                    <a:pt x="804863" y="725488"/>
                  </a:lnTo>
                  <a:lnTo>
                    <a:pt x="798513" y="725488"/>
                  </a:lnTo>
                  <a:lnTo>
                    <a:pt x="792163" y="728663"/>
                  </a:lnTo>
                  <a:lnTo>
                    <a:pt x="788988" y="725488"/>
                  </a:lnTo>
                  <a:lnTo>
                    <a:pt x="782638" y="725488"/>
                  </a:lnTo>
                  <a:lnTo>
                    <a:pt x="776288" y="728663"/>
                  </a:lnTo>
                  <a:lnTo>
                    <a:pt x="776288" y="735013"/>
                  </a:lnTo>
                  <a:lnTo>
                    <a:pt x="771525" y="738188"/>
                  </a:lnTo>
                  <a:lnTo>
                    <a:pt x="768350" y="731838"/>
                  </a:lnTo>
                  <a:lnTo>
                    <a:pt x="765175" y="731838"/>
                  </a:lnTo>
                  <a:lnTo>
                    <a:pt x="762000" y="725488"/>
                  </a:lnTo>
                  <a:lnTo>
                    <a:pt x="758825" y="728663"/>
                  </a:lnTo>
                  <a:lnTo>
                    <a:pt x="755650" y="722313"/>
                  </a:lnTo>
                  <a:lnTo>
                    <a:pt x="746125" y="715963"/>
                  </a:lnTo>
                  <a:lnTo>
                    <a:pt x="742950" y="722313"/>
                  </a:lnTo>
                  <a:lnTo>
                    <a:pt x="736600" y="722313"/>
                  </a:lnTo>
                  <a:lnTo>
                    <a:pt x="742950" y="715963"/>
                  </a:lnTo>
                  <a:lnTo>
                    <a:pt x="739775" y="706438"/>
                  </a:lnTo>
                  <a:lnTo>
                    <a:pt x="733425" y="706438"/>
                  </a:lnTo>
                  <a:lnTo>
                    <a:pt x="731838" y="709613"/>
                  </a:lnTo>
                  <a:lnTo>
                    <a:pt x="725488" y="704850"/>
                  </a:lnTo>
                  <a:lnTo>
                    <a:pt x="719138" y="706438"/>
                  </a:lnTo>
                  <a:lnTo>
                    <a:pt x="709613" y="704850"/>
                  </a:lnTo>
                  <a:lnTo>
                    <a:pt x="706438" y="698500"/>
                  </a:lnTo>
                  <a:lnTo>
                    <a:pt x="703263" y="688975"/>
                  </a:lnTo>
                  <a:lnTo>
                    <a:pt x="696913" y="685800"/>
                  </a:lnTo>
                  <a:lnTo>
                    <a:pt x="692150" y="685800"/>
                  </a:lnTo>
                  <a:lnTo>
                    <a:pt x="688975" y="679450"/>
                  </a:lnTo>
                  <a:lnTo>
                    <a:pt x="688975" y="669925"/>
                  </a:lnTo>
                  <a:lnTo>
                    <a:pt x="692150" y="661988"/>
                  </a:lnTo>
                  <a:lnTo>
                    <a:pt x="688975" y="661988"/>
                  </a:lnTo>
                  <a:lnTo>
                    <a:pt x="685800" y="661988"/>
                  </a:lnTo>
                  <a:lnTo>
                    <a:pt x="679450" y="661988"/>
                  </a:lnTo>
                  <a:lnTo>
                    <a:pt x="682625" y="665163"/>
                  </a:lnTo>
                  <a:lnTo>
                    <a:pt x="676275" y="673100"/>
                  </a:lnTo>
                  <a:lnTo>
                    <a:pt x="658813" y="676275"/>
                  </a:lnTo>
                  <a:lnTo>
                    <a:pt x="655638" y="673100"/>
                  </a:lnTo>
                  <a:lnTo>
                    <a:pt x="652463" y="669925"/>
                  </a:lnTo>
                  <a:lnTo>
                    <a:pt x="646113" y="668338"/>
                  </a:lnTo>
                  <a:lnTo>
                    <a:pt x="630238" y="673100"/>
                  </a:lnTo>
                  <a:lnTo>
                    <a:pt x="619125" y="673100"/>
                  </a:lnTo>
                  <a:lnTo>
                    <a:pt x="612775" y="676275"/>
                  </a:lnTo>
                  <a:lnTo>
                    <a:pt x="600075" y="682625"/>
                  </a:lnTo>
                  <a:lnTo>
                    <a:pt x="600075" y="685800"/>
                  </a:lnTo>
                  <a:lnTo>
                    <a:pt x="596900" y="698500"/>
                  </a:lnTo>
                  <a:lnTo>
                    <a:pt x="590550" y="701675"/>
                  </a:lnTo>
                  <a:lnTo>
                    <a:pt x="582613" y="701675"/>
                  </a:lnTo>
                  <a:lnTo>
                    <a:pt x="579438" y="704850"/>
                  </a:lnTo>
                  <a:lnTo>
                    <a:pt x="569913" y="704850"/>
                  </a:lnTo>
                  <a:lnTo>
                    <a:pt x="563563" y="709613"/>
                  </a:lnTo>
                  <a:lnTo>
                    <a:pt x="554038" y="719138"/>
                  </a:lnTo>
                  <a:lnTo>
                    <a:pt x="542925" y="725488"/>
                  </a:lnTo>
                  <a:lnTo>
                    <a:pt x="530225" y="715963"/>
                  </a:lnTo>
                  <a:lnTo>
                    <a:pt x="520700" y="715963"/>
                  </a:lnTo>
                  <a:lnTo>
                    <a:pt x="514350" y="725488"/>
                  </a:lnTo>
                  <a:lnTo>
                    <a:pt x="517525" y="728663"/>
                  </a:lnTo>
                  <a:lnTo>
                    <a:pt x="530225" y="738188"/>
                  </a:lnTo>
                  <a:lnTo>
                    <a:pt x="536575" y="746125"/>
                  </a:lnTo>
                  <a:lnTo>
                    <a:pt x="533400" y="758825"/>
                  </a:lnTo>
                  <a:lnTo>
                    <a:pt x="536575" y="765175"/>
                  </a:lnTo>
                  <a:lnTo>
                    <a:pt x="530225" y="774700"/>
                  </a:lnTo>
                  <a:lnTo>
                    <a:pt x="527050" y="777875"/>
                  </a:lnTo>
                  <a:lnTo>
                    <a:pt x="517525" y="788988"/>
                  </a:lnTo>
                  <a:lnTo>
                    <a:pt x="508000" y="798513"/>
                  </a:lnTo>
                  <a:lnTo>
                    <a:pt x="500063" y="798513"/>
                  </a:lnTo>
                  <a:lnTo>
                    <a:pt x="503238" y="801688"/>
                  </a:lnTo>
                  <a:lnTo>
                    <a:pt x="500063" y="801688"/>
                  </a:lnTo>
                  <a:lnTo>
                    <a:pt x="500063" y="808038"/>
                  </a:lnTo>
                  <a:lnTo>
                    <a:pt x="493713" y="811213"/>
                  </a:lnTo>
                  <a:lnTo>
                    <a:pt x="474662" y="814388"/>
                  </a:lnTo>
                  <a:lnTo>
                    <a:pt x="471487" y="817563"/>
                  </a:lnTo>
                  <a:lnTo>
                    <a:pt x="466725" y="820738"/>
                  </a:lnTo>
                  <a:lnTo>
                    <a:pt x="466725" y="828675"/>
                  </a:lnTo>
                  <a:lnTo>
                    <a:pt x="460375" y="825500"/>
                  </a:lnTo>
                  <a:lnTo>
                    <a:pt x="463550" y="822325"/>
                  </a:lnTo>
                  <a:lnTo>
                    <a:pt x="457200" y="822325"/>
                  </a:lnTo>
                  <a:lnTo>
                    <a:pt x="457200" y="820738"/>
                  </a:lnTo>
                  <a:lnTo>
                    <a:pt x="447675" y="822325"/>
                  </a:lnTo>
                  <a:lnTo>
                    <a:pt x="434975" y="817563"/>
                  </a:lnTo>
                  <a:lnTo>
                    <a:pt x="431800" y="820738"/>
                  </a:lnTo>
                  <a:lnTo>
                    <a:pt x="430212" y="820738"/>
                  </a:lnTo>
                  <a:lnTo>
                    <a:pt x="427037" y="814388"/>
                  </a:lnTo>
                  <a:lnTo>
                    <a:pt x="420687" y="814388"/>
                  </a:lnTo>
                  <a:lnTo>
                    <a:pt x="420687" y="811213"/>
                  </a:lnTo>
                  <a:lnTo>
                    <a:pt x="411162" y="808038"/>
                  </a:lnTo>
                  <a:lnTo>
                    <a:pt x="411162" y="804863"/>
                  </a:lnTo>
                  <a:lnTo>
                    <a:pt x="401637" y="808038"/>
                  </a:lnTo>
                  <a:lnTo>
                    <a:pt x="395287" y="795338"/>
                  </a:lnTo>
                  <a:lnTo>
                    <a:pt x="384175" y="792163"/>
                  </a:lnTo>
                  <a:lnTo>
                    <a:pt x="381000" y="798513"/>
                  </a:lnTo>
                  <a:lnTo>
                    <a:pt x="368300" y="798513"/>
                  </a:lnTo>
                  <a:lnTo>
                    <a:pt x="368300" y="795338"/>
                  </a:lnTo>
                  <a:lnTo>
                    <a:pt x="358775" y="795338"/>
                  </a:lnTo>
                  <a:lnTo>
                    <a:pt x="358775" y="792163"/>
                  </a:lnTo>
                  <a:lnTo>
                    <a:pt x="350837" y="792163"/>
                  </a:lnTo>
                  <a:lnTo>
                    <a:pt x="344487" y="795338"/>
                  </a:lnTo>
                  <a:lnTo>
                    <a:pt x="331787" y="795338"/>
                  </a:lnTo>
                  <a:lnTo>
                    <a:pt x="328612" y="792163"/>
                  </a:lnTo>
                  <a:lnTo>
                    <a:pt x="325437" y="792163"/>
                  </a:lnTo>
                  <a:lnTo>
                    <a:pt x="328612" y="785813"/>
                  </a:lnTo>
                  <a:lnTo>
                    <a:pt x="322262" y="782638"/>
                  </a:lnTo>
                  <a:lnTo>
                    <a:pt x="325437" y="781050"/>
                  </a:lnTo>
                  <a:lnTo>
                    <a:pt x="322262" y="781050"/>
                  </a:lnTo>
                  <a:lnTo>
                    <a:pt x="322262" y="774700"/>
                  </a:lnTo>
                  <a:lnTo>
                    <a:pt x="319087" y="771525"/>
                  </a:lnTo>
                  <a:lnTo>
                    <a:pt x="328612" y="762000"/>
                  </a:lnTo>
                  <a:lnTo>
                    <a:pt x="322262" y="755650"/>
                  </a:lnTo>
                  <a:lnTo>
                    <a:pt x="322262" y="749300"/>
                  </a:lnTo>
                  <a:lnTo>
                    <a:pt x="331787" y="741363"/>
                  </a:lnTo>
                  <a:lnTo>
                    <a:pt x="334962" y="735013"/>
                  </a:lnTo>
                  <a:lnTo>
                    <a:pt x="331787" y="731838"/>
                  </a:lnTo>
                  <a:lnTo>
                    <a:pt x="328612" y="731838"/>
                  </a:lnTo>
                  <a:lnTo>
                    <a:pt x="319087" y="744538"/>
                  </a:lnTo>
                  <a:lnTo>
                    <a:pt x="314325" y="746125"/>
                  </a:lnTo>
                  <a:lnTo>
                    <a:pt x="307975" y="746125"/>
                  </a:lnTo>
                  <a:lnTo>
                    <a:pt x="301625" y="749300"/>
                  </a:lnTo>
                  <a:lnTo>
                    <a:pt x="301625" y="746125"/>
                  </a:lnTo>
                  <a:lnTo>
                    <a:pt x="288925" y="741363"/>
                  </a:lnTo>
                  <a:lnTo>
                    <a:pt x="274637" y="744538"/>
                  </a:lnTo>
                  <a:lnTo>
                    <a:pt x="268287" y="741363"/>
                  </a:lnTo>
                  <a:lnTo>
                    <a:pt x="265112" y="735013"/>
                  </a:lnTo>
                  <a:lnTo>
                    <a:pt x="252412" y="731838"/>
                  </a:lnTo>
                  <a:lnTo>
                    <a:pt x="252412" y="728663"/>
                  </a:lnTo>
                  <a:lnTo>
                    <a:pt x="246062" y="725488"/>
                  </a:lnTo>
                  <a:lnTo>
                    <a:pt x="242887" y="722313"/>
                  </a:lnTo>
                  <a:lnTo>
                    <a:pt x="228600" y="719138"/>
                  </a:lnTo>
                  <a:lnTo>
                    <a:pt x="225425" y="715963"/>
                  </a:lnTo>
                  <a:lnTo>
                    <a:pt x="215900" y="715963"/>
                  </a:lnTo>
                  <a:lnTo>
                    <a:pt x="219075" y="712788"/>
                  </a:lnTo>
                  <a:lnTo>
                    <a:pt x="212725" y="709613"/>
                  </a:lnTo>
                  <a:lnTo>
                    <a:pt x="212725" y="706438"/>
                  </a:lnTo>
                  <a:lnTo>
                    <a:pt x="206375" y="706438"/>
                  </a:lnTo>
                  <a:lnTo>
                    <a:pt x="201612" y="704850"/>
                  </a:lnTo>
                  <a:lnTo>
                    <a:pt x="188912" y="704850"/>
                  </a:lnTo>
                  <a:lnTo>
                    <a:pt x="182562" y="704850"/>
                  </a:lnTo>
                  <a:lnTo>
                    <a:pt x="176212" y="695325"/>
                  </a:lnTo>
                  <a:lnTo>
                    <a:pt x="169862" y="688975"/>
                  </a:lnTo>
                  <a:lnTo>
                    <a:pt x="161925" y="682625"/>
                  </a:lnTo>
                  <a:lnTo>
                    <a:pt x="165100" y="669925"/>
                  </a:lnTo>
                  <a:lnTo>
                    <a:pt x="161925" y="668338"/>
                  </a:lnTo>
                  <a:lnTo>
                    <a:pt x="158750" y="669925"/>
                  </a:lnTo>
                  <a:lnTo>
                    <a:pt x="161925" y="665163"/>
                  </a:lnTo>
                  <a:lnTo>
                    <a:pt x="155575" y="661988"/>
                  </a:lnTo>
                  <a:lnTo>
                    <a:pt x="152400" y="649288"/>
                  </a:lnTo>
                  <a:lnTo>
                    <a:pt x="152400" y="642938"/>
                  </a:lnTo>
                  <a:lnTo>
                    <a:pt x="149225" y="639763"/>
                  </a:lnTo>
                  <a:lnTo>
                    <a:pt x="155575" y="630238"/>
                  </a:lnTo>
                  <a:lnTo>
                    <a:pt x="152400" y="630238"/>
                  </a:lnTo>
                  <a:lnTo>
                    <a:pt x="155575" y="628650"/>
                  </a:lnTo>
                  <a:lnTo>
                    <a:pt x="161925" y="628650"/>
                  </a:lnTo>
                  <a:lnTo>
                    <a:pt x="155575" y="619125"/>
                  </a:lnTo>
                  <a:lnTo>
                    <a:pt x="161925" y="612775"/>
                  </a:lnTo>
                  <a:lnTo>
                    <a:pt x="158750" y="600075"/>
                  </a:lnTo>
                  <a:lnTo>
                    <a:pt x="152400" y="596900"/>
                  </a:lnTo>
                  <a:lnTo>
                    <a:pt x="155575" y="593725"/>
                  </a:lnTo>
                  <a:lnTo>
                    <a:pt x="152400" y="590550"/>
                  </a:lnTo>
                  <a:lnTo>
                    <a:pt x="158750" y="579438"/>
                  </a:lnTo>
                  <a:lnTo>
                    <a:pt x="152400" y="569913"/>
                  </a:lnTo>
                  <a:lnTo>
                    <a:pt x="158750" y="557213"/>
                  </a:lnTo>
                  <a:lnTo>
                    <a:pt x="158750" y="552450"/>
                  </a:lnTo>
                  <a:lnTo>
                    <a:pt x="152400" y="542925"/>
                  </a:lnTo>
                  <a:lnTo>
                    <a:pt x="146050" y="533400"/>
                  </a:lnTo>
                  <a:lnTo>
                    <a:pt x="146050" y="527050"/>
                  </a:lnTo>
                  <a:lnTo>
                    <a:pt x="146050" y="520700"/>
                  </a:lnTo>
                  <a:lnTo>
                    <a:pt x="142875" y="512763"/>
                  </a:lnTo>
                  <a:lnTo>
                    <a:pt x="146050" y="496888"/>
                  </a:lnTo>
                  <a:lnTo>
                    <a:pt x="142875" y="487363"/>
                  </a:lnTo>
                  <a:lnTo>
                    <a:pt x="142875" y="481013"/>
                  </a:lnTo>
                  <a:lnTo>
                    <a:pt x="139700" y="484188"/>
                  </a:lnTo>
                  <a:lnTo>
                    <a:pt x="136525" y="473075"/>
                  </a:lnTo>
                  <a:lnTo>
                    <a:pt x="133350" y="473075"/>
                  </a:lnTo>
                  <a:lnTo>
                    <a:pt x="130175" y="469900"/>
                  </a:lnTo>
                  <a:lnTo>
                    <a:pt x="136525" y="457200"/>
                  </a:lnTo>
                  <a:lnTo>
                    <a:pt x="136525" y="441325"/>
                  </a:lnTo>
                  <a:lnTo>
                    <a:pt x="142875" y="436563"/>
                  </a:lnTo>
                  <a:lnTo>
                    <a:pt x="155575" y="433388"/>
                  </a:lnTo>
                  <a:lnTo>
                    <a:pt x="161925" y="430213"/>
                  </a:lnTo>
                  <a:lnTo>
                    <a:pt x="168275" y="433388"/>
                  </a:lnTo>
                  <a:lnTo>
                    <a:pt x="176212" y="436563"/>
                  </a:lnTo>
                  <a:lnTo>
                    <a:pt x="176212" y="430213"/>
                  </a:lnTo>
                  <a:lnTo>
                    <a:pt x="182562" y="420688"/>
                  </a:lnTo>
                  <a:lnTo>
                    <a:pt x="179387" y="417513"/>
                  </a:lnTo>
                  <a:lnTo>
                    <a:pt x="185737" y="407988"/>
                  </a:lnTo>
                  <a:lnTo>
                    <a:pt x="188912" y="398463"/>
                  </a:lnTo>
                  <a:lnTo>
                    <a:pt x="198437" y="396875"/>
                  </a:lnTo>
                  <a:lnTo>
                    <a:pt x="206375" y="396875"/>
                  </a:lnTo>
                  <a:lnTo>
                    <a:pt x="209550" y="393700"/>
                  </a:lnTo>
                  <a:lnTo>
                    <a:pt x="222250" y="393700"/>
                  </a:lnTo>
                  <a:lnTo>
                    <a:pt x="225425" y="390525"/>
                  </a:lnTo>
                  <a:lnTo>
                    <a:pt x="228600" y="387350"/>
                  </a:lnTo>
                  <a:lnTo>
                    <a:pt x="231775" y="384175"/>
                  </a:lnTo>
                  <a:lnTo>
                    <a:pt x="242887" y="377825"/>
                  </a:lnTo>
                  <a:lnTo>
                    <a:pt x="242887" y="374650"/>
                  </a:lnTo>
                  <a:lnTo>
                    <a:pt x="249237" y="371475"/>
                  </a:lnTo>
                  <a:lnTo>
                    <a:pt x="246062" y="368300"/>
                  </a:lnTo>
                  <a:lnTo>
                    <a:pt x="246062" y="361950"/>
                  </a:lnTo>
                  <a:lnTo>
                    <a:pt x="255587" y="357188"/>
                  </a:lnTo>
                  <a:lnTo>
                    <a:pt x="249237" y="350838"/>
                  </a:lnTo>
                  <a:lnTo>
                    <a:pt x="255587" y="341313"/>
                  </a:lnTo>
                  <a:lnTo>
                    <a:pt x="261937" y="341313"/>
                  </a:lnTo>
                  <a:lnTo>
                    <a:pt x="255587" y="338138"/>
                  </a:lnTo>
                  <a:lnTo>
                    <a:pt x="255587" y="334963"/>
                  </a:lnTo>
                  <a:lnTo>
                    <a:pt x="252412" y="334963"/>
                  </a:lnTo>
                  <a:lnTo>
                    <a:pt x="242887" y="334963"/>
                  </a:lnTo>
                  <a:lnTo>
                    <a:pt x="241300" y="328613"/>
                  </a:lnTo>
                  <a:lnTo>
                    <a:pt x="231775" y="331788"/>
                  </a:lnTo>
                  <a:lnTo>
                    <a:pt x="225425" y="322263"/>
                  </a:lnTo>
                  <a:lnTo>
                    <a:pt x="219075" y="325438"/>
                  </a:lnTo>
                  <a:lnTo>
                    <a:pt x="209550" y="320675"/>
                  </a:lnTo>
                  <a:lnTo>
                    <a:pt x="198437" y="322263"/>
                  </a:lnTo>
                  <a:lnTo>
                    <a:pt x="195262" y="314325"/>
                  </a:lnTo>
                  <a:lnTo>
                    <a:pt x="188912" y="304800"/>
                  </a:lnTo>
                  <a:lnTo>
                    <a:pt x="195262" y="292100"/>
                  </a:lnTo>
                  <a:lnTo>
                    <a:pt x="201612" y="282575"/>
                  </a:lnTo>
                  <a:lnTo>
                    <a:pt x="201612" y="280988"/>
                  </a:lnTo>
                  <a:lnTo>
                    <a:pt x="206375" y="274638"/>
                  </a:lnTo>
                  <a:lnTo>
                    <a:pt x="209550" y="271463"/>
                  </a:lnTo>
                  <a:lnTo>
                    <a:pt x="201612" y="271463"/>
                  </a:lnTo>
                  <a:lnTo>
                    <a:pt x="198437" y="268288"/>
                  </a:lnTo>
                  <a:lnTo>
                    <a:pt x="188912" y="268288"/>
                  </a:lnTo>
                  <a:lnTo>
                    <a:pt x="179387" y="265113"/>
                  </a:lnTo>
                  <a:lnTo>
                    <a:pt x="169862" y="268288"/>
                  </a:lnTo>
                  <a:lnTo>
                    <a:pt x="165100" y="265113"/>
                  </a:lnTo>
                  <a:lnTo>
                    <a:pt x="149225" y="268288"/>
                  </a:lnTo>
                  <a:lnTo>
                    <a:pt x="149225" y="261938"/>
                  </a:lnTo>
                  <a:lnTo>
                    <a:pt x="136525" y="255588"/>
                  </a:lnTo>
                  <a:lnTo>
                    <a:pt x="133350" y="246063"/>
                  </a:lnTo>
                  <a:lnTo>
                    <a:pt x="125412" y="244475"/>
                  </a:lnTo>
                  <a:lnTo>
                    <a:pt x="119062" y="246063"/>
                  </a:lnTo>
                  <a:lnTo>
                    <a:pt x="109537" y="241300"/>
                  </a:lnTo>
                  <a:lnTo>
                    <a:pt x="115887" y="228600"/>
                  </a:lnTo>
                  <a:lnTo>
                    <a:pt x="112712" y="215900"/>
                  </a:lnTo>
                  <a:lnTo>
                    <a:pt x="112712" y="212725"/>
                  </a:lnTo>
                  <a:lnTo>
                    <a:pt x="106362" y="215900"/>
                  </a:lnTo>
                  <a:lnTo>
                    <a:pt x="96837" y="209550"/>
                  </a:lnTo>
                  <a:lnTo>
                    <a:pt x="85725" y="215900"/>
                  </a:lnTo>
                  <a:lnTo>
                    <a:pt x="76200" y="209550"/>
                  </a:lnTo>
                  <a:lnTo>
                    <a:pt x="76200" y="212725"/>
                  </a:lnTo>
                  <a:lnTo>
                    <a:pt x="79375" y="215900"/>
                  </a:lnTo>
                  <a:lnTo>
                    <a:pt x="73025" y="215900"/>
                  </a:lnTo>
                  <a:lnTo>
                    <a:pt x="63500" y="219075"/>
                  </a:lnTo>
                  <a:lnTo>
                    <a:pt x="60325" y="212725"/>
                  </a:lnTo>
                  <a:lnTo>
                    <a:pt x="52387" y="206375"/>
                  </a:lnTo>
                  <a:lnTo>
                    <a:pt x="49212" y="215900"/>
                  </a:lnTo>
                  <a:lnTo>
                    <a:pt x="39687" y="219075"/>
                  </a:lnTo>
                  <a:lnTo>
                    <a:pt x="36512" y="212725"/>
                  </a:lnTo>
                  <a:lnTo>
                    <a:pt x="30162" y="212725"/>
                  </a:lnTo>
                  <a:lnTo>
                    <a:pt x="23812" y="215900"/>
                  </a:lnTo>
                  <a:lnTo>
                    <a:pt x="17462" y="209550"/>
                  </a:lnTo>
                  <a:lnTo>
                    <a:pt x="12700" y="212725"/>
                  </a:lnTo>
                  <a:lnTo>
                    <a:pt x="12700" y="209550"/>
                  </a:lnTo>
                  <a:lnTo>
                    <a:pt x="3175" y="206375"/>
                  </a:lnTo>
                  <a:lnTo>
                    <a:pt x="0" y="201613"/>
                  </a:lnTo>
                  <a:lnTo>
                    <a:pt x="9525" y="195263"/>
                  </a:lnTo>
                  <a:lnTo>
                    <a:pt x="12700" y="185738"/>
                  </a:lnTo>
                  <a:lnTo>
                    <a:pt x="6350" y="173038"/>
                  </a:lnTo>
                  <a:lnTo>
                    <a:pt x="6350" y="166688"/>
                  </a:lnTo>
                  <a:lnTo>
                    <a:pt x="12700" y="165100"/>
                  </a:lnTo>
                  <a:lnTo>
                    <a:pt x="12700" y="152400"/>
                  </a:lnTo>
                  <a:lnTo>
                    <a:pt x="15875" y="149225"/>
                  </a:lnTo>
                  <a:lnTo>
                    <a:pt x="17462" y="142875"/>
                  </a:lnTo>
                  <a:lnTo>
                    <a:pt x="20637" y="139700"/>
                  </a:lnTo>
                  <a:lnTo>
                    <a:pt x="33337" y="146050"/>
                  </a:lnTo>
                  <a:lnTo>
                    <a:pt x="33337" y="139700"/>
                  </a:lnTo>
                  <a:lnTo>
                    <a:pt x="42862" y="136525"/>
                  </a:lnTo>
                  <a:lnTo>
                    <a:pt x="46037" y="136525"/>
                  </a:lnTo>
                  <a:lnTo>
                    <a:pt x="57150" y="125412"/>
                  </a:lnTo>
                  <a:lnTo>
                    <a:pt x="63500" y="125412"/>
                  </a:lnTo>
                  <a:lnTo>
                    <a:pt x="66675" y="122237"/>
                  </a:lnTo>
                  <a:lnTo>
                    <a:pt x="63500" y="112712"/>
                  </a:lnTo>
                  <a:lnTo>
                    <a:pt x="73025" y="109537"/>
                  </a:lnTo>
                  <a:lnTo>
                    <a:pt x="85725" y="109537"/>
                  </a:lnTo>
                  <a:lnTo>
                    <a:pt x="88900" y="100012"/>
                  </a:lnTo>
                  <a:lnTo>
                    <a:pt x="96837" y="93662"/>
                  </a:lnTo>
                  <a:lnTo>
                    <a:pt x="106362" y="82550"/>
                  </a:lnTo>
                  <a:lnTo>
                    <a:pt x="103187" y="79375"/>
                  </a:lnTo>
                  <a:lnTo>
                    <a:pt x="100012" y="66675"/>
                  </a:lnTo>
                  <a:lnTo>
                    <a:pt x="109537" y="69850"/>
                  </a:lnTo>
                  <a:lnTo>
                    <a:pt x="122237" y="63500"/>
                  </a:lnTo>
                  <a:lnTo>
                    <a:pt x="125412" y="66675"/>
                  </a:lnTo>
                  <a:lnTo>
                    <a:pt x="130175" y="66675"/>
                  </a:lnTo>
                  <a:lnTo>
                    <a:pt x="130175" y="63500"/>
                  </a:lnTo>
                  <a:lnTo>
                    <a:pt x="139700" y="66675"/>
                  </a:lnTo>
                  <a:lnTo>
                    <a:pt x="149225" y="63500"/>
                  </a:lnTo>
                  <a:lnTo>
                    <a:pt x="149225" y="60325"/>
                  </a:lnTo>
                  <a:lnTo>
                    <a:pt x="161925" y="57150"/>
                  </a:lnTo>
                  <a:lnTo>
                    <a:pt x="173037" y="63500"/>
                  </a:lnTo>
                  <a:lnTo>
                    <a:pt x="185737" y="63500"/>
                  </a:lnTo>
                  <a:lnTo>
                    <a:pt x="188912" y="66675"/>
                  </a:lnTo>
                  <a:lnTo>
                    <a:pt x="204787" y="69850"/>
                  </a:lnTo>
                  <a:lnTo>
                    <a:pt x="209550" y="63500"/>
                  </a:lnTo>
                  <a:lnTo>
                    <a:pt x="219075" y="66675"/>
                  </a:lnTo>
                  <a:lnTo>
                    <a:pt x="228600" y="63500"/>
                  </a:lnTo>
                  <a:lnTo>
                    <a:pt x="234950" y="66675"/>
                  </a:lnTo>
                  <a:lnTo>
                    <a:pt x="238125" y="66675"/>
                  </a:lnTo>
                  <a:lnTo>
                    <a:pt x="238125" y="60325"/>
                  </a:lnTo>
                  <a:lnTo>
                    <a:pt x="234950" y="60325"/>
                  </a:lnTo>
                  <a:lnTo>
                    <a:pt x="238125" y="57150"/>
                  </a:lnTo>
                  <a:lnTo>
                    <a:pt x="234950" y="53975"/>
                  </a:lnTo>
                  <a:lnTo>
                    <a:pt x="225425" y="50800"/>
                  </a:lnTo>
                  <a:lnTo>
                    <a:pt x="222250" y="46037"/>
                  </a:lnTo>
                  <a:lnTo>
                    <a:pt x="219075" y="49212"/>
                  </a:lnTo>
                  <a:lnTo>
                    <a:pt x="206375" y="42862"/>
                  </a:lnTo>
                  <a:lnTo>
                    <a:pt x="209550" y="39687"/>
                  </a:lnTo>
                  <a:lnTo>
                    <a:pt x="204787" y="36512"/>
                  </a:lnTo>
                  <a:lnTo>
                    <a:pt x="204787" y="30162"/>
                  </a:lnTo>
                  <a:lnTo>
                    <a:pt x="219075" y="30162"/>
                  </a:lnTo>
                  <a:lnTo>
                    <a:pt x="228600" y="33337"/>
                  </a:lnTo>
                  <a:lnTo>
                    <a:pt x="234950" y="26987"/>
                  </a:lnTo>
                  <a:lnTo>
                    <a:pt x="241300" y="30162"/>
                  </a:lnTo>
                  <a:lnTo>
                    <a:pt x="242887" y="33337"/>
                  </a:lnTo>
                  <a:lnTo>
                    <a:pt x="241300" y="36512"/>
                  </a:lnTo>
                  <a:lnTo>
                    <a:pt x="246062" y="36512"/>
                  </a:lnTo>
                  <a:lnTo>
                    <a:pt x="252412" y="42862"/>
                  </a:lnTo>
                  <a:lnTo>
                    <a:pt x="265112" y="46037"/>
                  </a:lnTo>
                  <a:lnTo>
                    <a:pt x="268287" y="42862"/>
                  </a:lnTo>
                  <a:lnTo>
                    <a:pt x="277812" y="42862"/>
                  </a:lnTo>
                  <a:lnTo>
                    <a:pt x="282575" y="33337"/>
                  </a:lnTo>
                  <a:lnTo>
                    <a:pt x="285750" y="30162"/>
                  </a:lnTo>
                  <a:lnTo>
                    <a:pt x="298450" y="33337"/>
                  </a:lnTo>
                  <a:lnTo>
                    <a:pt x="307975" y="30162"/>
                  </a:lnTo>
                  <a:lnTo>
                    <a:pt x="317500" y="20637"/>
                  </a:lnTo>
                  <a:lnTo>
                    <a:pt x="328612" y="17462"/>
                  </a:lnTo>
                  <a:lnTo>
                    <a:pt x="328612" y="12700"/>
                  </a:lnTo>
                  <a:lnTo>
                    <a:pt x="341312" y="17462"/>
                  </a:lnTo>
                  <a:lnTo>
                    <a:pt x="341312" y="20637"/>
                  </a:lnTo>
                  <a:lnTo>
                    <a:pt x="347662" y="20637"/>
                  </a:lnTo>
                  <a:lnTo>
                    <a:pt x="344487" y="12700"/>
                  </a:lnTo>
                  <a:lnTo>
                    <a:pt x="358775" y="9525"/>
                  </a:lnTo>
                  <a:close/>
                </a:path>
              </a:pathLst>
            </a:custGeom>
            <a:solidFill>
              <a:srgbClr val="D0D0D0"/>
            </a:solidFill>
            <a:ln w="6350">
              <a:solidFill>
                <a:srgbClr val="B3B3B3"/>
              </a:solidFill>
            </a:ln>
          </p:spPr>
          <p:txBody>
            <a:bodyPr rtlCol="0" anchor="ctr"/>
            <a:lstStyle/>
            <a:p>
              <a:pPr algn="ctr"/>
              <a:endParaRPr lang="en-US" dirty="0"/>
            </a:p>
          </p:txBody>
        </p:sp>
        <p:sp>
          <p:nvSpPr>
            <p:cNvPr id="30" name="Freeform 7">
              <a:extLst>
                <a:ext uri="{FF2B5EF4-FFF2-40B4-BE49-F238E27FC236}">
                  <a16:creationId xmlns:a16="http://schemas.microsoft.com/office/drawing/2014/main" id="{34DA2E52-2FDE-45D1-A0E3-1A5AD5B9024E}"/>
                </a:ext>
              </a:extLst>
            </p:cNvPr>
            <p:cNvSpPr>
              <a:spLocks noEditPoints="1"/>
            </p:cNvSpPr>
            <p:nvPr/>
          </p:nvSpPr>
          <p:spPr bwMode="gray">
            <a:xfrm>
              <a:off x="4787901" y="5257803"/>
              <a:ext cx="712788" cy="944563"/>
            </a:xfrm>
            <a:custGeom>
              <a:avLst/>
              <a:gdLst>
                <a:gd name="T0" fmla="*/ 311 w 449"/>
                <a:gd name="T1" fmla="*/ 474 h 595"/>
                <a:gd name="T2" fmla="*/ 330 w 449"/>
                <a:gd name="T3" fmla="*/ 464 h 595"/>
                <a:gd name="T4" fmla="*/ 324 w 449"/>
                <a:gd name="T5" fmla="*/ 464 h 595"/>
                <a:gd name="T6" fmla="*/ 355 w 449"/>
                <a:gd name="T7" fmla="*/ 353 h 595"/>
                <a:gd name="T8" fmla="*/ 384 w 449"/>
                <a:gd name="T9" fmla="*/ 184 h 595"/>
                <a:gd name="T10" fmla="*/ 378 w 449"/>
                <a:gd name="T11" fmla="*/ 171 h 595"/>
                <a:gd name="T12" fmla="*/ 374 w 449"/>
                <a:gd name="T13" fmla="*/ 182 h 595"/>
                <a:gd name="T14" fmla="*/ 382 w 449"/>
                <a:gd name="T15" fmla="*/ 190 h 595"/>
                <a:gd name="T16" fmla="*/ 382 w 449"/>
                <a:gd name="T17" fmla="*/ 222 h 595"/>
                <a:gd name="T18" fmla="*/ 391 w 449"/>
                <a:gd name="T19" fmla="*/ 274 h 595"/>
                <a:gd name="T20" fmla="*/ 380 w 449"/>
                <a:gd name="T21" fmla="*/ 290 h 595"/>
                <a:gd name="T22" fmla="*/ 389 w 449"/>
                <a:gd name="T23" fmla="*/ 305 h 595"/>
                <a:gd name="T24" fmla="*/ 374 w 449"/>
                <a:gd name="T25" fmla="*/ 351 h 595"/>
                <a:gd name="T26" fmla="*/ 361 w 449"/>
                <a:gd name="T27" fmla="*/ 349 h 595"/>
                <a:gd name="T28" fmla="*/ 337 w 449"/>
                <a:gd name="T29" fmla="*/ 355 h 595"/>
                <a:gd name="T30" fmla="*/ 309 w 449"/>
                <a:gd name="T31" fmla="*/ 403 h 595"/>
                <a:gd name="T32" fmla="*/ 303 w 449"/>
                <a:gd name="T33" fmla="*/ 462 h 595"/>
                <a:gd name="T34" fmla="*/ 266 w 449"/>
                <a:gd name="T35" fmla="*/ 472 h 595"/>
                <a:gd name="T36" fmla="*/ 215 w 449"/>
                <a:gd name="T37" fmla="*/ 495 h 595"/>
                <a:gd name="T38" fmla="*/ 211 w 449"/>
                <a:gd name="T39" fmla="*/ 522 h 595"/>
                <a:gd name="T40" fmla="*/ 184 w 449"/>
                <a:gd name="T41" fmla="*/ 568 h 595"/>
                <a:gd name="T42" fmla="*/ 138 w 449"/>
                <a:gd name="T43" fmla="*/ 593 h 595"/>
                <a:gd name="T44" fmla="*/ 88 w 449"/>
                <a:gd name="T45" fmla="*/ 572 h 595"/>
                <a:gd name="T46" fmla="*/ 109 w 449"/>
                <a:gd name="T47" fmla="*/ 545 h 595"/>
                <a:gd name="T48" fmla="*/ 99 w 449"/>
                <a:gd name="T49" fmla="*/ 503 h 595"/>
                <a:gd name="T50" fmla="*/ 115 w 449"/>
                <a:gd name="T51" fmla="*/ 457 h 595"/>
                <a:gd name="T52" fmla="*/ 105 w 449"/>
                <a:gd name="T53" fmla="*/ 432 h 595"/>
                <a:gd name="T54" fmla="*/ 103 w 449"/>
                <a:gd name="T55" fmla="*/ 401 h 595"/>
                <a:gd name="T56" fmla="*/ 109 w 449"/>
                <a:gd name="T57" fmla="*/ 361 h 595"/>
                <a:gd name="T58" fmla="*/ 67 w 449"/>
                <a:gd name="T59" fmla="*/ 357 h 595"/>
                <a:gd name="T60" fmla="*/ 63 w 449"/>
                <a:gd name="T61" fmla="*/ 322 h 595"/>
                <a:gd name="T62" fmla="*/ 53 w 449"/>
                <a:gd name="T63" fmla="*/ 290 h 595"/>
                <a:gd name="T64" fmla="*/ 55 w 449"/>
                <a:gd name="T65" fmla="*/ 263 h 595"/>
                <a:gd name="T66" fmla="*/ 23 w 449"/>
                <a:gd name="T67" fmla="*/ 259 h 595"/>
                <a:gd name="T68" fmla="*/ 5 w 449"/>
                <a:gd name="T69" fmla="*/ 228 h 595"/>
                <a:gd name="T70" fmla="*/ 17 w 449"/>
                <a:gd name="T71" fmla="*/ 211 h 595"/>
                <a:gd name="T72" fmla="*/ 63 w 449"/>
                <a:gd name="T73" fmla="*/ 213 h 595"/>
                <a:gd name="T74" fmla="*/ 90 w 449"/>
                <a:gd name="T75" fmla="*/ 194 h 595"/>
                <a:gd name="T76" fmla="*/ 134 w 449"/>
                <a:gd name="T77" fmla="*/ 180 h 595"/>
                <a:gd name="T78" fmla="*/ 151 w 449"/>
                <a:gd name="T79" fmla="*/ 147 h 595"/>
                <a:gd name="T80" fmla="*/ 151 w 449"/>
                <a:gd name="T81" fmla="*/ 115 h 595"/>
                <a:gd name="T82" fmla="*/ 167 w 449"/>
                <a:gd name="T83" fmla="*/ 94 h 595"/>
                <a:gd name="T84" fmla="*/ 186 w 449"/>
                <a:gd name="T85" fmla="*/ 80 h 595"/>
                <a:gd name="T86" fmla="*/ 215 w 449"/>
                <a:gd name="T87" fmla="*/ 96 h 595"/>
                <a:gd name="T88" fmla="*/ 253 w 449"/>
                <a:gd name="T89" fmla="*/ 94 h 595"/>
                <a:gd name="T90" fmla="*/ 288 w 449"/>
                <a:gd name="T91" fmla="*/ 51 h 595"/>
                <a:gd name="T92" fmla="*/ 320 w 449"/>
                <a:gd name="T93" fmla="*/ 59 h 595"/>
                <a:gd name="T94" fmla="*/ 341 w 449"/>
                <a:gd name="T95" fmla="*/ 46 h 595"/>
                <a:gd name="T96" fmla="*/ 362 w 449"/>
                <a:gd name="T97" fmla="*/ 30 h 595"/>
                <a:gd name="T98" fmla="*/ 387 w 449"/>
                <a:gd name="T99" fmla="*/ 34 h 595"/>
                <a:gd name="T100" fmla="*/ 408 w 449"/>
                <a:gd name="T101" fmla="*/ 15 h 595"/>
                <a:gd name="T102" fmla="*/ 422 w 449"/>
                <a:gd name="T103" fmla="*/ 5 h 595"/>
                <a:gd name="T104" fmla="*/ 443 w 449"/>
                <a:gd name="T105" fmla="*/ 11 h 595"/>
                <a:gd name="T106" fmla="*/ 445 w 449"/>
                <a:gd name="T107" fmla="*/ 36 h 595"/>
                <a:gd name="T108" fmla="*/ 433 w 449"/>
                <a:gd name="T109" fmla="*/ 78 h 595"/>
                <a:gd name="T110" fmla="*/ 420 w 449"/>
                <a:gd name="T111" fmla="*/ 126 h 595"/>
                <a:gd name="T112" fmla="*/ 370 w 449"/>
                <a:gd name="T113" fmla="*/ 169 h 595"/>
                <a:gd name="T114" fmla="*/ 368 w 449"/>
                <a:gd name="T115" fmla="*/ 176 h 595"/>
                <a:gd name="T116" fmla="*/ 370 w 449"/>
                <a:gd name="T117" fmla="*/ 186 h 595"/>
                <a:gd name="T118" fmla="*/ 372 w 449"/>
                <a:gd name="T119" fmla="*/ 19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9" h="595">
                  <a:moveTo>
                    <a:pt x="284" y="476"/>
                  </a:moveTo>
                  <a:lnTo>
                    <a:pt x="288" y="476"/>
                  </a:lnTo>
                  <a:lnTo>
                    <a:pt x="284" y="476"/>
                  </a:lnTo>
                  <a:close/>
                  <a:moveTo>
                    <a:pt x="301" y="472"/>
                  </a:moveTo>
                  <a:lnTo>
                    <a:pt x="305" y="472"/>
                  </a:lnTo>
                  <a:lnTo>
                    <a:pt x="305" y="474"/>
                  </a:lnTo>
                  <a:lnTo>
                    <a:pt x="301" y="474"/>
                  </a:lnTo>
                  <a:lnTo>
                    <a:pt x="301" y="472"/>
                  </a:lnTo>
                  <a:close/>
                  <a:moveTo>
                    <a:pt x="311" y="472"/>
                  </a:moveTo>
                  <a:lnTo>
                    <a:pt x="313" y="472"/>
                  </a:lnTo>
                  <a:lnTo>
                    <a:pt x="313" y="474"/>
                  </a:lnTo>
                  <a:lnTo>
                    <a:pt x="311" y="474"/>
                  </a:lnTo>
                  <a:lnTo>
                    <a:pt x="311" y="472"/>
                  </a:lnTo>
                  <a:close/>
                  <a:moveTo>
                    <a:pt x="314" y="468"/>
                  </a:moveTo>
                  <a:lnTo>
                    <a:pt x="316" y="468"/>
                  </a:lnTo>
                  <a:lnTo>
                    <a:pt x="316" y="470"/>
                  </a:lnTo>
                  <a:lnTo>
                    <a:pt x="314" y="470"/>
                  </a:lnTo>
                  <a:lnTo>
                    <a:pt x="314" y="468"/>
                  </a:lnTo>
                  <a:close/>
                  <a:moveTo>
                    <a:pt x="316" y="468"/>
                  </a:moveTo>
                  <a:lnTo>
                    <a:pt x="318" y="468"/>
                  </a:lnTo>
                  <a:lnTo>
                    <a:pt x="318" y="470"/>
                  </a:lnTo>
                  <a:lnTo>
                    <a:pt x="316" y="470"/>
                  </a:lnTo>
                  <a:lnTo>
                    <a:pt x="316" y="468"/>
                  </a:lnTo>
                  <a:close/>
                  <a:moveTo>
                    <a:pt x="330" y="464"/>
                  </a:moveTo>
                  <a:lnTo>
                    <a:pt x="332" y="468"/>
                  </a:lnTo>
                  <a:lnTo>
                    <a:pt x="336" y="472"/>
                  </a:lnTo>
                  <a:lnTo>
                    <a:pt x="339" y="476"/>
                  </a:lnTo>
                  <a:lnTo>
                    <a:pt x="343" y="480"/>
                  </a:lnTo>
                  <a:lnTo>
                    <a:pt x="339" y="476"/>
                  </a:lnTo>
                  <a:lnTo>
                    <a:pt x="336" y="474"/>
                  </a:lnTo>
                  <a:lnTo>
                    <a:pt x="332" y="470"/>
                  </a:lnTo>
                  <a:lnTo>
                    <a:pt x="328" y="468"/>
                  </a:lnTo>
                  <a:lnTo>
                    <a:pt x="322" y="468"/>
                  </a:lnTo>
                  <a:lnTo>
                    <a:pt x="318" y="468"/>
                  </a:lnTo>
                  <a:lnTo>
                    <a:pt x="318" y="464"/>
                  </a:lnTo>
                  <a:lnTo>
                    <a:pt x="324" y="464"/>
                  </a:lnTo>
                  <a:lnTo>
                    <a:pt x="330" y="461"/>
                  </a:lnTo>
                  <a:lnTo>
                    <a:pt x="332" y="462"/>
                  </a:lnTo>
                  <a:lnTo>
                    <a:pt x="330" y="464"/>
                  </a:lnTo>
                  <a:close/>
                  <a:moveTo>
                    <a:pt x="378" y="357"/>
                  </a:moveTo>
                  <a:lnTo>
                    <a:pt x="384" y="357"/>
                  </a:lnTo>
                  <a:lnTo>
                    <a:pt x="380" y="357"/>
                  </a:lnTo>
                  <a:lnTo>
                    <a:pt x="378" y="357"/>
                  </a:lnTo>
                  <a:close/>
                  <a:moveTo>
                    <a:pt x="376" y="357"/>
                  </a:moveTo>
                  <a:lnTo>
                    <a:pt x="370" y="355"/>
                  </a:lnTo>
                  <a:lnTo>
                    <a:pt x="374" y="357"/>
                  </a:lnTo>
                  <a:lnTo>
                    <a:pt x="376" y="357"/>
                  </a:lnTo>
                  <a:close/>
                  <a:moveTo>
                    <a:pt x="355" y="353"/>
                  </a:moveTo>
                  <a:lnTo>
                    <a:pt x="357" y="353"/>
                  </a:lnTo>
                  <a:lnTo>
                    <a:pt x="364" y="355"/>
                  </a:lnTo>
                  <a:lnTo>
                    <a:pt x="368" y="355"/>
                  </a:lnTo>
                  <a:lnTo>
                    <a:pt x="370" y="357"/>
                  </a:lnTo>
                  <a:lnTo>
                    <a:pt x="366" y="355"/>
                  </a:lnTo>
                  <a:lnTo>
                    <a:pt x="359" y="355"/>
                  </a:lnTo>
                  <a:lnTo>
                    <a:pt x="357" y="355"/>
                  </a:lnTo>
                  <a:lnTo>
                    <a:pt x="353" y="353"/>
                  </a:lnTo>
                  <a:lnTo>
                    <a:pt x="355" y="353"/>
                  </a:lnTo>
                  <a:close/>
                  <a:moveTo>
                    <a:pt x="384" y="180"/>
                  </a:moveTo>
                  <a:lnTo>
                    <a:pt x="385" y="180"/>
                  </a:lnTo>
                  <a:lnTo>
                    <a:pt x="384" y="184"/>
                  </a:lnTo>
                  <a:lnTo>
                    <a:pt x="384" y="182"/>
                  </a:lnTo>
                  <a:lnTo>
                    <a:pt x="384" y="180"/>
                  </a:lnTo>
                  <a:close/>
                  <a:moveTo>
                    <a:pt x="395" y="163"/>
                  </a:moveTo>
                  <a:lnTo>
                    <a:pt x="391" y="161"/>
                  </a:lnTo>
                  <a:lnTo>
                    <a:pt x="389" y="167"/>
                  </a:lnTo>
                  <a:lnTo>
                    <a:pt x="393" y="169"/>
                  </a:lnTo>
                  <a:lnTo>
                    <a:pt x="391" y="171"/>
                  </a:lnTo>
                  <a:lnTo>
                    <a:pt x="387" y="171"/>
                  </a:lnTo>
                  <a:lnTo>
                    <a:pt x="382" y="176"/>
                  </a:lnTo>
                  <a:lnTo>
                    <a:pt x="382" y="172"/>
                  </a:lnTo>
                  <a:lnTo>
                    <a:pt x="378" y="172"/>
                  </a:lnTo>
                  <a:lnTo>
                    <a:pt x="378" y="171"/>
                  </a:lnTo>
                  <a:lnTo>
                    <a:pt x="382" y="171"/>
                  </a:lnTo>
                  <a:lnTo>
                    <a:pt x="382" y="169"/>
                  </a:lnTo>
                  <a:lnTo>
                    <a:pt x="374" y="174"/>
                  </a:lnTo>
                  <a:lnTo>
                    <a:pt x="378" y="176"/>
                  </a:lnTo>
                  <a:lnTo>
                    <a:pt x="376" y="174"/>
                  </a:lnTo>
                  <a:lnTo>
                    <a:pt x="378" y="174"/>
                  </a:lnTo>
                  <a:lnTo>
                    <a:pt x="380" y="180"/>
                  </a:lnTo>
                  <a:lnTo>
                    <a:pt x="378" y="182"/>
                  </a:lnTo>
                  <a:lnTo>
                    <a:pt x="376" y="182"/>
                  </a:lnTo>
                  <a:lnTo>
                    <a:pt x="378" y="178"/>
                  </a:lnTo>
                  <a:lnTo>
                    <a:pt x="376" y="178"/>
                  </a:lnTo>
                  <a:lnTo>
                    <a:pt x="374" y="182"/>
                  </a:lnTo>
                  <a:lnTo>
                    <a:pt x="376" y="182"/>
                  </a:lnTo>
                  <a:lnTo>
                    <a:pt x="376" y="184"/>
                  </a:lnTo>
                  <a:lnTo>
                    <a:pt x="380" y="184"/>
                  </a:lnTo>
                  <a:lnTo>
                    <a:pt x="380" y="186"/>
                  </a:lnTo>
                  <a:lnTo>
                    <a:pt x="382" y="184"/>
                  </a:lnTo>
                  <a:lnTo>
                    <a:pt x="382" y="186"/>
                  </a:lnTo>
                  <a:lnTo>
                    <a:pt x="384" y="188"/>
                  </a:lnTo>
                  <a:lnTo>
                    <a:pt x="384" y="186"/>
                  </a:lnTo>
                  <a:lnTo>
                    <a:pt x="387" y="186"/>
                  </a:lnTo>
                  <a:lnTo>
                    <a:pt x="387" y="188"/>
                  </a:lnTo>
                  <a:lnTo>
                    <a:pt x="385" y="188"/>
                  </a:lnTo>
                  <a:lnTo>
                    <a:pt x="382" y="190"/>
                  </a:lnTo>
                  <a:lnTo>
                    <a:pt x="380" y="186"/>
                  </a:lnTo>
                  <a:lnTo>
                    <a:pt x="380" y="190"/>
                  </a:lnTo>
                  <a:lnTo>
                    <a:pt x="376" y="192"/>
                  </a:lnTo>
                  <a:lnTo>
                    <a:pt x="382" y="194"/>
                  </a:lnTo>
                  <a:lnTo>
                    <a:pt x="385" y="194"/>
                  </a:lnTo>
                  <a:lnTo>
                    <a:pt x="384" y="201"/>
                  </a:lnTo>
                  <a:lnTo>
                    <a:pt x="382" y="205"/>
                  </a:lnTo>
                  <a:lnTo>
                    <a:pt x="384" y="201"/>
                  </a:lnTo>
                  <a:lnTo>
                    <a:pt x="382" y="205"/>
                  </a:lnTo>
                  <a:lnTo>
                    <a:pt x="382" y="213"/>
                  </a:lnTo>
                  <a:lnTo>
                    <a:pt x="382" y="219"/>
                  </a:lnTo>
                  <a:lnTo>
                    <a:pt x="382" y="222"/>
                  </a:lnTo>
                  <a:lnTo>
                    <a:pt x="382" y="226"/>
                  </a:lnTo>
                  <a:lnTo>
                    <a:pt x="384" y="224"/>
                  </a:lnTo>
                  <a:lnTo>
                    <a:pt x="385" y="230"/>
                  </a:lnTo>
                  <a:lnTo>
                    <a:pt x="387" y="240"/>
                  </a:lnTo>
                  <a:lnTo>
                    <a:pt x="382" y="236"/>
                  </a:lnTo>
                  <a:lnTo>
                    <a:pt x="389" y="240"/>
                  </a:lnTo>
                  <a:lnTo>
                    <a:pt x="389" y="245"/>
                  </a:lnTo>
                  <a:lnTo>
                    <a:pt x="389" y="249"/>
                  </a:lnTo>
                  <a:lnTo>
                    <a:pt x="391" y="257"/>
                  </a:lnTo>
                  <a:lnTo>
                    <a:pt x="391" y="263"/>
                  </a:lnTo>
                  <a:lnTo>
                    <a:pt x="391" y="265"/>
                  </a:lnTo>
                  <a:lnTo>
                    <a:pt x="391" y="274"/>
                  </a:lnTo>
                  <a:lnTo>
                    <a:pt x="391" y="276"/>
                  </a:lnTo>
                  <a:lnTo>
                    <a:pt x="389" y="282"/>
                  </a:lnTo>
                  <a:lnTo>
                    <a:pt x="387" y="278"/>
                  </a:lnTo>
                  <a:lnTo>
                    <a:pt x="384" y="280"/>
                  </a:lnTo>
                  <a:lnTo>
                    <a:pt x="380" y="278"/>
                  </a:lnTo>
                  <a:lnTo>
                    <a:pt x="380" y="282"/>
                  </a:lnTo>
                  <a:lnTo>
                    <a:pt x="376" y="282"/>
                  </a:lnTo>
                  <a:lnTo>
                    <a:pt x="376" y="284"/>
                  </a:lnTo>
                  <a:lnTo>
                    <a:pt x="378" y="284"/>
                  </a:lnTo>
                  <a:lnTo>
                    <a:pt x="376" y="286"/>
                  </a:lnTo>
                  <a:lnTo>
                    <a:pt x="380" y="288"/>
                  </a:lnTo>
                  <a:lnTo>
                    <a:pt x="380" y="290"/>
                  </a:lnTo>
                  <a:lnTo>
                    <a:pt x="382" y="290"/>
                  </a:lnTo>
                  <a:lnTo>
                    <a:pt x="380" y="290"/>
                  </a:lnTo>
                  <a:lnTo>
                    <a:pt x="384" y="288"/>
                  </a:lnTo>
                  <a:lnTo>
                    <a:pt x="382" y="290"/>
                  </a:lnTo>
                  <a:lnTo>
                    <a:pt x="387" y="292"/>
                  </a:lnTo>
                  <a:lnTo>
                    <a:pt x="385" y="292"/>
                  </a:lnTo>
                  <a:lnTo>
                    <a:pt x="387" y="293"/>
                  </a:lnTo>
                  <a:lnTo>
                    <a:pt x="385" y="293"/>
                  </a:lnTo>
                  <a:lnTo>
                    <a:pt x="387" y="295"/>
                  </a:lnTo>
                  <a:lnTo>
                    <a:pt x="387" y="297"/>
                  </a:lnTo>
                  <a:lnTo>
                    <a:pt x="389" y="297"/>
                  </a:lnTo>
                  <a:lnTo>
                    <a:pt x="389" y="305"/>
                  </a:lnTo>
                  <a:lnTo>
                    <a:pt x="389" y="309"/>
                  </a:lnTo>
                  <a:lnTo>
                    <a:pt x="389" y="318"/>
                  </a:lnTo>
                  <a:lnTo>
                    <a:pt x="391" y="328"/>
                  </a:lnTo>
                  <a:lnTo>
                    <a:pt x="391" y="334"/>
                  </a:lnTo>
                  <a:lnTo>
                    <a:pt x="391" y="338"/>
                  </a:lnTo>
                  <a:lnTo>
                    <a:pt x="391" y="341"/>
                  </a:lnTo>
                  <a:lnTo>
                    <a:pt x="391" y="345"/>
                  </a:lnTo>
                  <a:lnTo>
                    <a:pt x="393" y="353"/>
                  </a:lnTo>
                  <a:lnTo>
                    <a:pt x="391" y="355"/>
                  </a:lnTo>
                  <a:lnTo>
                    <a:pt x="384" y="357"/>
                  </a:lnTo>
                  <a:lnTo>
                    <a:pt x="380" y="353"/>
                  </a:lnTo>
                  <a:lnTo>
                    <a:pt x="374" y="351"/>
                  </a:lnTo>
                  <a:lnTo>
                    <a:pt x="368" y="351"/>
                  </a:lnTo>
                  <a:lnTo>
                    <a:pt x="368" y="349"/>
                  </a:lnTo>
                  <a:lnTo>
                    <a:pt x="368" y="351"/>
                  </a:lnTo>
                  <a:lnTo>
                    <a:pt x="366" y="353"/>
                  </a:lnTo>
                  <a:lnTo>
                    <a:pt x="366" y="347"/>
                  </a:lnTo>
                  <a:lnTo>
                    <a:pt x="364" y="349"/>
                  </a:lnTo>
                  <a:lnTo>
                    <a:pt x="364" y="351"/>
                  </a:lnTo>
                  <a:lnTo>
                    <a:pt x="364" y="353"/>
                  </a:lnTo>
                  <a:lnTo>
                    <a:pt x="357" y="353"/>
                  </a:lnTo>
                  <a:lnTo>
                    <a:pt x="357" y="351"/>
                  </a:lnTo>
                  <a:lnTo>
                    <a:pt x="361" y="351"/>
                  </a:lnTo>
                  <a:lnTo>
                    <a:pt x="361" y="349"/>
                  </a:lnTo>
                  <a:lnTo>
                    <a:pt x="357" y="349"/>
                  </a:lnTo>
                  <a:lnTo>
                    <a:pt x="355" y="351"/>
                  </a:lnTo>
                  <a:lnTo>
                    <a:pt x="353" y="353"/>
                  </a:lnTo>
                  <a:lnTo>
                    <a:pt x="353" y="351"/>
                  </a:lnTo>
                  <a:lnTo>
                    <a:pt x="351" y="353"/>
                  </a:lnTo>
                  <a:lnTo>
                    <a:pt x="351" y="351"/>
                  </a:lnTo>
                  <a:lnTo>
                    <a:pt x="347" y="349"/>
                  </a:lnTo>
                  <a:lnTo>
                    <a:pt x="349" y="351"/>
                  </a:lnTo>
                  <a:lnTo>
                    <a:pt x="353" y="353"/>
                  </a:lnTo>
                  <a:lnTo>
                    <a:pt x="349" y="353"/>
                  </a:lnTo>
                  <a:lnTo>
                    <a:pt x="339" y="353"/>
                  </a:lnTo>
                  <a:lnTo>
                    <a:pt x="337" y="355"/>
                  </a:lnTo>
                  <a:lnTo>
                    <a:pt x="328" y="359"/>
                  </a:lnTo>
                  <a:lnTo>
                    <a:pt x="326" y="361"/>
                  </a:lnTo>
                  <a:lnTo>
                    <a:pt x="328" y="365"/>
                  </a:lnTo>
                  <a:lnTo>
                    <a:pt x="322" y="366"/>
                  </a:lnTo>
                  <a:lnTo>
                    <a:pt x="322" y="372"/>
                  </a:lnTo>
                  <a:lnTo>
                    <a:pt x="322" y="378"/>
                  </a:lnTo>
                  <a:lnTo>
                    <a:pt x="326" y="382"/>
                  </a:lnTo>
                  <a:lnTo>
                    <a:pt x="322" y="384"/>
                  </a:lnTo>
                  <a:lnTo>
                    <a:pt x="318" y="389"/>
                  </a:lnTo>
                  <a:lnTo>
                    <a:pt x="313" y="393"/>
                  </a:lnTo>
                  <a:lnTo>
                    <a:pt x="309" y="401"/>
                  </a:lnTo>
                  <a:lnTo>
                    <a:pt x="309" y="403"/>
                  </a:lnTo>
                  <a:lnTo>
                    <a:pt x="307" y="405"/>
                  </a:lnTo>
                  <a:lnTo>
                    <a:pt x="303" y="411"/>
                  </a:lnTo>
                  <a:lnTo>
                    <a:pt x="301" y="413"/>
                  </a:lnTo>
                  <a:lnTo>
                    <a:pt x="295" y="418"/>
                  </a:lnTo>
                  <a:lnTo>
                    <a:pt x="291" y="428"/>
                  </a:lnTo>
                  <a:lnTo>
                    <a:pt x="289" y="430"/>
                  </a:lnTo>
                  <a:lnTo>
                    <a:pt x="288" y="434"/>
                  </a:lnTo>
                  <a:lnTo>
                    <a:pt x="286" y="441"/>
                  </a:lnTo>
                  <a:lnTo>
                    <a:pt x="286" y="443"/>
                  </a:lnTo>
                  <a:lnTo>
                    <a:pt x="288" y="451"/>
                  </a:lnTo>
                  <a:lnTo>
                    <a:pt x="295" y="457"/>
                  </a:lnTo>
                  <a:lnTo>
                    <a:pt x="303" y="462"/>
                  </a:lnTo>
                  <a:lnTo>
                    <a:pt x="307" y="464"/>
                  </a:lnTo>
                  <a:lnTo>
                    <a:pt x="316" y="464"/>
                  </a:lnTo>
                  <a:lnTo>
                    <a:pt x="311" y="466"/>
                  </a:lnTo>
                  <a:lnTo>
                    <a:pt x="305" y="466"/>
                  </a:lnTo>
                  <a:lnTo>
                    <a:pt x="303" y="466"/>
                  </a:lnTo>
                  <a:lnTo>
                    <a:pt x="293" y="466"/>
                  </a:lnTo>
                  <a:lnTo>
                    <a:pt x="288" y="466"/>
                  </a:lnTo>
                  <a:lnTo>
                    <a:pt x="286" y="468"/>
                  </a:lnTo>
                  <a:lnTo>
                    <a:pt x="282" y="468"/>
                  </a:lnTo>
                  <a:lnTo>
                    <a:pt x="274" y="470"/>
                  </a:lnTo>
                  <a:lnTo>
                    <a:pt x="268" y="472"/>
                  </a:lnTo>
                  <a:lnTo>
                    <a:pt x="266" y="472"/>
                  </a:lnTo>
                  <a:lnTo>
                    <a:pt x="265" y="474"/>
                  </a:lnTo>
                  <a:lnTo>
                    <a:pt x="259" y="474"/>
                  </a:lnTo>
                  <a:lnTo>
                    <a:pt x="257" y="476"/>
                  </a:lnTo>
                  <a:lnTo>
                    <a:pt x="259" y="478"/>
                  </a:lnTo>
                  <a:lnTo>
                    <a:pt x="249" y="482"/>
                  </a:lnTo>
                  <a:lnTo>
                    <a:pt x="247" y="480"/>
                  </a:lnTo>
                  <a:lnTo>
                    <a:pt x="243" y="482"/>
                  </a:lnTo>
                  <a:lnTo>
                    <a:pt x="236" y="482"/>
                  </a:lnTo>
                  <a:lnTo>
                    <a:pt x="228" y="486"/>
                  </a:lnTo>
                  <a:lnTo>
                    <a:pt x="224" y="489"/>
                  </a:lnTo>
                  <a:lnTo>
                    <a:pt x="218" y="493"/>
                  </a:lnTo>
                  <a:lnTo>
                    <a:pt x="215" y="495"/>
                  </a:lnTo>
                  <a:lnTo>
                    <a:pt x="211" y="499"/>
                  </a:lnTo>
                  <a:lnTo>
                    <a:pt x="207" y="505"/>
                  </a:lnTo>
                  <a:lnTo>
                    <a:pt x="205" y="509"/>
                  </a:lnTo>
                  <a:lnTo>
                    <a:pt x="205" y="514"/>
                  </a:lnTo>
                  <a:lnTo>
                    <a:pt x="203" y="520"/>
                  </a:lnTo>
                  <a:lnTo>
                    <a:pt x="205" y="520"/>
                  </a:lnTo>
                  <a:lnTo>
                    <a:pt x="207" y="518"/>
                  </a:lnTo>
                  <a:lnTo>
                    <a:pt x="209" y="518"/>
                  </a:lnTo>
                  <a:lnTo>
                    <a:pt x="209" y="520"/>
                  </a:lnTo>
                  <a:lnTo>
                    <a:pt x="211" y="522"/>
                  </a:lnTo>
                  <a:lnTo>
                    <a:pt x="209" y="522"/>
                  </a:lnTo>
                  <a:lnTo>
                    <a:pt x="211" y="522"/>
                  </a:lnTo>
                  <a:lnTo>
                    <a:pt x="205" y="522"/>
                  </a:lnTo>
                  <a:lnTo>
                    <a:pt x="201" y="530"/>
                  </a:lnTo>
                  <a:lnTo>
                    <a:pt x="199" y="535"/>
                  </a:lnTo>
                  <a:lnTo>
                    <a:pt x="201" y="539"/>
                  </a:lnTo>
                  <a:lnTo>
                    <a:pt x="199" y="547"/>
                  </a:lnTo>
                  <a:lnTo>
                    <a:pt x="201" y="551"/>
                  </a:lnTo>
                  <a:lnTo>
                    <a:pt x="197" y="555"/>
                  </a:lnTo>
                  <a:lnTo>
                    <a:pt x="194" y="559"/>
                  </a:lnTo>
                  <a:lnTo>
                    <a:pt x="192" y="562"/>
                  </a:lnTo>
                  <a:lnTo>
                    <a:pt x="194" y="564"/>
                  </a:lnTo>
                  <a:lnTo>
                    <a:pt x="186" y="566"/>
                  </a:lnTo>
                  <a:lnTo>
                    <a:pt x="184" y="568"/>
                  </a:lnTo>
                  <a:lnTo>
                    <a:pt x="182" y="570"/>
                  </a:lnTo>
                  <a:lnTo>
                    <a:pt x="176" y="572"/>
                  </a:lnTo>
                  <a:lnTo>
                    <a:pt x="172" y="576"/>
                  </a:lnTo>
                  <a:lnTo>
                    <a:pt x="165" y="578"/>
                  </a:lnTo>
                  <a:lnTo>
                    <a:pt x="163" y="583"/>
                  </a:lnTo>
                  <a:lnTo>
                    <a:pt x="155" y="585"/>
                  </a:lnTo>
                  <a:lnTo>
                    <a:pt x="155" y="587"/>
                  </a:lnTo>
                  <a:lnTo>
                    <a:pt x="155" y="585"/>
                  </a:lnTo>
                  <a:lnTo>
                    <a:pt x="147" y="587"/>
                  </a:lnTo>
                  <a:lnTo>
                    <a:pt x="140" y="589"/>
                  </a:lnTo>
                  <a:lnTo>
                    <a:pt x="138" y="591"/>
                  </a:lnTo>
                  <a:lnTo>
                    <a:pt x="138" y="593"/>
                  </a:lnTo>
                  <a:lnTo>
                    <a:pt x="138" y="595"/>
                  </a:lnTo>
                  <a:lnTo>
                    <a:pt x="136" y="595"/>
                  </a:lnTo>
                  <a:lnTo>
                    <a:pt x="126" y="593"/>
                  </a:lnTo>
                  <a:lnTo>
                    <a:pt x="119" y="593"/>
                  </a:lnTo>
                  <a:lnTo>
                    <a:pt x="115" y="591"/>
                  </a:lnTo>
                  <a:lnTo>
                    <a:pt x="113" y="591"/>
                  </a:lnTo>
                  <a:lnTo>
                    <a:pt x="109" y="587"/>
                  </a:lnTo>
                  <a:lnTo>
                    <a:pt x="103" y="585"/>
                  </a:lnTo>
                  <a:lnTo>
                    <a:pt x="101" y="583"/>
                  </a:lnTo>
                  <a:lnTo>
                    <a:pt x="98" y="580"/>
                  </a:lnTo>
                  <a:lnTo>
                    <a:pt x="94" y="578"/>
                  </a:lnTo>
                  <a:lnTo>
                    <a:pt x="88" y="572"/>
                  </a:lnTo>
                  <a:lnTo>
                    <a:pt x="92" y="568"/>
                  </a:lnTo>
                  <a:lnTo>
                    <a:pt x="98" y="570"/>
                  </a:lnTo>
                  <a:lnTo>
                    <a:pt x="98" y="566"/>
                  </a:lnTo>
                  <a:lnTo>
                    <a:pt x="94" y="566"/>
                  </a:lnTo>
                  <a:lnTo>
                    <a:pt x="94" y="562"/>
                  </a:lnTo>
                  <a:lnTo>
                    <a:pt x="96" y="562"/>
                  </a:lnTo>
                  <a:lnTo>
                    <a:pt x="99" y="557"/>
                  </a:lnTo>
                  <a:lnTo>
                    <a:pt x="103" y="555"/>
                  </a:lnTo>
                  <a:lnTo>
                    <a:pt x="99" y="549"/>
                  </a:lnTo>
                  <a:lnTo>
                    <a:pt x="101" y="549"/>
                  </a:lnTo>
                  <a:lnTo>
                    <a:pt x="105" y="551"/>
                  </a:lnTo>
                  <a:lnTo>
                    <a:pt x="109" y="545"/>
                  </a:lnTo>
                  <a:lnTo>
                    <a:pt x="105" y="537"/>
                  </a:lnTo>
                  <a:lnTo>
                    <a:pt x="101" y="534"/>
                  </a:lnTo>
                  <a:lnTo>
                    <a:pt x="101" y="530"/>
                  </a:lnTo>
                  <a:lnTo>
                    <a:pt x="98" y="524"/>
                  </a:lnTo>
                  <a:lnTo>
                    <a:pt x="99" y="524"/>
                  </a:lnTo>
                  <a:lnTo>
                    <a:pt x="99" y="520"/>
                  </a:lnTo>
                  <a:lnTo>
                    <a:pt x="101" y="520"/>
                  </a:lnTo>
                  <a:lnTo>
                    <a:pt x="107" y="512"/>
                  </a:lnTo>
                  <a:lnTo>
                    <a:pt x="103" y="507"/>
                  </a:lnTo>
                  <a:lnTo>
                    <a:pt x="101" y="507"/>
                  </a:lnTo>
                  <a:lnTo>
                    <a:pt x="101" y="505"/>
                  </a:lnTo>
                  <a:lnTo>
                    <a:pt x="99" y="503"/>
                  </a:lnTo>
                  <a:lnTo>
                    <a:pt x="98" y="495"/>
                  </a:lnTo>
                  <a:lnTo>
                    <a:pt x="101" y="487"/>
                  </a:lnTo>
                  <a:lnTo>
                    <a:pt x="101" y="486"/>
                  </a:lnTo>
                  <a:lnTo>
                    <a:pt x="107" y="480"/>
                  </a:lnTo>
                  <a:lnTo>
                    <a:pt x="107" y="476"/>
                  </a:lnTo>
                  <a:lnTo>
                    <a:pt x="105" y="476"/>
                  </a:lnTo>
                  <a:lnTo>
                    <a:pt x="109" y="472"/>
                  </a:lnTo>
                  <a:lnTo>
                    <a:pt x="109" y="462"/>
                  </a:lnTo>
                  <a:lnTo>
                    <a:pt x="111" y="462"/>
                  </a:lnTo>
                  <a:lnTo>
                    <a:pt x="111" y="459"/>
                  </a:lnTo>
                  <a:lnTo>
                    <a:pt x="115" y="459"/>
                  </a:lnTo>
                  <a:lnTo>
                    <a:pt x="115" y="457"/>
                  </a:lnTo>
                  <a:lnTo>
                    <a:pt x="117" y="449"/>
                  </a:lnTo>
                  <a:lnTo>
                    <a:pt x="119" y="445"/>
                  </a:lnTo>
                  <a:lnTo>
                    <a:pt x="123" y="445"/>
                  </a:lnTo>
                  <a:lnTo>
                    <a:pt x="124" y="439"/>
                  </a:lnTo>
                  <a:lnTo>
                    <a:pt x="123" y="439"/>
                  </a:lnTo>
                  <a:lnTo>
                    <a:pt x="121" y="439"/>
                  </a:lnTo>
                  <a:lnTo>
                    <a:pt x="117" y="436"/>
                  </a:lnTo>
                  <a:lnTo>
                    <a:pt x="119" y="430"/>
                  </a:lnTo>
                  <a:lnTo>
                    <a:pt x="117" y="434"/>
                  </a:lnTo>
                  <a:lnTo>
                    <a:pt x="113" y="430"/>
                  </a:lnTo>
                  <a:lnTo>
                    <a:pt x="109" y="434"/>
                  </a:lnTo>
                  <a:lnTo>
                    <a:pt x="105" y="432"/>
                  </a:lnTo>
                  <a:lnTo>
                    <a:pt x="101" y="428"/>
                  </a:lnTo>
                  <a:lnTo>
                    <a:pt x="98" y="430"/>
                  </a:lnTo>
                  <a:lnTo>
                    <a:pt x="99" y="424"/>
                  </a:lnTo>
                  <a:lnTo>
                    <a:pt x="101" y="420"/>
                  </a:lnTo>
                  <a:lnTo>
                    <a:pt x="101" y="416"/>
                  </a:lnTo>
                  <a:lnTo>
                    <a:pt x="103" y="416"/>
                  </a:lnTo>
                  <a:lnTo>
                    <a:pt x="103" y="411"/>
                  </a:lnTo>
                  <a:lnTo>
                    <a:pt x="107" y="409"/>
                  </a:lnTo>
                  <a:lnTo>
                    <a:pt x="103" y="407"/>
                  </a:lnTo>
                  <a:lnTo>
                    <a:pt x="103" y="403"/>
                  </a:lnTo>
                  <a:lnTo>
                    <a:pt x="105" y="403"/>
                  </a:lnTo>
                  <a:lnTo>
                    <a:pt x="103" y="401"/>
                  </a:lnTo>
                  <a:lnTo>
                    <a:pt x="103" y="397"/>
                  </a:lnTo>
                  <a:lnTo>
                    <a:pt x="109" y="391"/>
                  </a:lnTo>
                  <a:lnTo>
                    <a:pt x="107" y="386"/>
                  </a:lnTo>
                  <a:lnTo>
                    <a:pt x="109" y="384"/>
                  </a:lnTo>
                  <a:lnTo>
                    <a:pt x="101" y="378"/>
                  </a:lnTo>
                  <a:lnTo>
                    <a:pt x="101" y="376"/>
                  </a:lnTo>
                  <a:lnTo>
                    <a:pt x="103" y="374"/>
                  </a:lnTo>
                  <a:lnTo>
                    <a:pt x="109" y="372"/>
                  </a:lnTo>
                  <a:lnTo>
                    <a:pt x="111" y="366"/>
                  </a:lnTo>
                  <a:lnTo>
                    <a:pt x="113" y="363"/>
                  </a:lnTo>
                  <a:lnTo>
                    <a:pt x="111" y="363"/>
                  </a:lnTo>
                  <a:lnTo>
                    <a:pt x="109" y="361"/>
                  </a:lnTo>
                  <a:lnTo>
                    <a:pt x="109" y="359"/>
                  </a:lnTo>
                  <a:lnTo>
                    <a:pt x="105" y="353"/>
                  </a:lnTo>
                  <a:lnTo>
                    <a:pt x="107" y="349"/>
                  </a:lnTo>
                  <a:lnTo>
                    <a:pt x="99" y="347"/>
                  </a:lnTo>
                  <a:lnTo>
                    <a:pt x="94" y="353"/>
                  </a:lnTo>
                  <a:lnTo>
                    <a:pt x="90" y="353"/>
                  </a:lnTo>
                  <a:lnTo>
                    <a:pt x="86" y="357"/>
                  </a:lnTo>
                  <a:lnTo>
                    <a:pt x="84" y="359"/>
                  </a:lnTo>
                  <a:lnTo>
                    <a:pt x="78" y="363"/>
                  </a:lnTo>
                  <a:lnTo>
                    <a:pt x="71" y="361"/>
                  </a:lnTo>
                  <a:lnTo>
                    <a:pt x="69" y="359"/>
                  </a:lnTo>
                  <a:lnTo>
                    <a:pt x="67" y="357"/>
                  </a:lnTo>
                  <a:lnTo>
                    <a:pt x="67" y="355"/>
                  </a:lnTo>
                  <a:lnTo>
                    <a:pt x="65" y="357"/>
                  </a:lnTo>
                  <a:lnTo>
                    <a:pt x="61" y="353"/>
                  </a:lnTo>
                  <a:lnTo>
                    <a:pt x="63" y="349"/>
                  </a:lnTo>
                  <a:lnTo>
                    <a:pt x="65" y="347"/>
                  </a:lnTo>
                  <a:lnTo>
                    <a:pt x="65" y="345"/>
                  </a:lnTo>
                  <a:lnTo>
                    <a:pt x="61" y="345"/>
                  </a:lnTo>
                  <a:lnTo>
                    <a:pt x="65" y="343"/>
                  </a:lnTo>
                  <a:lnTo>
                    <a:pt x="61" y="341"/>
                  </a:lnTo>
                  <a:lnTo>
                    <a:pt x="63" y="338"/>
                  </a:lnTo>
                  <a:lnTo>
                    <a:pt x="65" y="328"/>
                  </a:lnTo>
                  <a:lnTo>
                    <a:pt x="63" y="322"/>
                  </a:lnTo>
                  <a:lnTo>
                    <a:pt x="61" y="322"/>
                  </a:lnTo>
                  <a:lnTo>
                    <a:pt x="61" y="318"/>
                  </a:lnTo>
                  <a:lnTo>
                    <a:pt x="69" y="317"/>
                  </a:lnTo>
                  <a:lnTo>
                    <a:pt x="69" y="315"/>
                  </a:lnTo>
                  <a:lnTo>
                    <a:pt x="67" y="313"/>
                  </a:lnTo>
                  <a:lnTo>
                    <a:pt x="71" y="309"/>
                  </a:lnTo>
                  <a:lnTo>
                    <a:pt x="71" y="303"/>
                  </a:lnTo>
                  <a:lnTo>
                    <a:pt x="71" y="299"/>
                  </a:lnTo>
                  <a:lnTo>
                    <a:pt x="65" y="297"/>
                  </a:lnTo>
                  <a:lnTo>
                    <a:pt x="65" y="295"/>
                  </a:lnTo>
                  <a:lnTo>
                    <a:pt x="63" y="292"/>
                  </a:lnTo>
                  <a:lnTo>
                    <a:pt x="53" y="290"/>
                  </a:lnTo>
                  <a:lnTo>
                    <a:pt x="48" y="288"/>
                  </a:lnTo>
                  <a:lnTo>
                    <a:pt x="44" y="286"/>
                  </a:lnTo>
                  <a:lnTo>
                    <a:pt x="46" y="284"/>
                  </a:lnTo>
                  <a:lnTo>
                    <a:pt x="46" y="282"/>
                  </a:lnTo>
                  <a:lnTo>
                    <a:pt x="51" y="274"/>
                  </a:lnTo>
                  <a:lnTo>
                    <a:pt x="55" y="276"/>
                  </a:lnTo>
                  <a:lnTo>
                    <a:pt x="61" y="272"/>
                  </a:lnTo>
                  <a:lnTo>
                    <a:pt x="57" y="272"/>
                  </a:lnTo>
                  <a:lnTo>
                    <a:pt x="55" y="272"/>
                  </a:lnTo>
                  <a:lnTo>
                    <a:pt x="55" y="268"/>
                  </a:lnTo>
                  <a:lnTo>
                    <a:pt x="53" y="267"/>
                  </a:lnTo>
                  <a:lnTo>
                    <a:pt x="55" y="263"/>
                  </a:lnTo>
                  <a:lnTo>
                    <a:pt x="53" y="265"/>
                  </a:lnTo>
                  <a:lnTo>
                    <a:pt x="48" y="261"/>
                  </a:lnTo>
                  <a:lnTo>
                    <a:pt x="50" y="259"/>
                  </a:lnTo>
                  <a:lnTo>
                    <a:pt x="53" y="257"/>
                  </a:lnTo>
                  <a:lnTo>
                    <a:pt x="53" y="255"/>
                  </a:lnTo>
                  <a:lnTo>
                    <a:pt x="50" y="253"/>
                  </a:lnTo>
                  <a:lnTo>
                    <a:pt x="42" y="257"/>
                  </a:lnTo>
                  <a:lnTo>
                    <a:pt x="40" y="255"/>
                  </a:lnTo>
                  <a:lnTo>
                    <a:pt x="32" y="257"/>
                  </a:lnTo>
                  <a:lnTo>
                    <a:pt x="28" y="255"/>
                  </a:lnTo>
                  <a:lnTo>
                    <a:pt x="25" y="255"/>
                  </a:lnTo>
                  <a:lnTo>
                    <a:pt x="23" y="259"/>
                  </a:lnTo>
                  <a:lnTo>
                    <a:pt x="23" y="253"/>
                  </a:lnTo>
                  <a:lnTo>
                    <a:pt x="30" y="249"/>
                  </a:lnTo>
                  <a:lnTo>
                    <a:pt x="34" y="240"/>
                  </a:lnTo>
                  <a:lnTo>
                    <a:pt x="28" y="240"/>
                  </a:lnTo>
                  <a:lnTo>
                    <a:pt x="30" y="238"/>
                  </a:lnTo>
                  <a:lnTo>
                    <a:pt x="23" y="236"/>
                  </a:lnTo>
                  <a:lnTo>
                    <a:pt x="19" y="232"/>
                  </a:lnTo>
                  <a:lnTo>
                    <a:pt x="19" y="230"/>
                  </a:lnTo>
                  <a:lnTo>
                    <a:pt x="15" y="228"/>
                  </a:lnTo>
                  <a:lnTo>
                    <a:pt x="11" y="228"/>
                  </a:lnTo>
                  <a:lnTo>
                    <a:pt x="9" y="228"/>
                  </a:lnTo>
                  <a:lnTo>
                    <a:pt x="5" y="228"/>
                  </a:lnTo>
                  <a:lnTo>
                    <a:pt x="5" y="226"/>
                  </a:lnTo>
                  <a:lnTo>
                    <a:pt x="2" y="228"/>
                  </a:lnTo>
                  <a:lnTo>
                    <a:pt x="2" y="224"/>
                  </a:lnTo>
                  <a:lnTo>
                    <a:pt x="0" y="220"/>
                  </a:lnTo>
                  <a:lnTo>
                    <a:pt x="2" y="220"/>
                  </a:lnTo>
                  <a:lnTo>
                    <a:pt x="0" y="217"/>
                  </a:lnTo>
                  <a:lnTo>
                    <a:pt x="4" y="213"/>
                  </a:lnTo>
                  <a:lnTo>
                    <a:pt x="9" y="217"/>
                  </a:lnTo>
                  <a:lnTo>
                    <a:pt x="11" y="213"/>
                  </a:lnTo>
                  <a:lnTo>
                    <a:pt x="11" y="215"/>
                  </a:lnTo>
                  <a:lnTo>
                    <a:pt x="15" y="213"/>
                  </a:lnTo>
                  <a:lnTo>
                    <a:pt x="17" y="211"/>
                  </a:lnTo>
                  <a:lnTo>
                    <a:pt x="23" y="209"/>
                  </a:lnTo>
                  <a:lnTo>
                    <a:pt x="21" y="207"/>
                  </a:lnTo>
                  <a:lnTo>
                    <a:pt x="25" y="205"/>
                  </a:lnTo>
                  <a:lnTo>
                    <a:pt x="30" y="201"/>
                  </a:lnTo>
                  <a:lnTo>
                    <a:pt x="34" y="205"/>
                  </a:lnTo>
                  <a:lnTo>
                    <a:pt x="36" y="211"/>
                  </a:lnTo>
                  <a:lnTo>
                    <a:pt x="42" y="213"/>
                  </a:lnTo>
                  <a:lnTo>
                    <a:pt x="44" y="211"/>
                  </a:lnTo>
                  <a:lnTo>
                    <a:pt x="48" y="211"/>
                  </a:lnTo>
                  <a:lnTo>
                    <a:pt x="55" y="211"/>
                  </a:lnTo>
                  <a:lnTo>
                    <a:pt x="57" y="211"/>
                  </a:lnTo>
                  <a:lnTo>
                    <a:pt x="63" y="213"/>
                  </a:lnTo>
                  <a:lnTo>
                    <a:pt x="67" y="215"/>
                  </a:lnTo>
                  <a:lnTo>
                    <a:pt x="67" y="211"/>
                  </a:lnTo>
                  <a:lnTo>
                    <a:pt x="65" y="207"/>
                  </a:lnTo>
                  <a:lnTo>
                    <a:pt x="69" y="201"/>
                  </a:lnTo>
                  <a:lnTo>
                    <a:pt x="71" y="197"/>
                  </a:lnTo>
                  <a:lnTo>
                    <a:pt x="73" y="192"/>
                  </a:lnTo>
                  <a:lnTo>
                    <a:pt x="80" y="194"/>
                  </a:lnTo>
                  <a:lnTo>
                    <a:pt x="82" y="190"/>
                  </a:lnTo>
                  <a:lnTo>
                    <a:pt x="84" y="190"/>
                  </a:lnTo>
                  <a:lnTo>
                    <a:pt x="88" y="192"/>
                  </a:lnTo>
                  <a:lnTo>
                    <a:pt x="86" y="194"/>
                  </a:lnTo>
                  <a:lnTo>
                    <a:pt x="90" y="194"/>
                  </a:lnTo>
                  <a:lnTo>
                    <a:pt x="90" y="195"/>
                  </a:lnTo>
                  <a:lnTo>
                    <a:pt x="96" y="199"/>
                  </a:lnTo>
                  <a:lnTo>
                    <a:pt x="96" y="194"/>
                  </a:lnTo>
                  <a:lnTo>
                    <a:pt x="105" y="192"/>
                  </a:lnTo>
                  <a:lnTo>
                    <a:pt x="109" y="192"/>
                  </a:lnTo>
                  <a:lnTo>
                    <a:pt x="111" y="190"/>
                  </a:lnTo>
                  <a:lnTo>
                    <a:pt x="117" y="192"/>
                  </a:lnTo>
                  <a:lnTo>
                    <a:pt x="119" y="194"/>
                  </a:lnTo>
                  <a:lnTo>
                    <a:pt x="124" y="192"/>
                  </a:lnTo>
                  <a:lnTo>
                    <a:pt x="130" y="195"/>
                  </a:lnTo>
                  <a:lnTo>
                    <a:pt x="134" y="186"/>
                  </a:lnTo>
                  <a:lnTo>
                    <a:pt x="134" y="180"/>
                  </a:lnTo>
                  <a:lnTo>
                    <a:pt x="136" y="182"/>
                  </a:lnTo>
                  <a:lnTo>
                    <a:pt x="136" y="176"/>
                  </a:lnTo>
                  <a:lnTo>
                    <a:pt x="142" y="176"/>
                  </a:lnTo>
                  <a:lnTo>
                    <a:pt x="144" y="176"/>
                  </a:lnTo>
                  <a:lnTo>
                    <a:pt x="149" y="176"/>
                  </a:lnTo>
                  <a:lnTo>
                    <a:pt x="157" y="174"/>
                  </a:lnTo>
                  <a:lnTo>
                    <a:pt x="159" y="169"/>
                  </a:lnTo>
                  <a:lnTo>
                    <a:pt x="165" y="161"/>
                  </a:lnTo>
                  <a:lnTo>
                    <a:pt x="167" y="157"/>
                  </a:lnTo>
                  <a:lnTo>
                    <a:pt x="163" y="149"/>
                  </a:lnTo>
                  <a:lnTo>
                    <a:pt x="155" y="147"/>
                  </a:lnTo>
                  <a:lnTo>
                    <a:pt x="151" y="147"/>
                  </a:lnTo>
                  <a:lnTo>
                    <a:pt x="149" y="147"/>
                  </a:lnTo>
                  <a:lnTo>
                    <a:pt x="140" y="149"/>
                  </a:lnTo>
                  <a:lnTo>
                    <a:pt x="134" y="147"/>
                  </a:lnTo>
                  <a:lnTo>
                    <a:pt x="136" y="140"/>
                  </a:lnTo>
                  <a:lnTo>
                    <a:pt x="142" y="140"/>
                  </a:lnTo>
                  <a:lnTo>
                    <a:pt x="146" y="136"/>
                  </a:lnTo>
                  <a:lnTo>
                    <a:pt x="147" y="130"/>
                  </a:lnTo>
                  <a:lnTo>
                    <a:pt x="151" y="130"/>
                  </a:lnTo>
                  <a:lnTo>
                    <a:pt x="153" y="124"/>
                  </a:lnTo>
                  <a:lnTo>
                    <a:pt x="153" y="117"/>
                  </a:lnTo>
                  <a:lnTo>
                    <a:pt x="147" y="119"/>
                  </a:lnTo>
                  <a:lnTo>
                    <a:pt x="151" y="115"/>
                  </a:lnTo>
                  <a:lnTo>
                    <a:pt x="147" y="113"/>
                  </a:lnTo>
                  <a:lnTo>
                    <a:pt x="147" y="109"/>
                  </a:lnTo>
                  <a:lnTo>
                    <a:pt x="149" y="103"/>
                  </a:lnTo>
                  <a:lnTo>
                    <a:pt x="149" y="101"/>
                  </a:lnTo>
                  <a:lnTo>
                    <a:pt x="149" y="98"/>
                  </a:lnTo>
                  <a:lnTo>
                    <a:pt x="157" y="96"/>
                  </a:lnTo>
                  <a:lnTo>
                    <a:pt x="159" y="98"/>
                  </a:lnTo>
                  <a:lnTo>
                    <a:pt x="161" y="98"/>
                  </a:lnTo>
                  <a:lnTo>
                    <a:pt x="161" y="96"/>
                  </a:lnTo>
                  <a:lnTo>
                    <a:pt x="165" y="96"/>
                  </a:lnTo>
                  <a:lnTo>
                    <a:pt x="165" y="94"/>
                  </a:lnTo>
                  <a:lnTo>
                    <a:pt x="167" y="94"/>
                  </a:lnTo>
                  <a:lnTo>
                    <a:pt x="169" y="92"/>
                  </a:lnTo>
                  <a:lnTo>
                    <a:pt x="167" y="90"/>
                  </a:lnTo>
                  <a:lnTo>
                    <a:pt x="170" y="88"/>
                  </a:lnTo>
                  <a:lnTo>
                    <a:pt x="169" y="86"/>
                  </a:lnTo>
                  <a:lnTo>
                    <a:pt x="172" y="84"/>
                  </a:lnTo>
                  <a:lnTo>
                    <a:pt x="170" y="78"/>
                  </a:lnTo>
                  <a:lnTo>
                    <a:pt x="174" y="76"/>
                  </a:lnTo>
                  <a:lnTo>
                    <a:pt x="180" y="74"/>
                  </a:lnTo>
                  <a:lnTo>
                    <a:pt x="186" y="73"/>
                  </a:lnTo>
                  <a:lnTo>
                    <a:pt x="186" y="76"/>
                  </a:lnTo>
                  <a:lnTo>
                    <a:pt x="184" y="80"/>
                  </a:lnTo>
                  <a:lnTo>
                    <a:pt x="186" y="80"/>
                  </a:lnTo>
                  <a:lnTo>
                    <a:pt x="188" y="76"/>
                  </a:lnTo>
                  <a:lnTo>
                    <a:pt x="194" y="82"/>
                  </a:lnTo>
                  <a:lnTo>
                    <a:pt x="195" y="76"/>
                  </a:lnTo>
                  <a:lnTo>
                    <a:pt x="199" y="76"/>
                  </a:lnTo>
                  <a:lnTo>
                    <a:pt x="203" y="80"/>
                  </a:lnTo>
                  <a:lnTo>
                    <a:pt x="203" y="82"/>
                  </a:lnTo>
                  <a:lnTo>
                    <a:pt x="207" y="84"/>
                  </a:lnTo>
                  <a:lnTo>
                    <a:pt x="209" y="84"/>
                  </a:lnTo>
                  <a:lnTo>
                    <a:pt x="218" y="88"/>
                  </a:lnTo>
                  <a:lnTo>
                    <a:pt x="218" y="90"/>
                  </a:lnTo>
                  <a:lnTo>
                    <a:pt x="215" y="94"/>
                  </a:lnTo>
                  <a:lnTo>
                    <a:pt x="215" y="96"/>
                  </a:lnTo>
                  <a:lnTo>
                    <a:pt x="222" y="94"/>
                  </a:lnTo>
                  <a:lnTo>
                    <a:pt x="226" y="98"/>
                  </a:lnTo>
                  <a:lnTo>
                    <a:pt x="232" y="101"/>
                  </a:lnTo>
                  <a:lnTo>
                    <a:pt x="240" y="101"/>
                  </a:lnTo>
                  <a:lnTo>
                    <a:pt x="243" y="101"/>
                  </a:lnTo>
                  <a:lnTo>
                    <a:pt x="243" y="98"/>
                  </a:lnTo>
                  <a:lnTo>
                    <a:pt x="245" y="98"/>
                  </a:lnTo>
                  <a:lnTo>
                    <a:pt x="247" y="96"/>
                  </a:lnTo>
                  <a:lnTo>
                    <a:pt x="245" y="90"/>
                  </a:lnTo>
                  <a:lnTo>
                    <a:pt x="249" y="92"/>
                  </a:lnTo>
                  <a:lnTo>
                    <a:pt x="251" y="96"/>
                  </a:lnTo>
                  <a:lnTo>
                    <a:pt x="253" y="94"/>
                  </a:lnTo>
                  <a:lnTo>
                    <a:pt x="253" y="88"/>
                  </a:lnTo>
                  <a:lnTo>
                    <a:pt x="257" y="84"/>
                  </a:lnTo>
                  <a:lnTo>
                    <a:pt x="259" y="78"/>
                  </a:lnTo>
                  <a:lnTo>
                    <a:pt x="263" y="69"/>
                  </a:lnTo>
                  <a:lnTo>
                    <a:pt x="265" y="69"/>
                  </a:lnTo>
                  <a:lnTo>
                    <a:pt x="261" y="63"/>
                  </a:lnTo>
                  <a:lnTo>
                    <a:pt x="265" y="57"/>
                  </a:lnTo>
                  <a:lnTo>
                    <a:pt x="270" y="59"/>
                  </a:lnTo>
                  <a:lnTo>
                    <a:pt x="270" y="53"/>
                  </a:lnTo>
                  <a:lnTo>
                    <a:pt x="274" y="55"/>
                  </a:lnTo>
                  <a:lnTo>
                    <a:pt x="282" y="51"/>
                  </a:lnTo>
                  <a:lnTo>
                    <a:pt x="288" y="51"/>
                  </a:lnTo>
                  <a:lnTo>
                    <a:pt x="289" y="50"/>
                  </a:lnTo>
                  <a:lnTo>
                    <a:pt x="289" y="51"/>
                  </a:lnTo>
                  <a:lnTo>
                    <a:pt x="289" y="57"/>
                  </a:lnTo>
                  <a:lnTo>
                    <a:pt x="295" y="57"/>
                  </a:lnTo>
                  <a:lnTo>
                    <a:pt x="291" y="55"/>
                  </a:lnTo>
                  <a:lnTo>
                    <a:pt x="291" y="53"/>
                  </a:lnTo>
                  <a:lnTo>
                    <a:pt x="293" y="53"/>
                  </a:lnTo>
                  <a:lnTo>
                    <a:pt x="301" y="51"/>
                  </a:lnTo>
                  <a:lnTo>
                    <a:pt x="309" y="55"/>
                  </a:lnTo>
                  <a:lnTo>
                    <a:pt x="311" y="59"/>
                  </a:lnTo>
                  <a:lnTo>
                    <a:pt x="316" y="57"/>
                  </a:lnTo>
                  <a:lnTo>
                    <a:pt x="320" y="59"/>
                  </a:lnTo>
                  <a:lnTo>
                    <a:pt x="322" y="57"/>
                  </a:lnTo>
                  <a:lnTo>
                    <a:pt x="322" y="51"/>
                  </a:lnTo>
                  <a:lnTo>
                    <a:pt x="326" y="50"/>
                  </a:lnTo>
                  <a:lnTo>
                    <a:pt x="326" y="46"/>
                  </a:lnTo>
                  <a:lnTo>
                    <a:pt x="328" y="46"/>
                  </a:lnTo>
                  <a:lnTo>
                    <a:pt x="330" y="44"/>
                  </a:lnTo>
                  <a:lnTo>
                    <a:pt x="332" y="44"/>
                  </a:lnTo>
                  <a:lnTo>
                    <a:pt x="332" y="48"/>
                  </a:lnTo>
                  <a:lnTo>
                    <a:pt x="336" y="48"/>
                  </a:lnTo>
                  <a:lnTo>
                    <a:pt x="336" y="50"/>
                  </a:lnTo>
                  <a:lnTo>
                    <a:pt x="337" y="48"/>
                  </a:lnTo>
                  <a:lnTo>
                    <a:pt x="341" y="46"/>
                  </a:lnTo>
                  <a:lnTo>
                    <a:pt x="339" y="42"/>
                  </a:lnTo>
                  <a:lnTo>
                    <a:pt x="341" y="42"/>
                  </a:lnTo>
                  <a:lnTo>
                    <a:pt x="343" y="40"/>
                  </a:lnTo>
                  <a:lnTo>
                    <a:pt x="349" y="40"/>
                  </a:lnTo>
                  <a:lnTo>
                    <a:pt x="349" y="38"/>
                  </a:lnTo>
                  <a:lnTo>
                    <a:pt x="351" y="34"/>
                  </a:lnTo>
                  <a:lnTo>
                    <a:pt x="347" y="36"/>
                  </a:lnTo>
                  <a:lnTo>
                    <a:pt x="349" y="28"/>
                  </a:lnTo>
                  <a:lnTo>
                    <a:pt x="343" y="26"/>
                  </a:lnTo>
                  <a:lnTo>
                    <a:pt x="351" y="25"/>
                  </a:lnTo>
                  <a:lnTo>
                    <a:pt x="361" y="25"/>
                  </a:lnTo>
                  <a:lnTo>
                    <a:pt x="362" y="30"/>
                  </a:lnTo>
                  <a:lnTo>
                    <a:pt x="364" y="32"/>
                  </a:lnTo>
                  <a:lnTo>
                    <a:pt x="368" y="30"/>
                  </a:lnTo>
                  <a:lnTo>
                    <a:pt x="370" y="32"/>
                  </a:lnTo>
                  <a:lnTo>
                    <a:pt x="376" y="30"/>
                  </a:lnTo>
                  <a:lnTo>
                    <a:pt x="378" y="32"/>
                  </a:lnTo>
                  <a:lnTo>
                    <a:pt x="376" y="34"/>
                  </a:lnTo>
                  <a:lnTo>
                    <a:pt x="378" y="34"/>
                  </a:lnTo>
                  <a:lnTo>
                    <a:pt x="378" y="36"/>
                  </a:lnTo>
                  <a:lnTo>
                    <a:pt x="380" y="38"/>
                  </a:lnTo>
                  <a:lnTo>
                    <a:pt x="382" y="36"/>
                  </a:lnTo>
                  <a:lnTo>
                    <a:pt x="384" y="38"/>
                  </a:lnTo>
                  <a:lnTo>
                    <a:pt x="387" y="34"/>
                  </a:lnTo>
                  <a:lnTo>
                    <a:pt x="382" y="30"/>
                  </a:lnTo>
                  <a:lnTo>
                    <a:pt x="384" y="28"/>
                  </a:lnTo>
                  <a:lnTo>
                    <a:pt x="384" y="26"/>
                  </a:lnTo>
                  <a:lnTo>
                    <a:pt x="387" y="28"/>
                  </a:lnTo>
                  <a:lnTo>
                    <a:pt x="389" y="26"/>
                  </a:lnTo>
                  <a:lnTo>
                    <a:pt x="395" y="26"/>
                  </a:lnTo>
                  <a:lnTo>
                    <a:pt x="401" y="23"/>
                  </a:lnTo>
                  <a:lnTo>
                    <a:pt x="403" y="23"/>
                  </a:lnTo>
                  <a:lnTo>
                    <a:pt x="407" y="19"/>
                  </a:lnTo>
                  <a:lnTo>
                    <a:pt x="405" y="19"/>
                  </a:lnTo>
                  <a:lnTo>
                    <a:pt x="405" y="15"/>
                  </a:lnTo>
                  <a:lnTo>
                    <a:pt x="408" y="15"/>
                  </a:lnTo>
                  <a:lnTo>
                    <a:pt x="407" y="11"/>
                  </a:lnTo>
                  <a:lnTo>
                    <a:pt x="410" y="9"/>
                  </a:lnTo>
                  <a:lnTo>
                    <a:pt x="412" y="7"/>
                  </a:lnTo>
                  <a:lnTo>
                    <a:pt x="416" y="7"/>
                  </a:lnTo>
                  <a:lnTo>
                    <a:pt x="416" y="5"/>
                  </a:lnTo>
                  <a:lnTo>
                    <a:pt x="410" y="3"/>
                  </a:lnTo>
                  <a:lnTo>
                    <a:pt x="410" y="1"/>
                  </a:lnTo>
                  <a:lnTo>
                    <a:pt x="416" y="3"/>
                  </a:lnTo>
                  <a:lnTo>
                    <a:pt x="420" y="1"/>
                  </a:lnTo>
                  <a:lnTo>
                    <a:pt x="418" y="7"/>
                  </a:lnTo>
                  <a:lnTo>
                    <a:pt x="422" y="7"/>
                  </a:lnTo>
                  <a:lnTo>
                    <a:pt x="422" y="5"/>
                  </a:lnTo>
                  <a:lnTo>
                    <a:pt x="424" y="5"/>
                  </a:lnTo>
                  <a:lnTo>
                    <a:pt x="430" y="7"/>
                  </a:lnTo>
                  <a:lnTo>
                    <a:pt x="435" y="9"/>
                  </a:lnTo>
                  <a:lnTo>
                    <a:pt x="439" y="1"/>
                  </a:lnTo>
                  <a:lnTo>
                    <a:pt x="439" y="0"/>
                  </a:lnTo>
                  <a:lnTo>
                    <a:pt x="441" y="3"/>
                  </a:lnTo>
                  <a:lnTo>
                    <a:pt x="443" y="9"/>
                  </a:lnTo>
                  <a:lnTo>
                    <a:pt x="443" y="11"/>
                  </a:lnTo>
                  <a:lnTo>
                    <a:pt x="443" y="15"/>
                  </a:lnTo>
                  <a:lnTo>
                    <a:pt x="445" y="15"/>
                  </a:lnTo>
                  <a:lnTo>
                    <a:pt x="445" y="11"/>
                  </a:lnTo>
                  <a:lnTo>
                    <a:pt x="443" y="11"/>
                  </a:lnTo>
                  <a:lnTo>
                    <a:pt x="445" y="11"/>
                  </a:lnTo>
                  <a:lnTo>
                    <a:pt x="447" y="19"/>
                  </a:lnTo>
                  <a:lnTo>
                    <a:pt x="447" y="25"/>
                  </a:lnTo>
                  <a:lnTo>
                    <a:pt x="447" y="26"/>
                  </a:lnTo>
                  <a:lnTo>
                    <a:pt x="449" y="26"/>
                  </a:lnTo>
                  <a:lnTo>
                    <a:pt x="447" y="26"/>
                  </a:lnTo>
                  <a:lnTo>
                    <a:pt x="449" y="34"/>
                  </a:lnTo>
                  <a:lnTo>
                    <a:pt x="447" y="30"/>
                  </a:lnTo>
                  <a:lnTo>
                    <a:pt x="445" y="36"/>
                  </a:lnTo>
                  <a:lnTo>
                    <a:pt x="443" y="34"/>
                  </a:lnTo>
                  <a:lnTo>
                    <a:pt x="443" y="38"/>
                  </a:lnTo>
                  <a:lnTo>
                    <a:pt x="445" y="36"/>
                  </a:lnTo>
                  <a:lnTo>
                    <a:pt x="443" y="42"/>
                  </a:lnTo>
                  <a:lnTo>
                    <a:pt x="441" y="46"/>
                  </a:lnTo>
                  <a:lnTo>
                    <a:pt x="443" y="48"/>
                  </a:lnTo>
                  <a:lnTo>
                    <a:pt x="441" y="48"/>
                  </a:lnTo>
                  <a:lnTo>
                    <a:pt x="441" y="51"/>
                  </a:lnTo>
                  <a:lnTo>
                    <a:pt x="443" y="50"/>
                  </a:lnTo>
                  <a:lnTo>
                    <a:pt x="441" y="55"/>
                  </a:lnTo>
                  <a:lnTo>
                    <a:pt x="437" y="65"/>
                  </a:lnTo>
                  <a:lnTo>
                    <a:pt x="437" y="69"/>
                  </a:lnTo>
                  <a:lnTo>
                    <a:pt x="435" y="76"/>
                  </a:lnTo>
                  <a:lnTo>
                    <a:pt x="435" y="82"/>
                  </a:lnTo>
                  <a:lnTo>
                    <a:pt x="433" y="78"/>
                  </a:lnTo>
                  <a:lnTo>
                    <a:pt x="433" y="84"/>
                  </a:lnTo>
                  <a:lnTo>
                    <a:pt x="435" y="82"/>
                  </a:lnTo>
                  <a:lnTo>
                    <a:pt x="435" y="84"/>
                  </a:lnTo>
                  <a:lnTo>
                    <a:pt x="435" y="82"/>
                  </a:lnTo>
                  <a:lnTo>
                    <a:pt x="437" y="84"/>
                  </a:lnTo>
                  <a:lnTo>
                    <a:pt x="433" y="94"/>
                  </a:lnTo>
                  <a:lnTo>
                    <a:pt x="430" y="101"/>
                  </a:lnTo>
                  <a:lnTo>
                    <a:pt x="430" y="103"/>
                  </a:lnTo>
                  <a:lnTo>
                    <a:pt x="430" y="105"/>
                  </a:lnTo>
                  <a:lnTo>
                    <a:pt x="426" y="113"/>
                  </a:lnTo>
                  <a:lnTo>
                    <a:pt x="426" y="119"/>
                  </a:lnTo>
                  <a:lnTo>
                    <a:pt x="420" y="126"/>
                  </a:lnTo>
                  <a:lnTo>
                    <a:pt x="416" y="130"/>
                  </a:lnTo>
                  <a:lnTo>
                    <a:pt x="412" y="136"/>
                  </a:lnTo>
                  <a:lnTo>
                    <a:pt x="410" y="140"/>
                  </a:lnTo>
                  <a:lnTo>
                    <a:pt x="405" y="144"/>
                  </a:lnTo>
                  <a:lnTo>
                    <a:pt x="405" y="146"/>
                  </a:lnTo>
                  <a:lnTo>
                    <a:pt x="408" y="142"/>
                  </a:lnTo>
                  <a:lnTo>
                    <a:pt x="405" y="147"/>
                  </a:lnTo>
                  <a:lnTo>
                    <a:pt x="401" y="153"/>
                  </a:lnTo>
                  <a:lnTo>
                    <a:pt x="397" y="159"/>
                  </a:lnTo>
                  <a:lnTo>
                    <a:pt x="395" y="163"/>
                  </a:lnTo>
                  <a:close/>
                  <a:moveTo>
                    <a:pt x="374" y="167"/>
                  </a:moveTo>
                  <a:lnTo>
                    <a:pt x="370" y="169"/>
                  </a:lnTo>
                  <a:lnTo>
                    <a:pt x="370" y="171"/>
                  </a:lnTo>
                  <a:lnTo>
                    <a:pt x="372" y="172"/>
                  </a:lnTo>
                  <a:lnTo>
                    <a:pt x="378" y="171"/>
                  </a:lnTo>
                  <a:lnTo>
                    <a:pt x="374" y="167"/>
                  </a:lnTo>
                  <a:close/>
                  <a:moveTo>
                    <a:pt x="368" y="171"/>
                  </a:moveTo>
                  <a:lnTo>
                    <a:pt x="370" y="167"/>
                  </a:lnTo>
                  <a:lnTo>
                    <a:pt x="366" y="167"/>
                  </a:lnTo>
                  <a:lnTo>
                    <a:pt x="366" y="171"/>
                  </a:lnTo>
                  <a:lnTo>
                    <a:pt x="368" y="180"/>
                  </a:lnTo>
                  <a:lnTo>
                    <a:pt x="372" y="178"/>
                  </a:lnTo>
                  <a:lnTo>
                    <a:pt x="370" y="174"/>
                  </a:lnTo>
                  <a:lnTo>
                    <a:pt x="368" y="176"/>
                  </a:lnTo>
                  <a:lnTo>
                    <a:pt x="368" y="171"/>
                  </a:lnTo>
                  <a:close/>
                  <a:moveTo>
                    <a:pt x="370" y="172"/>
                  </a:moveTo>
                  <a:lnTo>
                    <a:pt x="372" y="172"/>
                  </a:lnTo>
                  <a:lnTo>
                    <a:pt x="372" y="176"/>
                  </a:lnTo>
                  <a:lnTo>
                    <a:pt x="370" y="176"/>
                  </a:lnTo>
                  <a:lnTo>
                    <a:pt x="370" y="172"/>
                  </a:lnTo>
                  <a:close/>
                  <a:moveTo>
                    <a:pt x="366" y="182"/>
                  </a:moveTo>
                  <a:lnTo>
                    <a:pt x="364" y="182"/>
                  </a:lnTo>
                  <a:lnTo>
                    <a:pt x="364" y="186"/>
                  </a:lnTo>
                  <a:lnTo>
                    <a:pt x="366" y="184"/>
                  </a:lnTo>
                  <a:lnTo>
                    <a:pt x="366" y="186"/>
                  </a:lnTo>
                  <a:lnTo>
                    <a:pt x="370" y="186"/>
                  </a:lnTo>
                  <a:lnTo>
                    <a:pt x="370" y="184"/>
                  </a:lnTo>
                  <a:lnTo>
                    <a:pt x="366" y="182"/>
                  </a:lnTo>
                  <a:close/>
                  <a:moveTo>
                    <a:pt x="368" y="186"/>
                  </a:moveTo>
                  <a:lnTo>
                    <a:pt x="372" y="186"/>
                  </a:lnTo>
                  <a:lnTo>
                    <a:pt x="372" y="190"/>
                  </a:lnTo>
                  <a:lnTo>
                    <a:pt x="368" y="190"/>
                  </a:lnTo>
                  <a:lnTo>
                    <a:pt x="368" y="186"/>
                  </a:lnTo>
                  <a:close/>
                  <a:moveTo>
                    <a:pt x="372" y="190"/>
                  </a:moveTo>
                  <a:lnTo>
                    <a:pt x="374" y="190"/>
                  </a:lnTo>
                  <a:lnTo>
                    <a:pt x="374" y="192"/>
                  </a:lnTo>
                  <a:lnTo>
                    <a:pt x="372" y="192"/>
                  </a:lnTo>
                  <a:lnTo>
                    <a:pt x="372" y="190"/>
                  </a:lnTo>
                  <a:close/>
                </a:path>
              </a:pathLst>
            </a:custGeom>
            <a:solidFill>
              <a:schemeClr val="accent3"/>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1" name="Freeform 8">
              <a:extLst>
                <a:ext uri="{FF2B5EF4-FFF2-40B4-BE49-F238E27FC236}">
                  <a16:creationId xmlns:a16="http://schemas.microsoft.com/office/drawing/2014/main" id="{B45FE900-EDE7-4550-83CE-D9895FAE8DFB}"/>
                </a:ext>
              </a:extLst>
            </p:cNvPr>
            <p:cNvSpPr>
              <a:spLocks noEditPoints="1"/>
            </p:cNvSpPr>
            <p:nvPr/>
          </p:nvSpPr>
          <p:spPr bwMode="gray">
            <a:xfrm>
              <a:off x="4556126" y="5391153"/>
              <a:ext cx="428625" cy="774700"/>
            </a:xfrm>
            <a:custGeom>
              <a:avLst/>
              <a:gdLst>
                <a:gd name="T0" fmla="*/ 146 w 270"/>
                <a:gd name="T1" fmla="*/ 304 h 488"/>
                <a:gd name="T2" fmla="*/ 46 w 270"/>
                <a:gd name="T3" fmla="*/ 87 h 488"/>
                <a:gd name="T4" fmla="*/ 157 w 270"/>
                <a:gd name="T5" fmla="*/ 131 h 488"/>
                <a:gd name="T6" fmla="*/ 148 w 270"/>
                <a:gd name="T7" fmla="*/ 144 h 488"/>
                <a:gd name="T8" fmla="*/ 169 w 270"/>
                <a:gd name="T9" fmla="*/ 152 h 488"/>
                <a:gd name="T10" fmla="*/ 174 w 270"/>
                <a:gd name="T11" fmla="*/ 171 h 488"/>
                <a:gd name="T12" fmla="*/ 194 w 270"/>
                <a:gd name="T13" fmla="*/ 177 h 488"/>
                <a:gd name="T14" fmla="*/ 201 w 270"/>
                <a:gd name="T15" fmla="*/ 192 h 488"/>
                <a:gd name="T16" fmla="*/ 211 w 270"/>
                <a:gd name="T17" fmla="*/ 211 h 488"/>
                <a:gd name="T18" fmla="*/ 207 w 270"/>
                <a:gd name="T19" fmla="*/ 234 h 488"/>
                <a:gd name="T20" fmla="*/ 211 w 270"/>
                <a:gd name="T21" fmla="*/ 261 h 488"/>
                <a:gd name="T22" fmla="*/ 217 w 270"/>
                <a:gd name="T23" fmla="*/ 277 h 488"/>
                <a:gd name="T24" fmla="*/ 251 w 270"/>
                <a:gd name="T25" fmla="*/ 269 h 488"/>
                <a:gd name="T26" fmla="*/ 247 w 270"/>
                <a:gd name="T27" fmla="*/ 292 h 488"/>
                <a:gd name="T28" fmla="*/ 249 w 270"/>
                <a:gd name="T29" fmla="*/ 319 h 488"/>
                <a:gd name="T30" fmla="*/ 244 w 270"/>
                <a:gd name="T31" fmla="*/ 346 h 488"/>
                <a:gd name="T32" fmla="*/ 267 w 270"/>
                <a:gd name="T33" fmla="*/ 355 h 488"/>
                <a:gd name="T34" fmla="*/ 257 w 270"/>
                <a:gd name="T35" fmla="*/ 375 h 488"/>
                <a:gd name="T36" fmla="*/ 247 w 270"/>
                <a:gd name="T37" fmla="*/ 403 h 488"/>
                <a:gd name="T38" fmla="*/ 245 w 270"/>
                <a:gd name="T39" fmla="*/ 436 h 488"/>
                <a:gd name="T40" fmla="*/ 247 w 270"/>
                <a:gd name="T41" fmla="*/ 465 h 488"/>
                <a:gd name="T42" fmla="*/ 244 w 270"/>
                <a:gd name="T43" fmla="*/ 486 h 488"/>
                <a:gd name="T44" fmla="*/ 217 w 270"/>
                <a:gd name="T45" fmla="*/ 471 h 488"/>
                <a:gd name="T46" fmla="*/ 192 w 270"/>
                <a:gd name="T47" fmla="*/ 440 h 488"/>
                <a:gd name="T48" fmla="*/ 178 w 270"/>
                <a:gd name="T49" fmla="*/ 421 h 488"/>
                <a:gd name="T50" fmla="*/ 184 w 270"/>
                <a:gd name="T51" fmla="*/ 415 h 488"/>
                <a:gd name="T52" fmla="*/ 188 w 270"/>
                <a:gd name="T53" fmla="*/ 415 h 488"/>
                <a:gd name="T54" fmla="*/ 182 w 270"/>
                <a:gd name="T55" fmla="*/ 413 h 488"/>
                <a:gd name="T56" fmla="*/ 173 w 270"/>
                <a:gd name="T57" fmla="*/ 409 h 488"/>
                <a:gd name="T58" fmla="*/ 169 w 270"/>
                <a:gd name="T59" fmla="*/ 394 h 488"/>
                <a:gd name="T60" fmla="*/ 157 w 270"/>
                <a:gd name="T61" fmla="*/ 377 h 488"/>
                <a:gd name="T62" fmla="*/ 150 w 270"/>
                <a:gd name="T63" fmla="*/ 338 h 488"/>
                <a:gd name="T64" fmla="*/ 151 w 270"/>
                <a:gd name="T65" fmla="*/ 311 h 488"/>
                <a:gd name="T66" fmla="*/ 142 w 270"/>
                <a:gd name="T67" fmla="*/ 305 h 488"/>
                <a:gd name="T68" fmla="*/ 132 w 270"/>
                <a:gd name="T69" fmla="*/ 275 h 488"/>
                <a:gd name="T70" fmla="*/ 125 w 270"/>
                <a:gd name="T71" fmla="*/ 244 h 488"/>
                <a:gd name="T72" fmla="*/ 115 w 270"/>
                <a:gd name="T73" fmla="*/ 229 h 488"/>
                <a:gd name="T74" fmla="*/ 109 w 270"/>
                <a:gd name="T75" fmla="*/ 217 h 488"/>
                <a:gd name="T76" fmla="*/ 107 w 270"/>
                <a:gd name="T77" fmla="*/ 202 h 488"/>
                <a:gd name="T78" fmla="*/ 102 w 270"/>
                <a:gd name="T79" fmla="*/ 181 h 488"/>
                <a:gd name="T80" fmla="*/ 96 w 270"/>
                <a:gd name="T81" fmla="*/ 169 h 488"/>
                <a:gd name="T82" fmla="*/ 79 w 270"/>
                <a:gd name="T83" fmla="*/ 142 h 488"/>
                <a:gd name="T84" fmla="*/ 71 w 270"/>
                <a:gd name="T85" fmla="*/ 117 h 488"/>
                <a:gd name="T86" fmla="*/ 63 w 270"/>
                <a:gd name="T87" fmla="*/ 108 h 488"/>
                <a:gd name="T88" fmla="*/ 52 w 270"/>
                <a:gd name="T89" fmla="*/ 92 h 488"/>
                <a:gd name="T90" fmla="*/ 46 w 270"/>
                <a:gd name="T91" fmla="*/ 90 h 488"/>
                <a:gd name="T92" fmla="*/ 27 w 270"/>
                <a:gd name="T93" fmla="*/ 63 h 488"/>
                <a:gd name="T94" fmla="*/ 13 w 270"/>
                <a:gd name="T95" fmla="*/ 35 h 488"/>
                <a:gd name="T96" fmla="*/ 7 w 270"/>
                <a:gd name="T97" fmla="*/ 19 h 488"/>
                <a:gd name="T98" fmla="*/ 13 w 270"/>
                <a:gd name="T99" fmla="*/ 6 h 488"/>
                <a:gd name="T100" fmla="*/ 25 w 270"/>
                <a:gd name="T101" fmla="*/ 10 h 488"/>
                <a:gd name="T102" fmla="*/ 38 w 270"/>
                <a:gd name="T103" fmla="*/ 21 h 488"/>
                <a:gd name="T104" fmla="*/ 46 w 270"/>
                <a:gd name="T105" fmla="*/ 29 h 488"/>
                <a:gd name="T106" fmla="*/ 57 w 270"/>
                <a:gd name="T107" fmla="*/ 37 h 488"/>
                <a:gd name="T108" fmla="*/ 67 w 270"/>
                <a:gd name="T109" fmla="*/ 54 h 488"/>
                <a:gd name="T110" fmla="*/ 92 w 270"/>
                <a:gd name="T111" fmla="*/ 79 h 488"/>
                <a:gd name="T112" fmla="*/ 115 w 270"/>
                <a:gd name="T113" fmla="*/ 92 h 488"/>
                <a:gd name="T114" fmla="*/ 144 w 270"/>
                <a:gd name="T115" fmla="*/ 100 h 488"/>
                <a:gd name="T116" fmla="*/ 165 w 270"/>
                <a:gd name="T117" fmla="*/ 119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0" h="488">
                  <a:moveTo>
                    <a:pt x="150" y="311"/>
                  </a:moveTo>
                  <a:lnTo>
                    <a:pt x="148" y="309"/>
                  </a:lnTo>
                  <a:lnTo>
                    <a:pt x="146" y="305"/>
                  </a:lnTo>
                  <a:lnTo>
                    <a:pt x="148" y="307"/>
                  </a:lnTo>
                  <a:lnTo>
                    <a:pt x="150" y="311"/>
                  </a:lnTo>
                  <a:close/>
                  <a:moveTo>
                    <a:pt x="146" y="305"/>
                  </a:moveTo>
                  <a:lnTo>
                    <a:pt x="144" y="302"/>
                  </a:lnTo>
                  <a:lnTo>
                    <a:pt x="146" y="304"/>
                  </a:lnTo>
                  <a:lnTo>
                    <a:pt x="146" y="305"/>
                  </a:lnTo>
                  <a:close/>
                  <a:moveTo>
                    <a:pt x="113" y="213"/>
                  </a:moveTo>
                  <a:lnTo>
                    <a:pt x="115" y="213"/>
                  </a:lnTo>
                  <a:lnTo>
                    <a:pt x="115" y="215"/>
                  </a:lnTo>
                  <a:lnTo>
                    <a:pt x="113" y="215"/>
                  </a:lnTo>
                  <a:lnTo>
                    <a:pt x="113" y="213"/>
                  </a:lnTo>
                  <a:close/>
                  <a:moveTo>
                    <a:pt x="44" y="87"/>
                  </a:moveTo>
                  <a:lnTo>
                    <a:pt x="46" y="87"/>
                  </a:lnTo>
                  <a:lnTo>
                    <a:pt x="46" y="90"/>
                  </a:lnTo>
                  <a:lnTo>
                    <a:pt x="44" y="90"/>
                  </a:lnTo>
                  <a:lnTo>
                    <a:pt x="44" y="87"/>
                  </a:lnTo>
                  <a:close/>
                  <a:moveTo>
                    <a:pt x="167" y="123"/>
                  </a:moveTo>
                  <a:lnTo>
                    <a:pt x="169" y="125"/>
                  </a:lnTo>
                  <a:lnTo>
                    <a:pt x="163" y="127"/>
                  </a:lnTo>
                  <a:lnTo>
                    <a:pt x="161" y="129"/>
                  </a:lnTo>
                  <a:lnTo>
                    <a:pt x="157" y="131"/>
                  </a:lnTo>
                  <a:lnTo>
                    <a:pt x="157" y="129"/>
                  </a:lnTo>
                  <a:lnTo>
                    <a:pt x="155" y="133"/>
                  </a:lnTo>
                  <a:lnTo>
                    <a:pt x="150" y="129"/>
                  </a:lnTo>
                  <a:lnTo>
                    <a:pt x="146" y="133"/>
                  </a:lnTo>
                  <a:lnTo>
                    <a:pt x="148" y="136"/>
                  </a:lnTo>
                  <a:lnTo>
                    <a:pt x="146" y="136"/>
                  </a:lnTo>
                  <a:lnTo>
                    <a:pt x="148" y="140"/>
                  </a:lnTo>
                  <a:lnTo>
                    <a:pt x="148" y="144"/>
                  </a:lnTo>
                  <a:lnTo>
                    <a:pt x="151" y="142"/>
                  </a:lnTo>
                  <a:lnTo>
                    <a:pt x="151" y="144"/>
                  </a:lnTo>
                  <a:lnTo>
                    <a:pt x="155" y="144"/>
                  </a:lnTo>
                  <a:lnTo>
                    <a:pt x="157" y="144"/>
                  </a:lnTo>
                  <a:lnTo>
                    <a:pt x="161" y="144"/>
                  </a:lnTo>
                  <a:lnTo>
                    <a:pt x="165" y="146"/>
                  </a:lnTo>
                  <a:lnTo>
                    <a:pt x="165" y="148"/>
                  </a:lnTo>
                  <a:lnTo>
                    <a:pt x="169" y="152"/>
                  </a:lnTo>
                  <a:lnTo>
                    <a:pt x="176" y="154"/>
                  </a:lnTo>
                  <a:lnTo>
                    <a:pt x="174" y="156"/>
                  </a:lnTo>
                  <a:lnTo>
                    <a:pt x="180" y="156"/>
                  </a:lnTo>
                  <a:lnTo>
                    <a:pt x="176" y="165"/>
                  </a:lnTo>
                  <a:lnTo>
                    <a:pt x="169" y="169"/>
                  </a:lnTo>
                  <a:lnTo>
                    <a:pt x="169" y="175"/>
                  </a:lnTo>
                  <a:lnTo>
                    <a:pt x="171" y="171"/>
                  </a:lnTo>
                  <a:lnTo>
                    <a:pt x="174" y="171"/>
                  </a:lnTo>
                  <a:lnTo>
                    <a:pt x="178" y="173"/>
                  </a:lnTo>
                  <a:lnTo>
                    <a:pt x="186" y="171"/>
                  </a:lnTo>
                  <a:lnTo>
                    <a:pt x="188" y="173"/>
                  </a:lnTo>
                  <a:lnTo>
                    <a:pt x="196" y="169"/>
                  </a:lnTo>
                  <a:lnTo>
                    <a:pt x="199" y="171"/>
                  </a:lnTo>
                  <a:lnTo>
                    <a:pt x="199" y="173"/>
                  </a:lnTo>
                  <a:lnTo>
                    <a:pt x="196" y="175"/>
                  </a:lnTo>
                  <a:lnTo>
                    <a:pt x="194" y="177"/>
                  </a:lnTo>
                  <a:lnTo>
                    <a:pt x="199" y="181"/>
                  </a:lnTo>
                  <a:lnTo>
                    <a:pt x="201" y="179"/>
                  </a:lnTo>
                  <a:lnTo>
                    <a:pt x="199" y="183"/>
                  </a:lnTo>
                  <a:lnTo>
                    <a:pt x="201" y="184"/>
                  </a:lnTo>
                  <a:lnTo>
                    <a:pt x="201" y="188"/>
                  </a:lnTo>
                  <a:lnTo>
                    <a:pt x="203" y="188"/>
                  </a:lnTo>
                  <a:lnTo>
                    <a:pt x="207" y="188"/>
                  </a:lnTo>
                  <a:lnTo>
                    <a:pt x="201" y="192"/>
                  </a:lnTo>
                  <a:lnTo>
                    <a:pt x="197" y="190"/>
                  </a:lnTo>
                  <a:lnTo>
                    <a:pt x="192" y="198"/>
                  </a:lnTo>
                  <a:lnTo>
                    <a:pt x="192" y="200"/>
                  </a:lnTo>
                  <a:lnTo>
                    <a:pt x="190" y="202"/>
                  </a:lnTo>
                  <a:lnTo>
                    <a:pt x="194" y="204"/>
                  </a:lnTo>
                  <a:lnTo>
                    <a:pt x="199" y="206"/>
                  </a:lnTo>
                  <a:lnTo>
                    <a:pt x="209" y="208"/>
                  </a:lnTo>
                  <a:lnTo>
                    <a:pt x="211" y="211"/>
                  </a:lnTo>
                  <a:lnTo>
                    <a:pt x="211" y="213"/>
                  </a:lnTo>
                  <a:lnTo>
                    <a:pt x="217" y="215"/>
                  </a:lnTo>
                  <a:lnTo>
                    <a:pt x="217" y="219"/>
                  </a:lnTo>
                  <a:lnTo>
                    <a:pt x="217" y="225"/>
                  </a:lnTo>
                  <a:lnTo>
                    <a:pt x="213" y="229"/>
                  </a:lnTo>
                  <a:lnTo>
                    <a:pt x="215" y="231"/>
                  </a:lnTo>
                  <a:lnTo>
                    <a:pt x="215" y="233"/>
                  </a:lnTo>
                  <a:lnTo>
                    <a:pt x="207" y="234"/>
                  </a:lnTo>
                  <a:lnTo>
                    <a:pt x="207" y="238"/>
                  </a:lnTo>
                  <a:lnTo>
                    <a:pt x="209" y="238"/>
                  </a:lnTo>
                  <a:lnTo>
                    <a:pt x="211" y="244"/>
                  </a:lnTo>
                  <a:lnTo>
                    <a:pt x="209" y="254"/>
                  </a:lnTo>
                  <a:lnTo>
                    <a:pt x="207" y="257"/>
                  </a:lnTo>
                  <a:lnTo>
                    <a:pt x="211" y="259"/>
                  </a:lnTo>
                  <a:lnTo>
                    <a:pt x="207" y="261"/>
                  </a:lnTo>
                  <a:lnTo>
                    <a:pt x="211" y="261"/>
                  </a:lnTo>
                  <a:lnTo>
                    <a:pt x="211" y="263"/>
                  </a:lnTo>
                  <a:lnTo>
                    <a:pt x="209" y="265"/>
                  </a:lnTo>
                  <a:lnTo>
                    <a:pt x="207" y="269"/>
                  </a:lnTo>
                  <a:lnTo>
                    <a:pt x="211" y="273"/>
                  </a:lnTo>
                  <a:lnTo>
                    <a:pt x="213" y="271"/>
                  </a:lnTo>
                  <a:lnTo>
                    <a:pt x="213" y="273"/>
                  </a:lnTo>
                  <a:lnTo>
                    <a:pt x="215" y="275"/>
                  </a:lnTo>
                  <a:lnTo>
                    <a:pt x="217" y="277"/>
                  </a:lnTo>
                  <a:lnTo>
                    <a:pt x="224" y="279"/>
                  </a:lnTo>
                  <a:lnTo>
                    <a:pt x="230" y="275"/>
                  </a:lnTo>
                  <a:lnTo>
                    <a:pt x="232" y="273"/>
                  </a:lnTo>
                  <a:lnTo>
                    <a:pt x="236" y="269"/>
                  </a:lnTo>
                  <a:lnTo>
                    <a:pt x="240" y="269"/>
                  </a:lnTo>
                  <a:lnTo>
                    <a:pt x="245" y="263"/>
                  </a:lnTo>
                  <a:lnTo>
                    <a:pt x="253" y="265"/>
                  </a:lnTo>
                  <a:lnTo>
                    <a:pt x="251" y="269"/>
                  </a:lnTo>
                  <a:lnTo>
                    <a:pt x="255" y="275"/>
                  </a:lnTo>
                  <a:lnTo>
                    <a:pt x="255" y="277"/>
                  </a:lnTo>
                  <a:lnTo>
                    <a:pt x="257" y="279"/>
                  </a:lnTo>
                  <a:lnTo>
                    <a:pt x="259" y="279"/>
                  </a:lnTo>
                  <a:lnTo>
                    <a:pt x="257" y="282"/>
                  </a:lnTo>
                  <a:lnTo>
                    <a:pt x="255" y="288"/>
                  </a:lnTo>
                  <a:lnTo>
                    <a:pt x="249" y="290"/>
                  </a:lnTo>
                  <a:lnTo>
                    <a:pt x="247" y="292"/>
                  </a:lnTo>
                  <a:lnTo>
                    <a:pt x="247" y="294"/>
                  </a:lnTo>
                  <a:lnTo>
                    <a:pt x="255" y="300"/>
                  </a:lnTo>
                  <a:lnTo>
                    <a:pt x="253" y="302"/>
                  </a:lnTo>
                  <a:lnTo>
                    <a:pt x="255" y="307"/>
                  </a:lnTo>
                  <a:lnTo>
                    <a:pt x="249" y="313"/>
                  </a:lnTo>
                  <a:lnTo>
                    <a:pt x="249" y="317"/>
                  </a:lnTo>
                  <a:lnTo>
                    <a:pt x="251" y="319"/>
                  </a:lnTo>
                  <a:lnTo>
                    <a:pt x="249" y="319"/>
                  </a:lnTo>
                  <a:lnTo>
                    <a:pt x="249" y="323"/>
                  </a:lnTo>
                  <a:lnTo>
                    <a:pt x="253" y="325"/>
                  </a:lnTo>
                  <a:lnTo>
                    <a:pt x="249" y="327"/>
                  </a:lnTo>
                  <a:lnTo>
                    <a:pt x="249" y="332"/>
                  </a:lnTo>
                  <a:lnTo>
                    <a:pt x="247" y="332"/>
                  </a:lnTo>
                  <a:lnTo>
                    <a:pt x="247" y="336"/>
                  </a:lnTo>
                  <a:lnTo>
                    <a:pt x="245" y="340"/>
                  </a:lnTo>
                  <a:lnTo>
                    <a:pt x="244" y="346"/>
                  </a:lnTo>
                  <a:lnTo>
                    <a:pt x="247" y="344"/>
                  </a:lnTo>
                  <a:lnTo>
                    <a:pt x="251" y="348"/>
                  </a:lnTo>
                  <a:lnTo>
                    <a:pt x="255" y="350"/>
                  </a:lnTo>
                  <a:lnTo>
                    <a:pt x="259" y="346"/>
                  </a:lnTo>
                  <a:lnTo>
                    <a:pt x="263" y="350"/>
                  </a:lnTo>
                  <a:lnTo>
                    <a:pt x="265" y="346"/>
                  </a:lnTo>
                  <a:lnTo>
                    <a:pt x="263" y="352"/>
                  </a:lnTo>
                  <a:lnTo>
                    <a:pt x="267" y="355"/>
                  </a:lnTo>
                  <a:lnTo>
                    <a:pt x="269" y="355"/>
                  </a:lnTo>
                  <a:lnTo>
                    <a:pt x="270" y="355"/>
                  </a:lnTo>
                  <a:lnTo>
                    <a:pt x="269" y="361"/>
                  </a:lnTo>
                  <a:lnTo>
                    <a:pt x="265" y="361"/>
                  </a:lnTo>
                  <a:lnTo>
                    <a:pt x="263" y="365"/>
                  </a:lnTo>
                  <a:lnTo>
                    <a:pt x="261" y="373"/>
                  </a:lnTo>
                  <a:lnTo>
                    <a:pt x="261" y="375"/>
                  </a:lnTo>
                  <a:lnTo>
                    <a:pt x="257" y="375"/>
                  </a:lnTo>
                  <a:lnTo>
                    <a:pt x="257" y="378"/>
                  </a:lnTo>
                  <a:lnTo>
                    <a:pt x="255" y="378"/>
                  </a:lnTo>
                  <a:lnTo>
                    <a:pt x="255" y="388"/>
                  </a:lnTo>
                  <a:lnTo>
                    <a:pt x="251" y="392"/>
                  </a:lnTo>
                  <a:lnTo>
                    <a:pt x="253" y="392"/>
                  </a:lnTo>
                  <a:lnTo>
                    <a:pt x="253" y="396"/>
                  </a:lnTo>
                  <a:lnTo>
                    <a:pt x="247" y="402"/>
                  </a:lnTo>
                  <a:lnTo>
                    <a:pt x="247" y="403"/>
                  </a:lnTo>
                  <a:lnTo>
                    <a:pt x="244" y="411"/>
                  </a:lnTo>
                  <a:lnTo>
                    <a:pt x="245" y="419"/>
                  </a:lnTo>
                  <a:lnTo>
                    <a:pt x="247" y="421"/>
                  </a:lnTo>
                  <a:lnTo>
                    <a:pt x="247" y="423"/>
                  </a:lnTo>
                  <a:lnTo>
                    <a:pt x="249" y="423"/>
                  </a:lnTo>
                  <a:lnTo>
                    <a:pt x="253" y="428"/>
                  </a:lnTo>
                  <a:lnTo>
                    <a:pt x="247" y="436"/>
                  </a:lnTo>
                  <a:lnTo>
                    <a:pt x="245" y="436"/>
                  </a:lnTo>
                  <a:lnTo>
                    <a:pt x="245" y="440"/>
                  </a:lnTo>
                  <a:lnTo>
                    <a:pt x="244" y="440"/>
                  </a:lnTo>
                  <a:lnTo>
                    <a:pt x="247" y="446"/>
                  </a:lnTo>
                  <a:lnTo>
                    <a:pt x="247" y="450"/>
                  </a:lnTo>
                  <a:lnTo>
                    <a:pt x="251" y="453"/>
                  </a:lnTo>
                  <a:lnTo>
                    <a:pt x="255" y="461"/>
                  </a:lnTo>
                  <a:lnTo>
                    <a:pt x="251" y="467"/>
                  </a:lnTo>
                  <a:lnTo>
                    <a:pt x="247" y="465"/>
                  </a:lnTo>
                  <a:lnTo>
                    <a:pt x="245" y="465"/>
                  </a:lnTo>
                  <a:lnTo>
                    <a:pt x="249" y="471"/>
                  </a:lnTo>
                  <a:lnTo>
                    <a:pt x="245" y="473"/>
                  </a:lnTo>
                  <a:lnTo>
                    <a:pt x="242" y="478"/>
                  </a:lnTo>
                  <a:lnTo>
                    <a:pt x="240" y="478"/>
                  </a:lnTo>
                  <a:lnTo>
                    <a:pt x="240" y="482"/>
                  </a:lnTo>
                  <a:lnTo>
                    <a:pt x="244" y="482"/>
                  </a:lnTo>
                  <a:lnTo>
                    <a:pt x="244" y="486"/>
                  </a:lnTo>
                  <a:lnTo>
                    <a:pt x="238" y="484"/>
                  </a:lnTo>
                  <a:lnTo>
                    <a:pt x="234" y="488"/>
                  </a:lnTo>
                  <a:lnTo>
                    <a:pt x="228" y="484"/>
                  </a:lnTo>
                  <a:lnTo>
                    <a:pt x="224" y="482"/>
                  </a:lnTo>
                  <a:lnTo>
                    <a:pt x="224" y="480"/>
                  </a:lnTo>
                  <a:lnTo>
                    <a:pt x="221" y="478"/>
                  </a:lnTo>
                  <a:lnTo>
                    <a:pt x="219" y="475"/>
                  </a:lnTo>
                  <a:lnTo>
                    <a:pt x="217" y="471"/>
                  </a:lnTo>
                  <a:lnTo>
                    <a:pt x="213" y="465"/>
                  </a:lnTo>
                  <a:lnTo>
                    <a:pt x="209" y="461"/>
                  </a:lnTo>
                  <a:lnTo>
                    <a:pt x="205" y="457"/>
                  </a:lnTo>
                  <a:lnTo>
                    <a:pt x="201" y="453"/>
                  </a:lnTo>
                  <a:lnTo>
                    <a:pt x="201" y="451"/>
                  </a:lnTo>
                  <a:lnTo>
                    <a:pt x="196" y="444"/>
                  </a:lnTo>
                  <a:lnTo>
                    <a:pt x="194" y="442"/>
                  </a:lnTo>
                  <a:lnTo>
                    <a:pt x="192" y="440"/>
                  </a:lnTo>
                  <a:lnTo>
                    <a:pt x="190" y="436"/>
                  </a:lnTo>
                  <a:lnTo>
                    <a:pt x="184" y="428"/>
                  </a:lnTo>
                  <a:lnTo>
                    <a:pt x="180" y="425"/>
                  </a:lnTo>
                  <a:lnTo>
                    <a:pt x="178" y="425"/>
                  </a:lnTo>
                  <a:lnTo>
                    <a:pt x="174" y="421"/>
                  </a:lnTo>
                  <a:lnTo>
                    <a:pt x="174" y="419"/>
                  </a:lnTo>
                  <a:lnTo>
                    <a:pt x="176" y="419"/>
                  </a:lnTo>
                  <a:lnTo>
                    <a:pt x="178" y="421"/>
                  </a:lnTo>
                  <a:lnTo>
                    <a:pt x="182" y="419"/>
                  </a:lnTo>
                  <a:lnTo>
                    <a:pt x="180" y="417"/>
                  </a:lnTo>
                  <a:lnTo>
                    <a:pt x="178" y="419"/>
                  </a:lnTo>
                  <a:lnTo>
                    <a:pt x="180" y="417"/>
                  </a:lnTo>
                  <a:lnTo>
                    <a:pt x="180" y="415"/>
                  </a:lnTo>
                  <a:lnTo>
                    <a:pt x="182" y="417"/>
                  </a:lnTo>
                  <a:lnTo>
                    <a:pt x="182" y="415"/>
                  </a:lnTo>
                  <a:lnTo>
                    <a:pt x="184" y="415"/>
                  </a:lnTo>
                  <a:lnTo>
                    <a:pt x="184" y="417"/>
                  </a:lnTo>
                  <a:lnTo>
                    <a:pt x="186" y="417"/>
                  </a:lnTo>
                  <a:lnTo>
                    <a:pt x="184" y="417"/>
                  </a:lnTo>
                  <a:lnTo>
                    <a:pt x="184" y="415"/>
                  </a:lnTo>
                  <a:lnTo>
                    <a:pt x="186" y="415"/>
                  </a:lnTo>
                  <a:lnTo>
                    <a:pt x="188" y="415"/>
                  </a:lnTo>
                  <a:lnTo>
                    <a:pt x="188" y="417"/>
                  </a:lnTo>
                  <a:lnTo>
                    <a:pt x="188" y="415"/>
                  </a:lnTo>
                  <a:lnTo>
                    <a:pt x="188" y="413"/>
                  </a:lnTo>
                  <a:lnTo>
                    <a:pt x="186" y="415"/>
                  </a:lnTo>
                  <a:lnTo>
                    <a:pt x="184" y="413"/>
                  </a:lnTo>
                  <a:lnTo>
                    <a:pt x="188" y="413"/>
                  </a:lnTo>
                  <a:lnTo>
                    <a:pt x="188" y="411"/>
                  </a:lnTo>
                  <a:lnTo>
                    <a:pt x="186" y="413"/>
                  </a:lnTo>
                  <a:lnTo>
                    <a:pt x="186" y="411"/>
                  </a:lnTo>
                  <a:lnTo>
                    <a:pt x="182" y="413"/>
                  </a:lnTo>
                  <a:lnTo>
                    <a:pt x="180" y="411"/>
                  </a:lnTo>
                  <a:lnTo>
                    <a:pt x="178" y="417"/>
                  </a:lnTo>
                  <a:lnTo>
                    <a:pt x="176" y="415"/>
                  </a:lnTo>
                  <a:lnTo>
                    <a:pt x="178" y="413"/>
                  </a:lnTo>
                  <a:lnTo>
                    <a:pt x="174" y="415"/>
                  </a:lnTo>
                  <a:lnTo>
                    <a:pt x="176" y="417"/>
                  </a:lnTo>
                  <a:lnTo>
                    <a:pt x="174" y="419"/>
                  </a:lnTo>
                  <a:lnTo>
                    <a:pt x="173" y="409"/>
                  </a:lnTo>
                  <a:lnTo>
                    <a:pt x="173" y="407"/>
                  </a:lnTo>
                  <a:lnTo>
                    <a:pt x="169" y="402"/>
                  </a:lnTo>
                  <a:lnTo>
                    <a:pt x="167" y="400"/>
                  </a:lnTo>
                  <a:lnTo>
                    <a:pt x="167" y="396"/>
                  </a:lnTo>
                  <a:lnTo>
                    <a:pt x="169" y="398"/>
                  </a:lnTo>
                  <a:lnTo>
                    <a:pt x="169" y="394"/>
                  </a:lnTo>
                  <a:lnTo>
                    <a:pt x="171" y="394"/>
                  </a:lnTo>
                  <a:lnTo>
                    <a:pt x="169" y="394"/>
                  </a:lnTo>
                  <a:lnTo>
                    <a:pt x="167" y="396"/>
                  </a:lnTo>
                  <a:lnTo>
                    <a:pt x="167" y="394"/>
                  </a:lnTo>
                  <a:lnTo>
                    <a:pt x="163" y="384"/>
                  </a:lnTo>
                  <a:lnTo>
                    <a:pt x="165" y="390"/>
                  </a:lnTo>
                  <a:lnTo>
                    <a:pt x="167" y="396"/>
                  </a:lnTo>
                  <a:lnTo>
                    <a:pt x="163" y="390"/>
                  </a:lnTo>
                  <a:lnTo>
                    <a:pt x="159" y="380"/>
                  </a:lnTo>
                  <a:lnTo>
                    <a:pt x="157" y="377"/>
                  </a:lnTo>
                  <a:lnTo>
                    <a:pt x="155" y="371"/>
                  </a:lnTo>
                  <a:lnTo>
                    <a:pt x="153" y="367"/>
                  </a:lnTo>
                  <a:lnTo>
                    <a:pt x="151" y="361"/>
                  </a:lnTo>
                  <a:lnTo>
                    <a:pt x="151" y="354"/>
                  </a:lnTo>
                  <a:lnTo>
                    <a:pt x="150" y="348"/>
                  </a:lnTo>
                  <a:lnTo>
                    <a:pt x="150" y="344"/>
                  </a:lnTo>
                  <a:lnTo>
                    <a:pt x="150" y="340"/>
                  </a:lnTo>
                  <a:lnTo>
                    <a:pt x="150" y="338"/>
                  </a:lnTo>
                  <a:lnTo>
                    <a:pt x="148" y="330"/>
                  </a:lnTo>
                  <a:lnTo>
                    <a:pt x="148" y="321"/>
                  </a:lnTo>
                  <a:lnTo>
                    <a:pt x="146" y="313"/>
                  </a:lnTo>
                  <a:lnTo>
                    <a:pt x="144" y="307"/>
                  </a:lnTo>
                  <a:lnTo>
                    <a:pt x="146" y="305"/>
                  </a:lnTo>
                  <a:lnTo>
                    <a:pt x="146" y="309"/>
                  </a:lnTo>
                  <a:lnTo>
                    <a:pt x="150" y="313"/>
                  </a:lnTo>
                  <a:lnTo>
                    <a:pt x="151" y="311"/>
                  </a:lnTo>
                  <a:lnTo>
                    <a:pt x="148" y="307"/>
                  </a:lnTo>
                  <a:lnTo>
                    <a:pt x="148" y="302"/>
                  </a:lnTo>
                  <a:lnTo>
                    <a:pt x="146" y="302"/>
                  </a:lnTo>
                  <a:lnTo>
                    <a:pt x="148" y="305"/>
                  </a:lnTo>
                  <a:lnTo>
                    <a:pt x="144" y="300"/>
                  </a:lnTo>
                  <a:lnTo>
                    <a:pt x="144" y="302"/>
                  </a:lnTo>
                  <a:lnTo>
                    <a:pt x="144" y="305"/>
                  </a:lnTo>
                  <a:lnTo>
                    <a:pt x="142" y="305"/>
                  </a:lnTo>
                  <a:lnTo>
                    <a:pt x="142" y="300"/>
                  </a:lnTo>
                  <a:lnTo>
                    <a:pt x="140" y="296"/>
                  </a:lnTo>
                  <a:lnTo>
                    <a:pt x="138" y="288"/>
                  </a:lnTo>
                  <a:lnTo>
                    <a:pt x="136" y="284"/>
                  </a:lnTo>
                  <a:lnTo>
                    <a:pt x="142" y="282"/>
                  </a:lnTo>
                  <a:lnTo>
                    <a:pt x="140" y="281"/>
                  </a:lnTo>
                  <a:lnTo>
                    <a:pt x="136" y="284"/>
                  </a:lnTo>
                  <a:lnTo>
                    <a:pt x="132" y="275"/>
                  </a:lnTo>
                  <a:lnTo>
                    <a:pt x="132" y="271"/>
                  </a:lnTo>
                  <a:lnTo>
                    <a:pt x="130" y="265"/>
                  </a:lnTo>
                  <a:lnTo>
                    <a:pt x="128" y="259"/>
                  </a:lnTo>
                  <a:lnTo>
                    <a:pt x="126" y="256"/>
                  </a:lnTo>
                  <a:lnTo>
                    <a:pt x="123" y="248"/>
                  </a:lnTo>
                  <a:lnTo>
                    <a:pt x="123" y="246"/>
                  </a:lnTo>
                  <a:lnTo>
                    <a:pt x="126" y="246"/>
                  </a:lnTo>
                  <a:lnTo>
                    <a:pt x="125" y="244"/>
                  </a:lnTo>
                  <a:lnTo>
                    <a:pt x="126" y="244"/>
                  </a:lnTo>
                  <a:lnTo>
                    <a:pt x="125" y="242"/>
                  </a:lnTo>
                  <a:lnTo>
                    <a:pt x="125" y="244"/>
                  </a:lnTo>
                  <a:lnTo>
                    <a:pt x="123" y="244"/>
                  </a:lnTo>
                  <a:lnTo>
                    <a:pt x="123" y="248"/>
                  </a:lnTo>
                  <a:lnTo>
                    <a:pt x="119" y="238"/>
                  </a:lnTo>
                  <a:lnTo>
                    <a:pt x="117" y="234"/>
                  </a:lnTo>
                  <a:lnTo>
                    <a:pt x="115" y="229"/>
                  </a:lnTo>
                  <a:lnTo>
                    <a:pt x="113" y="223"/>
                  </a:lnTo>
                  <a:lnTo>
                    <a:pt x="113" y="221"/>
                  </a:lnTo>
                  <a:lnTo>
                    <a:pt x="113" y="223"/>
                  </a:lnTo>
                  <a:lnTo>
                    <a:pt x="109" y="217"/>
                  </a:lnTo>
                  <a:lnTo>
                    <a:pt x="113" y="217"/>
                  </a:lnTo>
                  <a:lnTo>
                    <a:pt x="115" y="215"/>
                  </a:lnTo>
                  <a:lnTo>
                    <a:pt x="115" y="213"/>
                  </a:lnTo>
                  <a:lnTo>
                    <a:pt x="109" y="217"/>
                  </a:lnTo>
                  <a:lnTo>
                    <a:pt x="111" y="215"/>
                  </a:lnTo>
                  <a:lnTo>
                    <a:pt x="109" y="213"/>
                  </a:lnTo>
                  <a:lnTo>
                    <a:pt x="109" y="215"/>
                  </a:lnTo>
                  <a:lnTo>
                    <a:pt x="109" y="217"/>
                  </a:lnTo>
                  <a:lnTo>
                    <a:pt x="109" y="215"/>
                  </a:lnTo>
                  <a:lnTo>
                    <a:pt x="107" y="211"/>
                  </a:lnTo>
                  <a:lnTo>
                    <a:pt x="107" y="204"/>
                  </a:lnTo>
                  <a:lnTo>
                    <a:pt x="107" y="202"/>
                  </a:lnTo>
                  <a:lnTo>
                    <a:pt x="105" y="198"/>
                  </a:lnTo>
                  <a:lnTo>
                    <a:pt x="103" y="192"/>
                  </a:lnTo>
                  <a:lnTo>
                    <a:pt x="103" y="186"/>
                  </a:lnTo>
                  <a:lnTo>
                    <a:pt x="102" y="181"/>
                  </a:lnTo>
                  <a:lnTo>
                    <a:pt x="103" y="179"/>
                  </a:lnTo>
                  <a:lnTo>
                    <a:pt x="105" y="181"/>
                  </a:lnTo>
                  <a:lnTo>
                    <a:pt x="103" y="179"/>
                  </a:lnTo>
                  <a:lnTo>
                    <a:pt x="102" y="181"/>
                  </a:lnTo>
                  <a:lnTo>
                    <a:pt x="98" y="177"/>
                  </a:lnTo>
                  <a:lnTo>
                    <a:pt x="102" y="177"/>
                  </a:lnTo>
                  <a:lnTo>
                    <a:pt x="100" y="177"/>
                  </a:lnTo>
                  <a:lnTo>
                    <a:pt x="102" y="175"/>
                  </a:lnTo>
                  <a:lnTo>
                    <a:pt x="98" y="177"/>
                  </a:lnTo>
                  <a:lnTo>
                    <a:pt x="96" y="169"/>
                  </a:lnTo>
                  <a:lnTo>
                    <a:pt x="98" y="169"/>
                  </a:lnTo>
                  <a:lnTo>
                    <a:pt x="96" y="169"/>
                  </a:lnTo>
                  <a:lnTo>
                    <a:pt x="94" y="160"/>
                  </a:lnTo>
                  <a:lnTo>
                    <a:pt x="92" y="158"/>
                  </a:lnTo>
                  <a:lnTo>
                    <a:pt x="92" y="156"/>
                  </a:lnTo>
                  <a:lnTo>
                    <a:pt x="94" y="156"/>
                  </a:lnTo>
                  <a:lnTo>
                    <a:pt x="92" y="156"/>
                  </a:lnTo>
                  <a:lnTo>
                    <a:pt x="90" y="152"/>
                  </a:lnTo>
                  <a:lnTo>
                    <a:pt x="86" y="146"/>
                  </a:lnTo>
                  <a:lnTo>
                    <a:pt x="79" y="142"/>
                  </a:lnTo>
                  <a:lnTo>
                    <a:pt x="77" y="133"/>
                  </a:lnTo>
                  <a:lnTo>
                    <a:pt x="77" y="135"/>
                  </a:lnTo>
                  <a:lnTo>
                    <a:pt x="77" y="133"/>
                  </a:lnTo>
                  <a:lnTo>
                    <a:pt x="77" y="131"/>
                  </a:lnTo>
                  <a:lnTo>
                    <a:pt x="77" y="133"/>
                  </a:lnTo>
                  <a:lnTo>
                    <a:pt x="73" y="125"/>
                  </a:lnTo>
                  <a:lnTo>
                    <a:pt x="71" y="119"/>
                  </a:lnTo>
                  <a:lnTo>
                    <a:pt x="71" y="117"/>
                  </a:lnTo>
                  <a:lnTo>
                    <a:pt x="73" y="115"/>
                  </a:lnTo>
                  <a:lnTo>
                    <a:pt x="73" y="111"/>
                  </a:lnTo>
                  <a:lnTo>
                    <a:pt x="71" y="117"/>
                  </a:lnTo>
                  <a:lnTo>
                    <a:pt x="63" y="111"/>
                  </a:lnTo>
                  <a:lnTo>
                    <a:pt x="65" y="111"/>
                  </a:lnTo>
                  <a:lnTo>
                    <a:pt x="61" y="110"/>
                  </a:lnTo>
                  <a:lnTo>
                    <a:pt x="63" y="110"/>
                  </a:lnTo>
                  <a:lnTo>
                    <a:pt x="63" y="108"/>
                  </a:lnTo>
                  <a:lnTo>
                    <a:pt x="63" y="110"/>
                  </a:lnTo>
                  <a:lnTo>
                    <a:pt x="61" y="110"/>
                  </a:lnTo>
                  <a:lnTo>
                    <a:pt x="59" y="108"/>
                  </a:lnTo>
                  <a:lnTo>
                    <a:pt x="55" y="102"/>
                  </a:lnTo>
                  <a:lnTo>
                    <a:pt x="52" y="100"/>
                  </a:lnTo>
                  <a:lnTo>
                    <a:pt x="46" y="94"/>
                  </a:lnTo>
                  <a:lnTo>
                    <a:pt x="46" y="92"/>
                  </a:lnTo>
                  <a:lnTo>
                    <a:pt x="52" y="92"/>
                  </a:lnTo>
                  <a:lnTo>
                    <a:pt x="48" y="90"/>
                  </a:lnTo>
                  <a:lnTo>
                    <a:pt x="48" y="88"/>
                  </a:lnTo>
                  <a:lnTo>
                    <a:pt x="46" y="88"/>
                  </a:lnTo>
                  <a:lnTo>
                    <a:pt x="48" y="90"/>
                  </a:lnTo>
                  <a:lnTo>
                    <a:pt x="46" y="90"/>
                  </a:lnTo>
                  <a:lnTo>
                    <a:pt x="44" y="87"/>
                  </a:lnTo>
                  <a:lnTo>
                    <a:pt x="44" y="88"/>
                  </a:lnTo>
                  <a:lnTo>
                    <a:pt x="46" y="90"/>
                  </a:lnTo>
                  <a:lnTo>
                    <a:pt x="46" y="92"/>
                  </a:lnTo>
                  <a:lnTo>
                    <a:pt x="42" y="87"/>
                  </a:lnTo>
                  <a:lnTo>
                    <a:pt x="40" y="85"/>
                  </a:lnTo>
                  <a:lnTo>
                    <a:pt x="34" y="85"/>
                  </a:lnTo>
                  <a:lnTo>
                    <a:pt x="32" y="79"/>
                  </a:lnTo>
                  <a:lnTo>
                    <a:pt x="31" y="75"/>
                  </a:lnTo>
                  <a:lnTo>
                    <a:pt x="29" y="69"/>
                  </a:lnTo>
                  <a:lnTo>
                    <a:pt x="27" y="63"/>
                  </a:lnTo>
                  <a:lnTo>
                    <a:pt x="29" y="63"/>
                  </a:lnTo>
                  <a:lnTo>
                    <a:pt x="27" y="62"/>
                  </a:lnTo>
                  <a:lnTo>
                    <a:pt x="27" y="63"/>
                  </a:lnTo>
                  <a:lnTo>
                    <a:pt x="25" y="58"/>
                  </a:lnTo>
                  <a:lnTo>
                    <a:pt x="21" y="50"/>
                  </a:lnTo>
                  <a:lnTo>
                    <a:pt x="19" y="44"/>
                  </a:lnTo>
                  <a:lnTo>
                    <a:pt x="17" y="42"/>
                  </a:lnTo>
                  <a:lnTo>
                    <a:pt x="13" y="35"/>
                  </a:lnTo>
                  <a:lnTo>
                    <a:pt x="15" y="33"/>
                  </a:lnTo>
                  <a:lnTo>
                    <a:pt x="13" y="35"/>
                  </a:lnTo>
                  <a:lnTo>
                    <a:pt x="13" y="31"/>
                  </a:lnTo>
                  <a:lnTo>
                    <a:pt x="13" y="33"/>
                  </a:lnTo>
                  <a:lnTo>
                    <a:pt x="11" y="31"/>
                  </a:lnTo>
                  <a:lnTo>
                    <a:pt x="7" y="23"/>
                  </a:lnTo>
                  <a:lnTo>
                    <a:pt x="7" y="21"/>
                  </a:lnTo>
                  <a:lnTo>
                    <a:pt x="7" y="19"/>
                  </a:lnTo>
                  <a:lnTo>
                    <a:pt x="6" y="17"/>
                  </a:lnTo>
                  <a:lnTo>
                    <a:pt x="4" y="10"/>
                  </a:lnTo>
                  <a:lnTo>
                    <a:pt x="0" y="4"/>
                  </a:lnTo>
                  <a:lnTo>
                    <a:pt x="9" y="0"/>
                  </a:lnTo>
                  <a:lnTo>
                    <a:pt x="13" y="2"/>
                  </a:lnTo>
                  <a:lnTo>
                    <a:pt x="15" y="0"/>
                  </a:lnTo>
                  <a:lnTo>
                    <a:pt x="17" y="2"/>
                  </a:lnTo>
                  <a:lnTo>
                    <a:pt x="13" y="6"/>
                  </a:lnTo>
                  <a:lnTo>
                    <a:pt x="17" y="6"/>
                  </a:lnTo>
                  <a:lnTo>
                    <a:pt x="15" y="8"/>
                  </a:lnTo>
                  <a:lnTo>
                    <a:pt x="21" y="8"/>
                  </a:lnTo>
                  <a:lnTo>
                    <a:pt x="19" y="10"/>
                  </a:lnTo>
                  <a:lnTo>
                    <a:pt x="19" y="14"/>
                  </a:lnTo>
                  <a:lnTo>
                    <a:pt x="23" y="14"/>
                  </a:lnTo>
                  <a:lnTo>
                    <a:pt x="25" y="12"/>
                  </a:lnTo>
                  <a:lnTo>
                    <a:pt x="25" y="10"/>
                  </a:lnTo>
                  <a:lnTo>
                    <a:pt x="31" y="12"/>
                  </a:lnTo>
                  <a:lnTo>
                    <a:pt x="32" y="12"/>
                  </a:lnTo>
                  <a:lnTo>
                    <a:pt x="32" y="14"/>
                  </a:lnTo>
                  <a:lnTo>
                    <a:pt x="31" y="15"/>
                  </a:lnTo>
                  <a:lnTo>
                    <a:pt x="31" y="17"/>
                  </a:lnTo>
                  <a:lnTo>
                    <a:pt x="36" y="17"/>
                  </a:lnTo>
                  <a:lnTo>
                    <a:pt x="36" y="19"/>
                  </a:lnTo>
                  <a:lnTo>
                    <a:pt x="38" y="21"/>
                  </a:lnTo>
                  <a:lnTo>
                    <a:pt x="36" y="21"/>
                  </a:lnTo>
                  <a:lnTo>
                    <a:pt x="38" y="25"/>
                  </a:lnTo>
                  <a:lnTo>
                    <a:pt x="46" y="19"/>
                  </a:lnTo>
                  <a:lnTo>
                    <a:pt x="48" y="21"/>
                  </a:lnTo>
                  <a:lnTo>
                    <a:pt x="50" y="21"/>
                  </a:lnTo>
                  <a:lnTo>
                    <a:pt x="50" y="23"/>
                  </a:lnTo>
                  <a:lnTo>
                    <a:pt x="44" y="25"/>
                  </a:lnTo>
                  <a:lnTo>
                    <a:pt x="46" y="29"/>
                  </a:lnTo>
                  <a:lnTo>
                    <a:pt x="48" y="29"/>
                  </a:lnTo>
                  <a:lnTo>
                    <a:pt x="48" y="31"/>
                  </a:lnTo>
                  <a:lnTo>
                    <a:pt x="52" y="33"/>
                  </a:lnTo>
                  <a:lnTo>
                    <a:pt x="52" y="37"/>
                  </a:lnTo>
                  <a:lnTo>
                    <a:pt x="57" y="31"/>
                  </a:lnTo>
                  <a:lnTo>
                    <a:pt x="61" y="31"/>
                  </a:lnTo>
                  <a:lnTo>
                    <a:pt x="61" y="35"/>
                  </a:lnTo>
                  <a:lnTo>
                    <a:pt x="57" y="37"/>
                  </a:lnTo>
                  <a:lnTo>
                    <a:pt x="55" y="37"/>
                  </a:lnTo>
                  <a:lnTo>
                    <a:pt x="54" y="38"/>
                  </a:lnTo>
                  <a:lnTo>
                    <a:pt x="55" y="42"/>
                  </a:lnTo>
                  <a:lnTo>
                    <a:pt x="59" y="44"/>
                  </a:lnTo>
                  <a:lnTo>
                    <a:pt x="59" y="48"/>
                  </a:lnTo>
                  <a:lnTo>
                    <a:pt x="61" y="52"/>
                  </a:lnTo>
                  <a:lnTo>
                    <a:pt x="59" y="54"/>
                  </a:lnTo>
                  <a:lnTo>
                    <a:pt x="67" y="54"/>
                  </a:lnTo>
                  <a:lnTo>
                    <a:pt x="69" y="60"/>
                  </a:lnTo>
                  <a:lnTo>
                    <a:pt x="73" y="62"/>
                  </a:lnTo>
                  <a:lnTo>
                    <a:pt x="71" y="63"/>
                  </a:lnTo>
                  <a:lnTo>
                    <a:pt x="79" y="69"/>
                  </a:lnTo>
                  <a:lnTo>
                    <a:pt x="82" y="69"/>
                  </a:lnTo>
                  <a:lnTo>
                    <a:pt x="84" y="75"/>
                  </a:lnTo>
                  <a:lnTo>
                    <a:pt x="90" y="75"/>
                  </a:lnTo>
                  <a:lnTo>
                    <a:pt x="92" y="79"/>
                  </a:lnTo>
                  <a:lnTo>
                    <a:pt x="96" y="77"/>
                  </a:lnTo>
                  <a:lnTo>
                    <a:pt x="100" y="77"/>
                  </a:lnTo>
                  <a:lnTo>
                    <a:pt x="100" y="81"/>
                  </a:lnTo>
                  <a:lnTo>
                    <a:pt x="103" y="87"/>
                  </a:lnTo>
                  <a:lnTo>
                    <a:pt x="102" y="88"/>
                  </a:lnTo>
                  <a:lnTo>
                    <a:pt x="105" y="88"/>
                  </a:lnTo>
                  <a:lnTo>
                    <a:pt x="107" y="90"/>
                  </a:lnTo>
                  <a:lnTo>
                    <a:pt x="115" y="92"/>
                  </a:lnTo>
                  <a:lnTo>
                    <a:pt x="121" y="94"/>
                  </a:lnTo>
                  <a:lnTo>
                    <a:pt x="128" y="88"/>
                  </a:lnTo>
                  <a:lnTo>
                    <a:pt x="134" y="88"/>
                  </a:lnTo>
                  <a:lnTo>
                    <a:pt x="134" y="98"/>
                  </a:lnTo>
                  <a:lnTo>
                    <a:pt x="134" y="102"/>
                  </a:lnTo>
                  <a:lnTo>
                    <a:pt x="138" y="100"/>
                  </a:lnTo>
                  <a:lnTo>
                    <a:pt x="142" y="100"/>
                  </a:lnTo>
                  <a:lnTo>
                    <a:pt x="144" y="100"/>
                  </a:lnTo>
                  <a:lnTo>
                    <a:pt x="146" y="106"/>
                  </a:lnTo>
                  <a:lnTo>
                    <a:pt x="151" y="106"/>
                  </a:lnTo>
                  <a:lnTo>
                    <a:pt x="155" y="113"/>
                  </a:lnTo>
                  <a:lnTo>
                    <a:pt x="157" y="113"/>
                  </a:lnTo>
                  <a:lnTo>
                    <a:pt x="165" y="111"/>
                  </a:lnTo>
                  <a:lnTo>
                    <a:pt x="165" y="113"/>
                  </a:lnTo>
                  <a:lnTo>
                    <a:pt x="167" y="115"/>
                  </a:lnTo>
                  <a:lnTo>
                    <a:pt x="165" y="119"/>
                  </a:lnTo>
                  <a:lnTo>
                    <a:pt x="167" y="12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2" name="Freeform 9">
              <a:extLst>
                <a:ext uri="{FF2B5EF4-FFF2-40B4-BE49-F238E27FC236}">
                  <a16:creationId xmlns:a16="http://schemas.microsoft.com/office/drawing/2014/main" id="{19032397-CCC2-4DBB-AC50-6993DDC27027}"/>
                </a:ext>
              </a:extLst>
            </p:cNvPr>
            <p:cNvSpPr>
              <a:spLocks noEditPoints="1"/>
            </p:cNvSpPr>
            <p:nvPr/>
          </p:nvSpPr>
          <p:spPr bwMode="gray">
            <a:xfrm>
              <a:off x="4089401" y="5576890"/>
              <a:ext cx="261938" cy="595314"/>
            </a:xfrm>
            <a:custGeom>
              <a:avLst/>
              <a:gdLst>
                <a:gd name="T0" fmla="*/ 90 w 165"/>
                <a:gd name="T1" fmla="*/ 373 h 375"/>
                <a:gd name="T2" fmla="*/ 88 w 165"/>
                <a:gd name="T3" fmla="*/ 375 h 375"/>
                <a:gd name="T4" fmla="*/ 87 w 165"/>
                <a:gd name="T5" fmla="*/ 373 h 375"/>
                <a:gd name="T6" fmla="*/ 90 w 165"/>
                <a:gd name="T7" fmla="*/ 373 h 375"/>
                <a:gd name="T8" fmla="*/ 94 w 165"/>
                <a:gd name="T9" fmla="*/ 367 h 375"/>
                <a:gd name="T10" fmla="*/ 90 w 165"/>
                <a:gd name="T11" fmla="*/ 373 h 375"/>
                <a:gd name="T12" fmla="*/ 161 w 165"/>
                <a:gd name="T13" fmla="*/ 96 h 375"/>
                <a:gd name="T14" fmla="*/ 165 w 165"/>
                <a:gd name="T15" fmla="*/ 98 h 375"/>
                <a:gd name="T16" fmla="*/ 161 w 165"/>
                <a:gd name="T17" fmla="*/ 98 h 375"/>
                <a:gd name="T18" fmla="*/ 159 w 165"/>
                <a:gd name="T19" fmla="*/ 96 h 375"/>
                <a:gd name="T20" fmla="*/ 161 w 165"/>
                <a:gd name="T21" fmla="*/ 96 h 375"/>
                <a:gd name="T22" fmla="*/ 63 w 165"/>
                <a:gd name="T23" fmla="*/ 58 h 375"/>
                <a:gd name="T24" fmla="*/ 65 w 165"/>
                <a:gd name="T25" fmla="*/ 50 h 375"/>
                <a:gd name="T26" fmla="*/ 67 w 165"/>
                <a:gd name="T27" fmla="*/ 48 h 375"/>
                <a:gd name="T28" fmla="*/ 63 w 165"/>
                <a:gd name="T29" fmla="*/ 58 h 375"/>
                <a:gd name="T30" fmla="*/ 50 w 165"/>
                <a:gd name="T31" fmla="*/ 125 h 375"/>
                <a:gd name="T32" fmla="*/ 46 w 165"/>
                <a:gd name="T33" fmla="*/ 127 h 375"/>
                <a:gd name="T34" fmla="*/ 50 w 165"/>
                <a:gd name="T35" fmla="*/ 123 h 375"/>
                <a:gd name="T36" fmla="*/ 50 w 165"/>
                <a:gd name="T37" fmla="*/ 125 h 375"/>
                <a:gd name="T38" fmla="*/ 60 w 165"/>
                <a:gd name="T39" fmla="*/ 62 h 375"/>
                <a:gd name="T40" fmla="*/ 60 w 165"/>
                <a:gd name="T41" fmla="*/ 66 h 375"/>
                <a:gd name="T42" fmla="*/ 60 w 165"/>
                <a:gd name="T43" fmla="*/ 62 h 375"/>
                <a:gd name="T44" fmla="*/ 0 w 165"/>
                <a:gd name="T45" fmla="*/ 96 h 375"/>
                <a:gd name="T46" fmla="*/ 2 w 165"/>
                <a:gd name="T47" fmla="*/ 91 h 375"/>
                <a:gd name="T48" fmla="*/ 4 w 165"/>
                <a:gd name="T49" fmla="*/ 91 h 375"/>
                <a:gd name="T50" fmla="*/ 0 w 165"/>
                <a:gd name="T51" fmla="*/ 96 h 375"/>
                <a:gd name="T52" fmla="*/ 158 w 165"/>
                <a:gd name="T53" fmla="*/ 179 h 375"/>
                <a:gd name="T54" fmla="*/ 156 w 165"/>
                <a:gd name="T55" fmla="*/ 179 h 375"/>
                <a:gd name="T56" fmla="*/ 158 w 165"/>
                <a:gd name="T57" fmla="*/ 175 h 375"/>
                <a:gd name="T58" fmla="*/ 158 w 165"/>
                <a:gd name="T59" fmla="*/ 179 h 375"/>
                <a:gd name="T60" fmla="*/ 90 w 165"/>
                <a:gd name="T61" fmla="*/ 23 h 375"/>
                <a:gd name="T62" fmla="*/ 90 w 165"/>
                <a:gd name="T63" fmla="*/ 27 h 375"/>
                <a:gd name="T64" fmla="*/ 90 w 165"/>
                <a:gd name="T65" fmla="*/ 23 h 375"/>
                <a:gd name="T66" fmla="*/ 60 w 165"/>
                <a:gd name="T67" fmla="*/ 0 h 375"/>
                <a:gd name="T68" fmla="*/ 60 w 165"/>
                <a:gd name="T69" fmla="*/ 4 h 375"/>
                <a:gd name="T70" fmla="*/ 60 w 165"/>
                <a:gd name="T71" fmla="*/ 0 h 375"/>
                <a:gd name="T72" fmla="*/ 159 w 165"/>
                <a:gd name="T73" fmla="*/ 169 h 375"/>
                <a:gd name="T74" fmla="*/ 159 w 165"/>
                <a:gd name="T75" fmla="*/ 171 h 375"/>
                <a:gd name="T76" fmla="*/ 159 w 165"/>
                <a:gd name="T77" fmla="*/ 169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5" h="375">
                  <a:moveTo>
                    <a:pt x="90" y="373"/>
                  </a:moveTo>
                  <a:lnTo>
                    <a:pt x="88" y="375"/>
                  </a:lnTo>
                  <a:lnTo>
                    <a:pt x="87" y="373"/>
                  </a:lnTo>
                  <a:lnTo>
                    <a:pt x="90" y="373"/>
                  </a:lnTo>
                  <a:lnTo>
                    <a:pt x="94" y="367"/>
                  </a:lnTo>
                  <a:lnTo>
                    <a:pt x="90" y="373"/>
                  </a:lnTo>
                  <a:close/>
                  <a:moveTo>
                    <a:pt x="161" y="96"/>
                  </a:moveTo>
                  <a:lnTo>
                    <a:pt x="165" y="98"/>
                  </a:lnTo>
                  <a:lnTo>
                    <a:pt x="161" y="98"/>
                  </a:lnTo>
                  <a:lnTo>
                    <a:pt x="159" y="96"/>
                  </a:lnTo>
                  <a:lnTo>
                    <a:pt x="161" y="96"/>
                  </a:lnTo>
                  <a:close/>
                  <a:moveTo>
                    <a:pt x="63" y="58"/>
                  </a:moveTo>
                  <a:lnTo>
                    <a:pt x="65" y="50"/>
                  </a:lnTo>
                  <a:lnTo>
                    <a:pt x="67" y="48"/>
                  </a:lnTo>
                  <a:lnTo>
                    <a:pt x="63" y="58"/>
                  </a:lnTo>
                  <a:close/>
                  <a:moveTo>
                    <a:pt x="50" y="125"/>
                  </a:moveTo>
                  <a:lnTo>
                    <a:pt x="46" y="127"/>
                  </a:lnTo>
                  <a:lnTo>
                    <a:pt x="50" y="123"/>
                  </a:lnTo>
                  <a:lnTo>
                    <a:pt x="50" y="125"/>
                  </a:lnTo>
                  <a:close/>
                  <a:moveTo>
                    <a:pt x="60" y="62"/>
                  </a:moveTo>
                  <a:lnTo>
                    <a:pt x="60" y="66"/>
                  </a:lnTo>
                  <a:lnTo>
                    <a:pt x="60" y="62"/>
                  </a:lnTo>
                  <a:close/>
                  <a:moveTo>
                    <a:pt x="0" y="96"/>
                  </a:moveTo>
                  <a:lnTo>
                    <a:pt x="2" y="91"/>
                  </a:lnTo>
                  <a:lnTo>
                    <a:pt x="4" y="91"/>
                  </a:lnTo>
                  <a:lnTo>
                    <a:pt x="0" y="96"/>
                  </a:lnTo>
                  <a:close/>
                  <a:moveTo>
                    <a:pt x="158" y="179"/>
                  </a:moveTo>
                  <a:lnTo>
                    <a:pt x="156" y="179"/>
                  </a:lnTo>
                  <a:lnTo>
                    <a:pt x="158" y="175"/>
                  </a:lnTo>
                  <a:lnTo>
                    <a:pt x="158" y="179"/>
                  </a:lnTo>
                  <a:close/>
                  <a:moveTo>
                    <a:pt x="90" y="23"/>
                  </a:moveTo>
                  <a:lnTo>
                    <a:pt x="90" y="27"/>
                  </a:lnTo>
                  <a:lnTo>
                    <a:pt x="90" y="23"/>
                  </a:lnTo>
                  <a:close/>
                  <a:moveTo>
                    <a:pt x="60" y="0"/>
                  </a:moveTo>
                  <a:lnTo>
                    <a:pt x="60" y="4"/>
                  </a:lnTo>
                  <a:lnTo>
                    <a:pt x="60" y="0"/>
                  </a:lnTo>
                  <a:close/>
                  <a:moveTo>
                    <a:pt x="159" y="169"/>
                  </a:moveTo>
                  <a:lnTo>
                    <a:pt x="159" y="171"/>
                  </a:lnTo>
                  <a:lnTo>
                    <a:pt x="159" y="16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3" name="Freeform 10">
              <a:extLst>
                <a:ext uri="{FF2B5EF4-FFF2-40B4-BE49-F238E27FC236}">
                  <a16:creationId xmlns:a16="http://schemas.microsoft.com/office/drawing/2014/main" id="{879AEF04-EA17-49BC-A9C3-7A4482D56984}"/>
                </a:ext>
              </a:extLst>
            </p:cNvPr>
            <p:cNvSpPr>
              <a:spLocks/>
            </p:cNvSpPr>
            <p:nvPr/>
          </p:nvSpPr>
          <p:spPr bwMode="gray">
            <a:xfrm>
              <a:off x="4364039" y="4873627"/>
              <a:ext cx="112713" cy="153988"/>
            </a:xfrm>
            <a:custGeom>
              <a:avLst/>
              <a:gdLst>
                <a:gd name="T0" fmla="*/ 54 w 71"/>
                <a:gd name="T1" fmla="*/ 15 h 97"/>
                <a:gd name="T2" fmla="*/ 57 w 71"/>
                <a:gd name="T3" fmla="*/ 15 h 97"/>
                <a:gd name="T4" fmla="*/ 63 w 71"/>
                <a:gd name="T5" fmla="*/ 15 h 97"/>
                <a:gd name="T6" fmla="*/ 63 w 71"/>
                <a:gd name="T7" fmla="*/ 19 h 97"/>
                <a:gd name="T8" fmla="*/ 63 w 71"/>
                <a:gd name="T9" fmla="*/ 25 h 97"/>
                <a:gd name="T10" fmla="*/ 61 w 71"/>
                <a:gd name="T11" fmla="*/ 32 h 97"/>
                <a:gd name="T12" fmla="*/ 65 w 71"/>
                <a:gd name="T13" fmla="*/ 44 h 97"/>
                <a:gd name="T14" fmla="*/ 69 w 71"/>
                <a:gd name="T15" fmla="*/ 49 h 97"/>
                <a:gd name="T16" fmla="*/ 63 w 71"/>
                <a:gd name="T17" fmla="*/ 55 h 97"/>
                <a:gd name="T18" fmla="*/ 65 w 71"/>
                <a:gd name="T19" fmla="*/ 61 h 97"/>
                <a:gd name="T20" fmla="*/ 65 w 71"/>
                <a:gd name="T21" fmla="*/ 71 h 97"/>
                <a:gd name="T22" fmla="*/ 65 w 71"/>
                <a:gd name="T23" fmla="*/ 82 h 97"/>
                <a:gd name="T24" fmla="*/ 61 w 71"/>
                <a:gd name="T25" fmla="*/ 86 h 97"/>
                <a:gd name="T26" fmla="*/ 56 w 71"/>
                <a:gd name="T27" fmla="*/ 94 h 97"/>
                <a:gd name="T28" fmla="*/ 50 w 71"/>
                <a:gd name="T29" fmla="*/ 92 h 97"/>
                <a:gd name="T30" fmla="*/ 48 w 71"/>
                <a:gd name="T31" fmla="*/ 94 h 97"/>
                <a:gd name="T32" fmla="*/ 38 w 71"/>
                <a:gd name="T33" fmla="*/ 96 h 97"/>
                <a:gd name="T34" fmla="*/ 36 w 71"/>
                <a:gd name="T35" fmla="*/ 88 h 97"/>
                <a:gd name="T36" fmla="*/ 33 w 71"/>
                <a:gd name="T37" fmla="*/ 84 h 97"/>
                <a:gd name="T38" fmla="*/ 25 w 71"/>
                <a:gd name="T39" fmla="*/ 76 h 97"/>
                <a:gd name="T40" fmla="*/ 25 w 71"/>
                <a:gd name="T41" fmla="*/ 74 h 97"/>
                <a:gd name="T42" fmla="*/ 27 w 71"/>
                <a:gd name="T43" fmla="*/ 71 h 97"/>
                <a:gd name="T44" fmla="*/ 29 w 71"/>
                <a:gd name="T45" fmla="*/ 67 h 97"/>
                <a:gd name="T46" fmla="*/ 31 w 71"/>
                <a:gd name="T47" fmla="*/ 65 h 97"/>
                <a:gd name="T48" fmla="*/ 31 w 71"/>
                <a:gd name="T49" fmla="*/ 65 h 97"/>
                <a:gd name="T50" fmla="*/ 29 w 71"/>
                <a:gd name="T51" fmla="*/ 71 h 97"/>
                <a:gd name="T52" fmla="*/ 25 w 71"/>
                <a:gd name="T53" fmla="*/ 55 h 97"/>
                <a:gd name="T54" fmla="*/ 21 w 71"/>
                <a:gd name="T55" fmla="*/ 46 h 97"/>
                <a:gd name="T56" fmla="*/ 11 w 71"/>
                <a:gd name="T57" fmla="*/ 42 h 97"/>
                <a:gd name="T58" fmla="*/ 13 w 71"/>
                <a:gd name="T59" fmla="*/ 42 h 97"/>
                <a:gd name="T60" fmla="*/ 21 w 71"/>
                <a:gd name="T61" fmla="*/ 44 h 97"/>
                <a:gd name="T62" fmla="*/ 29 w 71"/>
                <a:gd name="T63" fmla="*/ 42 h 97"/>
                <a:gd name="T64" fmla="*/ 29 w 71"/>
                <a:gd name="T65" fmla="*/ 42 h 97"/>
                <a:gd name="T66" fmla="*/ 27 w 71"/>
                <a:gd name="T67" fmla="*/ 42 h 97"/>
                <a:gd name="T68" fmla="*/ 23 w 71"/>
                <a:gd name="T69" fmla="*/ 40 h 97"/>
                <a:gd name="T70" fmla="*/ 19 w 71"/>
                <a:gd name="T71" fmla="*/ 40 h 97"/>
                <a:gd name="T72" fmla="*/ 13 w 71"/>
                <a:gd name="T73" fmla="*/ 36 h 97"/>
                <a:gd name="T74" fmla="*/ 13 w 71"/>
                <a:gd name="T75" fmla="*/ 36 h 97"/>
                <a:gd name="T76" fmla="*/ 19 w 71"/>
                <a:gd name="T77" fmla="*/ 30 h 97"/>
                <a:gd name="T78" fmla="*/ 15 w 71"/>
                <a:gd name="T79" fmla="*/ 32 h 97"/>
                <a:gd name="T80" fmla="*/ 8 w 71"/>
                <a:gd name="T81" fmla="*/ 25 h 97"/>
                <a:gd name="T82" fmla="*/ 9 w 71"/>
                <a:gd name="T83" fmla="*/ 17 h 97"/>
                <a:gd name="T84" fmla="*/ 6 w 71"/>
                <a:gd name="T85" fmla="*/ 17 h 97"/>
                <a:gd name="T86" fmla="*/ 4 w 71"/>
                <a:gd name="T87" fmla="*/ 7 h 97"/>
                <a:gd name="T88" fmla="*/ 6 w 71"/>
                <a:gd name="T89" fmla="*/ 7 h 97"/>
                <a:gd name="T90" fmla="*/ 13 w 71"/>
                <a:gd name="T91" fmla="*/ 7 h 97"/>
                <a:gd name="T92" fmla="*/ 21 w 71"/>
                <a:gd name="T93" fmla="*/ 0 h 97"/>
                <a:gd name="T94" fmla="*/ 29 w 71"/>
                <a:gd name="T95" fmla="*/ 5 h 97"/>
                <a:gd name="T96" fmla="*/ 33 w 71"/>
                <a:gd name="T97" fmla="*/ 17 h 97"/>
                <a:gd name="T98" fmla="*/ 38 w 71"/>
                <a:gd name="T99" fmla="*/ 21 h 97"/>
                <a:gd name="T100" fmla="*/ 42 w 71"/>
                <a:gd name="T101" fmla="*/ 1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 h="97">
                  <a:moveTo>
                    <a:pt x="48" y="15"/>
                  </a:moveTo>
                  <a:lnTo>
                    <a:pt x="54" y="15"/>
                  </a:lnTo>
                  <a:lnTo>
                    <a:pt x="56" y="11"/>
                  </a:lnTo>
                  <a:lnTo>
                    <a:pt x="57" y="15"/>
                  </a:lnTo>
                  <a:lnTo>
                    <a:pt x="61" y="13"/>
                  </a:lnTo>
                  <a:lnTo>
                    <a:pt x="63" y="15"/>
                  </a:lnTo>
                  <a:lnTo>
                    <a:pt x="61" y="19"/>
                  </a:lnTo>
                  <a:lnTo>
                    <a:pt x="63" y="19"/>
                  </a:lnTo>
                  <a:lnTo>
                    <a:pt x="61" y="25"/>
                  </a:lnTo>
                  <a:lnTo>
                    <a:pt x="63" y="25"/>
                  </a:lnTo>
                  <a:lnTo>
                    <a:pt x="65" y="28"/>
                  </a:lnTo>
                  <a:lnTo>
                    <a:pt x="61" y="32"/>
                  </a:lnTo>
                  <a:lnTo>
                    <a:pt x="65" y="38"/>
                  </a:lnTo>
                  <a:lnTo>
                    <a:pt x="65" y="44"/>
                  </a:lnTo>
                  <a:lnTo>
                    <a:pt x="69" y="46"/>
                  </a:lnTo>
                  <a:lnTo>
                    <a:pt x="69" y="49"/>
                  </a:lnTo>
                  <a:lnTo>
                    <a:pt x="71" y="53"/>
                  </a:lnTo>
                  <a:lnTo>
                    <a:pt x="63" y="55"/>
                  </a:lnTo>
                  <a:lnTo>
                    <a:pt x="61" y="57"/>
                  </a:lnTo>
                  <a:lnTo>
                    <a:pt x="65" y="61"/>
                  </a:lnTo>
                  <a:lnTo>
                    <a:pt x="67" y="65"/>
                  </a:lnTo>
                  <a:lnTo>
                    <a:pt x="65" y="71"/>
                  </a:lnTo>
                  <a:lnTo>
                    <a:pt x="63" y="74"/>
                  </a:lnTo>
                  <a:lnTo>
                    <a:pt x="65" y="82"/>
                  </a:lnTo>
                  <a:lnTo>
                    <a:pt x="63" y="86"/>
                  </a:lnTo>
                  <a:lnTo>
                    <a:pt x="61" y="86"/>
                  </a:lnTo>
                  <a:lnTo>
                    <a:pt x="61" y="88"/>
                  </a:lnTo>
                  <a:lnTo>
                    <a:pt x="56" y="94"/>
                  </a:lnTo>
                  <a:lnTo>
                    <a:pt x="52" y="90"/>
                  </a:lnTo>
                  <a:lnTo>
                    <a:pt x="50" y="92"/>
                  </a:lnTo>
                  <a:lnTo>
                    <a:pt x="52" y="96"/>
                  </a:lnTo>
                  <a:lnTo>
                    <a:pt x="48" y="94"/>
                  </a:lnTo>
                  <a:lnTo>
                    <a:pt x="42" y="97"/>
                  </a:lnTo>
                  <a:lnTo>
                    <a:pt x="38" y="96"/>
                  </a:lnTo>
                  <a:lnTo>
                    <a:pt x="40" y="90"/>
                  </a:lnTo>
                  <a:lnTo>
                    <a:pt x="36" y="88"/>
                  </a:lnTo>
                  <a:lnTo>
                    <a:pt x="38" y="88"/>
                  </a:lnTo>
                  <a:lnTo>
                    <a:pt x="33" y="84"/>
                  </a:lnTo>
                  <a:lnTo>
                    <a:pt x="31" y="78"/>
                  </a:lnTo>
                  <a:lnTo>
                    <a:pt x="25" y="76"/>
                  </a:lnTo>
                  <a:lnTo>
                    <a:pt x="27" y="74"/>
                  </a:lnTo>
                  <a:lnTo>
                    <a:pt x="25" y="74"/>
                  </a:lnTo>
                  <a:lnTo>
                    <a:pt x="27" y="73"/>
                  </a:lnTo>
                  <a:lnTo>
                    <a:pt x="27" y="71"/>
                  </a:lnTo>
                  <a:lnTo>
                    <a:pt x="29" y="71"/>
                  </a:lnTo>
                  <a:lnTo>
                    <a:pt x="29" y="67"/>
                  </a:lnTo>
                  <a:lnTo>
                    <a:pt x="31" y="67"/>
                  </a:lnTo>
                  <a:lnTo>
                    <a:pt x="31" y="65"/>
                  </a:lnTo>
                  <a:lnTo>
                    <a:pt x="29" y="61"/>
                  </a:lnTo>
                  <a:lnTo>
                    <a:pt x="31" y="65"/>
                  </a:lnTo>
                  <a:lnTo>
                    <a:pt x="29" y="67"/>
                  </a:lnTo>
                  <a:lnTo>
                    <a:pt x="29" y="71"/>
                  </a:lnTo>
                  <a:lnTo>
                    <a:pt x="27" y="61"/>
                  </a:lnTo>
                  <a:lnTo>
                    <a:pt x="25" y="55"/>
                  </a:lnTo>
                  <a:lnTo>
                    <a:pt x="23" y="49"/>
                  </a:lnTo>
                  <a:lnTo>
                    <a:pt x="21" y="46"/>
                  </a:lnTo>
                  <a:lnTo>
                    <a:pt x="17" y="48"/>
                  </a:lnTo>
                  <a:lnTo>
                    <a:pt x="11" y="42"/>
                  </a:lnTo>
                  <a:lnTo>
                    <a:pt x="11" y="40"/>
                  </a:lnTo>
                  <a:lnTo>
                    <a:pt x="13" y="42"/>
                  </a:lnTo>
                  <a:lnTo>
                    <a:pt x="15" y="42"/>
                  </a:lnTo>
                  <a:lnTo>
                    <a:pt x="21" y="44"/>
                  </a:lnTo>
                  <a:lnTo>
                    <a:pt x="23" y="42"/>
                  </a:lnTo>
                  <a:lnTo>
                    <a:pt x="29" y="42"/>
                  </a:lnTo>
                  <a:lnTo>
                    <a:pt x="31" y="46"/>
                  </a:lnTo>
                  <a:lnTo>
                    <a:pt x="29" y="42"/>
                  </a:lnTo>
                  <a:lnTo>
                    <a:pt x="31" y="42"/>
                  </a:lnTo>
                  <a:lnTo>
                    <a:pt x="27" y="42"/>
                  </a:lnTo>
                  <a:lnTo>
                    <a:pt x="27" y="40"/>
                  </a:lnTo>
                  <a:lnTo>
                    <a:pt x="23" y="40"/>
                  </a:lnTo>
                  <a:lnTo>
                    <a:pt x="23" y="38"/>
                  </a:lnTo>
                  <a:lnTo>
                    <a:pt x="19" y="40"/>
                  </a:lnTo>
                  <a:lnTo>
                    <a:pt x="19" y="36"/>
                  </a:lnTo>
                  <a:lnTo>
                    <a:pt x="13" y="36"/>
                  </a:lnTo>
                  <a:lnTo>
                    <a:pt x="11" y="36"/>
                  </a:lnTo>
                  <a:lnTo>
                    <a:pt x="13" y="36"/>
                  </a:lnTo>
                  <a:lnTo>
                    <a:pt x="15" y="32"/>
                  </a:lnTo>
                  <a:lnTo>
                    <a:pt x="19" y="30"/>
                  </a:lnTo>
                  <a:lnTo>
                    <a:pt x="15" y="30"/>
                  </a:lnTo>
                  <a:lnTo>
                    <a:pt x="15" y="32"/>
                  </a:lnTo>
                  <a:lnTo>
                    <a:pt x="9" y="32"/>
                  </a:lnTo>
                  <a:lnTo>
                    <a:pt x="8" y="25"/>
                  </a:lnTo>
                  <a:lnTo>
                    <a:pt x="6" y="23"/>
                  </a:lnTo>
                  <a:lnTo>
                    <a:pt x="9" y="17"/>
                  </a:lnTo>
                  <a:lnTo>
                    <a:pt x="6" y="19"/>
                  </a:lnTo>
                  <a:lnTo>
                    <a:pt x="6" y="17"/>
                  </a:lnTo>
                  <a:lnTo>
                    <a:pt x="2" y="9"/>
                  </a:lnTo>
                  <a:lnTo>
                    <a:pt x="4" y="7"/>
                  </a:lnTo>
                  <a:lnTo>
                    <a:pt x="0" y="7"/>
                  </a:lnTo>
                  <a:lnTo>
                    <a:pt x="6" y="7"/>
                  </a:lnTo>
                  <a:lnTo>
                    <a:pt x="8" y="5"/>
                  </a:lnTo>
                  <a:lnTo>
                    <a:pt x="13" y="7"/>
                  </a:lnTo>
                  <a:lnTo>
                    <a:pt x="17" y="5"/>
                  </a:lnTo>
                  <a:lnTo>
                    <a:pt x="21" y="0"/>
                  </a:lnTo>
                  <a:lnTo>
                    <a:pt x="23" y="3"/>
                  </a:lnTo>
                  <a:lnTo>
                    <a:pt x="29" y="5"/>
                  </a:lnTo>
                  <a:lnTo>
                    <a:pt x="31" y="11"/>
                  </a:lnTo>
                  <a:lnTo>
                    <a:pt x="33" y="17"/>
                  </a:lnTo>
                  <a:lnTo>
                    <a:pt x="34" y="19"/>
                  </a:lnTo>
                  <a:lnTo>
                    <a:pt x="38" y="21"/>
                  </a:lnTo>
                  <a:lnTo>
                    <a:pt x="38" y="19"/>
                  </a:lnTo>
                  <a:lnTo>
                    <a:pt x="42" y="17"/>
                  </a:lnTo>
                  <a:lnTo>
                    <a:pt x="48" y="1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4" name="Freeform 11">
              <a:extLst>
                <a:ext uri="{FF2B5EF4-FFF2-40B4-BE49-F238E27FC236}">
                  <a16:creationId xmlns:a16="http://schemas.microsoft.com/office/drawing/2014/main" id="{A80E3909-7CA0-463F-ACED-7C0DC828BF8E}"/>
                </a:ext>
              </a:extLst>
            </p:cNvPr>
            <p:cNvSpPr>
              <a:spLocks noEditPoints="1"/>
            </p:cNvSpPr>
            <p:nvPr/>
          </p:nvSpPr>
          <p:spPr bwMode="gray">
            <a:xfrm>
              <a:off x="4430714" y="4411665"/>
              <a:ext cx="765175" cy="1187451"/>
            </a:xfrm>
            <a:custGeom>
              <a:avLst/>
              <a:gdLst>
                <a:gd name="T0" fmla="*/ 382 w 482"/>
                <a:gd name="T1" fmla="*/ 20 h 748"/>
                <a:gd name="T2" fmla="*/ 390 w 482"/>
                <a:gd name="T3" fmla="*/ 58 h 748"/>
                <a:gd name="T4" fmla="*/ 376 w 482"/>
                <a:gd name="T5" fmla="*/ 100 h 748"/>
                <a:gd name="T6" fmla="*/ 376 w 482"/>
                <a:gd name="T7" fmla="*/ 114 h 748"/>
                <a:gd name="T8" fmla="*/ 365 w 482"/>
                <a:gd name="T9" fmla="*/ 146 h 748"/>
                <a:gd name="T10" fmla="*/ 361 w 482"/>
                <a:gd name="T11" fmla="*/ 206 h 748"/>
                <a:gd name="T12" fmla="*/ 378 w 482"/>
                <a:gd name="T13" fmla="*/ 235 h 748"/>
                <a:gd name="T14" fmla="*/ 348 w 482"/>
                <a:gd name="T15" fmla="*/ 273 h 748"/>
                <a:gd name="T16" fmla="*/ 319 w 482"/>
                <a:gd name="T17" fmla="*/ 321 h 748"/>
                <a:gd name="T18" fmla="*/ 330 w 482"/>
                <a:gd name="T19" fmla="*/ 360 h 748"/>
                <a:gd name="T20" fmla="*/ 288 w 482"/>
                <a:gd name="T21" fmla="*/ 379 h 748"/>
                <a:gd name="T22" fmla="*/ 300 w 482"/>
                <a:gd name="T23" fmla="*/ 435 h 748"/>
                <a:gd name="T24" fmla="*/ 326 w 482"/>
                <a:gd name="T25" fmla="*/ 454 h 748"/>
                <a:gd name="T26" fmla="*/ 361 w 482"/>
                <a:gd name="T27" fmla="*/ 454 h 748"/>
                <a:gd name="T28" fmla="*/ 355 w 482"/>
                <a:gd name="T29" fmla="*/ 485 h 748"/>
                <a:gd name="T30" fmla="*/ 340 w 482"/>
                <a:gd name="T31" fmla="*/ 485 h 748"/>
                <a:gd name="T32" fmla="*/ 311 w 482"/>
                <a:gd name="T33" fmla="*/ 479 h 748"/>
                <a:gd name="T34" fmla="*/ 326 w 482"/>
                <a:gd name="T35" fmla="*/ 511 h 748"/>
                <a:gd name="T36" fmla="*/ 348 w 482"/>
                <a:gd name="T37" fmla="*/ 504 h 748"/>
                <a:gd name="T38" fmla="*/ 380 w 482"/>
                <a:gd name="T39" fmla="*/ 513 h 748"/>
                <a:gd name="T40" fmla="*/ 419 w 482"/>
                <a:gd name="T41" fmla="*/ 490 h 748"/>
                <a:gd name="T42" fmla="*/ 432 w 482"/>
                <a:gd name="T43" fmla="*/ 519 h 748"/>
                <a:gd name="T44" fmla="*/ 459 w 482"/>
                <a:gd name="T45" fmla="*/ 544 h 748"/>
                <a:gd name="T46" fmla="*/ 480 w 482"/>
                <a:gd name="T47" fmla="*/ 575 h 748"/>
                <a:gd name="T48" fmla="*/ 457 w 482"/>
                <a:gd name="T49" fmla="*/ 600 h 748"/>
                <a:gd name="T50" fmla="*/ 411 w 482"/>
                <a:gd name="T51" fmla="*/ 613 h 748"/>
                <a:gd name="T52" fmla="*/ 386 w 482"/>
                <a:gd name="T53" fmla="*/ 631 h 748"/>
                <a:gd name="T54" fmla="*/ 361 w 482"/>
                <a:gd name="T55" fmla="*/ 673 h 748"/>
                <a:gd name="T56" fmla="*/ 359 w 482"/>
                <a:gd name="T57" fmla="*/ 713 h 748"/>
                <a:gd name="T58" fmla="*/ 307 w 482"/>
                <a:gd name="T59" fmla="*/ 723 h 748"/>
                <a:gd name="T60" fmla="*/ 255 w 482"/>
                <a:gd name="T61" fmla="*/ 734 h 748"/>
                <a:gd name="T62" fmla="*/ 213 w 482"/>
                <a:gd name="T63" fmla="*/ 705 h 748"/>
                <a:gd name="T64" fmla="*/ 150 w 482"/>
                <a:gd name="T65" fmla="*/ 680 h 748"/>
                <a:gd name="T66" fmla="*/ 131 w 482"/>
                <a:gd name="T67" fmla="*/ 650 h 748"/>
                <a:gd name="T68" fmla="*/ 111 w 482"/>
                <a:gd name="T69" fmla="*/ 631 h 748"/>
                <a:gd name="T70" fmla="*/ 79 w 482"/>
                <a:gd name="T71" fmla="*/ 621 h 748"/>
                <a:gd name="T72" fmla="*/ 67 w 482"/>
                <a:gd name="T73" fmla="*/ 573 h 748"/>
                <a:gd name="T74" fmla="*/ 62 w 482"/>
                <a:gd name="T75" fmla="*/ 538 h 748"/>
                <a:gd name="T76" fmla="*/ 58 w 482"/>
                <a:gd name="T77" fmla="*/ 521 h 748"/>
                <a:gd name="T78" fmla="*/ 37 w 482"/>
                <a:gd name="T79" fmla="*/ 454 h 748"/>
                <a:gd name="T80" fmla="*/ 31 w 482"/>
                <a:gd name="T81" fmla="*/ 427 h 748"/>
                <a:gd name="T82" fmla="*/ 14 w 482"/>
                <a:gd name="T83" fmla="*/ 406 h 748"/>
                <a:gd name="T84" fmla="*/ 8 w 482"/>
                <a:gd name="T85" fmla="*/ 394 h 748"/>
                <a:gd name="T86" fmla="*/ 23 w 482"/>
                <a:gd name="T87" fmla="*/ 352 h 748"/>
                <a:gd name="T88" fmla="*/ 15 w 482"/>
                <a:gd name="T89" fmla="*/ 306 h 748"/>
                <a:gd name="T90" fmla="*/ 31 w 482"/>
                <a:gd name="T91" fmla="*/ 294 h 748"/>
                <a:gd name="T92" fmla="*/ 40 w 482"/>
                <a:gd name="T93" fmla="*/ 256 h 748"/>
                <a:gd name="T94" fmla="*/ 31 w 482"/>
                <a:gd name="T95" fmla="*/ 231 h 748"/>
                <a:gd name="T96" fmla="*/ 29 w 482"/>
                <a:gd name="T97" fmla="*/ 214 h 748"/>
                <a:gd name="T98" fmla="*/ 63 w 482"/>
                <a:gd name="T99" fmla="*/ 204 h 748"/>
                <a:gd name="T100" fmla="*/ 96 w 482"/>
                <a:gd name="T101" fmla="*/ 168 h 748"/>
                <a:gd name="T102" fmla="*/ 134 w 482"/>
                <a:gd name="T103" fmla="*/ 164 h 748"/>
                <a:gd name="T104" fmla="*/ 175 w 482"/>
                <a:gd name="T105" fmla="*/ 156 h 748"/>
                <a:gd name="T106" fmla="*/ 181 w 482"/>
                <a:gd name="T107" fmla="*/ 116 h 748"/>
                <a:gd name="T108" fmla="*/ 230 w 482"/>
                <a:gd name="T109" fmla="*/ 123 h 748"/>
                <a:gd name="T110" fmla="*/ 250 w 482"/>
                <a:gd name="T111" fmla="*/ 112 h 748"/>
                <a:gd name="T112" fmla="*/ 282 w 482"/>
                <a:gd name="T113" fmla="*/ 81 h 748"/>
                <a:gd name="T114" fmla="*/ 305 w 482"/>
                <a:gd name="T115" fmla="*/ 64 h 748"/>
                <a:gd name="T116" fmla="*/ 326 w 482"/>
                <a:gd name="T117" fmla="*/ 33 h 748"/>
                <a:gd name="T118" fmla="*/ 361 w 482"/>
                <a:gd name="T119" fmla="*/ 4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2" h="748">
                  <a:moveTo>
                    <a:pt x="63" y="523"/>
                  </a:moveTo>
                  <a:lnTo>
                    <a:pt x="65" y="523"/>
                  </a:lnTo>
                  <a:lnTo>
                    <a:pt x="65" y="525"/>
                  </a:lnTo>
                  <a:lnTo>
                    <a:pt x="63" y="525"/>
                  </a:lnTo>
                  <a:lnTo>
                    <a:pt x="63" y="523"/>
                  </a:lnTo>
                  <a:close/>
                  <a:moveTo>
                    <a:pt x="4" y="404"/>
                  </a:moveTo>
                  <a:lnTo>
                    <a:pt x="8" y="404"/>
                  </a:lnTo>
                  <a:lnTo>
                    <a:pt x="8" y="406"/>
                  </a:lnTo>
                  <a:lnTo>
                    <a:pt x="4" y="406"/>
                  </a:lnTo>
                  <a:lnTo>
                    <a:pt x="4" y="404"/>
                  </a:lnTo>
                  <a:close/>
                  <a:moveTo>
                    <a:pt x="27" y="291"/>
                  </a:moveTo>
                  <a:lnTo>
                    <a:pt x="21" y="291"/>
                  </a:lnTo>
                  <a:lnTo>
                    <a:pt x="21" y="287"/>
                  </a:lnTo>
                  <a:lnTo>
                    <a:pt x="25" y="287"/>
                  </a:lnTo>
                  <a:lnTo>
                    <a:pt x="27" y="291"/>
                  </a:lnTo>
                  <a:close/>
                  <a:moveTo>
                    <a:pt x="382" y="20"/>
                  </a:moveTo>
                  <a:lnTo>
                    <a:pt x="388" y="20"/>
                  </a:lnTo>
                  <a:lnTo>
                    <a:pt x="386" y="24"/>
                  </a:lnTo>
                  <a:lnTo>
                    <a:pt x="386" y="27"/>
                  </a:lnTo>
                  <a:lnTo>
                    <a:pt x="384" y="29"/>
                  </a:lnTo>
                  <a:lnTo>
                    <a:pt x="388" y="35"/>
                  </a:lnTo>
                  <a:lnTo>
                    <a:pt x="388" y="41"/>
                  </a:lnTo>
                  <a:lnTo>
                    <a:pt x="382" y="45"/>
                  </a:lnTo>
                  <a:lnTo>
                    <a:pt x="382" y="47"/>
                  </a:lnTo>
                  <a:lnTo>
                    <a:pt x="384" y="47"/>
                  </a:lnTo>
                  <a:lnTo>
                    <a:pt x="386" y="50"/>
                  </a:lnTo>
                  <a:lnTo>
                    <a:pt x="388" y="49"/>
                  </a:lnTo>
                  <a:lnTo>
                    <a:pt x="390" y="50"/>
                  </a:lnTo>
                  <a:lnTo>
                    <a:pt x="392" y="50"/>
                  </a:lnTo>
                  <a:lnTo>
                    <a:pt x="394" y="54"/>
                  </a:lnTo>
                  <a:lnTo>
                    <a:pt x="392" y="56"/>
                  </a:lnTo>
                  <a:lnTo>
                    <a:pt x="390" y="58"/>
                  </a:lnTo>
                  <a:lnTo>
                    <a:pt x="390" y="62"/>
                  </a:lnTo>
                  <a:lnTo>
                    <a:pt x="386" y="62"/>
                  </a:lnTo>
                  <a:lnTo>
                    <a:pt x="386" y="66"/>
                  </a:lnTo>
                  <a:lnTo>
                    <a:pt x="384" y="66"/>
                  </a:lnTo>
                  <a:lnTo>
                    <a:pt x="382" y="72"/>
                  </a:lnTo>
                  <a:lnTo>
                    <a:pt x="378" y="70"/>
                  </a:lnTo>
                  <a:lnTo>
                    <a:pt x="376" y="73"/>
                  </a:lnTo>
                  <a:lnTo>
                    <a:pt x="382" y="77"/>
                  </a:lnTo>
                  <a:lnTo>
                    <a:pt x="382" y="79"/>
                  </a:lnTo>
                  <a:lnTo>
                    <a:pt x="380" y="81"/>
                  </a:lnTo>
                  <a:lnTo>
                    <a:pt x="371" y="83"/>
                  </a:lnTo>
                  <a:lnTo>
                    <a:pt x="371" y="85"/>
                  </a:lnTo>
                  <a:lnTo>
                    <a:pt x="371" y="91"/>
                  </a:lnTo>
                  <a:lnTo>
                    <a:pt x="369" y="97"/>
                  </a:lnTo>
                  <a:lnTo>
                    <a:pt x="374" y="98"/>
                  </a:lnTo>
                  <a:lnTo>
                    <a:pt x="376" y="100"/>
                  </a:lnTo>
                  <a:lnTo>
                    <a:pt x="378" y="97"/>
                  </a:lnTo>
                  <a:lnTo>
                    <a:pt x="380" y="100"/>
                  </a:lnTo>
                  <a:lnTo>
                    <a:pt x="386" y="98"/>
                  </a:lnTo>
                  <a:lnTo>
                    <a:pt x="386" y="102"/>
                  </a:lnTo>
                  <a:lnTo>
                    <a:pt x="392" y="102"/>
                  </a:lnTo>
                  <a:lnTo>
                    <a:pt x="395" y="104"/>
                  </a:lnTo>
                  <a:lnTo>
                    <a:pt x="395" y="108"/>
                  </a:lnTo>
                  <a:lnTo>
                    <a:pt x="392" y="106"/>
                  </a:lnTo>
                  <a:lnTo>
                    <a:pt x="392" y="104"/>
                  </a:lnTo>
                  <a:lnTo>
                    <a:pt x="390" y="108"/>
                  </a:lnTo>
                  <a:lnTo>
                    <a:pt x="388" y="108"/>
                  </a:lnTo>
                  <a:lnTo>
                    <a:pt x="388" y="112"/>
                  </a:lnTo>
                  <a:lnTo>
                    <a:pt x="384" y="110"/>
                  </a:lnTo>
                  <a:lnTo>
                    <a:pt x="382" y="112"/>
                  </a:lnTo>
                  <a:lnTo>
                    <a:pt x="378" y="112"/>
                  </a:lnTo>
                  <a:lnTo>
                    <a:pt x="376" y="114"/>
                  </a:lnTo>
                  <a:lnTo>
                    <a:pt x="378" y="116"/>
                  </a:lnTo>
                  <a:lnTo>
                    <a:pt x="378" y="118"/>
                  </a:lnTo>
                  <a:lnTo>
                    <a:pt x="378" y="120"/>
                  </a:lnTo>
                  <a:lnTo>
                    <a:pt x="374" y="122"/>
                  </a:lnTo>
                  <a:lnTo>
                    <a:pt x="371" y="120"/>
                  </a:lnTo>
                  <a:lnTo>
                    <a:pt x="369" y="127"/>
                  </a:lnTo>
                  <a:lnTo>
                    <a:pt x="371" y="129"/>
                  </a:lnTo>
                  <a:lnTo>
                    <a:pt x="367" y="131"/>
                  </a:lnTo>
                  <a:lnTo>
                    <a:pt x="365" y="135"/>
                  </a:lnTo>
                  <a:lnTo>
                    <a:pt x="365" y="133"/>
                  </a:lnTo>
                  <a:lnTo>
                    <a:pt x="361" y="135"/>
                  </a:lnTo>
                  <a:lnTo>
                    <a:pt x="363" y="137"/>
                  </a:lnTo>
                  <a:lnTo>
                    <a:pt x="363" y="139"/>
                  </a:lnTo>
                  <a:lnTo>
                    <a:pt x="361" y="139"/>
                  </a:lnTo>
                  <a:lnTo>
                    <a:pt x="361" y="143"/>
                  </a:lnTo>
                  <a:lnTo>
                    <a:pt x="365" y="146"/>
                  </a:lnTo>
                  <a:lnTo>
                    <a:pt x="371" y="148"/>
                  </a:lnTo>
                  <a:lnTo>
                    <a:pt x="374" y="158"/>
                  </a:lnTo>
                  <a:lnTo>
                    <a:pt x="371" y="160"/>
                  </a:lnTo>
                  <a:lnTo>
                    <a:pt x="369" y="170"/>
                  </a:lnTo>
                  <a:lnTo>
                    <a:pt x="369" y="179"/>
                  </a:lnTo>
                  <a:lnTo>
                    <a:pt x="371" y="183"/>
                  </a:lnTo>
                  <a:lnTo>
                    <a:pt x="367" y="183"/>
                  </a:lnTo>
                  <a:lnTo>
                    <a:pt x="365" y="191"/>
                  </a:lnTo>
                  <a:lnTo>
                    <a:pt x="371" y="191"/>
                  </a:lnTo>
                  <a:lnTo>
                    <a:pt x="369" y="194"/>
                  </a:lnTo>
                  <a:lnTo>
                    <a:pt x="365" y="196"/>
                  </a:lnTo>
                  <a:lnTo>
                    <a:pt x="367" y="198"/>
                  </a:lnTo>
                  <a:lnTo>
                    <a:pt x="371" y="198"/>
                  </a:lnTo>
                  <a:lnTo>
                    <a:pt x="369" y="200"/>
                  </a:lnTo>
                  <a:lnTo>
                    <a:pt x="369" y="204"/>
                  </a:lnTo>
                  <a:lnTo>
                    <a:pt x="361" y="206"/>
                  </a:lnTo>
                  <a:lnTo>
                    <a:pt x="365" y="208"/>
                  </a:lnTo>
                  <a:lnTo>
                    <a:pt x="363" y="212"/>
                  </a:lnTo>
                  <a:lnTo>
                    <a:pt x="359" y="214"/>
                  </a:lnTo>
                  <a:lnTo>
                    <a:pt x="359" y="216"/>
                  </a:lnTo>
                  <a:lnTo>
                    <a:pt x="351" y="214"/>
                  </a:lnTo>
                  <a:lnTo>
                    <a:pt x="349" y="218"/>
                  </a:lnTo>
                  <a:lnTo>
                    <a:pt x="344" y="218"/>
                  </a:lnTo>
                  <a:lnTo>
                    <a:pt x="349" y="223"/>
                  </a:lnTo>
                  <a:lnTo>
                    <a:pt x="351" y="225"/>
                  </a:lnTo>
                  <a:lnTo>
                    <a:pt x="359" y="227"/>
                  </a:lnTo>
                  <a:lnTo>
                    <a:pt x="363" y="229"/>
                  </a:lnTo>
                  <a:lnTo>
                    <a:pt x="369" y="227"/>
                  </a:lnTo>
                  <a:lnTo>
                    <a:pt x="374" y="227"/>
                  </a:lnTo>
                  <a:lnTo>
                    <a:pt x="382" y="233"/>
                  </a:lnTo>
                  <a:lnTo>
                    <a:pt x="382" y="237"/>
                  </a:lnTo>
                  <a:lnTo>
                    <a:pt x="378" y="235"/>
                  </a:lnTo>
                  <a:lnTo>
                    <a:pt x="376" y="239"/>
                  </a:lnTo>
                  <a:lnTo>
                    <a:pt x="372" y="239"/>
                  </a:lnTo>
                  <a:lnTo>
                    <a:pt x="371" y="241"/>
                  </a:lnTo>
                  <a:lnTo>
                    <a:pt x="371" y="243"/>
                  </a:lnTo>
                  <a:lnTo>
                    <a:pt x="374" y="244"/>
                  </a:lnTo>
                  <a:lnTo>
                    <a:pt x="372" y="244"/>
                  </a:lnTo>
                  <a:lnTo>
                    <a:pt x="371" y="250"/>
                  </a:lnTo>
                  <a:lnTo>
                    <a:pt x="371" y="256"/>
                  </a:lnTo>
                  <a:lnTo>
                    <a:pt x="372" y="256"/>
                  </a:lnTo>
                  <a:lnTo>
                    <a:pt x="371" y="264"/>
                  </a:lnTo>
                  <a:lnTo>
                    <a:pt x="372" y="271"/>
                  </a:lnTo>
                  <a:lnTo>
                    <a:pt x="372" y="277"/>
                  </a:lnTo>
                  <a:lnTo>
                    <a:pt x="365" y="273"/>
                  </a:lnTo>
                  <a:lnTo>
                    <a:pt x="359" y="275"/>
                  </a:lnTo>
                  <a:lnTo>
                    <a:pt x="355" y="273"/>
                  </a:lnTo>
                  <a:lnTo>
                    <a:pt x="348" y="273"/>
                  </a:lnTo>
                  <a:lnTo>
                    <a:pt x="344" y="271"/>
                  </a:lnTo>
                  <a:lnTo>
                    <a:pt x="338" y="273"/>
                  </a:lnTo>
                  <a:lnTo>
                    <a:pt x="328" y="275"/>
                  </a:lnTo>
                  <a:lnTo>
                    <a:pt x="321" y="283"/>
                  </a:lnTo>
                  <a:lnTo>
                    <a:pt x="319" y="287"/>
                  </a:lnTo>
                  <a:lnTo>
                    <a:pt x="324" y="287"/>
                  </a:lnTo>
                  <a:lnTo>
                    <a:pt x="324" y="291"/>
                  </a:lnTo>
                  <a:lnTo>
                    <a:pt x="321" y="296"/>
                  </a:lnTo>
                  <a:lnTo>
                    <a:pt x="324" y="298"/>
                  </a:lnTo>
                  <a:lnTo>
                    <a:pt x="324" y="302"/>
                  </a:lnTo>
                  <a:lnTo>
                    <a:pt x="330" y="304"/>
                  </a:lnTo>
                  <a:lnTo>
                    <a:pt x="330" y="308"/>
                  </a:lnTo>
                  <a:lnTo>
                    <a:pt x="326" y="306"/>
                  </a:lnTo>
                  <a:lnTo>
                    <a:pt x="321" y="308"/>
                  </a:lnTo>
                  <a:lnTo>
                    <a:pt x="319" y="314"/>
                  </a:lnTo>
                  <a:lnTo>
                    <a:pt x="319" y="321"/>
                  </a:lnTo>
                  <a:lnTo>
                    <a:pt x="313" y="321"/>
                  </a:lnTo>
                  <a:lnTo>
                    <a:pt x="313" y="323"/>
                  </a:lnTo>
                  <a:lnTo>
                    <a:pt x="319" y="329"/>
                  </a:lnTo>
                  <a:lnTo>
                    <a:pt x="319" y="333"/>
                  </a:lnTo>
                  <a:lnTo>
                    <a:pt x="321" y="335"/>
                  </a:lnTo>
                  <a:lnTo>
                    <a:pt x="321" y="337"/>
                  </a:lnTo>
                  <a:lnTo>
                    <a:pt x="323" y="339"/>
                  </a:lnTo>
                  <a:lnTo>
                    <a:pt x="323" y="340"/>
                  </a:lnTo>
                  <a:lnTo>
                    <a:pt x="328" y="340"/>
                  </a:lnTo>
                  <a:lnTo>
                    <a:pt x="328" y="344"/>
                  </a:lnTo>
                  <a:lnTo>
                    <a:pt x="332" y="344"/>
                  </a:lnTo>
                  <a:lnTo>
                    <a:pt x="334" y="348"/>
                  </a:lnTo>
                  <a:lnTo>
                    <a:pt x="328" y="352"/>
                  </a:lnTo>
                  <a:lnTo>
                    <a:pt x="332" y="356"/>
                  </a:lnTo>
                  <a:lnTo>
                    <a:pt x="332" y="360"/>
                  </a:lnTo>
                  <a:lnTo>
                    <a:pt x="330" y="360"/>
                  </a:lnTo>
                  <a:lnTo>
                    <a:pt x="332" y="364"/>
                  </a:lnTo>
                  <a:lnTo>
                    <a:pt x="328" y="365"/>
                  </a:lnTo>
                  <a:lnTo>
                    <a:pt x="326" y="373"/>
                  </a:lnTo>
                  <a:lnTo>
                    <a:pt x="324" y="373"/>
                  </a:lnTo>
                  <a:lnTo>
                    <a:pt x="324" y="377"/>
                  </a:lnTo>
                  <a:lnTo>
                    <a:pt x="321" y="375"/>
                  </a:lnTo>
                  <a:lnTo>
                    <a:pt x="321" y="373"/>
                  </a:lnTo>
                  <a:lnTo>
                    <a:pt x="315" y="373"/>
                  </a:lnTo>
                  <a:lnTo>
                    <a:pt x="313" y="375"/>
                  </a:lnTo>
                  <a:lnTo>
                    <a:pt x="309" y="373"/>
                  </a:lnTo>
                  <a:lnTo>
                    <a:pt x="301" y="373"/>
                  </a:lnTo>
                  <a:lnTo>
                    <a:pt x="301" y="371"/>
                  </a:lnTo>
                  <a:lnTo>
                    <a:pt x="294" y="367"/>
                  </a:lnTo>
                  <a:lnTo>
                    <a:pt x="290" y="369"/>
                  </a:lnTo>
                  <a:lnTo>
                    <a:pt x="292" y="373"/>
                  </a:lnTo>
                  <a:lnTo>
                    <a:pt x="288" y="379"/>
                  </a:lnTo>
                  <a:lnTo>
                    <a:pt x="296" y="381"/>
                  </a:lnTo>
                  <a:lnTo>
                    <a:pt x="300" y="381"/>
                  </a:lnTo>
                  <a:lnTo>
                    <a:pt x="301" y="383"/>
                  </a:lnTo>
                  <a:lnTo>
                    <a:pt x="300" y="388"/>
                  </a:lnTo>
                  <a:lnTo>
                    <a:pt x="298" y="388"/>
                  </a:lnTo>
                  <a:lnTo>
                    <a:pt x="300" y="398"/>
                  </a:lnTo>
                  <a:lnTo>
                    <a:pt x="298" y="398"/>
                  </a:lnTo>
                  <a:lnTo>
                    <a:pt x="298" y="400"/>
                  </a:lnTo>
                  <a:lnTo>
                    <a:pt x="292" y="400"/>
                  </a:lnTo>
                  <a:lnTo>
                    <a:pt x="292" y="406"/>
                  </a:lnTo>
                  <a:lnTo>
                    <a:pt x="290" y="412"/>
                  </a:lnTo>
                  <a:lnTo>
                    <a:pt x="288" y="421"/>
                  </a:lnTo>
                  <a:lnTo>
                    <a:pt x="290" y="421"/>
                  </a:lnTo>
                  <a:lnTo>
                    <a:pt x="294" y="427"/>
                  </a:lnTo>
                  <a:lnTo>
                    <a:pt x="298" y="431"/>
                  </a:lnTo>
                  <a:lnTo>
                    <a:pt x="300" y="435"/>
                  </a:lnTo>
                  <a:lnTo>
                    <a:pt x="303" y="433"/>
                  </a:lnTo>
                  <a:lnTo>
                    <a:pt x="311" y="433"/>
                  </a:lnTo>
                  <a:lnTo>
                    <a:pt x="309" y="437"/>
                  </a:lnTo>
                  <a:lnTo>
                    <a:pt x="307" y="437"/>
                  </a:lnTo>
                  <a:lnTo>
                    <a:pt x="307" y="440"/>
                  </a:lnTo>
                  <a:lnTo>
                    <a:pt x="305" y="440"/>
                  </a:lnTo>
                  <a:lnTo>
                    <a:pt x="301" y="442"/>
                  </a:lnTo>
                  <a:lnTo>
                    <a:pt x="301" y="448"/>
                  </a:lnTo>
                  <a:lnTo>
                    <a:pt x="309" y="454"/>
                  </a:lnTo>
                  <a:lnTo>
                    <a:pt x="305" y="456"/>
                  </a:lnTo>
                  <a:lnTo>
                    <a:pt x="307" y="460"/>
                  </a:lnTo>
                  <a:lnTo>
                    <a:pt x="315" y="460"/>
                  </a:lnTo>
                  <a:lnTo>
                    <a:pt x="319" y="460"/>
                  </a:lnTo>
                  <a:lnTo>
                    <a:pt x="323" y="461"/>
                  </a:lnTo>
                  <a:lnTo>
                    <a:pt x="324" y="461"/>
                  </a:lnTo>
                  <a:lnTo>
                    <a:pt x="326" y="454"/>
                  </a:lnTo>
                  <a:lnTo>
                    <a:pt x="328" y="448"/>
                  </a:lnTo>
                  <a:lnTo>
                    <a:pt x="330" y="448"/>
                  </a:lnTo>
                  <a:lnTo>
                    <a:pt x="334" y="450"/>
                  </a:lnTo>
                  <a:lnTo>
                    <a:pt x="340" y="452"/>
                  </a:lnTo>
                  <a:lnTo>
                    <a:pt x="344" y="448"/>
                  </a:lnTo>
                  <a:lnTo>
                    <a:pt x="344" y="454"/>
                  </a:lnTo>
                  <a:lnTo>
                    <a:pt x="351" y="456"/>
                  </a:lnTo>
                  <a:lnTo>
                    <a:pt x="351" y="460"/>
                  </a:lnTo>
                  <a:lnTo>
                    <a:pt x="355" y="461"/>
                  </a:lnTo>
                  <a:lnTo>
                    <a:pt x="355" y="463"/>
                  </a:lnTo>
                  <a:lnTo>
                    <a:pt x="359" y="463"/>
                  </a:lnTo>
                  <a:lnTo>
                    <a:pt x="359" y="461"/>
                  </a:lnTo>
                  <a:lnTo>
                    <a:pt x="355" y="452"/>
                  </a:lnTo>
                  <a:lnTo>
                    <a:pt x="355" y="450"/>
                  </a:lnTo>
                  <a:lnTo>
                    <a:pt x="361" y="452"/>
                  </a:lnTo>
                  <a:lnTo>
                    <a:pt x="361" y="454"/>
                  </a:lnTo>
                  <a:lnTo>
                    <a:pt x="365" y="454"/>
                  </a:lnTo>
                  <a:lnTo>
                    <a:pt x="367" y="456"/>
                  </a:lnTo>
                  <a:lnTo>
                    <a:pt x="367" y="460"/>
                  </a:lnTo>
                  <a:lnTo>
                    <a:pt x="369" y="465"/>
                  </a:lnTo>
                  <a:lnTo>
                    <a:pt x="367" y="467"/>
                  </a:lnTo>
                  <a:lnTo>
                    <a:pt x="363" y="467"/>
                  </a:lnTo>
                  <a:lnTo>
                    <a:pt x="357" y="467"/>
                  </a:lnTo>
                  <a:lnTo>
                    <a:pt x="355" y="471"/>
                  </a:lnTo>
                  <a:lnTo>
                    <a:pt x="351" y="471"/>
                  </a:lnTo>
                  <a:lnTo>
                    <a:pt x="351" y="473"/>
                  </a:lnTo>
                  <a:lnTo>
                    <a:pt x="355" y="471"/>
                  </a:lnTo>
                  <a:lnTo>
                    <a:pt x="357" y="473"/>
                  </a:lnTo>
                  <a:lnTo>
                    <a:pt x="353" y="477"/>
                  </a:lnTo>
                  <a:lnTo>
                    <a:pt x="349" y="479"/>
                  </a:lnTo>
                  <a:lnTo>
                    <a:pt x="349" y="483"/>
                  </a:lnTo>
                  <a:lnTo>
                    <a:pt x="355" y="485"/>
                  </a:lnTo>
                  <a:lnTo>
                    <a:pt x="353" y="488"/>
                  </a:lnTo>
                  <a:lnTo>
                    <a:pt x="359" y="488"/>
                  </a:lnTo>
                  <a:lnTo>
                    <a:pt x="357" y="492"/>
                  </a:lnTo>
                  <a:lnTo>
                    <a:pt x="359" y="496"/>
                  </a:lnTo>
                  <a:lnTo>
                    <a:pt x="355" y="498"/>
                  </a:lnTo>
                  <a:lnTo>
                    <a:pt x="355" y="496"/>
                  </a:lnTo>
                  <a:lnTo>
                    <a:pt x="351" y="496"/>
                  </a:lnTo>
                  <a:lnTo>
                    <a:pt x="349" y="494"/>
                  </a:lnTo>
                  <a:lnTo>
                    <a:pt x="351" y="490"/>
                  </a:lnTo>
                  <a:lnTo>
                    <a:pt x="349" y="490"/>
                  </a:lnTo>
                  <a:lnTo>
                    <a:pt x="351" y="486"/>
                  </a:lnTo>
                  <a:lnTo>
                    <a:pt x="349" y="486"/>
                  </a:lnTo>
                  <a:lnTo>
                    <a:pt x="348" y="483"/>
                  </a:lnTo>
                  <a:lnTo>
                    <a:pt x="344" y="483"/>
                  </a:lnTo>
                  <a:lnTo>
                    <a:pt x="342" y="483"/>
                  </a:lnTo>
                  <a:lnTo>
                    <a:pt x="340" y="485"/>
                  </a:lnTo>
                  <a:lnTo>
                    <a:pt x="330" y="485"/>
                  </a:lnTo>
                  <a:lnTo>
                    <a:pt x="328" y="486"/>
                  </a:lnTo>
                  <a:lnTo>
                    <a:pt x="326" y="481"/>
                  </a:lnTo>
                  <a:lnTo>
                    <a:pt x="321" y="481"/>
                  </a:lnTo>
                  <a:lnTo>
                    <a:pt x="317" y="479"/>
                  </a:lnTo>
                  <a:lnTo>
                    <a:pt x="317" y="475"/>
                  </a:lnTo>
                  <a:lnTo>
                    <a:pt x="315" y="475"/>
                  </a:lnTo>
                  <a:lnTo>
                    <a:pt x="315" y="465"/>
                  </a:lnTo>
                  <a:lnTo>
                    <a:pt x="309" y="465"/>
                  </a:lnTo>
                  <a:lnTo>
                    <a:pt x="307" y="463"/>
                  </a:lnTo>
                  <a:lnTo>
                    <a:pt x="307" y="467"/>
                  </a:lnTo>
                  <a:lnTo>
                    <a:pt x="301" y="467"/>
                  </a:lnTo>
                  <a:lnTo>
                    <a:pt x="301" y="471"/>
                  </a:lnTo>
                  <a:lnTo>
                    <a:pt x="305" y="471"/>
                  </a:lnTo>
                  <a:lnTo>
                    <a:pt x="311" y="477"/>
                  </a:lnTo>
                  <a:lnTo>
                    <a:pt x="311" y="479"/>
                  </a:lnTo>
                  <a:lnTo>
                    <a:pt x="307" y="479"/>
                  </a:lnTo>
                  <a:lnTo>
                    <a:pt x="305" y="483"/>
                  </a:lnTo>
                  <a:lnTo>
                    <a:pt x="313" y="486"/>
                  </a:lnTo>
                  <a:lnTo>
                    <a:pt x="313" y="490"/>
                  </a:lnTo>
                  <a:lnTo>
                    <a:pt x="317" y="492"/>
                  </a:lnTo>
                  <a:lnTo>
                    <a:pt x="317" y="496"/>
                  </a:lnTo>
                  <a:lnTo>
                    <a:pt x="315" y="496"/>
                  </a:lnTo>
                  <a:lnTo>
                    <a:pt x="313" y="502"/>
                  </a:lnTo>
                  <a:lnTo>
                    <a:pt x="309" y="506"/>
                  </a:lnTo>
                  <a:lnTo>
                    <a:pt x="311" y="506"/>
                  </a:lnTo>
                  <a:lnTo>
                    <a:pt x="313" y="513"/>
                  </a:lnTo>
                  <a:lnTo>
                    <a:pt x="315" y="510"/>
                  </a:lnTo>
                  <a:lnTo>
                    <a:pt x="319" y="513"/>
                  </a:lnTo>
                  <a:lnTo>
                    <a:pt x="321" y="513"/>
                  </a:lnTo>
                  <a:lnTo>
                    <a:pt x="323" y="511"/>
                  </a:lnTo>
                  <a:lnTo>
                    <a:pt x="326" y="511"/>
                  </a:lnTo>
                  <a:lnTo>
                    <a:pt x="330" y="511"/>
                  </a:lnTo>
                  <a:lnTo>
                    <a:pt x="330" y="506"/>
                  </a:lnTo>
                  <a:lnTo>
                    <a:pt x="330" y="504"/>
                  </a:lnTo>
                  <a:lnTo>
                    <a:pt x="326" y="502"/>
                  </a:lnTo>
                  <a:lnTo>
                    <a:pt x="330" y="500"/>
                  </a:lnTo>
                  <a:lnTo>
                    <a:pt x="330" y="496"/>
                  </a:lnTo>
                  <a:lnTo>
                    <a:pt x="332" y="494"/>
                  </a:lnTo>
                  <a:lnTo>
                    <a:pt x="332" y="500"/>
                  </a:lnTo>
                  <a:lnTo>
                    <a:pt x="334" y="500"/>
                  </a:lnTo>
                  <a:lnTo>
                    <a:pt x="336" y="498"/>
                  </a:lnTo>
                  <a:lnTo>
                    <a:pt x="336" y="500"/>
                  </a:lnTo>
                  <a:lnTo>
                    <a:pt x="336" y="496"/>
                  </a:lnTo>
                  <a:lnTo>
                    <a:pt x="340" y="496"/>
                  </a:lnTo>
                  <a:lnTo>
                    <a:pt x="340" y="502"/>
                  </a:lnTo>
                  <a:lnTo>
                    <a:pt x="346" y="500"/>
                  </a:lnTo>
                  <a:lnTo>
                    <a:pt x="348" y="504"/>
                  </a:lnTo>
                  <a:lnTo>
                    <a:pt x="351" y="502"/>
                  </a:lnTo>
                  <a:lnTo>
                    <a:pt x="353" y="504"/>
                  </a:lnTo>
                  <a:lnTo>
                    <a:pt x="359" y="502"/>
                  </a:lnTo>
                  <a:lnTo>
                    <a:pt x="357" y="508"/>
                  </a:lnTo>
                  <a:lnTo>
                    <a:pt x="363" y="506"/>
                  </a:lnTo>
                  <a:lnTo>
                    <a:pt x="361" y="508"/>
                  </a:lnTo>
                  <a:lnTo>
                    <a:pt x="363" y="511"/>
                  </a:lnTo>
                  <a:lnTo>
                    <a:pt x="361" y="521"/>
                  </a:lnTo>
                  <a:lnTo>
                    <a:pt x="365" y="519"/>
                  </a:lnTo>
                  <a:lnTo>
                    <a:pt x="365" y="517"/>
                  </a:lnTo>
                  <a:lnTo>
                    <a:pt x="369" y="519"/>
                  </a:lnTo>
                  <a:lnTo>
                    <a:pt x="369" y="511"/>
                  </a:lnTo>
                  <a:lnTo>
                    <a:pt x="371" y="511"/>
                  </a:lnTo>
                  <a:lnTo>
                    <a:pt x="372" y="515"/>
                  </a:lnTo>
                  <a:lnTo>
                    <a:pt x="376" y="511"/>
                  </a:lnTo>
                  <a:lnTo>
                    <a:pt x="380" y="513"/>
                  </a:lnTo>
                  <a:lnTo>
                    <a:pt x="382" y="513"/>
                  </a:lnTo>
                  <a:lnTo>
                    <a:pt x="378" y="511"/>
                  </a:lnTo>
                  <a:lnTo>
                    <a:pt x="384" y="510"/>
                  </a:lnTo>
                  <a:lnTo>
                    <a:pt x="386" y="510"/>
                  </a:lnTo>
                  <a:lnTo>
                    <a:pt x="384" y="511"/>
                  </a:lnTo>
                  <a:lnTo>
                    <a:pt x="388" y="511"/>
                  </a:lnTo>
                  <a:lnTo>
                    <a:pt x="390" y="513"/>
                  </a:lnTo>
                  <a:lnTo>
                    <a:pt x="390" y="508"/>
                  </a:lnTo>
                  <a:lnTo>
                    <a:pt x="397" y="506"/>
                  </a:lnTo>
                  <a:lnTo>
                    <a:pt x="397" y="502"/>
                  </a:lnTo>
                  <a:lnTo>
                    <a:pt x="403" y="500"/>
                  </a:lnTo>
                  <a:lnTo>
                    <a:pt x="399" y="494"/>
                  </a:lnTo>
                  <a:lnTo>
                    <a:pt x="401" y="492"/>
                  </a:lnTo>
                  <a:lnTo>
                    <a:pt x="409" y="492"/>
                  </a:lnTo>
                  <a:lnTo>
                    <a:pt x="411" y="496"/>
                  </a:lnTo>
                  <a:lnTo>
                    <a:pt x="419" y="490"/>
                  </a:lnTo>
                  <a:lnTo>
                    <a:pt x="419" y="496"/>
                  </a:lnTo>
                  <a:lnTo>
                    <a:pt x="415" y="498"/>
                  </a:lnTo>
                  <a:lnTo>
                    <a:pt x="415" y="504"/>
                  </a:lnTo>
                  <a:lnTo>
                    <a:pt x="419" y="504"/>
                  </a:lnTo>
                  <a:lnTo>
                    <a:pt x="420" y="500"/>
                  </a:lnTo>
                  <a:lnTo>
                    <a:pt x="424" y="500"/>
                  </a:lnTo>
                  <a:lnTo>
                    <a:pt x="426" y="496"/>
                  </a:lnTo>
                  <a:lnTo>
                    <a:pt x="428" y="498"/>
                  </a:lnTo>
                  <a:lnTo>
                    <a:pt x="430" y="500"/>
                  </a:lnTo>
                  <a:lnTo>
                    <a:pt x="432" y="500"/>
                  </a:lnTo>
                  <a:lnTo>
                    <a:pt x="434" y="502"/>
                  </a:lnTo>
                  <a:lnTo>
                    <a:pt x="432" y="506"/>
                  </a:lnTo>
                  <a:lnTo>
                    <a:pt x="434" y="510"/>
                  </a:lnTo>
                  <a:lnTo>
                    <a:pt x="430" y="513"/>
                  </a:lnTo>
                  <a:lnTo>
                    <a:pt x="432" y="515"/>
                  </a:lnTo>
                  <a:lnTo>
                    <a:pt x="432" y="519"/>
                  </a:lnTo>
                  <a:lnTo>
                    <a:pt x="428" y="519"/>
                  </a:lnTo>
                  <a:lnTo>
                    <a:pt x="426" y="521"/>
                  </a:lnTo>
                  <a:lnTo>
                    <a:pt x="430" y="525"/>
                  </a:lnTo>
                  <a:lnTo>
                    <a:pt x="438" y="523"/>
                  </a:lnTo>
                  <a:lnTo>
                    <a:pt x="438" y="525"/>
                  </a:lnTo>
                  <a:lnTo>
                    <a:pt x="442" y="527"/>
                  </a:lnTo>
                  <a:lnTo>
                    <a:pt x="440" y="531"/>
                  </a:lnTo>
                  <a:lnTo>
                    <a:pt x="442" y="533"/>
                  </a:lnTo>
                  <a:lnTo>
                    <a:pt x="445" y="531"/>
                  </a:lnTo>
                  <a:lnTo>
                    <a:pt x="453" y="531"/>
                  </a:lnTo>
                  <a:lnTo>
                    <a:pt x="455" y="533"/>
                  </a:lnTo>
                  <a:lnTo>
                    <a:pt x="459" y="531"/>
                  </a:lnTo>
                  <a:lnTo>
                    <a:pt x="461" y="531"/>
                  </a:lnTo>
                  <a:lnTo>
                    <a:pt x="463" y="533"/>
                  </a:lnTo>
                  <a:lnTo>
                    <a:pt x="459" y="536"/>
                  </a:lnTo>
                  <a:lnTo>
                    <a:pt x="459" y="544"/>
                  </a:lnTo>
                  <a:lnTo>
                    <a:pt x="459" y="548"/>
                  </a:lnTo>
                  <a:lnTo>
                    <a:pt x="459" y="554"/>
                  </a:lnTo>
                  <a:lnTo>
                    <a:pt x="463" y="556"/>
                  </a:lnTo>
                  <a:lnTo>
                    <a:pt x="461" y="558"/>
                  </a:lnTo>
                  <a:lnTo>
                    <a:pt x="463" y="559"/>
                  </a:lnTo>
                  <a:lnTo>
                    <a:pt x="467" y="559"/>
                  </a:lnTo>
                  <a:lnTo>
                    <a:pt x="468" y="561"/>
                  </a:lnTo>
                  <a:lnTo>
                    <a:pt x="470" y="559"/>
                  </a:lnTo>
                  <a:lnTo>
                    <a:pt x="476" y="565"/>
                  </a:lnTo>
                  <a:lnTo>
                    <a:pt x="476" y="561"/>
                  </a:lnTo>
                  <a:lnTo>
                    <a:pt x="480" y="561"/>
                  </a:lnTo>
                  <a:lnTo>
                    <a:pt x="482" y="563"/>
                  </a:lnTo>
                  <a:lnTo>
                    <a:pt x="480" y="567"/>
                  </a:lnTo>
                  <a:lnTo>
                    <a:pt x="482" y="571"/>
                  </a:lnTo>
                  <a:lnTo>
                    <a:pt x="478" y="571"/>
                  </a:lnTo>
                  <a:lnTo>
                    <a:pt x="480" y="575"/>
                  </a:lnTo>
                  <a:lnTo>
                    <a:pt x="476" y="579"/>
                  </a:lnTo>
                  <a:lnTo>
                    <a:pt x="478" y="583"/>
                  </a:lnTo>
                  <a:lnTo>
                    <a:pt x="474" y="583"/>
                  </a:lnTo>
                  <a:lnTo>
                    <a:pt x="474" y="586"/>
                  </a:lnTo>
                  <a:lnTo>
                    <a:pt x="467" y="588"/>
                  </a:lnTo>
                  <a:lnTo>
                    <a:pt x="468" y="596"/>
                  </a:lnTo>
                  <a:lnTo>
                    <a:pt x="465" y="596"/>
                  </a:lnTo>
                  <a:lnTo>
                    <a:pt x="465" y="598"/>
                  </a:lnTo>
                  <a:lnTo>
                    <a:pt x="463" y="600"/>
                  </a:lnTo>
                  <a:lnTo>
                    <a:pt x="463" y="604"/>
                  </a:lnTo>
                  <a:lnTo>
                    <a:pt x="465" y="602"/>
                  </a:lnTo>
                  <a:lnTo>
                    <a:pt x="468" y="606"/>
                  </a:lnTo>
                  <a:lnTo>
                    <a:pt x="468" y="607"/>
                  </a:lnTo>
                  <a:lnTo>
                    <a:pt x="467" y="604"/>
                  </a:lnTo>
                  <a:lnTo>
                    <a:pt x="461" y="604"/>
                  </a:lnTo>
                  <a:lnTo>
                    <a:pt x="457" y="600"/>
                  </a:lnTo>
                  <a:lnTo>
                    <a:pt x="455" y="606"/>
                  </a:lnTo>
                  <a:lnTo>
                    <a:pt x="453" y="606"/>
                  </a:lnTo>
                  <a:lnTo>
                    <a:pt x="453" y="607"/>
                  </a:lnTo>
                  <a:lnTo>
                    <a:pt x="451" y="609"/>
                  </a:lnTo>
                  <a:lnTo>
                    <a:pt x="445" y="609"/>
                  </a:lnTo>
                  <a:lnTo>
                    <a:pt x="445" y="613"/>
                  </a:lnTo>
                  <a:lnTo>
                    <a:pt x="443" y="621"/>
                  </a:lnTo>
                  <a:lnTo>
                    <a:pt x="434" y="617"/>
                  </a:lnTo>
                  <a:lnTo>
                    <a:pt x="432" y="617"/>
                  </a:lnTo>
                  <a:lnTo>
                    <a:pt x="428" y="615"/>
                  </a:lnTo>
                  <a:lnTo>
                    <a:pt x="428" y="613"/>
                  </a:lnTo>
                  <a:lnTo>
                    <a:pt x="424" y="609"/>
                  </a:lnTo>
                  <a:lnTo>
                    <a:pt x="420" y="609"/>
                  </a:lnTo>
                  <a:lnTo>
                    <a:pt x="419" y="615"/>
                  </a:lnTo>
                  <a:lnTo>
                    <a:pt x="413" y="609"/>
                  </a:lnTo>
                  <a:lnTo>
                    <a:pt x="411" y="613"/>
                  </a:lnTo>
                  <a:lnTo>
                    <a:pt x="409" y="613"/>
                  </a:lnTo>
                  <a:lnTo>
                    <a:pt x="411" y="609"/>
                  </a:lnTo>
                  <a:lnTo>
                    <a:pt x="411" y="606"/>
                  </a:lnTo>
                  <a:lnTo>
                    <a:pt x="405" y="607"/>
                  </a:lnTo>
                  <a:lnTo>
                    <a:pt x="399" y="609"/>
                  </a:lnTo>
                  <a:lnTo>
                    <a:pt x="395" y="611"/>
                  </a:lnTo>
                  <a:lnTo>
                    <a:pt x="397" y="617"/>
                  </a:lnTo>
                  <a:lnTo>
                    <a:pt x="394" y="619"/>
                  </a:lnTo>
                  <a:lnTo>
                    <a:pt x="395" y="621"/>
                  </a:lnTo>
                  <a:lnTo>
                    <a:pt x="392" y="623"/>
                  </a:lnTo>
                  <a:lnTo>
                    <a:pt x="394" y="625"/>
                  </a:lnTo>
                  <a:lnTo>
                    <a:pt x="392" y="627"/>
                  </a:lnTo>
                  <a:lnTo>
                    <a:pt x="390" y="627"/>
                  </a:lnTo>
                  <a:lnTo>
                    <a:pt x="390" y="629"/>
                  </a:lnTo>
                  <a:lnTo>
                    <a:pt x="386" y="629"/>
                  </a:lnTo>
                  <a:lnTo>
                    <a:pt x="386" y="631"/>
                  </a:lnTo>
                  <a:lnTo>
                    <a:pt x="384" y="631"/>
                  </a:lnTo>
                  <a:lnTo>
                    <a:pt x="382" y="629"/>
                  </a:lnTo>
                  <a:lnTo>
                    <a:pt x="374" y="631"/>
                  </a:lnTo>
                  <a:lnTo>
                    <a:pt x="374" y="634"/>
                  </a:lnTo>
                  <a:lnTo>
                    <a:pt x="374" y="636"/>
                  </a:lnTo>
                  <a:lnTo>
                    <a:pt x="372" y="642"/>
                  </a:lnTo>
                  <a:lnTo>
                    <a:pt x="372" y="646"/>
                  </a:lnTo>
                  <a:lnTo>
                    <a:pt x="376" y="648"/>
                  </a:lnTo>
                  <a:lnTo>
                    <a:pt x="372" y="652"/>
                  </a:lnTo>
                  <a:lnTo>
                    <a:pt x="378" y="650"/>
                  </a:lnTo>
                  <a:lnTo>
                    <a:pt x="378" y="657"/>
                  </a:lnTo>
                  <a:lnTo>
                    <a:pt x="376" y="663"/>
                  </a:lnTo>
                  <a:lnTo>
                    <a:pt x="372" y="663"/>
                  </a:lnTo>
                  <a:lnTo>
                    <a:pt x="371" y="669"/>
                  </a:lnTo>
                  <a:lnTo>
                    <a:pt x="367" y="673"/>
                  </a:lnTo>
                  <a:lnTo>
                    <a:pt x="361" y="673"/>
                  </a:lnTo>
                  <a:lnTo>
                    <a:pt x="359" y="680"/>
                  </a:lnTo>
                  <a:lnTo>
                    <a:pt x="365" y="682"/>
                  </a:lnTo>
                  <a:lnTo>
                    <a:pt x="374" y="680"/>
                  </a:lnTo>
                  <a:lnTo>
                    <a:pt x="376" y="680"/>
                  </a:lnTo>
                  <a:lnTo>
                    <a:pt x="380" y="680"/>
                  </a:lnTo>
                  <a:lnTo>
                    <a:pt x="388" y="682"/>
                  </a:lnTo>
                  <a:lnTo>
                    <a:pt x="392" y="690"/>
                  </a:lnTo>
                  <a:lnTo>
                    <a:pt x="390" y="694"/>
                  </a:lnTo>
                  <a:lnTo>
                    <a:pt x="384" y="702"/>
                  </a:lnTo>
                  <a:lnTo>
                    <a:pt x="382" y="707"/>
                  </a:lnTo>
                  <a:lnTo>
                    <a:pt x="374" y="709"/>
                  </a:lnTo>
                  <a:lnTo>
                    <a:pt x="369" y="709"/>
                  </a:lnTo>
                  <a:lnTo>
                    <a:pt x="367" y="709"/>
                  </a:lnTo>
                  <a:lnTo>
                    <a:pt x="361" y="709"/>
                  </a:lnTo>
                  <a:lnTo>
                    <a:pt x="361" y="715"/>
                  </a:lnTo>
                  <a:lnTo>
                    <a:pt x="359" y="713"/>
                  </a:lnTo>
                  <a:lnTo>
                    <a:pt x="359" y="719"/>
                  </a:lnTo>
                  <a:lnTo>
                    <a:pt x="355" y="728"/>
                  </a:lnTo>
                  <a:lnTo>
                    <a:pt x="349" y="725"/>
                  </a:lnTo>
                  <a:lnTo>
                    <a:pt x="344" y="727"/>
                  </a:lnTo>
                  <a:lnTo>
                    <a:pt x="342" y="725"/>
                  </a:lnTo>
                  <a:lnTo>
                    <a:pt x="336" y="723"/>
                  </a:lnTo>
                  <a:lnTo>
                    <a:pt x="334" y="725"/>
                  </a:lnTo>
                  <a:lnTo>
                    <a:pt x="330" y="725"/>
                  </a:lnTo>
                  <a:lnTo>
                    <a:pt x="321" y="727"/>
                  </a:lnTo>
                  <a:lnTo>
                    <a:pt x="321" y="732"/>
                  </a:lnTo>
                  <a:lnTo>
                    <a:pt x="315" y="728"/>
                  </a:lnTo>
                  <a:lnTo>
                    <a:pt x="315" y="727"/>
                  </a:lnTo>
                  <a:lnTo>
                    <a:pt x="311" y="727"/>
                  </a:lnTo>
                  <a:lnTo>
                    <a:pt x="313" y="725"/>
                  </a:lnTo>
                  <a:lnTo>
                    <a:pt x="309" y="723"/>
                  </a:lnTo>
                  <a:lnTo>
                    <a:pt x="307" y="723"/>
                  </a:lnTo>
                  <a:lnTo>
                    <a:pt x="305" y="727"/>
                  </a:lnTo>
                  <a:lnTo>
                    <a:pt x="298" y="725"/>
                  </a:lnTo>
                  <a:lnTo>
                    <a:pt x="296" y="730"/>
                  </a:lnTo>
                  <a:lnTo>
                    <a:pt x="294" y="734"/>
                  </a:lnTo>
                  <a:lnTo>
                    <a:pt x="290" y="740"/>
                  </a:lnTo>
                  <a:lnTo>
                    <a:pt x="292" y="744"/>
                  </a:lnTo>
                  <a:lnTo>
                    <a:pt x="292" y="748"/>
                  </a:lnTo>
                  <a:lnTo>
                    <a:pt x="288" y="746"/>
                  </a:lnTo>
                  <a:lnTo>
                    <a:pt x="282" y="744"/>
                  </a:lnTo>
                  <a:lnTo>
                    <a:pt x="280" y="744"/>
                  </a:lnTo>
                  <a:lnTo>
                    <a:pt x="273" y="744"/>
                  </a:lnTo>
                  <a:lnTo>
                    <a:pt x="269" y="744"/>
                  </a:lnTo>
                  <a:lnTo>
                    <a:pt x="267" y="746"/>
                  </a:lnTo>
                  <a:lnTo>
                    <a:pt x="261" y="744"/>
                  </a:lnTo>
                  <a:lnTo>
                    <a:pt x="259" y="738"/>
                  </a:lnTo>
                  <a:lnTo>
                    <a:pt x="255" y="734"/>
                  </a:lnTo>
                  <a:lnTo>
                    <a:pt x="250" y="738"/>
                  </a:lnTo>
                  <a:lnTo>
                    <a:pt x="246" y="740"/>
                  </a:lnTo>
                  <a:lnTo>
                    <a:pt x="244" y="736"/>
                  </a:lnTo>
                  <a:lnTo>
                    <a:pt x="246" y="732"/>
                  </a:lnTo>
                  <a:lnTo>
                    <a:pt x="244" y="730"/>
                  </a:lnTo>
                  <a:lnTo>
                    <a:pt x="244" y="728"/>
                  </a:lnTo>
                  <a:lnTo>
                    <a:pt x="236" y="730"/>
                  </a:lnTo>
                  <a:lnTo>
                    <a:pt x="234" y="730"/>
                  </a:lnTo>
                  <a:lnTo>
                    <a:pt x="230" y="723"/>
                  </a:lnTo>
                  <a:lnTo>
                    <a:pt x="225" y="723"/>
                  </a:lnTo>
                  <a:lnTo>
                    <a:pt x="223" y="717"/>
                  </a:lnTo>
                  <a:lnTo>
                    <a:pt x="221" y="717"/>
                  </a:lnTo>
                  <a:lnTo>
                    <a:pt x="217" y="717"/>
                  </a:lnTo>
                  <a:lnTo>
                    <a:pt x="213" y="719"/>
                  </a:lnTo>
                  <a:lnTo>
                    <a:pt x="213" y="715"/>
                  </a:lnTo>
                  <a:lnTo>
                    <a:pt x="213" y="705"/>
                  </a:lnTo>
                  <a:lnTo>
                    <a:pt x="207" y="705"/>
                  </a:lnTo>
                  <a:lnTo>
                    <a:pt x="200" y="711"/>
                  </a:lnTo>
                  <a:lnTo>
                    <a:pt x="194" y="709"/>
                  </a:lnTo>
                  <a:lnTo>
                    <a:pt x="186" y="707"/>
                  </a:lnTo>
                  <a:lnTo>
                    <a:pt x="184" y="705"/>
                  </a:lnTo>
                  <a:lnTo>
                    <a:pt x="181" y="705"/>
                  </a:lnTo>
                  <a:lnTo>
                    <a:pt x="182" y="704"/>
                  </a:lnTo>
                  <a:lnTo>
                    <a:pt x="179" y="698"/>
                  </a:lnTo>
                  <a:lnTo>
                    <a:pt x="179" y="694"/>
                  </a:lnTo>
                  <a:lnTo>
                    <a:pt x="175" y="694"/>
                  </a:lnTo>
                  <a:lnTo>
                    <a:pt x="171" y="696"/>
                  </a:lnTo>
                  <a:lnTo>
                    <a:pt x="169" y="692"/>
                  </a:lnTo>
                  <a:lnTo>
                    <a:pt x="163" y="692"/>
                  </a:lnTo>
                  <a:lnTo>
                    <a:pt x="161" y="686"/>
                  </a:lnTo>
                  <a:lnTo>
                    <a:pt x="158" y="686"/>
                  </a:lnTo>
                  <a:lnTo>
                    <a:pt x="150" y="680"/>
                  </a:lnTo>
                  <a:lnTo>
                    <a:pt x="152" y="679"/>
                  </a:lnTo>
                  <a:lnTo>
                    <a:pt x="148" y="677"/>
                  </a:lnTo>
                  <a:lnTo>
                    <a:pt x="146" y="671"/>
                  </a:lnTo>
                  <a:lnTo>
                    <a:pt x="138" y="671"/>
                  </a:lnTo>
                  <a:lnTo>
                    <a:pt x="140" y="669"/>
                  </a:lnTo>
                  <a:lnTo>
                    <a:pt x="138" y="665"/>
                  </a:lnTo>
                  <a:lnTo>
                    <a:pt x="138" y="661"/>
                  </a:lnTo>
                  <a:lnTo>
                    <a:pt x="134" y="659"/>
                  </a:lnTo>
                  <a:lnTo>
                    <a:pt x="133" y="655"/>
                  </a:lnTo>
                  <a:lnTo>
                    <a:pt x="134" y="654"/>
                  </a:lnTo>
                  <a:lnTo>
                    <a:pt x="136" y="654"/>
                  </a:lnTo>
                  <a:lnTo>
                    <a:pt x="140" y="652"/>
                  </a:lnTo>
                  <a:lnTo>
                    <a:pt x="140" y="648"/>
                  </a:lnTo>
                  <a:lnTo>
                    <a:pt x="136" y="648"/>
                  </a:lnTo>
                  <a:lnTo>
                    <a:pt x="131" y="654"/>
                  </a:lnTo>
                  <a:lnTo>
                    <a:pt x="131" y="650"/>
                  </a:lnTo>
                  <a:lnTo>
                    <a:pt x="127" y="648"/>
                  </a:lnTo>
                  <a:lnTo>
                    <a:pt x="127" y="646"/>
                  </a:lnTo>
                  <a:lnTo>
                    <a:pt x="125" y="646"/>
                  </a:lnTo>
                  <a:lnTo>
                    <a:pt x="123" y="642"/>
                  </a:lnTo>
                  <a:lnTo>
                    <a:pt x="129" y="640"/>
                  </a:lnTo>
                  <a:lnTo>
                    <a:pt x="129" y="638"/>
                  </a:lnTo>
                  <a:lnTo>
                    <a:pt x="127" y="638"/>
                  </a:lnTo>
                  <a:lnTo>
                    <a:pt x="125" y="636"/>
                  </a:lnTo>
                  <a:lnTo>
                    <a:pt x="117" y="642"/>
                  </a:lnTo>
                  <a:lnTo>
                    <a:pt x="115" y="638"/>
                  </a:lnTo>
                  <a:lnTo>
                    <a:pt x="117" y="638"/>
                  </a:lnTo>
                  <a:lnTo>
                    <a:pt x="115" y="636"/>
                  </a:lnTo>
                  <a:lnTo>
                    <a:pt x="115" y="634"/>
                  </a:lnTo>
                  <a:lnTo>
                    <a:pt x="110" y="634"/>
                  </a:lnTo>
                  <a:lnTo>
                    <a:pt x="110" y="632"/>
                  </a:lnTo>
                  <a:lnTo>
                    <a:pt x="111" y="631"/>
                  </a:lnTo>
                  <a:lnTo>
                    <a:pt x="111" y="629"/>
                  </a:lnTo>
                  <a:lnTo>
                    <a:pt x="110" y="629"/>
                  </a:lnTo>
                  <a:lnTo>
                    <a:pt x="104" y="627"/>
                  </a:lnTo>
                  <a:lnTo>
                    <a:pt x="104" y="629"/>
                  </a:lnTo>
                  <a:lnTo>
                    <a:pt x="102" y="631"/>
                  </a:lnTo>
                  <a:lnTo>
                    <a:pt x="98" y="631"/>
                  </a:lnTo>
                  <a:lnTo>
                    <a:pt x="98" y="627"/>
                  </a:lnTo>
                  <a:lnTo>
                    <a:pt x="100" y="625"/>
                  </a:lnTo>
                  <a:lnTo>
                    <a:pt x="94" y="625"/>
                  </a:lnTo>
                  <a:lnTo>
                    <a:pt x="96" y="623"/>
                  </a:lnTo>
                  <a:lnTo>
                    <a:pt x="92" y="623"/>
                  </a:lnTo>
                  <a:lnTo>
                    <a:pt x="96" y="619"/>
                  </a:lnTo>
                  <a:lnTo>
                    <a:pt x="94" y="617"/>
                  </a:lnTo>
                  <a:lnTo>
                    <a:pt x="92" y="619"/>
                  </a:lnTo>
                  <a:lnTo>
                    <a:pt x="88" y="617"/>
                  </a:lnTo>
                  <a:lnTo>
                    <a:pt x="79" y="621"/>
                  </a:lnTo>
                  <a:lnTo>
                    <a:pt x="77" y="615"/>
                  </a:lnTo>
                  <a:lnTo>
                    <a:pt x="75" y="611"/>
                  </a:lnTo>
                  <a:lnTo>
                    <a:pt x="77" y="611"/>
                  </a:lnTo>
                  <a:lnTo>
                    <a:pt x="81" y="611"/>
                  </a:lnTo>
                  <a:lnTo>
                    <a:pt x="77" y="611"/>
                  </a:lnTo>
                  <a:lnTo>
                    <a:pt x="75" y="606"/>
                  </a:lnTo>
                  <a:lnTo>
                    <a:pt x="75" y="604"/>
                  </a:lnTo>
                  <a:lnTo>
                    <a:pt x="75" y="609"/>
                  </a:lnTo>
                  <a:lnTo>
                    <a:pt x="73" y="602"/>
                  </a:lnTo>
                  <a:lnTo>
                    <a:pt x="75" y="602"/>
                  </a:lnTo>
                  <a:lnTo>
                    <a:pt x="73" y="602"/>
                  </a:lnTo>
                  <a:lnTo>
                    <a:pt x="71" y="592"/>
                  </a:lnTo>
                  <a:lnTo>
                    <a:pt x="71" y="586"/>
                  </a:lnTo>
                  <a:lnTo>
                    <a:pt x="71" y="584"/>
                  </a:lnTo>
                  <a:lnTo>
                    <a:pt x="69" y="577"/>
                  </a:lnTo>
                  <a:lnTo>
                    <a:pt x="67" y="573"/>
                  </a:lnTo>
                  <a:lnTo>
                    <a:pt x="65" y="565"/>
                  </a:lnTo>
                  <a:lnTo>
                    <a:pt x="65" y="563"/>
                  </a:lnTo>
                  <a:lnTo>
                    <a:pt x="63" y="559"/>
                  </a:lnTo>
                  <a:lnTo>
                    <a:pt x="62" y="556"/>
                  </a:lnTo>
                  <a:lnTo>
                    <a:pt x="63" y="556"/>
                  </a:lnTo>
                  <a:lnTo>
                    <a:pt x="63" y="550"/>
                  </a:lnTo>
                  <a:lnTo>
                    <a:pt x="63" y="546"/>
                  </a:lnTo>
                  <a:lnTo>
                    <a:pt x="63" y="548"/>
                  </a:lnTo>
                  <a:lnTo>
                    <a:pt x="65" y="550"/>
                  </a:lnTo>
                  <a:lnTo>
                    <a:pt x="63" y="548"/>
                  </a:lnTo>
                  <a:lnTo>
                    <a:pt x="65" y="544"/>
                  </a:lnTo>
                  <a:lnTo>
                    <a:pt x="63" y="546"/>
                  </a:lnTo>
                  <a:lnTo>
                    <a:pt x="63" y="542"/>
                  </a:lnTo>
                  <a:lnTo>
                    <a:pt x="63" y="546"/>
                  </a:lnTo>
                  <a:lnTo>
                    <a:pt x="62" y="544"/>
                  </a:lnTo>
                  <a:lnTo>
                    <a:pt x="62" y="538"/>
                  </a:lnTo>
                  <a:lnTo>
                    <a:pt x="62" y="531"/>
                  </a:lnTo>
                  <a:lnTo>
                    <a:pt x="60" y="525"/>
                  </a:lnTo>
                  <a:lnTo>
                    <a:pt x="62" y="529"/>
                  </a:lnTo>
                  <a:lnTo>
                    <a:pt x="62" y="525"/>
                  </a:lnTo>
                  <a:lnTo>
                    <a:pt x="63" y="525"/>
                  </a:lnTo>
                  <a:lnTo>
                    <a:pt x="63" y="527"/>
                  </a:lnTo>
                  <a:lnTo>
                    <a:pt x="65" y="525"/>
                  </a:lnTo>
                  <a:lnTo>
                    <a:pt x="63" y="523"/>
                  </a:lnTo>
                  <a:lnTo>
                    <a:pt x="62" y="523"/>
                  </a:lnTo>
                  <a:lnTo>
                    <a:pt x="62" y="521"/>
                  </a:lnTo>
                  <a:lnTo>
                    <a:pt x="63" y="521"/>
                  </a:lnTo>
                  <a:lnTo>
                    <a:pt x="62" y="521"/>
                  </a:lnTo>
                  <a:lnTo>
                    <a:pt x="62" y="519"/>
                  </a:lnTo>
                  <a:lnTo>
                    <a:pt x="62" y="521"/>
                  </a:lnTo>
                  <a:lnTo>
                    <a:pt x="60" y="525"/>
                  </a:lnTo>
                  <a:lnTo>
                    <a:pt x="58" y="521"/>
                  </a:lnTo>
                  <a:lnTo>
                    <a:pt x="58" y="519"/>
                  </a:lnTo>
                  <a:lnTo>
                    <a:pt x="58" y="515"/>
                  </a:lnTo>
                  <a:lnTo>
                    <a:pt x="56" y="510"/>
                  </a:lnTo>
                  <a:lnTo>
                    <a:pt x="54" y="500"/>
                  </a:lnTo>
                  <a:lnTo>
                    <a:pt x="50" y="492"/>
                  </a:lnTo>
                  <a:lnTo>
                    <a:pt x="48" y="490"/>
                  </a:lnTo>
                  <a:lnTo>
                    <a:pt x="44" y="486"/>
                  </a:lnTo>
                  <a:lnTo>
                    <a:pt x="42" y="483"/>
                  </a:lnTo>
                  <a:lnTo>
                    <a:pt x="44" y="483"/>
                  </a:lnTo>
                  <a:lnTo>
                    <a:pt x="42" y="483"/>
                  </a:lnTo>
                  <a:lnTo>
                    <a:pt x="40" y="475"/>
                  </a:lnTo>
                  <a:lnTo>
                    <a:pt x="42" y="473"/>
                  </a:lnTo>
                  <a:lnTo>
                    <a:pt x="40" y="465"/>
                  </a:lnTo>
                  <a:lnTo>
                    <a:pt x="37" y="461"/>
                  </a:lnTo>
                  <a:lnTo>
                    <a:pt x="35" y="454"/>
                  </a:lnTo>
                  <a:lnTo>
                    <a:pt x="37" y="454"/>
                  </a:lnTo>
                  <a:lnTo>
                    <a:pt x="37" y="458"/>
                  </a:lnTo>
                  <a:lnTo>
                    <a:pt x="46" y="460"/>
                  </a:lnTo>
                  <a:lnTo>
                    <a:pt x="40" y="456"/>
                  </a:lnTo>
                  <a:lnTo>
                    <a:pt x="39" y="456"/>
                  </a:lnTo>
                  <a:lnTo>
                    <a:pt x="40" y="456"/>
                  </a:lnTo>
                  <a:lnTo>
                    <a:pt x="37" y="456"/>
                  </a:lnTo>
                  <a:lnTo>
                    <a:pt x="37" y="454"/>
                  </a:lnTo>
                  <a:lnTo>
                    <a:pt x="35" y="452"/>
                  </a:lnTo>
                  <a:lnTo>
                    <a:pt x="33" y="444"/>
                  </a:lnTo>
                  <a:lnTo>
                    <a:pt x="33" y="440"/>
                  </a:lnTo>
                  <a:lnTo>
                    <a:pt x="31" y="440"/>
                  </a:lnTo>
                  <a:lnTo>
                    <a:pt x="29" y="431"/>
                  </a:lnTo>
                  <a:lnTo>
                    <a:pt x="31" y="429"/>
                  </a:lnTo>
                  <a:lnTo>
                    <a:pt x="31" y="433"/>
                  </a:lnTo>
                  <a:lnTo>
                    <a:pt x="33" y="433"/>
                  </a:lnTo>
                  <a:lnTo>
                    <a:pt x="31" y="427"/>
                  </a:lnTo>
                  <a:lnTo>
                    <a:pt x="29" y="427"/>
                  </a:lnTo>
                  <a:lnTo>
                    <a:pt x="31" y="425"/>
                  </a:lnTo>
                  <a:lnTo>
                    <a:pt x="29" y="427"/>
                  </a:lnTo>
                  <a:lnTo>
                    <a:pt x="29" y="429"/>
                  </a:lnTo>
                  <a:lnTo>
                    <a:pt x="23" y="429"/>
                  </a:lnTo>
                  <a:lnTo>
                    <a:pt x="21" y="421"/>
                  </a:lnTo>
                  <a:lnTo>
                    <a:pt x="29" y="419"/>
                  </a:lnTo>
                  <a:lnTo>
                    <a:pt x="21" y="419"/>
                  </a:lnTo>
                  <a:lnTo>
                    <a:pt x="19" y="417"/>
                  </a:lnTo>
                  <a:lnTo>
                    <a:pt x="21" y="417"/>
                  </a:lnTo>
                  <a:lnTo>
                    <a:pt x="21" y="412"/>
                  </a:lnTo>
                  <a:lnTo>
                    <a:pt x="17" y="410"/>
                  </a:lnTo>
                  <a:lnTo>
                    <a:pt x="19" y="408"/>
                  </a:lnTo>
                  <a:lnTo>
                    <a:pt x="17" y="406"/>
                  </a:lnTo>
                  <a:lnTo>
                    <a:pt x="15" y="404"/>
                  </a:lnTo>
                  <a:lnTo>
                    <a:pt x="14" y="406"/>
                  </a:lnTo>
                  <a:lnTo>
                    <a:pt x="14" y="408"/>
                  </a:lnTo>
                  <a:lnTo>
                    <a:pt x="10" y="404"/>
                  </a:lnTo>
                  <a:lnTo>
                    <a:pt x="8" y="404"/>
                  </a:lnTo>
                  <a:lnTo>
                    <a:pt x="8" y="402"/>
                  </a:lnTo>
                  <a:lnTo>
                    <a:pt x="6" y="400"/>
                  </a:lnTo>
                  <a:lnTo>
                    <a:pt x="2" y="402"/>
                  </a:lnTo>
                  <a:lnTo>
                    <a:pt x="4" y="404"/>
                  </a:lnTo>
                  <a:lnTo>
                    <a:pt x="2" y="404"/>
                  </a:lnTo>
                  <a:lnTo>
                    <a:pt x="4" y="400"/>
                  </a:lnTo>
                  <a:lnTo>
                    <a:pt x="0" y="398"/>
                  </a:lnTo>
                  <a:lnTo>
                    <a:pt x="4" y="398"/>
                  </a:lnTo>
                  <a:lnTo>
                    <a:pt x="4" y="394"/>
                  </a:lnTo>
                  <a:lnTo>
                    <a:pt x="10" y="394"/>
                  </a:lnTo>
                  <a:lnTo>
                    <a:pt x="10" y="396"/>
                  </a:lnTo>
                  <a:lnTo>
                    <a:pt x="10" y="394"/>
                  </a:lnTo>
                  <a:lnTo>
                    <a:pt x="8" y="394"/>
                  </a:lnTo>
                  <a:lnTo>
                    <a:pt x="10" y="392"/>
                  </a:lnTo>
                  <a:lnTo>
                    <a:pt x="4" y="394"/>
                  </a:lnTo>
                  <a:lnTo>
                    <a:pt x="0" y="388"/>
                  </a:lnTo>
                  <a:lnTo>
                    <a:pt x="6" y="385"/>
                  </a:lnTo>
                  <a:lnTo>
                    <a:pt x="10" y="387"/>
                  </a:lnTo>
                  <a:lnTo>
                    <a:pt x="8" y="383"/>
                  </a:lnTo>
                  <a:lnTo>
                    <a:pt x="10" y="381"/>
                  </a:lnTo>
                  <a:lnTo>
                    <a:pt x="14" y="385"/>
                  </a:lnTo>
                  <a:lnTo>
                    <a:pt x="19" y="379"/>
                  </a:lnTo>
                  <a:lnTo>
                    <a:pt x="19" y="377"/>
                  </a:lnTo>
                  <a:lnTo>
                    <a:pt x="21" y="377"/>
                  </a:lnTo>
                  <a:lnTo>
                    <a:pt x="23" y="373"/>
                  </a:lnTo>
                  <a:lnTo>
                    <a:pt x="21" y="365"/>
                  </a:lnTo>
                  <a:lnTo>
                    <a:pt x="23" y="362"/>
                  </a:lnTo>
                  <a:lnTo>
                    <a:pt x="25" y="356"/>
                  </a:lnTo>
                  <a:lnTo>
                    <a:pt x="23" y="352"/>
                  </a:lnTo>
                  <a:lnTo>
                    <a:pt x="19" y="348"/>
                  </a:lnTo>
                  <a:lnTo>
                    <a:pt x="21" y="346"/>
                  </a:lnTo>
                  <a:lnTo>
                    <a:pt x="29" y="344"/>
                  </a:lnTo>
                  <a:lnTo>
                    <a:pt x="27" y="340"/>
                  </a:lnTo>
                  <a:lnTo>
                    <a:pt x="27" y="337"/>
                  </a:lnTo>
                  <a:lnTo>
                    <a:pt x="23" y="335"/>
                  </a:lnTo>
                  <a:lnTo>
                    <a:pt x="23" y="329"/>
                  </a:lnTo>
                  <a:lnTo>
                    <a:pt x="19" y="323"/>
                  </a:lnTo>
                  <a:lnTo>
                    <a:pt x="23" y="319"/>
                  </a:lnTo>
                  <a:lnTo>
                    <a:pt x="21" y="316"/>
                  </a:lnTo>
                  <a:lnTo>
                    <a:pt x="19" y="316"/>
                  </a:lnTo>
                  <a:lnTo>
                    <a:pt x="21" y="310"/>
                  </a:lnTo>
                  <a:lnTo>
                    <a:pt x="19" y="310"/>
                  </a:lnTo>
                  <a:lnTo>
                    <a:pt x="21" y="306"/>
                  </a:lnTo>
                  <a:lnTo>
                    <a:pt x="19" y="304"/>
                  </a:lnTo>
                  <a:lnTo>
                    <a:pt x="15" y="306"/>
                  </a:lnTo>
                  <a:lnTo>
                    <a:pt x="14" y="302"/>
                  </a:lnTo>
                  <a:lnTo>
                    <a:pt x="12" y="306"/>
                  </a:lnTo>
                  <a:lnTo>
                    <a:pt x="6" y="306"/>
                  </a:lnTo>
                  <a:lnTo>
                    <a:pt x="2" y="304"/>
                  </a:lnTo>
                  <a:lnTo>
                    <a:pt x="8" y="302"/>
                  </a:lnTo>
                  <a:lnTo>
                    <a:pt x="8" y="298"/>
                  </a:lnTo>
                  <a:lnTo>
                    <a:pt x="12" y="294"/>
                  </a:lnTo>
                  <a:lnTo>
                    <a:pt x="15" y="294"/>
                  </a:lnTo>
                  <a:lnTo>
                    <a:pt x="17" y="291"/>
                  </a:lnTo>
                  <a:lnTo>
                    <a:pt x="19" y="291"/>
                  </a:lnTo>
                  <a:lnTo>
                    <a:pt x="17" y="294"/>
                  </a:lnTo>
                  <a:lnTo>
                    <a:pt x="19" y="296"/>
                  </a:lnTo>
                  <a:lnTo>
                    <a:pt x="21" y="294"/>
                  </a:lnTo>
                  <a:lnTo>
                    <a:pt x="25" y="296"/>
                  </a:lnTo>
                  <a:lnTo>
                    <a:pt x="29" y="292"/>
                  </a:lnTo>
                  <a:lnTo>
                    <a:pt x="31" y="294"/>
                  </a:lnTo>
                  <a:lnTo>
                    <a:pt x="33" y="291"/>
                  </a:lnTo>
                  <a:lnTo>
                    <a:pt x="33" y="289"/>
                  </a:lnTo>
                  <a:lnTo>
                    <a:pt x="35" y="285"/>
                  </a:lnTo>
                  <a:lnTo>
                    <a:pt x="31" y="285"/>
                  </a:lnTo>
                  <a:lnTo>
                    <a:pt x="33" y="279"/>
                  </a:lnTo>
                  <a:lnTo>
                    <a:pt x="35" y="285"/>
                  </a:lnTo>
                  <a:lnTo>
                    <a:pt x="37" y="285"/>
                  </a:lnTo>
                  <a:lnTo>
                    <a:pt x="37" y="279"/>
                  </a:lnTo>
                  <a:lnTo>
                    <a:pt x="40" y="273"/>
                  </a:lnTo>
                  <a:lnTo>
                    <a:pt x="42" y="267"/>
                  </a:lnTo>
                  <a:lnTo>
                    <a:pt x="44" y="264"/>
                  </a:lnTo>
                  <a:lnTo>
                    <a:pt x="40" y="262"/>
                  </a:lnTo>
                  <a:lnTo>
                    <a:pt x="35" y="264"/>
                  </a:lnTo>
                  <a:lnTo>
                    <a:pt x="35" y="262"/>
                  </a:lnTo>
                  <a:lnTo>
                    <a:pt x="33" y="262"/>
                  </a:lnTo>
                  <a:lnTo>
                    <a:pt x="40" y="256"/>
                  </a:lnTo>
                  <a:lnTo>
                    <a:pt x="46" y="258"/>
                  </a:lnTo>
                  <a:lnTo>
                    <a:pt x="46" y="252"/>
                  </a:lnTo>
                  <a:lnTo>
                    <a:pt x="50" y="248"/>
                  </a:lnTo>
                  <a:lnTo>
                    <a:pt x="46" y="241"/>
                  </a:lnTo>
                  <a:lnTo>
                    <a:pt x="44" y="243"/>
                  </a:lnTo>
                  <a:lnTo>
                    <a:pt x="40" y="241"/>
                  </a:lnTo>
                  <a:lnTo>
                    <a:pt x="40" y="237"/>
                  </a:lnTo>
                  <a:lnTo>
                    <a:pt x="37" y="239"/>
                  </a:lnTo>
                  <a:lnTo>
                    <a:pt x="35" y="237"/>
                  </a:lnTo>
                  <a:lnTo>
                    <a:pt x="31" y="239"/>
                  </a:lnTo>
                  <a:lnTo>
                    <a:pt x="31" y="237"/>
                  </a:lnTo>
                  <a:lnTo>
                    <a:pt x="31" y="235"/>
                  </a:lnTo>
                  <a:lnTo>
                    <a:pt x="29" y="235"/>
                  </a:lnTo>
                  <a:lnTo>
                    <a:pt x="31" y="233"/>
                  </a:lnTo>
                  <a:lnTo>
                    <a:pt x="29" y="233"/>
                  </a:lnTo>
                  <a:lnTo>
                    <a:pt x="31" y="231"/>
                  </a:lnTo>
                  <a:lnTo>
                    <a:pt x="31" y="227"/>
                  </a:lnTo>
                  <a:lnTo>
                    <a:pt x="31" y="225"/>
                  </a:lnTo>
                  <a:lnTo>
                    <a:pt x="33" y="227"/>
                  </a:lnTo>
                  <a:lnTo>
                    <a:pt x="35" y="223"/>
                  </a:lnTo>
                  <a:lnTo>
                    <a:pt x="31" y="225"/>
                  </a:lnTo>
                  <a:lnTo>
                    <a:pt x="31" y="219"/>
                  </a:lnTo>
                  <a:lnTo>
                    <a:pt x="27" y="218"/>
                  </a:lnTo>
                  <a:lnTo>
                    <a:pt x="27" y="214"/>
                  </a:lnTo>
                  <a:lnTo>
                    <a:pt x="23" y="216"/>
                  </a:lnTo>
                  <a:lnTo>
                    <a:pt x="23" y="214"/>
                  </a:lnTo>
                  <a:lnTo>
                    <a:pt x="25" y="214"/>
                  </a:lnTo>
                  <a:lnTo>
                    <a:pt x="25" y="210"/>
                  </a:lnTo>
                  <a:lnTo>
                    <a:pt x="25" y="208"/>
                  </a:lnTo>
                  <a:lnTo>
                    <a:pt x="27" y="212"/>
                  </a:lnTo>
                  <a:lnTo>
                    <a:pt x="29" y="210"/>
                  </a:lnTo>
                  <a:lnTo>
                    <a:pt x="29" y="214"/>
                  </a:lnTo>
                  <a:lnTo>
                    <a:pt x="31" y="208"/>
                  </a:lnTo>
                  <a:lnTo>
                    <a:pt x="33" y="208"/>
                  </a:lnTo>
                  <a:lnTo>
                    <a:pt x="35" y="208"/>
                  </a:lnTo>
                  <a:lnTo>
                    <a:pt x="35" y="210"/>
                  </a:lnTo>
                  <a:lnTo>
                    <a:pt x="37" y="210"/>
                  </a:lnTo>
                  <a:lnTo>
                    <a:pt x="39" y="204"/>
                  </a:lnTo>
                  <a:lnTo>
                    <a:pt x="46" y="202"/>
                  </a:lnTo>
                  <a:lnTo>
                    <a:pt x="44" y="198"/>
                  </a:lnTo>
                  <a:lnTo>
                    <a:pt x="46" y="196"/>
                  </a:lnTo>
                  <a:lnTo>
                    <a:pt x="48" y="200"/>
                  </a:lnTo>
                  <a:lnTo>
                    <a:pt x="54" y="198"/>
                  </a:lnTo>
                  <a:lnTo>
                    <a:pt x="54" y="204"/>
                  </a:lnTo>
                  <a:lnTo>
                    <a:pt x="58" y="204"/>
                  </a:lnTo>
                  <a:lnTo>
                    <a:pt x="56" y="206"/>
                  </a:lnTo>
                  <a:lnTo>
                    <a:pt x="58" y="208"/>
                  </a:lnTo>
                  <a:lnTo>
                    <a:pt x="63" y="204"/>
                  </a:lnTo>
                  <a:lnTo>
                    <a:pt x="63" y="206"/>
                  </a:lnTo>
                  <a:lnTo>
                    <a:pt x="65" y="202"/>
                  </a:lnTo>
                  <a:lnTo>
                    <a:pt x="69" y="202"/>
                  </a:lnTo>
                  <a:lnTo>
                    <a:pt x="69" y="200"/>
                  </a:lnTo>
                  <a:lnTo>
                    <a:pt x="67" y="198"/>
                  </a:lnTo>
                  <a:lnTo>
                    <a:pt x="71" y="194"/>
                  </a:lnTo>
                  <a:lnTo>
                    <a:pt x="69" y="194"/>
                  </a:lnTo>
                  <a:lnTo>
                    <a:pt x="71" y="191"/>
                  </a:lnTo>
                  <a:lnTo>
                    <a:pt x="75" y="191"/>
                  </a:lnTo>
                  <a:lnTo>
                    <a:pt x="81" y="187"/>
                  </a:lnTo>
                  <a:lnTo>
                    <a:pt x="88" y="185"/>
                  </a:lnTo>
                  <a:lnTo>
                    <a:pt x="96" y="185"/>
                  </a:lnTo>
                  <a:lnTo>
                    <a:pt x="94" y="175"/>
                  </a:lnTo>
                  <a:lnTo>
                    <a:pt x="100" y="173"/>
                  </a:lnTo>
                  <a:lnTo>
                    <a:pt x="100" y="170"/>
                  </a:lnTo>
                  <a:lnTo>
                    <a:pt x="96" y="168"/>
                  </a:lnTo>
                  <a:lnTo>
                    <a:pt x="98" y="166"/>
                  </a:lnTo>
                  <a:lnTo>
                    <a:pt x="102" y="168"/>
                  </a:lnTo>
                  <a:lnTo>
                    <a:pt x="108" y="166"/>
                  </a:lnTo>
                  <a:lnTo>
                    <a:pt x="108" y="168"/>
                  </a:lnTo>
                  <a:lnTo>
                    <a:pt x="113" y="166"/>
                  </a:lnTo>
                  <a:lnTo>
                    <a:pt x="113" y="168"/>
                  </a:lnTo>
                  <a:lnTo>
                    <a:pt x="119" y="171"/>
                  </a:lnTo>
                  <a:lnTo>
                    <a:pt x="119" y="173"/>
                  </a:lnTo>
                  <a:lnTo>
                    <a:pt x="123" y="173"/>
                  </a:lnTo>
                  <a:lnTo>
                    <a:pt x="125" y="173"/>
                  </a:lnTo>
                  <a:lnTo>
                    <a:pt x="125" y="177"/>
                  </a:lnTo>
                  <a:lnTo>
                    <a:pt x="129" y="177"/>
                  </a:lnTo>
                  <a:lnTo>
                    <a:pt x="131" y="173"/>
                  </a:lnTo>
                  <a:lnTo>
                    <a:pt x="133" y="175"/>
                  </a:lnTo>
                  <a:lnTo>
                    <a:pt x="134" y="173"/>
                  </a:lnTo>
                  <a:lnTo>
                    <a:pt x="134" y="164"/>
                  </a:lnTo>
                  <a:lnTo>
                    <a:pt x="142" y="164"/>
                  </a:lnTo>
                  <a:lnTo>
                    <a:pt x="146" y="162"/>
                  </a:lnTo>
                  <a:lnTo>
                    <a:pt x="150" y="164"/>
                  </a:lnTo>
                  <a:lnTo>
                    <a:pt x="154" y="162"/>
                  </a:lnTo>
                  <a:lnTo>
                    <a:pt x="158" y="162"/>
                  </a:lnTo>
                  <a:lnTo>
                    <a:pt x="158" y="166"/>
                  </a:lnTo>
                  <a:lnTo>
                    <a:pt x="161" y="164"/>
                  </a:lnTo>
                  <a:lnTo>
                    <a:pt x="165" y="164"/>
                  </a:lnTo>
                  <a:lnTo>
                    <a:pt x="167" y="158"/>
                  </a:lnTo>
                  <a:lnTo>
                    <a:pt x="171" y="160"/>
                  </a:lnTo>
                  <a:lnTo>
                    <a:pt x="169" y="162"/>
                  </a:lnTo>
                  <a:lnTo>
                    <a:pt x="173" y="164"/>
                  </a:lnTo>
                  <a:lnTo>
                    <a:pt x="173" y="166"/>
                  </a:lnTo>
                  <a:lnTo>
                    <a:pt x="177" y="164"/>
                  </a:lnTo>
                  <a:lnTo>
                    <a:pt x="177" y="156"/>
                  </a:lnTo>
                  <a:lnTo>
                    <a:pt x="175" y="156"/>
                  </a:lnTo>
                  <a:lnTo>
                    <a:pt x="177" y="152"/>
                  </a:lnTo>
                  <a:lnTo>
                    <a:pt x="179" y="148"/>
                  </a:lnTo>
                  <a:lnTo>
                    <a:pt x="177" y="146"/>
                  </a:lnTo>
                  <a:lnTo>
                    <a:pt x="175" y="146"/>
                  </a:lnTo>
                  <a:lnTo>
                    <a:pt x="173" y="141"/>
                  </a:lnTo>
                  <a:lnTo>
                    <a:pt x="177" y="137"/>
                  </a:lnTo>
                  <a:lnTo>
                    <a:pt x="177" y="131"/>
                  </a:lnTo>
                  <a:lnTo>
                    <a:pt x="171" y="125"/>
                  </a:lnTo>
                  <a:lnTo>
                    <a:pt x="171" y="122"/>
                  </a:lnTo>
                  <a:lnTo>
                    <a:pt x="169" y="122"/>
                  </a:lnTo>
                  <a:lnTo>
                    <a:pt x="167" y="118"/>
                  </a:lnTo>
                  <a:lnTo>
                    <a:pt x="171" y="118"/>
                  </a:lnTo>
                  <a:lnTo>
                    <a:pt x="171" y="114"/>
                  </a:lnTo>
                  <a:lnTo>
                    <a:pt x="175" y="108"/>
                  </a:lnTo>
                  <a:lnTo>
                    <a:pt x="179" y="110"/>
                  </a:lnTo>
                  <a:lnTo>
                    <a:pt x="181" y="116"/>
                  </a:lnTo>
                  <a:lnTo>
                    <a:pt x="184" y="114"/>
                  </a:lnTo>
                  <a:lnTo>
                    <a:pt x="188" y="116"/>
                  </a:lnTo>
                  <a:lnTo>
                    <a:pt x="190" y="120"/>
                  </a:lnTo>
                  <a:lnTo>
                    <a:pt x="194" y="120"/>
                  </a:lnTo>
                  <a:lnTo>
                    <a:pt x="194" y="114"/>
                  </a:lnTo>
                  <a:lnTo>
                    <a:pt x="198" y="116"/>
                  </a:lnTo>
                  <a:lnTo>
                    <a:pt x="198" y="118"/>
                  </a:lnTo>
                  <a:lnTo>
                    <a:pt x="202" y="114"/>
                  </a:lnTo>
                  <a:lnTo>
                    <a:pt x="202" y="122"/>
                  </a:lnTo>
                  <a:lnTo>
                    <a:pt x="205" y="125"/>
                  </a:lnTo>
                  <a:lnTo>
                    <a:pt x="215" y="122"/>
                  </a:lnTo>
                  <a:lnTo>
                    <a:pt x="219" y="122"/>
                  </a:lnTo>
                  <a:lnTo>
                    <a:pt x="223" y="123"/>
                  </a:lnTo>
                  <a:lnTo>
                    <a:pt x="225" y="120"/>
                  </a:lnTo>
                  <a:lnTo>
                    <a:pt x="227" y="120"/>
                  </a:lnTo>
                  <a:lnTo>
                    <a:pt x="230" y="123"/>
                  </a:lnTo>
                  <a:lnTo>
                    <a:pt x="230" y="127"/>
                  </a:lnTo>
                  <a:lnTo>
                    <a:pt x="232" y="127"/>
                  </a:lnTo>
                  <a:lnTo>
                    <a:pt x="232" y="122"/>
                  </a:lnTo>
                  <a:lnTo>
                    <a:pt x="240" y="120"/>
                  </a:lnTo>
                  <a:lnTo>
                    <a:pt x="242" y="122"/>
                  </a:lnTo>
                  <a:lnTo>
                    <a:pt x="242" y="123"/>
                  </a:lnTo>
                  <a:lnTo>
                    <a:pt x="248" y="123"/>
                  </a:lnTo>
                  <a:lnTo>
                    <a:pt x="248" y="122"/>
                  </a:lnTo>
                  <a:lnTo>
                    <a:pt x="250" y="122"/>
                  </a:lnTo>
                  <a:lnTo>
                    <a:pt x="252" y="125"/>
                  </a:lnTo>
                  <a:lnTo>
                    <a:pt x="253" y="125"/>
                  </a:lnTo>
                  <a:lnTo>
                    <a:pt x="257" y="122"/>
                  </a:lnTo>
                  <a:lnTo>
                    <a:pt x="257" y="120"/>
                  </a:lnTo>
                  <a:lnTo>
                    <a:pt x="252" y="118"/>
                  </a:lnTo>
                  <a:lnTo>
                    <a:pt x="253" y="112"/>
                  </a:lnTo>
                  <a:lnTo>
                    <a:pt x="250" y="112"/>
                  </a:lnTo>
                  <a:lnTo>
                    <a:pt x="250" y="108"/>
                  </a:lnTo>
                  <a:lnTo>
                    <a:pt x="253" y="106"/>
                  </a:lnTo>
                  <a:lnTo>
                    <a:pt x="252" y="106"/>
                  </a:lnTo>
                  <a:lnTo>
                    <a:pt x="253" y="100"/>
                  </a:lnTo>
                  <a:lnTo>
                    <a:pt x="250" y="100"/>
                  </a:lnTo>
                  <a:lnTo>
                    <a:pt x="250" y="95"/>
                  </a:lnTo>
                  <a:lnTo>
                    <a:pt x="259" y="95"/>
                  </a:lnTo>
                  <a:lnTo>
                    <a:pt x="259" y="89"/>
                  </a:lnTo>
                  <a:lnTo>
                    <a:pt x="267" y="87"/>
                  </a:lnTo>
                  <a:lnTo>
                    <a:pt x="267" y="81"/>
                  </a:lnTo>
                  <a:lnTo>
                    <a:pt x="271" y="81"/>
                  </a:lnTo>
                  <a:lnTo>
                    <a:pt x="271" y="77"/>
                  </a:lnTo>
                  <a:lnTo>
                    <a:pt x="276" y="77"/>
                  </a:lnTo>
                  <a:lnTo>
                    <a:pt x="276" y="83"/>
                  </a:lnTo>
                  <a:lnTo>
                    <a:pt x="280" y="75"/>
                  </a:lnTo>
                  <a:lnTo>
                    <a:pt x="282" y="81"/>
                  </a:lnTo>
                  <a:lnTo>
                    <a:pt x="284" y="81"/>
                  </a:lnTo>
                  <a:lnTo>
                    <a:pt x="286" y="85"/>
                  </a:lnTo>
                  <a:lnTo>
                    <a:pt x="288" y="85"/>
                  </a:lnTo>
                  <a:lnTo>
                    <a:pt x="290" y="81"/>
                  </a:lnTo>
                  <a:lnTo>
                    <a:pt x="292" y="79"/>
                  </a:lnTo>
                  <a:lnTo>
                    <a:pt x="292" y="75"/>
                  </a:lnTo>
                  <a:lnTo>
                    <a:pt x="296" y="73"/>
                  </a:lnTo>
                  <a:lnTo>
                    <a:pt x="300" y="70"/>
                  </a:lnTo>
                  <a:lnTo>
                    <a:pt x="298" y="68"/>
                  </a:lnTo>
                  <a:lnTo>
                    <a:pt x="294" y="66"/>
                  </a:lnTo>
                  <a:lnTo>
                    <a:pt x="294" y="62"/>
                  </a:lnTo>
                  <a:lnTo>
                    <a:pt x="298" y="62"/>
                  </a:lnTo>
                  <a:lnTo>
                    <a:pt x="298" y="64"/>
                  </a:lnTo>
                  <a:lnTo>
                    <a:pt x="301" y="66"/>
                  </a:lnTo>
                  <a:lnTo>
                    <a:pt x="301" y="64"/>
                  </a:lnTo>
                  <a:lnTo>
                    <a:pt x="305" y="64"/>
                  </a:lnTo>
                  <a:lnTo>
                    <a:pt x="307" y="62"/>
                  </a:lnTo>
                  <a:lnTo>
                    <a:pt x="309" y="62"/>
                  </a:lnTo>
                  <a:lnTo>
                    <a:pt x="311" y="60"/>
                  </a:lnTo>
                  <a:lnTo>
                    <a:pt x="313" y="60"/>
                  </a:lnTo>
                  <a:lnTo>
                    <a:pt x="315" y="58"/>
                  </a:lnTo>
                  <a:lnTo>
                    <a:pt x="313" y="58"/>
                  </a:lnTo>
                  <a:lnTo>
                    <a:pt x="315" y="52"/>
                  </a:lnTo>
                  <a:lnTo>
                    <a:pt x="315" y="47"/>
                  </a:lnTo>
                  <a:lnTo>
                    <a:pt x="317" y="47"/>
                  </a:lnTo>
                  <a:lnTo>
                    <a:pt x="317" y="43"/>
                  </a:lnTo>
                  <a:lnTo>
                    <a:pt x="319" y="41"/>
                  </a:lnTo>
                  <a:lnTo>
                    <a:pt x="315" y="37"/>
                  </a:lnTo>
                  <a:lnTo>
                    <a:pt x="319" y="31"/>
                  </a:lnTo>
                  <a:lnTo>
                    <a:pt x="323" y="31"/>
                  </a:lnTo>
                  <a:lnTo>
                    <a:pt x="323" y="33"/>
                  </a:lnTo>
                  <a:lnTo>
                    <a:pt x="326" y="33"/>
                  </a:lnTo>
                  <a:lnTo>
                    <a:pt x="326" y="31"/>
                  </a:lnTo>
                  <a:lnTo>
                    <a:pt x="330" y="35"/>
                  </a:lnTo>
                  <a:lnTo>
                    <a:pt x="336" y="33"/>
                  </a:lnTo>
                  <a:lnTo>
                    <a:pt x="334" y="29"/>
                  </a:lnTo>
                  <a:lnTo>
                    <a:pt x="340" y="27"/>
                  </a:lnTo>
                  <a:lnTo>
                    <a:pt x="342" y="20"/>
                  </a:lnTo>
                  <a:lnTo>
                    <a:pt x="346" y="20"/>
                  </a:lnTo>
                  <a:lnTo>
                    <a:pt x="346" y="16"/>
                  </a:lnTo>
                  <a:lnTo>
                    <a:pt x="348" y="14"/>
                  </a:lnTo>
                  <a:lnTo>
                    <a:pt x="348" y="12"/>
                  </a:lnTo>
                  <a:lnTo>
                    <a:pt x="349" y="10"/>
                  </a:lnTo>
                  <a:lnTo>
                    <a:pt x="349" y="8"/>
                  </a:lnTo>
                  <a:lnTo>
                    <a:pt x="349" y="6"/>
                  </a:lnTo>
                  <a:lnTo>
                    <a:pt x="351" y="6"/>
                  </a:lnTo>
                  <a:lnTo>
                    <a:pt x="359" y="0"/>
                  </a:lnTo>
                  <a:lnTo>
                    <a:pt x="361" y="4"/>
                  </a:lnTo>
                  <a:lnTo>
                    <a:pt x="363" y="2"/>
                  </a:lnTo>
                  <a:lnTo>
                    <a:pt x="365" y="8"/>
                  </a:lnTo>
                  <a:lnTo>
                    <a:pt x="369" y="8"/>
                  </a:lnTo>
                  <a:lnTo>
                    <a:pt x="367" y="14"/>
                  </a:lnTo>
                  <a:lnTo>
                    <a:pt x="361" y="16"/>
                  </a:lnTo>
                  <a:lnTo>
                    <a:pt x="363" y="18"/>
                  </a:lnTo>
                  <a:lnTo>
                    <a:pt x="367" y="18"/>
                  </a:lnTo>
                  <a:lnTo>
                    <a:pt x="371" y="18"/>
                  </a:lnTo>
                  <a:lnTo>
                    <a:pt x="372" y="22"/>
                  </a:lnTo>
                  <a:lnTo>
                    <a:pt x="378" y="22"/>
                  </a:lnTo>
                  <a:lnTo>
                    <a:pt x="378" y="18"/>
                  </a:lnTo>
                  <a:lnTo>
                    <a:pt x="382" y="2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5" name="Freeform 12">
              <a:extLst>
                <a:ext uri="{FF2B5EF4-FFF2-40B4-BE49-F238E27FC236}">
                  <a16:creationId xmlns:a16="http://schemas.microsoft.com/office/drawing/2014/main" id="{BFA4ED76-2A93-4A09-983A-F3DC2BD2A1AE}"/>
                </a:ext>
              </a:extLst>
            </p:cNvPr>
            <p:cNvSpPr>
              <a:spLocks noEditPoints="1"/>
            </p:cNvSpPr>
            <p:nvPr/>
          </p:nvSpPr>
          <p:spPr bwMode="gray">
            <a:xfrm>
              <a:off x="4668839" y="4708527"/>
              <a:ext cx="1176338" cy="1020763"/>
            </a:xfrm>
            <a:custGeom>
              <a:avLst/>
              <a:gdLst>
                <a:gd name="T0" fmla="*/ 464 w 741"/>
                <a:gd name="T1" fmla="*/ 638 h 643"/>
                <a:gd name="T2" fmla="*/ 464 w 741"/>
                <a:gd name="T3" fmla="*/ 641 h 643"/>
                <a:gd name="T4" fmla="*/ 462 w 741"/>
                <a:gd name="T5" fmla="*/ 641 h 643"/>
                <a:gd name="T6" fmla="*/ 460 w 741"/>
                <a:gd name="T7" fmla="*/ 638 h 643"/>
                <a:gd name="T8" fmla="*/ 459 w 741"/>
                <a:gd name="T9" fmla="*/ 634 h 643"/>
                <a:gd name="T10" fmla="*/ 455 w 741"/>
                <a:gd name="T11" fmla="*/ 636 h 643"/>
                <a:gd name="T12" fmla="*/ 453 w 741"/>
                <a:gd name="T13" fmla="*/ 630 h 643"/>
                <a:gd name="T14" fmla="*/ 455 w 741"/>
                <a:gd name="T15" fmla="*/ 628 h 643"/>
                <a:gd name="T16" fmla="*/ 462 w 741"/>
                <a:gd name="T17" fmla="*/ 624 h 643"/>
                <a:gd name="T18" fmla="*/ 0 w 741"/>
                <a:gd name="T19" fmla="*/ 547 h 643"/>
                <a:gd name="T20" fmla="*/ 0 w 741"/>
                <a:gd name="T21" fmla="*/ 547 h 643"/>
                <a:gd name="T22" fmla="*/ 449 w 741"/>
                <a:gd name="T23" fmla="*/ 536 h 643"/>
                <a:gd name="T24" fmla="*/ 447 w 741"/>
                <a:gd name="T25" fmla="*/ 536 h 643"/>
                <a:gd name="T26" fmla="*/ 447 w 741"/>
                <a:gd name="T27" fmla="*/ 536 h 643"/>
                <a:gd name="T28" fmla="*/ 462 w 741"/>
                <a:gd name="T29" fmla="*/ 534 h 643"/>
                <a:gd name="T30" fmla="*/ 451 w 741"/>
                <a:gd name="T31" fmla="*/ 538 h 643"/>
                <a:gd name="T32" fmla="*/ 457 w 741"/>
                <a:gd name="T33" fmla="*/ 536 h 643"/>
                <a:gd name="T34" fmla="*/ 441 w 741"/>
                <a:gd name="T35" fmla="*/ 528 h 643"/>
                <a:gd name="T36" fmla="*/ 441 w 741"/>
                <a:gd name="T37" fmla="*/ 532 h 643"/>
                <a:gd name="T38" fmla="*/ 439 w 741"/>
                <a:gd name="T39" fmla="*/ 528 h 643"/>
                <a:gd name="T40" fmla="*/ 447 w 741"/>
                <a:gd name="T41" fmla="*/ 518 h 643"/>
                <a:gd name="T42" fmla="*/ 445 w 741"/>
                <a:gd name="T43" fmla="*/ 518 h 643"/>
                <a:gd name="T44" fmla="*/ 462 w 741"/>
                <a:gd name="T45" fmla="*/ 526 h 643"/>
                <a:gd name="T46" fmla="*/ 459 w 741"/>
                <a:gd name="T47" fmla="*/ 532 h 643"/>
                <a:gd name="T48" fmla="*/ 457 w 741"/>
                <a:gd name="T49" fmla="*/ 530 h 643"/>
                <a:gd name="T50" fmla="*/ 451 w 741"/>
                <a:gd name="T51" fmla="*/ 530 h 643"/>
                <a:gd name="T52" fmla="*/ 451 w 741"/>
                <a:gd name="T53" fmla="*/ 524 h 643"/>
                <a:gd name="T54" fmla="*/ 453 w 741"/>
                <a:gd name="T55" fmla="*/ 528 h 643"/>
                <a:gd name="T56" fmla="*/ 451 w 741"/>
                <a:gd name="T57" fmla="*/ 520 h 643"/>
                <a:gd name="T58" fmla="*/ 457 w 741"/>
                <a:gd name="T59" fmla="*/ 515 h 643"/>
                <a:gd name="T60" fmla="*/ 453 w 741"/>
                <a:gd name="T61" fmla="*/ 518 h 643"/>
                <a:gd name="T62" fmla="*/ 462 w 741"/>
                <a:gd name="T63" fmla="*/ 517 h 643"/>
                <a:gd name="T64" fmla="*/ 459 w 741"/>
                <a:gd name="T65" fmla="*/ 528 h 643"/>
                <a:gd name="T66" fmla="*/ 459 w 741"/>
                <a:gd name="T67" fmla="*/ 526 h 643"/>
                <a:gd name="T68" fmla="*/ 445 w 741"/>
                <a:gd name="T69" fmla="*/ 520 h 643"/>
                <a:gd name="T70" fmla="*/ 441 w 741"/>
                <a:gd name="T71" fmla="*/ 517 h 643"/>
                <a:gd name="T72" fmla="*/ 443 w 741"/>
                <a:gd name="T73" fmla="*/ 517 h 643"/>
                <a:gd name="T74" fmla="*/ 447 w 741"/>
                <a:gd name="T75" fmla="*/ 518 h 643"/>
                <a:gd name="T76" fmla="*/ 449 w 741"/>
                <a:gd name="T77" fmla="*/ 513 h 643"/>
                <a:gd name="T78" fmla="*/ 464 w 741"/>
                <a:gd name="T79" fmla="*/ 513 h 643"/>
                <a:gd name="T80" fmla="*/ 733 w 741"/>
                <a:gd name="T81" fmla="*/ 4 h 643"/>
                <a:gd name="T82" fmla="*/ 741 w 741"/>
                <a:gd name="T83" fmla="*/ 2 h 643"/>
                <a:gd name="T84" fmla="*/ 727 w 741"/>
                <a:gd name="T85" fmla="*/ 4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1" h="643">
                  <a:moveTo>
                    <a:pt x="464" y="628"/>
                  </a:moveTo>
                  <a:lnTo>
                    <a:pt x="464" y="634"/>
                  </a:lnTo>
                  <a:lnTo>
                    <a:pt x="464" y="638"/>
                  </a:lnTo>
                  <a:lnTo>
                    <a:pt x="464" y="641"/>
                  </a:lnTo>
                  <a:lnTo>
                    <a:pt x="466" y="641"/>
                  </a:lnTo>
                  <a:lnTo>
                    <a:pt x="464" y="641"/>
                  </a:lnTo>
                  <a:lnTo>
                    <a:pt x="464" y="643"/>
                  </a:lnTo>
                  <a:lnTo>
                    <a:pt x="462" y="643"/>
                  </a:lnTo>
                  <a:lnTo>
                    <a:pt x="462" y="641"/>
                  </a:lnTo>
                  <a:lnTo>
                    <a:pt x="460" y="639"/>
                  </a:lnTo>
                  <a:lnTo>
                    <a:pt x="462" y="639"/>
                  </a:lnTo>
                  <a:lnTo>
                    <a:pt x="460" y="638"/>
                  </a:lnTo>
                  <a:lnTo>
                    <a:pt x="462" y="638"/>
                  </a:lnTo>
                  <a:lnTo>
                    <a:pt x="457" y="636"/>
                  </a:lnTo>
                  <a:lnTo>
                    <a:pt x="459" y="634"/>
                  </a:lnTo>
                  <a:lnTo>
                    <a:pt x="455" y="636"/>
                  </a:lnTo>
                  <a:lnTo>
                    <a:pt x="457" y="636"/>
                  </a:lnTo>
                  <a:lnTo>
                    <a:pt x="455" y="636"/>
                  </a:lnTo>
                  <a:lnTo>
                    <a:pt x="455" y="634"/>
                  </a:lnTo>
                  <a:lnTo>
                    <a:pt x="451" y="632"/>
                  </a:lnTo>
                  <a:lnTo>
                    <a:pt x="453" y="630"/>
                  </a:lnTo>
                  <a:lnTo>
                    <a:pt x="451" y="630"/>
                  </a:lnTo>
                  <a:lnTo>
                    <a:pt x="451" y="628"/>
                  </a:lnTo>
                  <a:lnTo>
                    <a:pt x="455" y="628"/>
                  </a:lnTo>
                  <a:lnTo>
                    <a:pt x="455" y="624"/>
                  </a:lnTo>
                  <a:lnTo>
                    <a:pt x="459" y="626"/>
                  </a:lnTo>
                  <a:lnTo>
                    <a:pt x="462" y="624"/>
                  </a:lnTo>
                  <a:lnTo>
                    <a:pt x="464" y="628"/>
                  </a:lnTo>
                  <a:close/>
                  <a:moveTo>
                    <a:pt x="0" y="549"/>
                  </a:moveTo>
                  <a:lnTo>
                    <a:pt x="0" y="547"/>
                  </a:lnTo>
                  <a:lnTo>
                    <a:pt x="2" y="541"/>
                  </a:lnTo>
                  <a:lnTo>
                    <a:pt x="2" y="545"/>
                  </a:lnTo>
                  <a:lnTo>
                    <a:pt x="0" y="547"/>
                  </a:lnTo>
                  <a:lnTo>
                    <a:pt x="0" y="549"/>
                  </a:lnTo>
                  <a:close/>
                  <a:moveTo>
                    <a:pt x="447" y="536"/>
                  </a:moveTo>
                  <a:lnTo>
                    <a:pt x="449" y="536"/>
                  </a:lnTo>
                  <a:lnTo>
                    <a:pt x="449" y="538"/>
                  </a:lnTo>
                  <a:lnTo>
                    <a:pt x="447" y="538"/>
                  </a:lnTo>
                  <a:lnTo>
                    <a:pt x="447" y="536"/>
                  </a:lnTo>
                  <a:close/>
                  <a:moveTo>
                    <a:pt x="443" y="532"/>
                  </a:moveTo>
                  <a:lnTo>
                    <a:pt x="447" y="532"/>
                  </a:lnTo>
                  <a:lnTo>
                    <a:pt x="447" y="536"/>
                  </a:lnTo>
                  <a:lnTo>
                    <a:pt x="443" y="536"/>
                  </a:lnTo>
                  <a:lnTo>
                    <a:pt x="443" y="532"/>
                  </a:lnTo>
                  <a:close/>
                  <a:moveTo>
                    <a:pt x="462" y="534"/>
                  </a:moveTo>
                  <a:lnTo>
                    <a:pt x="460" y="540"/>
                  </a:lnTo>
                  <a:lnTo>
                    <a:pt x="457" y="540"/>
                  </a:lnTo>
                  <a:lnTo>
                    <a:pt x="451" y="538"/>
                  </a:lnTo>
                  <a:lnTo>
                    <a:pt x="455" y="536"/>
                  </a:lnTo>
                  <a:lnTo>
                    <a:pt x="455" y="532"/>
                  </a:lnTo>
                  <a:lnTo>
                    <a:pt x="457" y="536"/>
                  </a:lnTo>
                  <a:lnTo>
                    <a:pt x="460" y="534"/>
                  </a:lnTo>
                  <a:lnTo>
                    <a:pt x="462" y="534"/>
                  </a:lnTo>
                  <a:close/>
                  <a:moveTo>
                    <a:pt x="441" y="528"/>
                  </a:moveTo>
                  <a:lnTo>
                    <a:pt x="445" y="530"/>
                  </a:lnTo>
                  <a:lnTo>
                    <a:pt x="445" y="532"/>
                  </a:lnTo>
                  <a:lnTo>
                    <a:pt x="441" y="532"/>
                  </a:lnTo>
                  <a:lnTo>
                    <a:pt x="441" y="530"/>
                  </a:lnTo>
                  <a:lnTo>
                    <a:pt x="439" y="532"/>
                  </a:lnTo>
                  <a:lnTo>
                    <a:pt x="439" y="528"/>
                  </a:lnTo>
                  <a:lnTo>
                    <a:pt x="441" y="528"/>
                  </a:lnTo>
                  <a:close/>
                  <a:moveTo>
                    <a:pt x="445" y="518"/>
                  </a:moveTo>
                  <a:lnTo>
                    <a:pt x="447" y="518"/>
                  </a:lnTo>
                  <a:lnTo>
                    <a:pt x="447" y="522"/>
                  </a:lnTo>
                  <a:lnTo>
                    <a:pt x="445" y="522"/>
                  </a:lnTo>
                  <a:lnTo>
                    <a:pt x="445" y="518"/>
                  </a:lnTo>
                  <a:close/>
                  <a:moveTo>
                    <a:pt x="466" y="517"/>
                  </a:moveTo>
                  <a:lnTo>
                    <a:pt x="464" y="526"/>
                  </a:lnTo>
                  <a:lnTo>
                    <a:pt x="462" y="526"/>
                  </a:lnTo>
                  <a:lnTo>
                    <a:pt x="464" y="526"/>
                  </a:lnTo>
                  <a:lnTo>
                    <a:pt x="462" y="532"/>
                  </a:lnTo>
                  <a:lnTo>
                    <a:pt x="459" y="532"/>
                  </a:lnTo>
                  <a:lnTo>
                    <a:pt x="459" y="534"/>
                  </a:lnTo>
                  <a:lnTo>
                    <a:pt x="457" y="532"/>
                  </a:lnTo>
                  <a:lnTo>
                    <a:pt x="457" y="530"/>
                  </a:lnTo>
                  <a:lnTo>
                    <a:pt x="455" y="532"/>
                  </a:lnTo>
                  <a:lnTo>
                    <a:pt x="455" y="530"/>
                  </a:lnTo>
                  <a:lnTo>
                    <a:pt x="451" y="530"/>
                  </a:lnTo>
                  <a:lnTo>
                    <a:pt x="451" y="528"/>
                  </a:lnTo>
                  <a:lnTo>
                    <a:pt x="449" y="528"/>
                  </a:lnTo>
                  <a:lnTo>
                    <a:pt x="451" y="524"/>
                  </a:lnTo>
                  <a:lnTo>
                    <a:pt x="453" y="524"/>
                  </a:lnTo>
                  <a:lnTo>
                    <a:pt x="451" y="528"/>
                  </a:lnTo>
                  <a:lnTo>
                    <a:pt x="453" y="528"/>
                  </a:lnTo>
                  <a:lnTo>
                    <a:pt x="455" y="526"/>
                  </a:lnTo>
                  <a:lnTo>
                    <a:pt x="453" y="520"/>
                  </a:lnTo>
                  <a:lnTo>
                    <a:pt x="451" y="520"/>
                  </a:lnTo>
                  <a:lnTo>
                    <a:pt x="453" y="522"/>
                  </a:lnTo>
                  <a:lnTo>
                    <a:pt x="449" y="520"/>
                  </a:lnTo>
                  <a:lnTo>
                    <a:pt x="457" y="515"/>
                  </a:lnTo>
                  <a:lnTo>
                    <a:pt x="457" y="517"/>
                  </a:lnTo>
                  <a:lnTo>
                    <a:pt x="453" y="517"/>
                  </a:lnTo>
                  <a:lnTo>
                    <a:pt x="453" y="518"/>
                  </a:lnTo>
                  <a:lnTo>
                    <a:pt x="457" y="518"/>
                  </a:lnTo>
                  <a:lnTo>
                    <a:pt x="457" y="522"/>
                  </a:lnTo>
                  <a:lnTo>
                    <a:pt x="462" y="517"/>
                  </a:lnTo>
                  <a:lnTo>
                    <a:pt x="466" y="517"/>
                  </a:lnTo>
                  <a:close/>
                  <a:moveTo>
                    <a:pt x="459" y="526"/>
                  </a:moveTo>
                  <a:lnTo>
                    <a:pt x="459" y="528"/>
                  </a:lnTo>
                  <a:lnTo>
                    <a:pt x="459" y="530"/>
                  </a:lnTo>
                  <a:lnTo>
                    <a:pt x="460" y="526"/>
                  </a:lnTo>
                  <a:lnTo>
                    <a:pt x="459" y="526"/>
                  </a:lnTo>
                  <a:close/>
                  <a:moveTo>
                    <a:pt x="443" y="517"/>
                  </a:moveTo>
                  <a:lnTo>
                    <a:pt x="443" y="522"/>
                  </a:lnTo>
                  <a:lnTo>
                    <a:pt x="445" y="520"/>
                  </a:lnTo>
                  <a:lnTo>
                    <a:pt x="447" y="524"/>
                  </a:lnTo>
                  <a:lnTo>
                    <a:pt x="443" y="526"/>
                  </a:lnTo>
                  <a:lnTo>
                    <a:pt x="441" y="517"/>
                  </a:lnTo>
                  <a:lnTo>
                    <a:pt x="441" y="513"/>
                  </a:lnTo>
                  <a:lnTo>
                    <a:pt x="445" y="513"/>
                  </a:lnTo>
                  <a:lnTo>
                    <a:pt x="443" y="517"/>
                  </a:lnTo>
                  <a:close/>
                  <a:moveTo>
                    <a:pt x="449" y="513"/>
                  </a:moveTo>
                  <a:lnTo>
                    <a:pt x="453" y="517"/>
                  </a:lnTo>
                  <a:lnTo>
                    <a:pt x="447" y="518"/>
                  </a:lnTo>
                  <a:lnTo>
                    <a:pt x="445" y="517"/>
                  </a:lnTo>
                  <a:lnTo>
                    <a:pt x="445" y="515"/>
                  </a:lnTo>
                  <a:lnTo>
                    <a:pt x="449" y="513"/>
                  </a:lnTo>
                  <a:close/>
                  <a:moveTo>
                    <a:pt x="470" y="509"/>
                  </a:moveTo>
                  <a:lnTo>
                    <a:pt x="468" y="515"/>
                  </a:lnTo>
                  <a:lnTo>
                    <a:pt x="464" y="513"/>
                  </a:lnTo>
                  <a:lnTo>
                    <a:pt x="466" y="507"/>
                  </a:lnTo>
                  <a:lnTo>
                    <a:pt x="470" y="509"/>
                  </a:lnTo>
                  <a:close/>
                  <a:moveTo>
                    <a:pt x="733" y="4"/>
                  </a:moveTo>
                  <a:lnTo>
                    <a:pt x="737" y="4"/>
                  </a:lnTo>
                  <a:lnTo>
                    <a:pt x="741" y="0"/>
                  </a:lnTo>
                  <a:lnTo>
                    <a:pt x="741" y="2"/>
                  </a:lnTo>
                  <a:lnTo>
                    <a:pt x="739" y="6"/>
                  </a:lnTo>
                  <a:lnTo>
                    <a:pt x="729" y="4"/>
                  </a:lnTo>
                  <a:lnTo>
                    <a:pt x="727" y="4"/>
                  </a:lnTo>
                  <a:lnTo>
                    <a:pt x="729" y="0"/>
                  </a:lnTo>
                  <a:lnTo>
                    <a:pt x="733" y="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6" name="Freeform 13">
              <a:extLst>
                <a:ext uri="{FF2B5EF4-FFF2-40B4-BE49-F238E27FC236}">
                  <a16:creationId xmlns:a16="http://schemas.microsoft.com/office/drawing/2014/main" id="{83C3F7D4-32F9-4E64-89AD-DDBDFFA0124F}"/>
                </a:ext>
              </a:extLst>
            </p:cNvPr>
            <p:cNvSpPr>
              <a:spLocks noEditPoints="1"/>
            </p:cNvSpPr>
            <p:nvPr/>
          </p:nvSpPr>
          <p:spPr bwMode="gray">
            <a:xfrm>
              <a:off x="4887913" y="4291015"/>
              <a:ext cx="1385887" cy="1127125"/>
            </a:xfrm>
            <a:custGeom>
              <a:avLst/>
              <a:gdLst>
                <a:gd name="T0" fmla="*/ 601 w 873"/>
                <a:gd name="T1" fmla="*/ 126 h 710"/>
                <a:gd name="T2" fmla="*/ 610 w 873"/>
                <a:gd name="T3" fmla="*/ 98 h 710"/>
                <a:gd name="T4" fmla="*/ 631 w 873"/>
                <a:gd name="T5" fmla="*/ 84 h 710"/>
                <a:gd name="T6" fmla="*/ 668 w 873"/>
                <a:gd name="T7" fmla="*/ 80 h 710"/>
                <a:gd name="T8" fmla="*/ 687 w 873"/>
                <a:gd name="T9" fmla="*/ 63 h 710"/>
                <a:gd name="T10" fmla="*/ 718 w 873"/>
                <a:gd name="T11" fmla="*/ 40 h 710"/>
                <a:gd name="T12" fmla="*/ 718 w 873"/>
                <a:gd name="T13" fmla="*/ 23 h 710"/>
                <a:gd name="T14" fmla="*/ 741 w 873"/>
                <a:gd name="T15" fmla="*/ 13 h 710"/>
                <a:gd name="T16" fmla="*/ 766 w 873"/>
                <a:gd name="T17" fmla="*/ 27 h 710"/>
                <a:gd name="T18" fmla="*/ 820 w 873"/>
                <a:gd name="T19" fmla="*/ 40 h 710"/>
                <a:gd name="T20" fmla="*/ 848 w 873"/>
                <a:gd name="T21" fmla="*/ 13 h 710"/>
                <a:gd name="T22" fmla="*/ 873 w 873"/>
                <a:gd name="T23" fmla="*/ 5 h 710"/>
                <a:gd name="T24" fmla="*/ 818 w 873"/>
                <a:gd name="T25" fmla="*/ 73 h 710"/>
                <a:gd name="T26" fmla="*/ 758 w 873"/>
                <a:gd name="T27" fmla="*/ 113 h 710"/>
                <a:gd name="T28" fmla="*/ 710 w 873"/>
                <a:gd name="T29" fmla="*/ 159 h 710"/>
                <a:gd name="T30" fmla="*/ 666 w 873"/>
                <a:gd name="T31" fmla="*/ 186 h 710"/>
                <a:gd name="T32" fmla="*/ 599 w 873"/>
                <a:gd name="T33" fmla="*/ 242 h 710"/>
                <a:gd name="T34" fmla="*/ 608 w 873"/>
                <a:gd name="T35" fmla="*/ 253 h 710"/>
                <a:gd name="T36" fmla="*/ 601 w 873"/>
                <a:gd name="T37" fmla="*/ 282 h 710"/>
                <a:gd name="T38" fmla="*/ 537 w 873"/>
                <a:gd name="T39" fmla="*/ 309 h 710"/>
                <a:gd name="T40" fmla="*/ 482 w 873"/>
                <a:gd name="T41" fmla="*/ 332 h 710"/>
                <a:gd name="T42" fmla="*/ 445 w 873"/>
                <a:gd name="T43" fmla="*/ 363 h 710"/>
                <a:gd name="T44" fmla="*/ 382 w 873"/>
                <a:gd name="T45" fmla="*/ 378 h 710"/>
                <a:gd name="T46" fmla="*/ 359 w 873"/>
                <a:gd name="T47" fmla="*/ 474 h 710"/>
                <a:gd name="T48" fmla="*/ 370 w 873"/>
                <a:gd name="T49" fmla="*/ 497 h 710"/>
                <a:gd name="T50" fmla="*/ 374 w 873"/>
                <a:gd name="T51" fmla="*/ 582 h 710"/>
                <a:gd name="T52" fmla="*/ 353 w 873"/>
                <a:gd name="T53" fmla="*/ 614 h 710"/>
                <a:gd name="T54" fmla="*/ 324 w 873"/>
                <a:gd name="T55" fmla="*/ 643 h 710"/>
                <a:gd name="T56" fmla="*/ 284 w 873"/>
                <a:gd name="T57" fmla="*/ 645 h 710"/>
                <a:gd name="T58" fmla="*/ 259 w 873"/>
                <a:gd name="T59" fmla="*/ 660 h 710"/>
                <a:gd name="T60" fmla="*/ 207 w 873"/>
                <a:gd name="T61" fmla="*/ 662 h 710"/>
                <a:gd name="T62" fmla="*/ 177 w 873"/>
                <a:gd name="T63" fmla="*/ 710 h 710"/>
                <a:gd name="T64" fmla="*/ 180 w 873"/>
                <a:gd name="T65" fmla="*/ 683 h 710"/>
                <a:gd name="T66" fmla="*/ 194 w 873"/>
                <a:gd name="T67" fmla="*/ 639 h 710"/>
                <a:gd name="T68" fmla="*/ 167 w 873"/>
                <a:gd name="T69" fmla="*/ 609 h 710"/>
                <a:gd name="T70" fmla="*/ 144 w 873"/>
                <a:gd name="T71" fmla="*/ 576 h 710"/>
                <a:gd name="T72" fmla="*/ 109 w 873"/>
                <a:gd name="T73" fmla="*/ 582 h 710"/>
                <a:gd name="T74" fmla="*/ 73 w 873"/>
                <a:gd name="T75" fmla="*/ 597 h 710"/>
                <a:gd name="T76" fmla="*/ 44 w 873"/>
                <a:gd name="T77" fmla="*/ 570 h 710"/>
                <a:gd name="T78" fmla="*/ 29 w 873"/>
                <a:gd name="T79" fmla="*/ 572 h 710"/>
                <a:gd name="T80" fmla="*/ 29 w 873"/>
                <a:gd name="T81" fmla="*/ 555 h 710"/>
                <a:gd name="T82" fmla="*/ 71 w 873"/>
                <a:gd name="T83" fmla="*/ 572 h 710"/>
                <a:gd name="T84" fmla="*/ 79 w 873"/>
                <a:gd name="T85" fmla="*/ 536 h 710"/>
                <a:gd name="T86" fmla="*/ 42 w 873"/>
                <a:gd name="T87" fmla="*/ 524 h 710"/>
                <a:gd name="T88" fmla="*/ 15 w 873"/>
                <a:gd name="T89" fmla="*/ 509 h 710"/>
                <a:gd name="T90" fmla="*/ 0 w 873"/>
                <a:gd name="T91" fmla="*/ 455 h 710"/>
                <a:gd name="T92" fmla="*/ 44 w 873"/>
                <a:gd name="T93" fmla="*/ 436 h 710"/>
                <a:gd name="T94" fmla="*/ 33 w 873"/>
                <a:gd name="T95" fmla="*/ 384 h 710"/>
                <a:gd name="T96" fmla="*/ 77 w 873"/>
                <a:gd name="T97" fmla="*/ 349 h 710"/>
                <a:gd name="T98" fmla="*/ 155 w 873"/>
                <a:gd name="T99" fmla="*/ 361 h 710"/>
                <a:gd name="T100" fmla="*/ 228 w 873"/>
                <a:gd name="T101" fmla="*/ 336 h 710"/>
                <a:gd name="T102" fmla="*/ 271 w 873"/>
                <a:gd name="T103" fmla="*/ 294 h 710"/>
                <a:gd name="T104" fmla="*/ 344 w 873"/>
                <a:gd name="T105" fmla="*/ 276 h 710"/>
                <a:gd name="T106" fmla="*/ 386 w 873"/>
                <a:gd name="T107" fmla="*/ 236 h 710"/>
                <a:gd name="T108" fmla="*/ 418 w 873"/>
                <a:gd name="T109" fmla="*/ 246 h 710"/>
                <a:gd name="T110" fmla="*/ 424 w 873"/>
                <a:gd name="T111" fmla="*/ 226 h 710"/>
                <a:gd name="T112" fmla="*/ 482 w 873"/>
                <a:gd name="T113" fmla="*/ 211 h 710"/>
                <a:gd name="T114" fmla="*/ 528 w 873"/>
                <a:gd name="T115" fmla="*/ 155 h 710"/>
                <a:gd name="T116" fmla="*/ 453 w 873"/>
                <a:gd name="T117" fmla="*/ 374 h 710"/>
                <a:gd name="T118" fmla="*/ 595 w 873"/>
                <a:gd name="T119" fmla="*/ 267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3" h="710">
                  <a:moveTo>
                    <a:pt x="545" y="138"/>
                  </a:moveTo>
                  <a:lnTo>
                    <a:pt x="551" y="132"/>
                  </a:lnTo>
                  <a:lnTo>
                    <a:pt x="557" y="130"/>
                  </a:lnTo>
                  <a:lnTo>
                    <a:pt x="562" y="128"/>
                  </a:lnTo>
                  <a:lnTo>
                    <a:pt x="568" y="126"/>
                  </a:lnTo>
                  <a:lnTo>
                    <a:pt x="572" y="125"/>
                  </a:lnTo>
                  <a:lnTo>
                    <a:pt x="572" y="121"/>
                  </a:lnTo>
                  <a:lnTo>
                    <a:pt x="576" y="119"/>
                  </a:lnTo>
                  <a:lnTo>
                    <a:pt x="578" y="121"/>
                  </a:lnTo>
                  <a:lnTo>
                    <a:pt x="580" y="119"/>
                  </a:lnTo>
                  <a:lnTo>
                    <a:pt x="585" y="121"/>
                  </a:lnTo>
                  <a:lnTo>
                    <a:pt x="587" y="123"/>
                  </a:lnTo>
                  <a:lnTo>
                    <a:pt x="589" y="121"/>
                  </a:lnTo>
                  <a:lnTo>
                    <a:pt x="591" y="125"/>
                  </a:lnTo>
                  <a:lnTo>
                    <a:pt x="593" y="125"/>
                  </a:lnTo>
                  <a:lnTo>
                    <a:pt x="599" y="128"/>
                  </a:lnTo>
                  <a:lnTo>
                    <a:pt x="601" y="126"/>
                  </a:lnTo>
                  <a:lnTo>
                    <a:pt x="601" y="123"/>
                  </a:lnTo>
                  <a:lnTo>
                    <a:pt x="603" y="121"/>
                  </a:lnTo>
                  <a:lnTo>
                    <a:pt x="605" y="119"/>
                  </a:lnTo>
                  <a:lnTo>
                    <a:pt x="605" y="123"/>
                  </a:lnTo>
                  <a:lnTo>
                    <a:pt x="607" y="121"/>
                  </a:lnTo>
                  <a:lnTo>
                    <a:pt x="608" y="121"/>
                  </a:lnTo>
                  <a:lnTo>
                    <a:pt x="610" y="119"/>
                  </a:lnTo>
                  <a:lnTo>
                    <a:pt x="608" y="115"/>
                  </a:lnTo>
                  <a:lnTo>
                    <a:pt x="608" y="111"/>
                  </a:lnTo>
                  <a:lnTo>
                    <a:pt x="610" y="113"/>
                  </a:lnTo>
                  <a:lnTo>
                    <a:pt x="612" y="111"/>
                  </a:lnTo>
                  <a:lnTo>
                    <a:pt x="610" y="109"/>
                  </a:lnTo>
                  <a:lnTo>
                    <a:pt x="607" y="107"/>
                  </a:lnTo>
                  <a:lnTo>
                    <a:pt x="607" y="105"/>
                  </a:lnTo>
                  <a:lnTo>
                    <a:pt x="608" y="103"/>
                  </a:lnTo>
                  <a:lnTo>
                    <a:pt x="607" y="101"/>
                  </a:lnTo>
                  <a:lnTo>
                    <a:pt x="610" y="98"/>
                  </a:lnTo>
                  <a:lnTo>
                    <a:pt x="612" y="96"/>
                  </a:lnTo>
                  <a:lnTo>
                    <a:pt x="614" y="94"/>
                  </a:lnTo>
                  <a:lnTo>
                    <a:pt x="614" y="92"/>
                  </a:lnTo>
                  <a:lnTo>
                    <a:pt x="608" y="92"/>
                  </a:lnTo>
                  <a:lnTo>
                    <a:pt x="614" y="86"/>
                  </a:lnTo>
                  <a:lnTo>
                    <a:pt x="610" y="84"/>
                  </a:lnTo>
                  <a:lnTo>
                    <a:pt x="614" y="80"/>
                  </a:lnTo>
                  <a:lnTo>
                    <a:pt x="620" y="73"/>
                  </a:lnTo>
                  <a:lnTo>
                    <a:pt x="626" y="67"/>
                  </a:lnTo>
                  <a:lnTo>
                    <a:pt x="626" y="71"/>
                  </a:lnTo>
                  <a:lnTo>
                    <a:pt x="630" y="71"/>
                  </a:lnTo>
                  <a:lnTo>
                    <a:pt x="630" y="75"/>
                  </a:lnTo>
                  <a:lnTo>
                    <a:pt x="628" y="76"/>
                  </a:lnTo>
                  <a:lnTo>
                    <a:pt x="631" y="78"/>
                  </a:lnTo>
                  <a:lnTo>
                    <a:pt x="631" y="76"/>
                  </a:lnTo>
                  <a:lnTo>
                    <a:pt x="633" y="78"/>
                  </a:lnTo>
                  <a:lnTo>
                    <a:pt x="631" y="84"/>
                  </a:lnTo>
                  <a:lnTo>
                    <a:pt x="637" y="84"/>
                  </a:lnTo>
                  <a:lnTo>
                    <a:pt x="639" y="88"/>
                  </a:lnTo>
                  <a:lnTo>
                    <a:pt x="637" y="88"/>
                  </a:lnTo>
                  <a:lnTo>
                    <a:pt x="637" y="92"/>
                  </a:lnTo>
                  <a:lnTo>
                    <a:pt x="635" y="94"/>
                  </a:lnTo>
                  <a:lnTo>
                    <a:pt x="637" y="94"/>
                  </a:lnTo>
                  <a:lnTo>
                    <a:pt x="635" y="98"/>
                  </a:lnTo>
                  <a:lnTo>
                    <a:pt x="641" y="101"/>
                  </a:lnTo>
                  <a:lnTo>
                    <a:pt x="643" y="100"/>
                  </a:lnTo>
                  <a:lnTo>
                    <a:pt x="645" y="94"/>
                  </a:lnTo>
                  <a:lnTo>
                    <a:pt x="649" y="94"/>
                  </a:lnTo>
                  <a:lnTo>
                    <a:pt x="656" y="90"/>
                  </a:lnTo>
                  <a:lnTo>
                    <a:pt x="658" y="82"/>
                  </a:lnTo>
                  <a:lnTo>
                    <a:pt x="656" y="80"/>
                  </a:lnTo>
                  <a:lnTo>
                    <a:pt x="658" y="78"/>
                  </a:lnTo>
                  <a:lnTo>
                    <a:pt x="664" y="82"/>
                  </a:lnTo>
                  <a:lnTo>
                    <a:pt x="668" y="80"/>
                  </a:lnTo>
                  <a:lnTo>
                    <a:pt x="668" y="86"/>
                  </a:lnTo>
                  <a:lnTo>
                    <a:pt x="674" y="88"/>
                  </a:lnTo>
                  <a:lnTo>
                    <a:pt x="679" y="88"/>
                  </a:lnTo>
                  <a:lnTo>
                    <a:pt x="683" y="84"/>
                  </a:lnTo>
                  <a:lnTo>
                    <a:pt x="685" y="86"/>
                  </a:lnTo>
                  <a:lnTo>
                    <a:pt x="687" y="86"/>
                  </a:lnTo>
                  <a:lnTo>
                    <a:pt x="687" y="84"/>
                  </a:lnTo>
                  <a:lnTo>
                    <a:pt x="687" y="80"/>
                  </a:lnTo>
                  <a:lnTo>
                    <a:pt x="685" y="82"/>
                  </a:lnTo>
                  <a:lnTo>
                    <a:pt x="685" y="78"/>
                  </a:lnTo>
                  <a:lnTo>
                    <a:pt x="681" y="78"/>
                  </a:lnTo>
                  <a:lnTo>
                    <a:pt x="685" y="75"/>
                  </a:lnTo>
                  <a:lnTo>
                    <a:pt x="691" y="69"/>
                  </a:lnTo>
                  <a:lnTo>
                    <a:pt x="687" y="69"/>
                  </a:lnTo>
                  <a:lnTo>
                    <a:pt x="685" y="67"/>
                  </a:lnTo>
                  <a:lnTo>
                    <a:pt x="683" y="65"/>
                  </a:lnTo>
                  <a:lnTo>
                    <a:pt x="687" y="63"/>
                  </a:lnTo>
                  <a:lnTo>
                    <a:pt x="685" y="61"/>
                  </a:lnTo>
                  <a:lnTo>
                    <a:pt x="681" y="63"/>
                  </a:lnTo>
                  <a:lnTo>
                    <a:pt x="683" y="61"/>
                  </a:lnTo>
                  <a:lnTo>
                    <a:pt x="683" y="57"/>
                  </a:lnTo>
                  <a:lnTo>
                    <a:pt x="687" y="55"/>
                  </a:lnTo>
                  <a:lnTo>
                    <a:pt x="689" y="50"/>
                  </a:lnTo>
                  <a:lnTo>
                    <a:pt x="695" y="46"/>
                  </a:lnTo>
                  <a:lnTo>
                    <a:pt x="693" y="44"/>
                  </a:lnTo>
                  <a:lnTo>
                    <a:pt x="695" y="42"/>
                  </a:lnTo>
                  <a:lnTo>
                    <a:pt x="702" y="46"/>
                  </a:lnTo>
                  <a:lnTo>
                    <a:pt x="704" y="48"/>
                  </a:lnTo>
                  <a:lnTo>
                    <a:pt x="704" y="44"/>
                  </a:lnTo>
                  <a:lnTo>
                    <a:pt x="710" y="44"/>
                  </a:lnTo>
                  <a:lnTo>
                    <a:pt x="712" y="40"/>
                  </a:lnTo>
                  <a:lnTo>
                    <a:pt x="714" y="40"/>
                  </a:lnTo>
                  <a:lnTo>
                    <a:pt x="718" y="42"/>
                  </a:lnTo>
                  <a:lnTo>
                    <a:pt x="718" y="40"/>
                  </a:lnTo>
                  <a:lnTo>
                    <a:pt x="720" y="40"/>
                  </a:lnTo>
                  <a:lnTo>
                    <a:pt x="720" y="38"/>
                  </a:lnTo>
                  <a:lnTo>
                    <a:pt x="720" y="36"/>
                  </a:lnTo>
                  <a:lnTo>
                    <a:pt x="722" y="38"/>
                  </a:lnTo>
                  <a:lnTo>
                    <a:pt x="726" y="36"/>
                  </a:lnTo>
                  <a:lnTo>
                    <a:pt x="726" y="32"/>
                  </a:lnTo>
                  <a:lnTo>
                    <a:pt x="722" y="30"/>
                  </a:lnTo>
                  <a:lnTo>
                    <a:pt x="724" y="28"/>
                  </a:lnTo>
                  <a:lnTo>
                    <a:pt x="720" y="28"/>
                  </a:lnTo>
                  <a:lnTo>
                    <a:pt x="720" y="27"/>
                  </a:lnTo>
                  <a:lnTo>
                    <a:pt x="720" y="25"/>
                  </a:lnTo>
                  <a:lnTo>
                    <a:pt x="722" y="27"/>
                  </a:lnTo>
                  <a:lnTo>
                    <a:pt x="724" y="27"/>
                  </a:lnTo>
                  <a:lnTo>
                    <a:pt x="722" y="23"/>
                  </a:lnTo>
                  <a:lnTo>
                    <a:pt x="720" y="23"/>
                  </a:lnTo>
                  <a:lnTo>
                    <a:pt x="718" y="27"/>
                  </a:lnTo>
                  <a:lnTo>
                    <a:pt x="718" y="23"/>
                  </a:lnTo>
                  <a:lnTo>
                    <a:pt x="714" y="19"/>
                  </a:lnTo>
                  <a:lnTo>
                    <a:pt x="718" y="19"/>
                  </a:lnTo>
                  <a:lnTo>
                    <a:pt x="718" y="17"/>
                  </a:lnTo>
                  <a:lnTo>
                    <a:pt x="722" y="19"/>
                  </a:lnTo>
                  <a:lnTo>
                    <a:pt x="724" y="17"/>
                  </a:lnTo>
                  <a:lnTo>
                    <a:pt x="731" y="23"/>
                  </a:lnTo>
                  <a:lnTo>
                    <a:pt x="731" y="19"/>
                  </a:lnTo>
                  <a:lnTo>
                    <a:pt x="729" y="19"/>
                  </a:lnTo>
                  <a:lnTo>
                    <a:pt x="733" y="17"/>
                  </a:lnTo>
                  <a:lnTo>
                    <a:pt x="733" y="15"/>
                  </a:lnTo>
                  <a:lnTo>
                    <a:pt x="731" y="9"/>
                  </a:lnTo>
                  <a:lnTo>
                    <a:pt x="735" y="11"/>
                  </a:lnTo>
                  <a:lnTo>
                    <a:pt x="737" y="11"/>
                  </a:lnTo>
                  <a:lnTo>
                    <a:pt x="737" y="15"/>
                  </a:lnTo>
                  <a:lnTo>
                    <a:pt x="735" y="15"/>
                  </a:lnTo>
                  <a:lnTo>
                    <a:pt x="739" y="17"/>
                  </a:lnTo>
                  <a:lnTo>
                    <a:pt x="741" y="13"/>
                  </a:lnTo>
                  <a:lnTo>
                    <a:pt x="741" y="9"/>
                  </a:lnTo>
                  <a:lnTo>
                    <a:pt x="743" y="11"/>
                  </a:lnTo>
                  <a:lnTo>
                    <a:pt x="745" y="13"/>
                  </a:lnTo>
                  <a:lnTo>
                    <a:pt x="745" y="9"/>
                  </a:lnTo>
                  <a:lnTo>
                    <a:pt x="747" y="7"/>
                  </a:lnTo>
                  <a:lnTo>
                    <a:pt x="747" y="3"/>
                  </a:lnTo>
                  <a:lnTo>
                    <a:pt x="749" y="2"/>
                  </a:lnTo>
                  <a:lnTo>
                    <a:pt x="750" y="3"/>
                  </a:lnTo>
                  <a:lnTo>
                    <a:pt x="752" y="3"/>
                  </a:lnTo>
                  <a:lnTo>
                    <a:pt x="752" y="9"/>
                  </a:lnTo>
                  <a:lnTo>
                    <a:pt x="756" y="15"/>
                  </a:lnTo>
                  <a:lnTo>
                    <a:pt x="760" y="17"/>
                  </a:lnTo>
                  <a:lnTo>
                    <a:pt x="758" y="19"/>
                  </a:lnTo>
                  <a:lnTo>
                    <a:pt x="760" y="21"/>
                  </a:lnTo>
                  <a:lnTo>
                    <a:pt x="762" y="27"/>
                  </a:lnTo>
                  <a:lnTo>
                    <a:pt x="764" y="28"/>
                  </a:lnTo>
                  <a:lnTo>
                    <a:pt x="766" y="27"/>
                  </a:lnTo>
                  <a:lnTo>
                    <a:pt x="762" y="19"/>
                  </a:lnTo>
                  <a:lnTo>
                    <a:pt x="766" y="17"/>
                  </a:lnTo>
                  <a:lnTo>
                    <a:pt x="770" y="23"/>
                  </a:lnTo>
                  <a:lnTo>
                    <a:pt x="770" y="28"/>
                  </a:lnTo>
                  <a:lnTo>
                    <a:pt x="772" y="28"/>
                  </a:lnTo>
                  <a:lnTo>
                    <a:pt x="772" y="32"/>
                  </a:lnTo>
                  <a:lnTo>
                    <a:pt x="777" y="38"/>
                  </a:lnTo>
                  <a:lnTo>
                    <a:pt x="779" y="38"/>
                  </a:lnTo>
                  <a:lnTo>
                    <a:pt x="783" y="40"/>
                  </a:lnTo>
                  <a:lnTo>
                    <a:pt x="793" y="38"/>
                  </a:lnTo>
                  <a:lnTo>
                    <a:pt x="798" y="46"/>
                  </a:lnTo>
                  <a:lnTo>
                    <a:pt x="802" y="44"/>
                  </a:lnTo>
                  <a:lnTo>
                    <a:pt x="804" y="42"/>
                  </a:lnTo>
                  <a:lnTo>
                    <a:pt x="808" y="42"/>
                  </a:lnTo>
                  <a:lnTo>
                    <a:pt x="814" y="40"/>
                  </a:lnTo>
                  <a:lnTo>
                    <a:pt x="816" y="42"/>
                  </a:lnTo>
                  <a:lnTo>
                    <a:pt x="820" y="40"/>
                  </a:lnTo>
                  <a:lnTo>
                    <a:pt x="821" y="42"/>
                  </a:lnTo>
                  <a:lnTo>
                    <a:pt x="823" y="40"/>
                  </a:lnTo>
                  <a:lnTo>
                    <a:pt x="825" y="36"/>
                  </a:lnTo>
                  <a:lnTo>
                    <a:pt x="825" y="32"/>
                  </a:lnTo>
                  <a:lnTo>
                    <a:pt x="827" y="32"/>
                  </a:lnTo>
                  <a:lnTo>
                    <a:pt x="829" y="32"/>
                  </a:lnTo>
                  <a:lnTo>
                    <a:pt x="827" y="30"/>
                  </a:lnTo>
                  <a:lnTo>
                    <a:pt x="831" y="32"/>
                  </a:lnTo>
                  <a:lnTo>
                    <a:pt x="827" y="28"/>
                  </a:lnTo>
                  <a:lnTo>
                    <a:pt x="833" y="28"/>
                  </a:lnTo>
                  <a:lnTo>
                    <a:pt x="835" y="27"/>
                  </a:lnTo>
                  <a:lnTo>
                    <a:pt x="833" y="25"/>
                  </a:lnTo>
                  <a:lnTo>
                    <a:pt x="837" y="21"/>
                  </a:lnTo>
                  <a:lnTo>
                    <a:pt x="833" y="17"/>
                  </a:lnTo>
                  <a:lnTo>
                    <a:pt x="839" y="19"/>
                  </a:lnTo>
                  <a:lnTo>
                    <a:pt x="845" y="13"/>
                  </a:lnTo>
                  <a:lnTo>
                    <a:pt x="848" y="13"/>
                  </a:lnTo>
                  <a:lnTo>
                    <a:pt x="850" y="11"/>
                  </a:lnTo>
                  <a:lnTo>
                    <a:pt x="852" y="11"/>
                  </a:lnTo>
                  <a:lnTo>
                    <a:pt x="850" y="15"/>
                  </a:lnTo>
                  <a:lnTo>
                    <a:pt x="852" y="15"/>
                  </a:lnTo>
                  <a:lnTo>
                    <a:pt x="856" y="11"/>
                  </a:lnTo>
                  <a:lnTo>
                    <a:pt x="860" y="11"/>
                  </a:lnTo>
                  <a:lnTo>
                    <a:pt x="860" y="9"/>
                  </a:lnTo>
                  <a:lnTo>
                    <a:pt x="856" y="9"/>
                  </a:lnTo>
                  <a:lnTo>
                    <a:pt x="852" y="3"/>
                  </a:lnTo>
                  <a:lnTo>
                    <a:pt x="860" y="3"/>
                  </a:lnTo>
                  <a:lnTo>
                    <a:pt x="860" y="0"/>
                  </a:lnTo>
                  <a:lnTo>
                    <a:pt x="866" y="2"/>
                  </a:lnTo>
                  <a:lnTo>
                    <a:pt x="864" y="5"/>
                  </a:lnTo>
                  <a:lnTo>
                    <a:pt x="868" y="7"/>
                  </a:lnTo>
                  <a:lnTo>
                    <a:pt x="866" y="9"/>
                  </a:lnTo>
                  <a:lnTo>
                    <a:pt x="869" y="9"/>
                  </a:lnTo>
                  <a:lnTo>
                    <a:pt x="873" y="5"/>
                  </a:lnTo>
                  <a:lnTo>
                    <a:pt x="869" y="13"/>
                  </a:lnTo>
                  <a:lnTo>
                    <a:pt x="864" y="19"/>
                  </a:lnTo>
                  <a:lnTo>
                    <a:pt x="862" y="21"/>
                  </a:lnTo>
                  <a:lnTo>
                    <a:pt x="854" y="28"/>
                  </a:lnTo>
                  <a:lnTo>
                    <a:pt x="852" y="30"/>
                  </a:lnTo>
                  <a:lnTo>
                    <a:pt x="848" y="38"/>
                  </a:lnTo>
                  <a:lnTo>
                    <a:pt x="846" y="42"/>
                  </a:lnTo>
                  <a:lnTo>
                    <a:pt x="841" y="46"/>
                  </a:lnTo>
                  <a:lnTo>
                    <a:pt x="839" y="50"/>
                  </a:lnTo>
                  <a:lnTo>
                    <a:pt x="835" y="55"/>
                  </a:lnTo>
                  <a:lnTo>
                    <a:pt x="829" y="61"/>
                  </a:lnTo>
                  <a:lnTo>
                    <a:pt x="827" y="63"/>
                  </a:lnTo>
                  <a:lnTo>
                    <a:pt x="825" y="65"/>
                  </a:lnTo>
                  <a:lnTo>
                    <a:pt x="821" y="67"/>
                  </a:lnTo>
                  <a:lnTo>
                    <a:pt x="821" y="69"/>
                  </a:lnTo>
                  <a:lnTo>
                    <a:pt x="825" y="67"/>
                  </a:lnTo>
                  <a:lnTo>
                    <a:pt x="818" y="73"/>
                  </a:lnTo>
                  <a:lnTo>
                    <a:pt x="816" y="75"/>
                  </a:lnTo>
                  <a:lnTo>
                    <a:pt x="814" y="76"/>
                  </a:lnTo>
                  <a:lnTo>
                    <a:pt x="808" y="82"/>
                  </a:lnTo>
                  <a:lnTo>
                    <a:pt x="802" y="90"/>
                  </a:lnTo>
                  <a:lnTo>
                    <a:pt x="798" y="88"/>
                  </a:lnTo>
                  <a:lnTo>
                    <a:pt x="800" y="90"/>
                  </a:lnTo>
                  <a:lnTo>
                    <a:pt x="802" y="90"/>
                  </a:lnTo>
                  <a:lnTo>
                    <a:pt x="800" y="94"/>
                  </a:lnTo>
                  <a:lnTo>
                    <a:pt x="795" y="98"/>
                  </a:lnTo>
                  <a:lnTo>
                    <a:pt x="787" y="100"/>
                  </a:lnTo>
                  <a:lnTo>
                    <a:pt x="781" y="103"/>
                  </a:lnTo>
                  <a:lnTo>
                    <a:pt x="779" y="103"/>
                  </a:lnTo>
                  <a:lnTo>
                    <a:pt x="781" y="103"/>
                  </a:lnTo>
                  <a:lnTo>
                    <a:pt x="775" y="105"/>
                  </a:lnTo>
                  <a:lnTo>
                    <a:pt x="772" y="107"/>
                  </a:lnTo>
                  <a:lnTo>
                    <a:pt x="764" y="111"/>
                  </a:lnTo>
                  <a:lnTo>
                    <a:pt x="758" y="113"/>
                  </a:lnTo>
                  <a:lnTo>
                    <a:pt x="752" y="117"/>
                  </a:lnTo>
                  <a:lnTo>
                    <a:pt x="750" y="117"/>
                  </a:lnTo>
                  <a:lnTo>
                    <a:pt x="752" y="117"/>
                  </a:lnTo>
                  <a:lnTo>
                    <a:pt x="745" y="123"/>
                  </a:lnTo>
                  <a:lnTo>
                    <a:pt x="741" y="125"/>
                  </a:lnTo>
                  <a:lnTo>
                    <a:pt x="739" y="125"/>
                  </a:lnTo>
                  <a:lnTo>
                    <a:pt x="741" y="125"/>
                  </a:lnTo>
                  <a:lnTo>
                    <a:pt x="739" y="128"/>
                  </a:lnTo>
                  <a:lnTo>
                    <a:pt x="735" y="132"/>
                  </a:lnTo>
                  <a:lnTo>
                    <a:pt x="727" y="138"/>
                  </a:lnTo>
                  <a:lnTo>
                    <a:pt x="727" y="136"/>
                  </a:lnTo>
                  <a:lnTo>
                    <a:pt x="727" y="140"/>
                  </a:lnTo>
                  <a:lnTo>
                    <a:pt x="724" y="144"/>
                  </a:lnTo>
                  <a:lnTo>
                    <a:pt x="724" y="148"/>
                  </a:lnTo>
                  <a:lnTo>
                    <a:pt x="716" y="153"/>
                  </a:lnTo>
                  <a:lnTo>
                    <a:pt x="716" y="157"/>
                  </a:lnTo>
                  <a:lnTo>
                    <a:pt x="710" y="159"/>
                  </a:lnTo>
                  <a:lnTo>
                    <a:pt x="712" y="161"/>
                  </a:lnTo>
                  <a:lnTo>
                    <a:pt x="708" y="161"/>
                  </a:lnTo>
                  <a:lnTo>
                    <a:pt x="708" y="159"/>
                  </a:lnTo>
                  <a:lnTo>
                    <a:pt x="708" y="161"/>
                  </a:lnTo>
                  <a:lnTo>
                    <a:pt x="706" y="159"/>
                  </a:lnTo>
                  <a:lnTo>
                    <a:pt x="708" y="161"/>
                  </a:lnTo>
                  <a:lnTo>
                    <a:pt x="710" y="161"/>
                  </a:lnTo>
                  <a:lnTo>
                    <a:pt x="702" y="169"/>
                  </a:lnTo>
                  <a:lnTo>
                    <a:pt x="704" y="169"/>
                  </a:lnTo>
                  <a:lnTo>
                    <a:pt x="701" y="171"/>
                  </a:lnTo>
                  <a:lnTo>
                    <a:pt x="695" y="174"/>
                  </a:lnTo>
                  <a:lnTo>
                    <a:pt x="689" y="176"/>
                  </a:lnTo>
                  <a:lnTo>
                    <a:pt x="679" y="180"/>
                  </a:lnTo>
                  <a:lnTo>
                    <a:pt x="678" y="184"/>
                  </a:lnTo>
                  <a:lnTo>
                    <a:pt x="674" y="186"/>
                  </a:lnTo>
                  <a:lnTo>
                    <a:pt x="664" y="190"/>
                  </a:lnTo>
                  <a:lnTo>
                    <a:pt x="666" y="186"/>
                  </a:lnTo>
                  <a:lnTo>
                    <a:pt x="664" y="190"/>
                  </a:lnTo>
                  <a:lnTo>
                    <a:pt x="662" y="190"/>
                  </a:lnTo>
                  <a:lnTo>
                    <a:pt x="664" y="190"/>
                  </a:lnTo>
                  <a:lnTo>
                    <a:pt x="660" y="192"/>
                  </a:lnTo>
                  <a:lnTo>
                    <a:pt x="658" y="194"/>
                  </a:lnTo>
                  <a:lnTo>
                    <a:pt x="653" y="196"/>
                  </a:lnTo>
                  <a:lnTo>
                    <a:pt x="647" y="198"/>
                  </a:lnTo>
                  <a:lnTo>
                    <a:pt x="639" y="201"/>
                  </a:lnTo>
                  <a:lnTo>
                    <a:pt x="631" y="207"/>
                  </a:lnTo>
                  <a:lnTo>
                    <a:pt x="624" y="213"/>
                  </a:lnTo>
                  <a:lnTo>
                    <a:pt x="618" y="215"/>
                  </a:lnTo>
                  <a:lnTo>
                    <a:pt x="614" y="219"/>
                  </a:lnTo>
                  <a:lnTo>
                    <a:pt x="608" y="224"/>
                  </a:lnTo>
                  <a:lnTo>
                    <a:pt x="607" y="228"/>
                  </a:lnTo>
                  <a:lnTo>
                    <a:pt x="605" y="230"/>
                  </a:lnTo>
                  <a:lnTo>
                    <a:pt x="599" y="238"/>
                  </a:lnTo>
                  <a:lnTo>
                    <a:pt x="599" y="242"/>
                  </a:lnTo>
                  <a:lnTo>
                    <a:pt x="597" y="242"/>
                  </a:lnTo>
                  <a:lnTo>
                    <a:pt x="597" y="246"/>
                  </a:lnTo>
                  <a:lnTo>
                    <a:pt x="597" y="249"/>
                  </a:lnTo>
                  <a:lnTo>
                    <a:pt x="597" y="247"/>
                  </a:lnTo>
                  <a:lnTo>
                    <a:pt x="601" y="249"/>
                  </a:lnTo>
                  <a:lnTo>
                    <a:pt x="599" y="251"/>
                  </a:lnTo>
                  <a:lnTo>
                    <a:pt x="601" y="249"/>
                  </a:lnTo>
                  <a:lnTo>
                    <a:pt x="603" y="253"/>
                  </a:lnTo>
                  <a:lnTo>
                    <a:pt x="605" y="251"/>
                  </a:lnTo>
                  <a:lnTo>
                    <a:pt x="607" y="253"/>
                  </a:lnTo>
                  <a:lnTo>
                    <a:pt x="608" y="246"/>
                  </a:lnTo>
                  <a:lnTo>
                    <a:pt x="608" y="242"/>
                  </a:lnTo>
                  <a:lnTo>
                    <a:pt x="605" y="238"/>
                  </a:lnTo>
                  <a:lnTo>
                    <a:pt x="607" y="236"/>
                  </a:lnTo>
                  <a:lnTo>
                    <a:pt x="608" y="240"/>
                  </a:lnTo>
                  <a:lnTo>
                    <a:pt x="608" y="246"/>
                  </a:lnTo>
                  <a:lnTo>
                    <a:pt x="608" y="253"/>
                  </a:lnTo>
                  <a:lnTo>
                    <a:pt x="607" y="257"/>
                  </a:lnTo>
                  <a:lnTo>
                    <a:pt x="607" y="265"/>
                  </a:lnTo>
                  <a:lnTo>
                    <a:pt x="603" y="265"/>
                  </a:lnTo>
                  <a:lnTo>
                    <a:pt x="607" y="267"/>
                  </a:lnTo>
                  <a:lnTo>
                    <a:pt x="605" y="269"/>
                  </a:lnTo>
                  <a:lnTo>
                    <a:pt x="607" y="267"/>
                  </a:lnTo>
                  <a:lnTo>
                    <a:pt x="605" y="267"/>
                  </a:lnTo>
                  <a:lnTo>
                    <a:pt x="608" y="267"/>
                  </a:lnTo>
                  <a:lnTo>
                    <a:pt x="607" y="265"/>
                  </a:lnTo>
                  <a:lnTo>
                    <a:pt x="608" y="265"/>
                  </a:lnTo>
                  <a:lnTo>
                    <a:pt x="608" y="267"/>
                  </a:lnTo>
                  <a:lnTo>
                    <a:pt x="605" y="272"/>
                  </a:lnTo>
                  <a:lnTo>
                    <a:pt x="603" y="278"/>
                  </a:lnTo>
                  <a:lnTo>
                    <a:pt x="601" y="278"/>
                  </a:lnTo>
                  <a:lnTo>
                    <a:pt x="601" y="280"/>
                  </a:lnTo>
                  <a:lnTo>
                    <a:pt x="597" y="282"/>
                  </a:lnTo>
                  <a:lnTo>
                    <a:pt x="601" y="282"/>
                  </a:lnTo>
                  <a:lnTo>
                    <a:pt x="603" y="280"/>
                  </a:lnTo>
                  <a:lnTo>
                    <a:pt x="601" y="282"/>
                  </a:lnTo>
                  <a:lnTo>
                    <a:pt x="599" y="284"/>
                  </a:lnTo>
                  <a:lnTo>
                    <a:pt x="589" y="288"/>
                  </a:lnTo>
                  <a:lnTo>
                    <a:pt x="582" y="292"/>
                  </a:lnTo>
                  <a:lnTo>
                    <a:pt x="576" y="294"/>
                  </a:lnTo>
                  <a:lnTo>
                    <a:pt x="570" y="297"/>
                  </a:lnTo>
                  <a:lnTo>
                    <a:pt x="564" y="301"/>
                  </a:lnTo>
                  <a:lnTo>
                    <a:pt x="564" y="297"/>
                  </a:lnTo>
                  <a:lnTo>
                    <a:pt x="562" y="301"/>
                  </a:lnTo>
                  <a:lnTo>
                    <a:pt x="553" y="303"/>
                  </a:lnTo>
                  <a:lnTo>
                    <a:pt x="549" y="305"/>
                  </a:lnTo>
                  <a:lnTo>
                    <a:pt x="543" y="309"/>
                  </a:lnTo>
                  <a:lnTo>
                    <a:pt x="539" y="311"/>
                  </a:lnTo>
                  <a:lnTo>
                    <a:pt x="537" y="311"/>
                  </a:lnTo>
                  <a:lnTo>
                    <a:pt x="539" y="305"/>
                  </a:lnTo>
                  <a:lnTo>
                    <a:pt x="537" y="309"/>
                  </a:lnTo>
                  <a:lnTo>
                    <a:pt x="534" y="309"/>
                  </a:lnTo>
                  <a:lnTo>
                    <a:pt x="530" y="307"/>
                  </a:lnTo>
                  <a:lnTo>
                    <a:pt x="520" y="307"/>
                  </a:lnTo>
                  <a:lnTo>
                    <a:pt x="520" y="303"/>
                  </a:lnTo>
                  <a:lnTo>
                    <a:pt x="520" y="305"/>
                  </a:lnTo>
                  <a:lnTo>
                    <a:pt x="514" y="305"/>
                  </a:lnTo>
                  <a:lnTo>
                    <a:pt x="520" y="307"/>
                  </a:lnTo>
                  <a:lnTo>
                    <a:pt x="514" y="307"/>
                  </a:lnTo>
                  <a:lnTo>
                    <a:pt x="512" y="305"/>
                  </a:lnTo>
                  <a:lnTo>
                    <a:pt x="503" y="307"/>
                  </a:lnTo>
                  <a:lnTo>
                    <a:pt x="495" y="311"/>
                  </a:lnTo>
                  <a:lnTo>
                    <a:pt x="489" y="315"/>
                  </a:lnTo>
                  <a:lnTo>
                    <a:pt x="489" y="313"/>
                  </a:lnTo>
                  <a:lnTo>
                    <a:pt x="489" y="315"/>
                  </a:lnTo>
                  <a:lnTo>
                    <a:pt x="486" y="319"/>
                  </a:lnTo>
                  <a:lnTo>
                    <a:pt x="482" y="326"/>
                  </a:lnTo>
                  <a:lnTo>
                    <a:pt x="482" y="332"/>
                  </a:lnTo>
                  <a:lnTo>
                    <a:pt x="480" y="334"/>
                  </a:lnTo>
                  <a:lnTo>
                    <a:pt x="476" y="342"/>
                  </a:lnTo>
                  <a:lnTo>
                    <a:pt x="474" y="343"/>
                  </a:lnTo>
                  <a:lnTo>
                    <a:pt x="474" y="347"/>
                  </a:lnTo>
                  <a:lnTo>
                    <a:pt x="474" y="349"/>
                  </a:lnTo>
                  <a:lnTo>
                    <a:pt x="468" y="353"/>
                  </a:lnTo>
                  <a:lnTo>
                    <a:pt x="461" y="361"/>
                  </a:lnTo>
                  <a:lnTo>
                    <a:pt x="461" y="363"/>
                  </a:lnTo>
                  <a:lnTo>
                    <a:pt x="459" y="367"/>
                  </a:lnTo>
                  <a:lnTo>
                    <a:pt x="461" y="368"/>
                  </a:lnTo>
                  <a:lnTo>
                    <a:pt x="461" y="365"/>
                  </a:lnTo>
                  <a:lnTo>
                    <a:pt x="461" y="370"/>
                  </a:lnTo>
                  <a:lnTo>
                    <a:pt x="459" y="368"/>
                  </a:lnTo>
                  <a:lnTo>
                    <a:pt x="457" y="367"/>
                  </a:lnTo>
                  <a:lnTo>
                    <a:pt x="449" y="361"/>
                  </a:lnTo>
                  <a:lnTo>
                    <a:pt x="449" y="357"/>
                  </a:lnTo>
                  <a:lnTo>
                    <a:pt x="445" y="363"/>
                  </a:lnTo>
                  <a:lnTo>
                    <a:pt x="441" y="372"/>
                  </a:lnTo>
                  <a:lnTo>
                    <a:pt x="440" y="372"/>
                  </a:lnTo>
                  <a:lnTo>
                    <a:pt x="438" y="365"/>
                  </a:lnTo>
                  <a:lnTo>
                    <a:pt x="440" y="365"/>
                  </a:lnTo>
                  <a:lnTo>
                    <a:pt x="440" y="363"/>
                  </a:lnTo>
                  <a:lnTo>
                    <a:pt x="438" y="361"/>
                  </a:lnTo>
                  <a:lnTo>
                    <a:pt x="430" y="357"/>
                  </a:lnTo>
                  <a:lnTo>
                    <a:pt x="420" y="357"/>
                  </a:lnTo>
                  <a:lnTo>
                    <a:pt x="415" y="359"/>
                  </a:lnTo>
                  <a:lnTo>
                    <a:pt x="411" y="361"/>
                  </a:lnTo>
                  <a:lnTo>
                    <a:pt x="409" y="359"/>
                  </a:lnTo>
                  <a:lnTo>
                    <a:pt x="411" y="361"/>
                  </a:lnTo>
                  <a:lnTo>
                    <a:pt x="401" y="365"/>
                  </a:lnTo>
                  <a:lnTo>
                    <a:pt x="393" y="368"/>
                  </a:lnTo>
                  <a:lnTo>
                    <a:pt x="390" y="370"/>
                  </a:lnTo>
                  <a:lnTo>
                    <a:pt x="386" y="374"/>
                  </a:lnTo>
                  <a:lnTo>
                    <a:pt x="382" y="378"/>
                  </a:lnTo>
                  <a:lnTo>
                    <a:pt x="378" y="386"/>
                  </a:lnTo>
                  <a:lnTo>
                    <a:pt x="374" y="395"/>
                  </a:lnTo>
                  <a:lnTo>
                    <a:pt x="376" y="393"/>
                  </a:lnTo>
                  <a:lnTo>
                    <a:pt x="372" y="403"/>
                  </a:lnTo>
                  <a:lnTo>
                    <a:pt x="370" y="405"/>
                  </a:lnTo>
                  <a:lnTo>
                    <a:pt x="365" y="411"/>
                  </a:lnTo>
                  <a:lnTo>
                    <a:pt x="363" y="415"/>
                  </a:lnTo>
                  <a:lnTo>
                    <a:pt x="359" y="424"/>
                  </a:lnTo>
                  <a:lnTo>
                    <a:pt x="359" y="432"/>
                  </a:lnTo>
                  <a:lnTo>
                    <a:pt x="357" y="436"/>
                  </a:lnTo>
                  <a:lnTo>
                    <a:pt x="355" y="443"/>
                  </a:lnTo>
                  <a:lnTo>
                    <a:pt x="357" y="453"/>
                  </a:lnTo>
                  <a:lnTo>
                    <a:pt x="357" y="461"/>
                  </a:lnTo>
                  <a:lnTo>
                    <a:pt x="359" y="466"/>
                  </a:lnTo>
                  <a:lnTo>
                    <a:pt x="359" y="472"/>
                  </a:lnTo>
                  <a:lnTo>
                    <a:pt x="357" y="474"/>
                  </a:lnTo>
                  <a:lnTo>
                    <a:pt x="359" y="474"/>
                  </a:lnTo>
                  <a:lnTo>
                    <a:pt x="359" y="472"/>
                  </a:lnTo>
                  <a:lnTo>
                    <a:pt x="361" y="480"/>
                  </a:lnTo>
                  <a:lnTo>
                    <a:pt x="365" y="486"/>
                  </a:lnTo>
                  <a:lnTo>
                    <a:pt x="363" y="486"/>
                  </a:lnTo>
                  <a:lnTo>
                    <a:pt x="365" y="486"/>
                  </a:lnTo>
                  <a:lnTo>
                    <a:pt x="365" y="484"/>
                  </a:lnTo>
                  <a:lnTo>
                    <a:pt x="363" y="482"/>
                  </a:lnTo>
                  <a:lnTo>
                    <a:pt x="365" y="482"/>
                  </a:lnTo>
                  <a:lnTo>
                    <a:pt x="365" y="486"/>
                  </a:lnTo>
                  <a:lnTo>
                    <a:pt x="367" y="493"/>
                  </a:lnTo>
                  <a:lnTo>
                    <a:pt x="370" y="497"/>
                  </a:lnTo>
                  <a:lnTo>
                    <a:pt x="369" y="497"/>
                  </a:lnTo>
                  <a:lnTo>
                    <a:pt x="370" y="497"/>
                  </a:lnTo>
                  <a:lnTo>
                    <a:pt x="365" y="499"/>
                  </a:lnTo>
                  <a:lnTo>
                    <a:pt x="367" y="499"/>
                  </a:lnTo>
                  <a:lnTo>
                    <a:pt x="369" y="499"/>
                  </a:lnTo>
                  <a:lnTo>
                    <a:pt x="370" y="497"/>
                  </a:lnTo>
                  <a:lnTo>
                    <a:pt x="369" y="505"/>
                  </a:lnTo>
                  <a:lnTo>
                    <a:pt x="369" y="514"/>
                  </a:lnTo>
                  <a:lnTo>
                    <a:pt x="367" y="520"/>
                  </a:lnTo>
                  <a:lnTo>
                    <a:pt x="367" y="522"/>
                  </a:lnTo>
                  <a:lnTo>
                    <a:pt x="363" y="532"/>
                  </a:lnTo>
                  <a:lnTo>
                    <a:pt x="365" y="534"/>
                  </a:lnTo>
                  <a:lnTo>
                    <a:pt x="359" y="534"/>
                  </a:lnTo>
                  <a:lnTo>
                    <a:pt x="365" y="536"/>
                  </a:lnTo>
                  <a:lnTo>
                    <a:pt x="363" y="539"/>
                  </a:lnTo>
                  <a:lnTo>
                    <a:pt x="363" y="545"/>
                  </a:lnTo>
                  <a:lnTo>
                    <a:pt x="363" y="551"/>
                  </a:lnTo>
                  <a:lnTo>
                    <a:pt x="365" y="557"/>
                  </a:lnTo>
                  <a:lnTo>
                    <a:pt x="367" y="562"/>
                  </a:lnTo>
                  <a:lnTo>
                    <a:pt x="369" y="566"/>
                  </a:lnTo>
                  <a:lnTo>
                    <a:pt x="370" y="570"/>
                  </a:lnTo>
                  <a:lnTo>
                    <a:pt x="372" y="574"/>
                  </a:lnTo>
                  <a:lnTo>
                    <a:pt x="374" y="582"/>
                  </a:lnTo>
                  <a:lnTo>
                    <a:pt x="374" y="586"/>
                  </a:lnTo>
                  <a:lnTo>
                    <a:pt x="372" y="593"/>
                  </a:lnTo>
                  <a:lnTo>
                    <a:pt x="372" y="599"/>
                  </a:lnTo>
                  <a:lnTo>
                    <a:pt x="374" y="603"/>
                  </a:lnTo>
                  <a:lnTo>
                    <a:pt x="376" y="609"/>
                  </a:lnTo>
                  <a:lnTo>
                    <a:pt x="376" y="610"/>
                  </a:lnTo>
                  <a:lnTo>
                    <a:pt x="372" y="618"/>
                  </a:lnTo>
                  <a:lnTo>
                    <a:pt x="367" y="616"/>
                  </a:lnTo>
                  <a:lnTo>
                    <a:pt x="361" y="614"/>
                  </a:lnTo>
                  <a:lnTo>
                    <a:pt x="359" y="614"/>
                  </a:lnTo>
                  <a:lnTo>
                    <a:pt x="359" y="616"/>
                  </a:lnTo>
                  <a:lnTo>
                    <a:pt x="355" y="616"/>
                  </a:lnTo>
                  <a:lnTo>
                    <a:pt x="357" y="610"/>
                  </a:lnTo>
                  <a:lnTo>
                    <a:pt x="353" y="612"/>
                  </a:lnTo>
                  <a:lnTo>
                    <a:pt x="347" y="610"/>
                  </a:lnTo>
                  <a:lnTo>
                    <a:pt x="347" y="612"/>
                  </a:lnTo>
                  <a:lnTo>
                    <a:pt x="353" y="614"/>
                  </a:lnTo>
                  <a:lnTo>
                    <a:pt x="353" y="616"/>
                  </a:lnTo>
                  <a:lnTo>
                    <a:pt x="349" y="616"/>
                  </a:lnTo>
                  <a:lnTo>
                    <a:pt x="347" y="618"/>
                  </a:lnTo>
                  <a:lnTo>
                    <a:pt x="344" y="620"/>
                  </a:lnTo>
                  <a:lnTo>
                    <a:pt x="345" y="624"/>
                  </a:lnTo>
                  <a:lnTo>
                    <a:pt x="342" y="624"/>
                  </a:lnTo>
                  <a:lnTo>
                    <a:pt x="342" y="628"/>
                  </a:lnTo>
                  <a:lnTo>
                    <a:pt x="344" y="628"/>
                  </a:lnTo>
                  <a:lnTo>
                    <a:pt x="340" y="632"/>
                  </a:lnTo>
                  <a:lnTo>
                    <a:pt x="338" y="632"/>
                  </a:lnTo>
                  <a:lnTo>
                    <a:pt x="332" y="635"/>
                  </a:lnTo>
                  <a:lnTo>
                    <a:pt x="326" y="635"/>
                  </a:lnTo>
                  <a:lnTo>
                    <a:pt x="324" y="637"/>
                  </a:lnTo>
                  <a:lnTo>
                    <a:pt x="321" y="635"/>
                  </a:lnTo>
                  <a:lnTo>
                    <a:pt x="321" y="637"/>
                  </a:lnTo>
                  <a:lnTo>
                    <a:pt x="319" y="639"/>
                  </a:lnTo>
                  <a:lnTo>
                    <a:pt x="324" y="643"/>
                  </a:lnTo>
                  <a:lnTo>
                    <a:pt x="321" y="647"/>
                  </a:lnTo>
                  <a:lnTo>
                    <a:pt x="319" y="645"/>
                  </a:lnTo>
                  <a:lnTo>
                    <a:pt x="317" y="647"/>
                  </a:lnTo>
                  <a:lnTo>
                    <a:pt x="315" y="645"/>
                  </a:lnTo>
                  <a:lnTo>
                    <a:pt x="315" y="643"/>
                  </a:lnTo>
                  <a:lnTo>
                    <a:pt x="313" y="643"/>
                  </a:lnTo>
                  <a:lnTo>
                    <a:pt x="315" y="641"/>
                  </a:lnTo>
                  <a:lnTo>
                    <a:pt x="313" y="639"/>
                  </a:lnTo>
                  <a:lnTo>
                    <a:pt x="307" y="641"/>
                  </a:lnTo>
                  <a:lnTo>
                    <a:pt x="305" y="639"/>
                  </a:lnTo>
                  <a:lnTo>
                    <a:pt x="301" y="641"/>
                  </a:lnTo>
                  <a:lnTo>
                    <a:pt x="299" y="639"/>
                  </a:lnTo>
                  <a:lnTo>
                    <a:pt x="298" y="634"/>
                  </a:lnTo>
                  <a:lnTo>
                    <a:pt x="288" y="634"/>
                  </a:lnTo>
                  <a:lnTo>
                    <a:pt x="280" y="635"/>
                  </a:lnTo>
                  <a:lnTo>
                    <a:pt x="286" y="637"/>
                  </a:lnTo>
                  <a:lnTo>
                    <a:pt x="284" y="645"/>
                  </a:lnTo>
                  <a:lnTo>
                    <a:pt x="288" y="643"/>
                  </a:lnTo>
                  <a:lnTo>
                    <a:pt x="286" y="647"/>
                  </a:lnTo>
                  <a:lnTo>
                    <a:pt x="286" y="649"/>
                  </a:lnTo>
                  <a:lnTo>
                    <a:pt x="280" y="649"/>
                  </a:lnTo>
                  <a:lnTo>
                    <a:pt x="278" y="651"/>
                  </a:lnTo>
                  <a:lnTo>
                    <a:pt x="276" y="651"/>
                  </a:lnTo>
                  <a:lnTo>
                    <a:pt x="278" y="655"/>
                  </a:lnTo>
                  <a:lnTo>
                    <a:pt x="274" y="657"/>
                  </a:lnTo>
                  <a:lnTo>
                    <a:pt x="273" y="659"/>
                  </a:lnTo>
                  <a:lnTo>
                    <a:pt x="273" y="657"/>
                  </a:lnTo>
                  <a:lnTo>
                    <a:pt x="269" y="657"/>
                  </a:lnTo>
                  <a:lnTo>
                    <a:pt x="269" y="653"/>
                  </a:lnTo>
                  <a:lnTo>
                    <a:pt x="267" y="653"/>
                  </a:lnTo>
                  <a:lnTo>
                    <a:pt x="265" y="655"/>
                  </a:lnTo>
                  <a:lnTo>
                    <a:pt x="263" y="655"/>
                  </a:lnTo>
                  <a:lnTo>
                    <a:pt x="263" y="659"/>
                  </a:lnTo>
                  <a:lnTo>
                    <a:pt x="259" y="660"/>
                  </a:lnTo>
                  <a:lnTo>
                    <a:pt x="259" y="666"/>
                  </a:lnTo>
                  <a:lnTo>
                    <a:pt x="257" y="668"/>
                  </a:lnTo>
                  <a:lnTo>
                    <a:pt x="253" y="666"/>
                  </a:lnTo>
                  <a:lnTo>
                    <a:pt x="248" y="668"/>
                  </a:lnTo>
                  <a:lnTo>
                    <a:pt x="246" y="664"/>
                  </a:lnTo>
                  <a:lnTo>
                    <a:pt x="238" y="660"/>
                  </a:lnTo>
                  <a:lnTo>
                    <a:pt x="230" y="662"/>
                  </a:lnTo>
                  <a:lnTo>
                    <a:pt x="228" y="662"/>
                  </a:lnTo>
                  <a:lnTo>
                    <a:pt x="228" y="664"/>
                  </a:lnTo>
                  <a:lnTo>
                    <a:pt x="232" y="666"/>
                  </a:lnTo>
                  <a:lnTo>
                    <a:pt x="226" y="666"/>
                  </a:lnTo>
                  <a:lnTo>
                    <a:pt x="226" y="660"/>
                  </a:lnTo>
                  <a:lnTo>
                    <a:pt x="226" y="659"/>
                  </a:lnTo>
                  <a:lnTo>
                    <a:pt x="225" y="660"/>
                  </a:lnTo>
                  <a:lnTo>
                    <a:pt x="219" y="660"/>
                  </a:lnTo>
                  <a:lnTo>
                    <a:pt x="211" y="664"/>
                  </a:lnTo>
                  <a:lnTo>
                    <a:pt x="207" y="662"/>
                  </a:lnTo>
                  <a:lnTo>
                    <a:pt x="207" y="668"/>
                  </a:lnTo>
                  <a:lnTo>
                    <a:pt x="202" y="666"/>
                  </a:lnTo>
                  <a:lnTo>
                    <a:pt x="198" y="672"/>
                  </a:lnTo>
                  <a:lnTo>
                    <a:pt x="202" y="678"/>
                  </a:lnTo>
                  <a:lnTo>
                    <a:pt x="200" y="678"/>
                  </a:lnTo>
                  <a:lnTo>
                    <a:pt x="196" y="687"/>
                  </a:lnTo>
                  <a:lnTo>
                    <a:pt x="194" y="693"/>
                  </a:lnTo>
                  <a:lnTo>
                    <a:pt x="190" y="697"/>
                  </a:lnTo>
                  <a:lnTo>
                    <a:pt x="190" y="703"/>
                  </a:lnTo>
                  <a:lnTo>
                    <a:pt x="188" y="705"/>
                  </a:lnTo>
                  <a:lnTo>
                    <a:pt x="186" y="701"/>
                  </a:lnTo>
                  <a:lnTo>
                    <a:pt x="182" y="699"/>
                  </a:lnTo>
                  <a:lnTo>
                    <a:pt x="184" y="705"/>
                  </a:lnTo>
                  <a:lnTo>
                    <a:pt x="182" y="707"/>
                  </a:lnTo>
                  <a:lnTo>
                    <a:pt x="180" y="707"/>
                  </a:lnTo>
                  <a:lnTo>
                    <a:pt x="180" y="710"/>
                  </a:lnTo>
                  <a:lnTo>
                    <a:pt x="177" y="710"/>
                  </a:lnTo>
                  <a:lnTo>
                    <a:pt x="169" y="710"/>
                  </a:lnTo>
                  <a:lnTo>
                    <a:pt x="163" y="707"/>
                  </a:lnTo>
                  <a:lnTo>
                    <a:pt x="159" y="703"/>
                  </a:lnTo>
                  <a:lnTo>
                    <a:pt x="152" y="705"/>
                  </a:lnTo>
                  <a:lnTo>
                    <a:pt x="152" y="703"/>
                  </a:lnTo>
                  <a:lnTo>
                    <a:pt x="155" y="699"/>
                  </a:lnTo>
                  <a:lnTo>
                    <a:pt x="155" y="697"/>
                  </a:lnTo>
                  <a:lnTo>
                    <a:pt x="157" y="689"/>
                  </a:lnTo>
                  <a:lnTo>
                    <a:pt x="157" y="685"/>
                  </a:lnTo>
                  <a:lnTo>
                    <a:pt x="163" y="685"/>
                  </a:lnTo>
                  <a:lnTo>
                    <a:pt x="165" y="683"/>
                  </a:lnTo>
                  <a:lnTo>
                    <a:pt x="165" y="682"/>
                  </a:lnTo>
                  <a:lnTo>
                    <a:pt x="167" y="682"/>
                  </a:lnTo>
                  <a:lnTo>
                    <a:pt x="169" y="676"/>
                  </a:lnTo>
                  <a:lnTo>
                    <a:pt x="173" y="680"/>
                  </a:lnTo>
                  <a:lnTo>
                    <a:pt x="179" y="680"/>
                  </a:lnTo>
                  <a:lnTo>
                    <a:pt x="180" y="683"/>
                  </a:lnTo>
                  <a:lnTo>
                    <a:pt x="180" y="682"/>
                  </a:lnTo>
                  <a:lnTo>
                    <a:pt x="177" y="678"/>
                  </a:lnTo>
                  <a:lnTo>
                    <a:pt x="175" y="680"/>
                  </a:lnTo>
                  <a:lnTo>
                    <a:pt x="175" y="676"/>
                  </a:lnTo>
                  <a:lnTo>
                    <a:pt x="177" y="674"/>
                  </a:lnTo>
                  <a:lnTo>
                    <a:pt x="177" y="672"/>
                  </a:lnTo>
                  <a:lnTo>
                    <a:pt x="180" y="672"/>
                  </a:lnTo>
                  <a:lnTo>
                    <a:pt x="179" y="664"/>
                  </a:lnTo>
                  <a:lnTo>
                    <a:pt x="186" y="662"/>
                  </a:lnTo>
                  <a:lnTo>
                    <a:pt x="186" y="659"/>
                  </a:lnTo>
                  <a:lnTo>
                    <a:pt x="190" y="659"/>
                  </a:lnTo>
                  <a:lnTo>
                    <a:pt x="188" y="655"/>
                  </a:lnTo>
                  <a:lnTo>
                    <a:pt x="192" y="651"/>
                  </a:lnTo>
                  <a:lnTo>
                    <a:pt x="190" y="647"/>
                  </a:lnTo>
                  <a:lnTo>
                    <a:pt x="194" y="647"/>
                  </a:lnTo>
                  <a:lnTo>
                    <a:pt x="192" y="643"/>
                  </a:lnTo>
                  <a:lnTo>
                    <a:pt x="194" y="639"/>
                  </a:lnTo>
                  <a:lnTo>
                    <a:pt x="192" y="637"/>
                  </a:lnTo>
                  <a:lnTo>
                    <a:pt x="188" y="637"/>
                  </a:lnTo>
                  <a:lnTo>
                    <a:pt x="188" y="641"/>
                  </a:lnTo>
                  <a:lnTo>
                    <a:pt x="182" y="635"/>
                  </a:lnTo>
                  <a:lnTo>
                    <a:pt x="180" y="637"/>
                  </a:lnTo>
                  <a:lnTo>
                    <a:pt x="179" y="635"/>
                  </a:lnTo>
                  <a:lnTo>
                    <a:pt x="175" y="635"/>
                  </a:lnTo>
                  <a:lnTo>
                    <a:pt x="173" y="634"/>
                  </a:lnTo>
                  <a:lnTo>
                    <a:pt x="175" y="632"/>
                  </a:lnTo>
                  <a:lnTo>
                    <a:pt x="171" y="630"/>
                  </a:lnTo>
                  <a:lnTo>
                    <a:pt x="171" y="624"/>
                  </a:lnTo>
                  <a:lnTo>
                    <a:pt x="171" y="620"/>
                  </a:lnTo>
                  <a:lnTo>
                    <a:pt x="171" y="612"/>
                  </a:lnTo>
                  <a:lnTo>
                    <a:pt x="175" y="609"/>
                  </a:lnTo>
                  <a:lnTo>
                    <a:pt x="173" y="607"/>
                  </a:lnTo>
                  <a:lnTo>
                    <a:pt x="171" y="607"/>
                  </a:lnTo>
                  <a:lnTo>
                    <a:pt x="167" y="609"/>
                  </a:lnTo>
                  <a:lnTo>
                    <a:pt x="165" y="607"/>
                  </a:lnTo>
                  <a:lnTo>
                    <a:pt x="157" y="607"/>
                  </a:lnTo>
                  <a:lnTo>
                    <a:pt x="154" y="609"/>
                  </a:lnTo>
                  <a:lnTo>
                    <a:pt x="152" y="607"/>
                  </a:lnTo>
                  <a:lnTo>
                    <a:pt x="154" y="603"/>
                  </a:lnTo>
                  <a:lnTo>
                    <a:pt x="150" y="601"/>
                  </a:lnTo>
                  <a:lnTo>
                    <a:pt x="150" y="599"/>
                  </a:lnTo>
                  <a:lnTo>
                    <a:pt x="142" y="601"/>
                  </a:lnTo>
                  <a:lnTo>
                    <a:pt x="138" y="597"/>
                  </a:lnTo>
                  <a:lnTo>
                    <a:pt x="140" y="595"/>
                  </a:lnTo>
                  <a:lnTo>
                    <a:pt x="144" y="595"/>
                  </a:lnTo>
                  <a:lnTo>
                    <a:pt x="144" y="591"/>
                  </a:lnTo>
                  <a:lnTo>
                    <a:pt x="142" y="589"/>
                  </a:lnTo>
                  <a:lnTo>
                    <a:pt x="146" y="586"/>
                  </a:lnTo>
                  <a:lnTo>
                    <a:pt x="144" y="582"/>
                  </a:lnTo>
                  <a:lnTo>
                    <a:pt x="146" y="578"/>
                  </a:lnTo>
                  <a:lnTo>
                    <a:pt x="144" y="576"/>
                  </a:lnTo>
                  <a:lnTo>
                    <a:pt x="142" y="576"/>
                  </a:lnTo>
                  <a:lnTo>
                    <a:pt x="140" y="574"/>
                  </a:lnTo>
                  <a:lnTo>
                    <a:pt x="138" y="572"/>
                  </a:lnTo>
                  <a:lnTo>
                    <a:pt x="136" y="576"/>
                  </a:lnTo>
                  <a:lnTo>
                    <a:pt x="132" y="576"/>
                  </a:lnTo>
                  <a:lnTo>
                    <a:pt x="131" y="580"/>
                  </a:lnTo>
                  <a:lnTo>
                    <a:pt x="127" y="580"/>
                  </a:lnTo>
                  <a:lnTo>
                    <a:pt x="127" y="574"/>
                  </a:lnTo>
                  <a:lnTo>
                    <a:pt x="131" y="572"/>
                  </a:lnTo>
                  <a:lnTo>
                    <a:pt x="131" y="566"/>
                  </a:lnTo>
                  <a:lnTo>
                    <a:pt x="123" y="572"/>
                  </a:lnTo>
                  <a:lnTo>
                    <a:pt x="121" y="568"/>
                  </a:lnTo>
                  <a:lnTo>
                    <a:pt x="113" y="568"/>
                  </a:lnTo>
                  <a:lnTo>
                    <a:pt x="111" y="570"/>
                  </a:lnTo>
                  <a:lnTo>
                    <a:pt x="115" y="576"/>
                  </a:lnTo>
                  <a:lnTo>
                    <a:pt x="109" y="578"/>
                  </a:lnTo>
                  <a:lnTo>
                    <a:pt x="109" y="582"/>
                  </a:lnTo>
                  <a:lnTo>
                    <a:pt x="102" y="584"/>
                  </a:lnTo>
                  <a:lnTo>
                    <a:pt x="102" y="589"/>
                  </a:lnTo>
                  <a:lnTo>
                    <a:pt x="100" y="587"/>
                  </a:lnTo>
                  <a:lnTo>
                    <a:pt x="96" y="587"/>
                  </a:lnTo>
                  <a:lnTo>
                    <a:pt x="98" y="586"/>
                  </a:lnTo>
                  <a:lnTo>
                    <a:pt x="96" y="586"/>
                  </a:lnTo>
                  <a:lnTo>
                    <a:pt x="90" y="587"/>
                  </a:lnTo>
                  <a:lnTo>
                    <a:pt x="94" y="589"/>
                  </a:lnTo>
                  <a:lnTo>
                    <a:pt x="92" y="589"/>
                  </a:lnTo>
                  <a:lnTo>
                    <a:pt x="88" y="587"/>
                  </a:lnTo>
                  <a:lnTo>
                    <a:pt x="84" y="591"/>
                  </a:lnTo>
                  <a:lnTo>
                    <a:pt x="83" y="587"/>
                  </a:lnTo>
                  <a:lnTo>
                    <a:pt x="81" y="587"/>
                  </a:lnTo>
                  <a:lnTo>
                    <a:pt x="81" y="595"/>
                  </a:lnTo>
                  <a:lnTo>
                    <a:pt x="77" y="593"/>
                  </a:lnTo>
                  <a:lnTo>
                    <a:pt x="77" y="595"/>
                  </a:lnTo>
                  <a:lnTo>
                    <a:pt x="73" y="597"/>
                  </a:lnTo>
                  <a:lnTo>
                    <a:pt x="75" y="587"/>
                  </a:lnTo>
                  <a:lnTo>
                    <a:pt x="73" y="584"/>
                  </a:lnTo>
                  <a:lnTo>
                    <a:pt x="75" y="582"/>
                  </a:lnTo>
                  <a:lnTo>
                    <a:pt x="69" y="584"/>
                  </a:lnTo>
                  <a:lnTo>
                    <a:pt x="71" y="578"/>
                  </a:lnTo>
                  <a:lnTo>
                    <a:pt x="65" y="580"/>
                  </a:lnTo>
                  <a:lnTo>
                    <a:pt x="63" y="578"/>
                  </a:lnTo>
                  <a:lnTo>
                    <a:pt x="60" y="580"/>
                  </a:lnTo>
                  <a:lnTo>
                    <a:pt x="58" y="576"/>
                  </a:lnTo>
                  <a:lnTo>
                    <a:pt x="52" y="578"/>
                  </a:lnTo>
                  <a:lnTo>
                    <a:pt x="52" y="572"/>
                  </a:lnTo>
                  <a:lnTo>
                    <a:pt x="48" y="572"/>
                  </a:lnTo>
                  <a:lnTo>
                    <a:pt x="48" y="576"/>
                  </a:lnTo>
                  <a:lnTo>
                    <a:pt x="48" y="574"/>
                  </a:lnTo>
                  <a:lnTo>
                    <a:pt x="46" y="576"/>
                  </a:lnTo>
                  <a:lnTo>
                    <a:pt x="44" y="576"/>
                  </a:lnTo>
                  <a:lnTo>
                    <a:pt x="44" y="570"/>
                  </a:lnTo>
                  <a:lnTo>
                    <a:pt x="42" y="572"/>
                  </a:lnTo>
                  <a:lnTo>
                    <a:pt x="42" y="576"/>
                  </a:lnTo>
                  <a:lnTo>
                    <a:pt x="38" y="578"/>
                  </a:lnTo>
                  <a:lnTo>
                    <a:pt x="42" y="580"/>
                  </a:lnTo>
                  <a:lnTo>
                    <a:pt x="42" y="582"/>
                  </a:lnTo>
                  <a:lnTo>
                    <a:pt x="42" y="587"/>
                  </a:lnTo>
                  <a:lnTo>
                    <a:pt x="38" y="587"/>
                  </a:lnTo>
                  <a:lnTo>
                    <a:pt x="35" y="587"/>
                  </a:lnTo>
                  <a:lnTo>
                    <a:pt x="33" y="589"/>
                  </a:lnTo>
                  <a:lnTo>
                    <a:pt x="31" y="589"/>
                  </a:lnTo>
                  <a:lnTo>
                    <a:pt x="27" y="586"/>
                  </a:lnTo>
                  <a:lnTo>
                    <a:pt x="25" y="589"/>
                  </a:lnTo>
                  <a:lnTo>
                    <a:pt x="23" y="582"/>
                  </a:lnTo>
                  <a:lnTo>
                    <a:pt x="21" y="582"/>
                  </a:lnTo>
                  <a:lnTo>
                    <a:pt x="25" y="578"/>
                  </a:lnTo>
                  <a:lnTo>
                    <a:pt x="27" y="572"/>
                  </a:lnTo>
                  <a:lnTo>
                    <a:pt x="29" y="572"/>
                  </a:lnTo>
                  <a:lnTo>
                    <a:pt x="29" y="568"/>
                  </a:lnTo>
                  <a:lnTo>
                    <a:pt x="25" y="566"/>
                  </a:lnTo>
                  <a:lnTo>
                    <a:pt x="25" y="562"/>
                  </a:lnTo>
                  <a:lnTo>
                    <a:pt x="17" y="559"/>
                  </a:lnTo>
                  <a:lnTo>
                    <a:pt x="19" y="555"/>
                  </a:lnTo>
                  <a:lnTo>
                    <a:pt x="23" y="555"/>
                  </a:lnTo>
                  <a:lnTo>
                    <a:pt x="23" y="553"/>
                  </a:lnTo>
                  <a:lnTo>
                    <a:pt x="17" y="547"/>
                  </a:lnTo>
                  <a:lnTo>
                    <a:pt x="13" y="547"/>
                  </a:lnTo>
                  <a:lnTo>
                    <a:pt x="13" y="543"/>
                  </a:lnTo>
                  <a:lnTo>
                    <a:pt x="19" y="543"/>
                  </a:lnTo>
                  <a:lnTo>
                    <a:pt x="19" y="539"/>
                  </a:lnTo>
                  <a:lnTo>
                    <a:pt x="21" y="541"/>
                  </a:lnTo>
                  <a:lnTo>
                    <a:pt x="27" y="541"/>
                  </a:lnTo>
                  <a:lnTo>
                    <a:pt x="27" y="551"/>
                  </a:lnTo>
                  <a:lnTo>
                    <a:pt x="29" y="551"/>
                  </a:lnTo>
                  <a:lnTo>
                    <a:pt x="29" y="555"/>
                  </a:lnTo>
                  <a:lnTo>
                    <a:pt x="33" y="557"/>
                  </a:lnTo>
                  <a:lnTo>
                    <a:pt x="38" y="557"/>
                  </a:lnTo>
                  <a:lnTo>
                    <a:pt x="40" y="562"/>
                  </a:lnTo>
                  <a:lnTo>
                    <a:pt x="42" y="561"/>
                  </a:lnTo>
                  <a:lnTo>
                    <a:pt x="52" y="561"/>
                  </a:lnTo>
                  <a:lnTo>
                    <a:pt x="54" y="559"/>
                  </a:lnTo>
                  <a:lnTo>
                    <a:pt x="56" y="559"/>
                  </a:lnTo>
                  <a:lnTo>
                    <a:pt x="60" y="559"/>
                  </a:lnTo>
                  <a:lnTo>
                    <a:pt x="61" y="562"/>
                  </a:lnTo>
                  <a:lnTo>
                    <a:pt x="63" y="562"/>
                  </a:lnTo>
                  <a:lnTo>
                    <a:pt x="61" y="566"/>
                  </a:lnTo>
                  <a:lnTo>
                    <a:pt x="63" y="566"/>
                  </a:lnTo>
                  <a:lnTo>
                    <a:pt x="61" y="570"/>
                  </a:lnTo>
                  <a:lnTo>
                    <a:pt x="63" y="572"/>
                  </a:lnTo>
                  <a:lnTo>
                    <a:pt x="67" y="572"/>
                  </a:lnTo>
                  <a:lnTo>
                    <a:pt x="67" y="574"/>
                  </a:lnTo>
                  <a:lnTo>
                    <a:pt x="71" y="572"/>
                  </a:lnTo>
                  <a:lnTo>
                    <a:pt x="69" y="568"/>
                  </a:lnTo>
                  <a:lnTo>
                    <a:pt x="71" y="564"/>
                  </a:lnTo>
                  <a:lnTo>
                    <a:pt x="65" y="564"/>
                  </a:lnTo>
                  <a:lnTo>
                    <a:pt x="67" y="561"/>
                  </a:lnTo>
                  <a:lnTo>
                    <a:pt x="61" y="559"/>
                  </a:lnTo>
                  <a:lnTo>
                    <a:pt x="61" y="555"/>
                  </a:lnTo>
                  <a:lnTo>
                    <a:pt x="65" y="553"/>
                  </a:lnTo>
                  <a:lnTo>
                    <a:pt x="69" y="549"/>
                  </a:lnTo>
                  <a:lnTo>
                    <a:pt x="67" y="547"/>
                  </a:lnTo>
                  <a:lnTo>
                    <a:pt x="63" y="549"/>
                  </a:lnTo>
                  <a:lnTo>
                    <a:pt x="63" y="547"/>
                  </a:lnTo>
                  <a:lnTo>
                    <a:pt x="67" y="547"/>
                  </a:lnTo>
                  <a:lnTo>
                    <a:pt x="69" y="543"/>
                  </a:lnTo>
                  <a:lnTo>
                    <a:pt x="75" y="543"/>
                  </a:lnTo>
                  <a:lnTo>
                    <a:pt x="79" y="543"/>
                  </a:lnTo>
                  <a:lnTo>
                    <a:pt x="81" y="541"/>
                  </a:lnTo>
                  <a:lnTo>
                    <a:pt x="79" y="536"/>
                  </a:lnTo>
                  <a:lnTo>
                    <a:pt x="79" y="532"/>
                  </a:lnTo>
                  <a:lnTo>
                    <a:pt x="77" y="530"/>
                  </a:lnTo>
                  <a:lnTo>
                    <a:pt x="73" y="530"/>
                  </a:lnTo>
                  <a:lnTo>
                    <a:pt x="73" y="528"/>
                  </a:lnTo>
                  <a:lnTo>
                    <a:pt x="67" y="526"/>
                  </a:lnTo>
                  <a:lnTo>
                    <a:pt x="67" y="528"/>
                  </a:lnTo>
                  <a:lnTo>
                    <a:pt x="71" y="537"/>
                  </a:lnTo>
                  <a:lnTo>
                    <a:pt x="71" y="539"/>
                  </a:lnTo>
                  <a:lnTo>
                    <a:pt x="67" y="539"/>
                  </a:lnTo>
                  <a:lnTo>
                    <a:pt x="67" y="537"/>
                  </a:lnTo>
                  <a:lnTo>
                    <a:pt x="63" y="536"/>
                  </a:lnTo>
                  <a:lnTo>
                    <a:pt x="63" y="532"/>
                  </a:lnTo>
                  <a:lnTo>
                    <a:pt x="56" y="530"/>
                  </a:lnTo>
                  <a:lnTo>
                    <a:pt x="56" y="524"/>
                  </a:lnTo>
                  <a:lnTo>
                    <a:pt x="52" y="528"/>
                  </a:lnTo>
                  <a:lnTo>
                    <a:pt x="46" y="526"/>
                  </a:lnTo>
                  <a:lnTo>
                    <a:pt x="42" y="524"/>
                  </a:lnTo>
                  <a:lnTo>
                    <a:pt x="40" y="524"/>
                  </a:lnTo>
                  <a:lnTo>
                    <a:pt x="38" y="530"/>
                  </a:lnTo>
                  <a:lnTo>
                    <a:pt x="36" y="537"/>
                  </a:lnTo>
                  <a:lnTo>
                    <a:pt x="35" y="537"/>
                  </a:lnTo>
                  <a:lnTo>
                    <a:pt x="31" y="536"/>
                  </a:lnTo>
                  <a:lnTo>
                    <a:pt x="27" y="536"/>
                  </a:lnTo>
                  <a:lnTo>
                    <a:pt x="19" y="536"/>
                  </a:lnTo>
                  <a:lnTo>
                    <a:pt x="17" y="532"/>
                  </a:lnTo>
                  <a:lnTo>
                    <a:pt x="21" y="530"/>
                  </a:lnTo>
                  <a:lnTo>
                    <a:pt x="13" y="524"/>
                  </a:lnTo>
                  <a:lnTo>
                    <a:pt x="13" y="518"/>
                  </a:lnTo>
                  <a:lnTo>
                    <a:pt x="17" y="516"/>
                  </a:lnTo>
                  <a:lnTo>
                    <a:pt x="19" y="516"/>
                  </a:lnTo>
                  <a:lnTo>
                    <a:pt x="19" y="513"/>
                  </a:lnTo>
                  <a:lnTo>
                    <a:pt x="21" y="513"/>
                  </a:lnTo>
                  <a:lnTo>
                    <a:pt x="23" y="509"/>
                  </a:lnTo>
                  <a:lnTo>
                    <a:pt x="15" y="509"/>
                  </a:lnTo>
                  <a:lnTo>
                    <a:pt x="12" y="511"/>
                  </a:lnTo>
                  <a:lnTo>
                    <a:pt x="10" y="507"/>
                  </a:lnTo>
                  <a:lnTo>
                    <a:pt x="6" y="503"/>
                  </a:lnTo>
                  <a:lnTo>
                    <a:pt x="2" y="497"/>
                  </a:lnTo>
                  <a:lnTo>
                    <a:pt x="0" y="497"/>
                  </a:lnTo>
                  <a:lnTo>
                    <a:pt x="2" y="488"/>
                  </a:lnTo>
                  <a:lnTo>
                    <a:pt x="4" y="482"/>
                  </a:lnTo>
                  <a:lnTo>
                    <a:pt x="4" y="476"/>
                  </a:lnTo>
                  <a:lnTo>
                    <a:pt x="10" y="476"/>
                  </a:lnTo>
                  <a:lnTo>
                    <a:pt x="10" y="474"/>
                  </a:lnTo>
                  <a:lnTo>
                    <a:pt x="12" y="474"/>
                  </a:lnTo>
                  <a:lnTo>
                    <a:pt x="10" y="464"/>
                  </a:lnTo>
                  <a:lnTo>
                    <a:pt x="12" y="464"/>
                  </a:lnTo>
                  <a:lnTo>
                    <a:pt x="13" y="459"/>
                  </a:lnTo>
                  <a:lnTo>
                    <a:pt x="12" y="457"/>
                  </a:lnTo>
                  <a:lnTo>
                    <a:pt x="8" y="457"/>
                  </a:lnTo>
                  <a:lnTo>
                    <a:pt x="0" y="455"/>
                  </a:lnTo>
                  <a:lnTo>
                    <a:pt x="4" y="449"/>
                  </a:lnTo>
                  <a:lnTo>
                    <a:pt x="2" y="445"/>
                  </a:lnTo>
                  <a:lnTo>
                    <a:pt x="6" y="443"/>
                  </a:lnTo>
                  <a:lnTo>
                    <a:pt x="13" y="447"/>
                  </a:lnTo>
                  <a:lnTo>
                    <a:pt x="13" y="449"/>
                  </a:lnTo>
                  <a:lnTo>
                    <a:pt x="21" y="449"/>
                  </a:lnTo>
                  <a:lnTo>
                    <a:pt x="25" y="451"/>
                  </a:lnTo>
                  <a:lnTo>
                    <a:pt x="27" y="449"/>
                  </a:lnTo>
                  <a:lnTo>
                    <a:pt x="33" y="449"/>
                  </a:lnTo>
                  <a:lnTo>
                    <a:pt x="33" y="451"/>
                  </a:lnTo>
                  <a:lnTo>
                    <a:pt x="36" y="453"/>
                  </a:lnTo>
                  <a:lnTo>
                    <a:pt x="36" y="449"/>
                  </a:lnTo>
                  <a:lnTo>
                    <a:pt x="38" y="449"/>
                  </a:lnTo>
                  <a:lnTo>
                    <a:pt x="40" y="441"/>
                  </a:lnTo>
                  <a:lnTo>
                    <a:pt x="44" y="440"/>
                  </a:lnTo>
                  <a:lnTo>
                    <a:pt x="42" y="436"/>
                  </a:lnTo>
                  <a:lnTo>
                    <a:pt x="44" y="436"/>
                  </a:lnTo>
                  <a:lnTo>
                    <a:pt x="44" y="432"/>
                  </a:lnTo>
                  <a:lnTo>
                    <a:pt x="40" y="428"/>
                  </a:lnTo>
                  <a:lnTo>
                    <a:pt x="46" y="424"/>
                  </a:lnTo>
                  <a:lnTo>
                    <a:pt x="44" y="420"/>
                  </a:lnTo>
                  <a:lnTo>
                    <a:pt x="40" y="420"/>
                  </a:lnTo>
                  <a:lnTo>
                    <a:pt x="40" y="416"/>
                  </a:lnTo>
                  <a:lnTo>
                    <a:pt x="35" y="416"/>
                  </a:lnTo>
                  <a:lnTo>
                    <a:pt x="35" y="415"/>
                  </a:lnTo>
                  <a:lnTo>
                    <a:pt x="33" y="413"/>
                  </a:lnTo>
                  <a:lnTo>
                    <a:pt x="33" y="411"/>
                  </a:lnTo>
                  <a:lnTo>
                    <a:pt x="31" y="409"/>
                  </a:lnTo>
                  <a:lnTo>
                    <a:pt x="31" y="405"/>
                  </a:lnTo>
                  <a:lnTo>
                    <a:pt x="25" y="399"/>
                  </a:lnTo>
                  <a:lnTo>
                    <a:pt x="25" y="397"/>
                  </a:lnTo>
                  <a:lnTo>
                    <a:pt x="31" y="397"/>
                  </a:lnTo>
                  <a:lnTo>
                    <a:pt x="31" y="390"/>
                  </a:lnTo>
                  <a:lnTo>
                    <a:pt x="33" y="384"/>
                  </a:lnTo>
                  <a:lnTo>
                    <a:pt x="38" y="382"/>
                  </a:lnTo>
                  <a:lnTo>
                    <a:pt x="42" y="384"/>
                  </a:lnTo>
                  <a:lnTo>
                    <a:pt x="42" y="380"/>
                  </a:lnTo>
                  <a:lnTo>
                    <a:pt x="36" y="378"/>
                  </a:lnTo>
                  <a:lnTo>
                    <a:pt x="36" y="374"/>
                  </a:lnTo>
                  <a:lnTo>
                    <a:pt x="33" y="372"/>
                  </a:lnTo>
                  <a:lnTo>
                    <a:pt x="36" y="367"/>
                  </a:lnTo>
                  <a:lnTo>
                    <a:pt x="36" y="363"/>
                  </a:lnTo>
                  <a:lnTo>
                    <a:pt x="31" y="363"/>
                  </a:lnTo>
                  <a:lnTo>
                    <a:pt x="33" y="359"/>
                  </a:lnTo>
                  <a:lnTo>
                    <a:pt x="40" y="351"/>
                  </a:lnTo>
                  <a:lnTo>
                    <a:pt x="50" y="349"/>
                  </a:lnTo>
                  <a:lnTo>
                    <a:pt x="56" y="347"/>
                  </a:lnTo>
                  <a:lnTo>
                    <a:pt x="60" y="349"/>
                  </a:lnTo>
                  <a:lnTo>
                    <a:pt x="67" y="349"/>
                  </a:lnTo>
                  <a:lnTo>
                    <a:pt x="71" y="351"/>
                  </a:lnTo>
                  <a:lnTo>
                    <a:pt x="77" y="349"/>
                  </a:lnTo>
                  <a:lnTo>
                    <a:pt x="84" y="353"/>
                  </a:lnTo>
                  <a:lnTo>
                    <a:pt x="92" y="353"/>
                  </a:lnTo>
                  <a:lnTo>
                    <a:pt x="96" y="353"/>
                  </a:lnTo>
                  <a:lnTo>
                    <a:pt x="100" y="357"/>
                  </a:lnTo>
                  <a:lnTo>
                    <a:pt x="107" y="355"/>
                  </a:lnTo>
                  <a:lnTo>
                    <a:pt x="117" y="359"/>
                  </a:lnTo>
                  <a:lnTo>
                    <a:pt x="121" y="357"/>
                  </a:lnTo>
                  <a:lnTo>
                    <a:pt x="125" y="355"/>
                  </a:lnTo>
                  <a:lnTo>
                    <a:pt x="131" y="357"/>
                  </a:lnTo>
                  <a:lnTo>
                    <a:pt x="134" y="357"/>
                  </a:lnTo>
                  <a:lnTo>
                    <a:pt x="138" y="359"/>
                  </a:lnTo>
                  <a:lnTo>
                    <a:pt x="140" y="355"/>
                  </a:lnTo>
                  <a:lnTo>
                    <a:pt x="142" y="355"/>
                  </a:lnTo>
                  <a:lnTo>
                    <a:pt x="144" y="361"/>
                  </a:lnTo>
                  <a:lnTo>
                    <a:pt x="150" y="363"/>
                  </a:lnTo>
                  <a:lnTo>
                    <a:pt x="152" y="361"/>
                  </a:lnTo>
                  <a:lnTo>
                    <a:pt x="155" y="361"/>
                  </a:lnTo>
                  <a:lnTo>
                    <a:pt x="157" y="357"/>
                  </a:lnTo>
                  <a:lnTo>
                    <a:pt x="155" y="355"/>
                  </a:lnTo>
                  <a:lnTo>
                    <a:pt x="163" y="351"/>
                  </a:lnTo>
                  <a:lnTo>
                    <a:pt x="165" y="345"/>
                  </a:lnTo>
                  <a:lnTo>
                    <a:pt x="165" y="342"/>
                  </a:lnTo>
                  <a:lnTo>
                    <a:pt x="171" y="343"/>
                  </a:lnTo>
                  <a:lnTo>
                    <a:pt x="173" y="340"/>
                  </a:lnTo>
                  <a:lnTo>
                    <a:pt x="180" y="336"/>
                  </a:lnTo>
                  <a:lnTo>
                    <a:pt x="186" y="336"/>
                  </a:lnTo>
                  <a:lnTo>
                    <a:pt x="192" y="338"/>
                  </a:lnTo>
                  <a:lnTo>
                    <a:pt x="196" y="340"/>
                  </a:lnTo>
                  <a:lnTo>
                    <a:pt x="203" y="334"/>
                  </a:lnTo>
                  <a:lnTo>
                    <a:pt x="207" y="336"/>
                  </a:lnTo>
                  <a:lnTo>
                    <a:pt x="211" y="342"/>
                  </a:lnTo>
                  <a:lnTo>
                    <a:pt x="217" y="343"/>
                  </a:lnTo>
                  <a:lnTo>
                    <a:pt x="223" y="342"/>
                  </a:lnTo>
                  <a:lnTo>
                    <a:pt x="228" y="336"/>
                  </a:lnTo>
                  <a:lnTo>
                    <a:pt x="226" y="328"/>
                  </a:lnTo>
                  <a:lnTo>
                    <a:pt x="232" y="330"/>
                  </a:lnTo>
                  <a:lnTo>
                    <a:pt x="234" y="334"/>
                  </a:lnTo>
                  <a:lnTo>
                    <a:pt x="236" y="334"/>
                  </a:lnTo>
                  <a:lnTo>
                    <a:pt x="236" y="330"/>
                  </a:lnTo>
                  <a:lnTo>
                    <a:pt x="234" y="324"/>
                  </a:lnTo>
                  <a:lnTo>
                    <a:pt x="244" y="320"/>
                  </a:lnTo>
                  <a:lnTo>
                    <a:pt x="246" y="319"/>
                  </a:lnTo>
                  <a:lnTo>
                    <a:pt x="255" y="320"/>
                  </a:lnTo>
                  <a:lnTo>
                    <a:pt x="259" y="319"/>
                  </a:lnTo>
                  <a:lnTo>
                    <a:pt x="261" y="322"/>
                  </a:lnTo>
                  <a:lnTo>
                    <a:pt x="269" y="319"/>
                  </a:lnTo>
                  <a:lnTo>
                    <a:pt x="271" y="313"/>
                  </a:lnTo>
                  <a:lnTo>
                    <a:pt x="271" y="307"/>
                  </a:lnTo>
                  <a:lnTo>
                    <a:pt x="269" y="305"/>
                  </a:lnTo>
                  <a:lnTo>
                    <a:pt x="269" y="295"/>
                  </a:lnTo>
                  <a:lnTo>
                    <a:pt x="271" y="294"/>
                  </a:lnTo>
                  <a:lnTo>
                    <a:pt x="269" y="290"/>
                  </a:lnTo>
                  <a:lnTo>
                    <a:pt x="274" y="282"/>
                  </a:lnTo>
                  <a:lnTo>
                    <a:pt x="282" y="280"/>
                  </a:lnTo>
                  <a:lnTo>
                    <a:pt x="292" y="282"/>
                  </a:lnTo>
                  <a:lnTo>
                    <a:pt x="294" y="276"/>
                  </a:lnTo>
                  <a:lnTo>
                    <a:pt x="299" y="274"/>
                  </a:lnTo>
                  <a:lnTo>
                    <a:pt x="305" y="276"/>
                  </a:lnTo>
                  <a:lnTo>
                    <a:pt x="311" y="270"/>
                  </a:lnTo>
                  <a:lnTo>
                    <a:pt x="315" y="272"/>
                  </a:lnTo>
                  <a:lnTo>
                    <a:pt x="317" y="269"/>
                  </a:lnTo>
                  <a:lnTo>
                    <a:pt x="324" y="269"/>
                  </a:lnTo>
                  <a:lnTo>
                    <a:pt x="326" y="267"/>
                  </a:lnTo>
                  <a:lnTo>
                    <a:pt x="330" y="265"/>
                  </a:lnTo>
                  <a:lnTo>
                    <a:pt x="334" y="269"/>
                  </a:lnTo>
                  <a:lnTo>
                    <a:pt x="338" y="267"/>
                  </a:lnTo>
                  <a:lnTo>
                    <a:pt x="340" y="269"/>
                  </a:lnTo>
                  <a:lnTo>
                    <a:pt x="344" y="276"/>
                  </a:lnTo>
                  <a:lnTo>
                    <a:pt x="349" y="274"/>
                  </a:lnTo>
                  <a:lnTo>
                    <a:pt x="353" y="267"/>
                  </a:lnTo>
                  <a:lnTo>
                    <a:pt x="359" y="263"/>
                  </a:lnTo>
                  <a:lnTo>
                    <a:pt x="361" y="257"/>
                  </a:lnTo>
                  <a:lnTo>
                    <a:pt x="359" y="251"/>
                  </a:lnTo>
                  <a:lnTo>
                    <a:pt x="355" y="251"/>
                  </a:lnTo>
                  <a:lnTo>
                    <a:pt x="357" y="246"/>
                  </a:lnTo>
                  <a:lnTo>
                    <a:pt x="359" y="246"/>
                  </a:lnTo>
                  <a:lnTo>
                    <a:pt x="361" y="240"/>
                  </a:lnTo>
                  <a:lnTo>
                    <a:pt x="365" y="240"/>
                  </a:lnTo>
                  <a:lnTo>
                    <a:pt x="365" y="236"/>
                  </a:lnTo>
                  <a:lnTo>
                    <a:pt x="370" y="238"/>
                  </a:lnTo>
                  <a:lnTo>
                    <a:pt x="374" y="234"/>
                  </a:lnTo>
                  <a:lnTo>
                    <a:pt x="376" y="230"/>
                  </a:lnTo>
                  <a:lnTo>
                    <a:pt x="376" y="234"/>
                  </a:lnTo>
                  <a:lnTo>
                    <a:pt x="382" y="236"/>
                  </a:lnTo>
                  <a:lnTo>
                    <a:pt x="386" y="236"/>
                  </a:lnTo>
                  <a:lnTo>
                    <a:pt x="388" y="242"/>
                  </a:lnTo>
                  <a:lnTo>
                    <a:pt x="388" y="249"/>
                  </a:lnTo>
                  <a:lnTo>
                    <a:pt x="395" y="253"/>
                  </a:lnTo>
                  <a:lnTo>
                    <a:pt x="395" y="255"/>
                  </a:lnTo>
                  <a:lnTo>
                    <a:pt x="397" y="253"/>
                  </a:lnTo>
                  <a:lnTo>
                    <a:pt x="395" y="251"/>
                  </a:lnTo>
                  <a:lnTo>
                    <a:pt x="399" y="251"/>
                  </a:lnTo>
                  <a:lnTo>
                    <a:pt x="403" y="255"/>
                  </a:lnTo>
                  <a:lnTo>
                    <a:pt x="405" y="257"/>
                  </a:lnTo>
                  <a:lnTo>
                    <a:pt x="409" y="261"/>
                  </a:lnTo>
                  <a:lnTo>
                    <a:pt x="415" y="261"/>
                  </a:lnTo>
                  <a:lnTo>
                    <a:pt x="418" y="259"/>
                  </a:lnTo>
                  <a:lnTo>
                    <a:pt x="415" y="253"/>
                  </a:lnTo>
                  <a:lnTo>
                    <a:pt x="417" y="249"/>
                  </a:lnTo>
                  <a:lnTo>
                    <a:pt x="418" y="249"/>
                  </a:lnTo>
                  <a:lnTo>
                    <a:pt x="417" y="246"/>
                  </a:lnTo>
                  <a:lnTo>
                    <a:pt x="418" y="246"/>
                  </a:lnTo>
                  <a:lnTo>
                    <a:pt x="413" y="240"/>
                  </a:lnTo>
                  <a:lnTo>
                    <a:pt x="411" y="242"/>
                  </a:lnTo>
                  <a:lnTo>
                    <a:pt x="407" y="240"/>
                  </a:lnTo>
                  <a:lnTo>
                    <a:pt x="407" y="244"/>
                  </a:lnTo>
                  <a:lnTo>
                    <a:pt x="403" y="242"/>
                  </a:lnTo>
                  <a:lnTo>
                    <a:pt x="393" y="238"/>
                  </a:lnTo>
                  <a:lnTo>
                    <a:pt x="399" y="234"/>
                  </a:lnTo>
                  <a:lnTo>
                    <a:pt x="397" y="228"/>
                  </a:lnTo>
                  <a:lnTo>
                    <a:pt x="399" y="226"/>
                  </a:lnTo>
                  <a:lnTo>
                    <a:pt x="401" y="232"/>
                  </a:lnTo>
                  <a:lnTo>
                    <a:pt x="405" y="232"/>
                  </a:lnTo>
                  <a:lnTo>
                    <a:pt x="409" y="228"/>
                  </a:lnTo>
                  <a:lnTo>
                    <a:pt x="411" y="222"/>
                  </a:lnTo>
                  <a:lnTo>
                    <a:pt x="418" y="219"/>
                  </a:lnTo>
                  <a:lnTo>
                    <a:pt x="424" y="222"/>
                  </a:lnTo>
                  <a:lnTo>
                    <a:pt x="426" y="224"/>
                  </a:lnTo>
                  <a:lnTo>
                    <a:pt x="424" y="226"/>
                  </a:lnTo>
                  <a:lnTo>
                    <a:pt x="426" y="228"/>
                  </a:lnTo>
                  <a:lnTo>
                    <a:pt x="432" y="226"/>
                  </a:lnTo>
                  <a:lnTo>
                    <a:pt x="440" y="228"/>
                  </a:lnTo>
                  <a:lnTo>
                    <a:pt x="441" y="230"/>
                  </a:lnTo>
                  <a:lnTo>
                    <a:pt x="443" y="230"/>
                  </a:lnTo>
                  <a:lnTo>
                    <a:pt x="445" y="232"/>
                  </a:lnTo>
                  <a:lnTo>
                    <a:pt x="449" y="228"/>
                  </a:lnTo>
                  <a:lnTo>
                    <a:pt x="449" y="222"/>
                  </a:lnTo>
                  <a:lnTo>
                    <a:pt x="449" y="219"/>
                  </a:lnTo>
                  <a:lnTo>
                    <a:pt x="455" y="219"/>
                  </a:lnTo>
                  <a:lnTo>
                    <a:pt x="455" y="213"/>
                  </a:lnTo>
                  <a:lnTo>
                    <a:pt x="463" y="215"/>
                  </a:lnTo>
                  <a:lnTo>
                    <a:pt x="466" y="215"/>
                  </a:lnTo>
                  <a:lnTo>
                    <a:pt x="468" y="211"/>
                  </a:lnTo>
                  <a:lnTo>
                    <a:pt x="470" y="213"/>
                  </a:lnTo>
                  <a:lnTo>
                    <a:pt x="478" y="211"/>
                  </a:lnTo>
                  <a:lnTo>
                    <a:pt x="482" y="211"/>
                  </a:lnTo>
                  <a:lnTo>
                    <a:pt x="482" y="209"/>
                  </a:lnTo>
                  <a:lnTo>
                    <a:pt x="482" y="203"/>
                  </a:lnTo>
                  <a:lnTo>
                    <a:pt x="484" y="201"/>
                  </a:lnTo>
                  <a:lnTo>
                    <a:pt x="491" y="201"/>
                  </a:lnTo>
                  <a:lnTo>
                    <a:pt x="499" y="194"/>
                  </a:lnTo>
                  <a:lnTo>
                    <a:pt x="503" y="196"/>
                  </a:lnTo>
                  <a:lnTo>
                    <a:pt x="509" y="196"/>
                  </a:lnTo>
                  <a:lnTo>
                    <a:pt x="514" y="188"/>
                  </a:lnTo>
                  <a:lnTo>
                    <a:pt x="516" y="186"/>
                  </a:lnTo>
                  <a:lnTo>
                    <a:pt x="516" y="184"/>
                  </a:lnTo>
                  <a:lnTo>
                    <a:pt x="520" y="180"/>
                  </a:lnTo>
                  <a:lnTo>
                    <a:pt x="516" y="174"/>
                  </a:lnTo>
                  <a:lnTo>
                    <a:pt x="520" y="173"/>
                  </a:lnTo>
                  <a:lnTo>
                    <a:pt x="520" y="169"/>
                  </a:lnTo>
                  <a:lnTo>
                    <a:pt x="524" y="163"/>
                  </a:lnTo>
                  <a:lnTo>
                    <a:pt x="526" y="157"/>
                  </a:lnTo>
                  <a:lnTo>
                    <a:pt x="528" y="155"/>
                  </a:lnTo>
                  <a:lnTo>
                    <a:pt x="530" y="155"/>
                  </a:lnTo>
                  <a:lnTo>
                    <a:pt x="532" y="151"/>
                  </a:lnTo>
                  <a:lnTo>
                    <a:pt x="539" y="151"/>
                  </a:lnTo>
                  <a:lnTo>
                    <a:pt x="543" y="146"/>
                  </a:lnTo>
                  <a:lnTo>
                    <a:pt x="551" y="144"/>
                  </a:lnTo>
                  <a:lnTo>
                    <a:pt x="551" y="142"/>
                  </a:lnTo>
                  <a:lnTo>
                    <a:pt x="545" y="138"/>
                  </a:lnTo>
                  <a:close/>
                  <a:moveTo>
                    <a:pt x="436" y="368"/>
                  </a:moveTo>
                  <a:lnTo>
                    <a:pt x="438" y="372"/>
                  </a:lnTo>
                  <a:lnTo>
                    <a:pt x="441" y="372"/>
                  </a:lnTo>
                  <a:lnTo>
                    <a:pt x="441" y="376"/>
                  </a:lnTo>
                  <a:lnTo>
                    <a:pt x="438" y="372"/>
                  </a:lnTo>
                  <a:lnTo>
                    <a:pt x="436" y="368"/>
                  </a:lnTo>
                  <a:lnTo>
                    <a:pt x="436" y="367"/>
                  </a:lnTo>
                  <a:lnTo>
                    <a:pt x="436" y="368"/>
                  </a:lnTo>
                  <a:close/>
                  <a:moveTo>
                    <a:pt x="459" y="370"/>
                  </a:moveTo>
                  <a:lnTo>
                    <a:pt x="453" y="374"/>
                  </a:lnTo>
                  <a:lnTo>
                    <a:pt x="449" y="370"/>
                  </a:lnTo>
                  <a:lnTo>
                    <a:pt x="445" y="367"/>
                  </a:lnTo>
                  <a:lnTo>
                    <a:pt x="447" y="359"/>
                  </a:lnTo>
                  <a:lnTo>
                    <a:pt x="449" y="363"/>
                  </a:lnTo>
                  <a:lnTo>
                    <a:pt x="455" y="367"/>
                  </a:lnTo>
                  <a:lnTo>
                    <a:pt x="459" y="370"/>
                  </a:lnTo>
                  <a:close/>
                  <a:moveTo>
                    <a:pt x="451" y="374"/>
                  </a:moveTo>
                  <a:lnTo>
                    <a:pt x="441" y="376"/>
                  </a:lnTo>
                  <a:lnTo>
                    <a:pt x="441" y="374"/>
                  </a:lnTo>
                  <a:lnTo>
                    <a:pt x="441" y="372"/>
                  </a:lnTo>
                  <a:lnTo>
                    <a:pt x="445" y="365"/>
                  </a:lnTo>
                  <a:lnTo>
                    <a:pt x="445" y="368"/>
                  </a:lnTo>
                  <a:lnTo>
                    <a:pt x="451" y="374"/>
                  </a:lnTo>
                  <a:close/>
                  <a:moveTo>
                    <a:pt x="482" y="324"/>
                  </a:moveTo>
                  <a:lnTo>
                    <a:pt x="482" y="328"/>
                  </a:lnTo>
                  <a:lnTo>
                    <a:pt x="482" y="324"/>
                  </a:lnTo>
                  <a:close/>
                  <a:moveTo>
                    <a:pt x="595" y="267"/>
                  </a:moveTo>
                  <a:lnTo>
                    <a:pt x="591" y="263"/>
                  </a:lnTo>
                  <a:lnTo>
                    <a:pt x="589" y="267"/>
                  </a:lnTo>
                  <a:lnTo>
                    <a:pt x="591" y="267"/>
                  </a:lnTo>
                  <a:lnTo>
                    <a:pt x="601" y="269"/>
                  </a:lnTo>
                  <a:lnTo>
                    <a:pt x="603" y="265"/>
                  </a:lnTo>
                  <a:lnTo>
                    <a:pt x="603" y="263"/>
                  </a:lnTo>
                  <a:lnTo>
                    <a:pt x="599" y="267"/>
                  </a:lnTo>
                  <a:lnTo>
                    <a:pt x="595" y="26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7" name="Freeform 14">
              <a:extLst>
                <a:ext uri="{FF2B5EF4-FFF2-40B4-BE49-F238E27FC236}">
                  <a16:creationId xmlns:a16="http://schemas.microsoft.com/office/drawing/2014/main" id="{D53F9AB6-87ED-40E1-9486-8E61BBA0CEA2}"/>
                </a:ext>
              </a:extLst>
            </p:cNvPr>
            <p:cNvSpPr>
              <a:spLocks noEditPoints="1"/>
            </p:cNvSpPr>
            <p:nvPr/>
          </p:nvSpPr>
          <p:spPr bwMode="gray">
            <a:xfrm>
              <a:off x="5692776" y="3705227"/>
              <a:ext cx="1047750" cy="820739"/>
            </a:xfrm>
            <a:custGeom>
              <a:avLst/>
              <a:gdLst>
                <a:gd name="T0" fmla="*/ 614 w 660"/>
                <a:gd name="T1" fmla="*/ 200 h 517"/>
                <a:gd name="T2" fmla="*/ 595 w 660"/>
                <a:gd name="T3" fmla="*/ 194 h 517"/>
                <a:gd name="T4" fmla="*/ 656 w 660"/>
                <a:gd name="T5" fmla="*/ 109 h 517"/>
                <a:gd name="T6" fmla="*/ 591 w 660"/>
                <a:gd name="T7" fmla="*/ 48 h 517"/>
                <a:gd name="T8" fmla="*/ 627 w 660"/>
                <a:gd name="T9" fmla="*/ 63 h 517"/>
                <a:gd name="T10" fmla="*/ 650 w 660"/>
                <a:gd name="T11" fmla="*/ 86 h 517"/>
                <a:gd name="T12" fmla="*/ 639 w 660"/>
                <a:gd name="T13" fmla="*/ 109 h 517"/>
                <a:gd name="T14" fmla="*/ 599 w 660"/>
                <a:gd name="T15" fmla="*/ 134 h 517"/>
                <a:gd name="T16" fmla="*/ 604 w 660"/>
                <a:gd name="T17" fmla="*/ 190 h 517"/>
                <a:gd name="T18" fmla="*/ 608 w 660"/>
                <a:gd name="T19" fmla="*/ 205 h 517"/>
                <a:gd name="T20" fmla="*/ 575 w 660"/>
                <a:gd name="T21" fmla="*/ 236 h 517"/>
                <a:gd name="T22" fmla="*/ 583 w 660"/>
                <a:gd name="T23" fmla="*/ 242 h 517"/>
                <a:gd name="T24" fmla="*/ 558 w 660"/>
                <a:gd name="T25" fmla="*/ 257 h 517"/>
                <a:gd name="T26" fmla="*/ 531 w 660"/>
                <a:gd name="T27" fmla="*/ 280 h 517"/>
                <a:gd name="T28" fmla="*/ 508 w 660"/>
                <a:gd name="T29" fmla="*/ 294 h 517"/>
                <a:gd name="T30" fmla="*/ 462 w 660"/>
                <a:gd name="T31" fmla="*/ 307 h 517"/>
                <a:gd name="T32" fmla="*/ 445 w 660"/>
                <a:gd name="T33" fmla="*/ 315 h 517"/>
                <a:gd name="T34" fmla="*/ 399 w 660"/>
                <a:gd name="T35" fmla="*/ 346 h 517"/>
                <a:gd name="T36" fmla="*/ 357 w 660"/>
                <a:gd name="T37" fmla="*/ 374 h 517"/>
                <a:gd name="T38" fmla="*/ 343 w 660"/>
                <a:gd name="T39" fmla="*/ 380 h 517"/>
                <a:gd name="T40" fmla="*/ 322 w 660"/>
                <a:gd name="T41" fmla="*/ 401 h 517"/>
                <a:gd name="T42" fmla="*/ 291 w 660"/>
                <a:gd name="T43" fmla="*/ 415 h 517"/>
                <a:gd name="T44" fmla="*/ 257 w 660"/>
                <a:gd name="T45" fmla="*/ 397 h 517"/>
                <a:gd name="T46" fmla="*/ 238 w 660"/>
                <a:gd name="T47" fmla="*/ 378 h 517"/>
                <a:gd name="T48" fmla="*/ 226 w 660"/>
                <a:gd name="T49" fmla="*/ 386 h 517"/>
                <a:gd name="T50" fmla="*/ 215 w 660"/>
                <a:gd name="T51" fmla="*/ 392 h 517"/>
                <a:gd name="T52" fmla="*/ 213 w 660"/>
                <a:gd name="T53" fmla="*/ 407 h 517"/>
                <a:gd name="T54" fmla="*/ 188 w 660"/>
                <a:gd name="T55" fmla="*/ 415 h 517"/>
                <a:gd name="T56" fmla="*/ 178 w 660"/>
                <a:gd name="T57" fmla="*/ 444 h 517"/>
                <a:gd name="T58" fmla="*/ 161 w 660"/>
                <a:gd name="T59" fmla="*/ 449 h 517"/>
                <a:gd name="T60" fmla="*/ 128 w 660"/>
                <a:gd name="T61" fmla="*/ 463 h 517"/>
                <a:gd name="T62" fmla="*/ 119 w 660"/>
                <a:gd name="T63" fmla="*/ 440 h 517"/>
                <a:gd name="T64" fmla="*/ 101 w 660"/>
                <a:gd name="T65" fmla="*/ 472 h 517"/>
                <a:gd name="T66" fmla="*/ 98 w 660"/>
                <a:gd name="T67" fmla="*/ 488 h 517"/>
                <a:gd name="T68" fmla="*/ 69 w 660"/>
                <a:gd name="T69" fmla="*/ 488 h 517"/>
                <a:gd name="T70" fmla="*/ 19 w 660"/>
                <a:gd name="T71" fmla="*/ 515 h 517"/>
                <a:gd name="T72" fmla="*/ 15 w 660"/>
                <a:gd name="T73" fmla="*/ 467 h 517"/>
                <a:gd name="T74" fmla="*/ 61 w 660"/>
                <a:gd name="T75" fmla="*/ 434 h 517"/>
                <a:gd name="T76" fmla="*/ 84 w 660"/>
                <a:gd name="T77" fmla="*/ 401 h 517"/>
                <a:gd name="T78" fmla="*/ 84 w 660"/>
                <a:gd name="T79" fmla="*/ 365 h 517"/>
                <a:gd name="T80" fmla="*/ 71 w 660"/>
                <a:gd name="T81" fmla="*/ 332 h 517"/>
                <a:gd name="T82" fmla="*/ 55 w 660"/>
                <a:gd name="T83" fmla="*/ 275 h 517"/>
                <a:gd name="T84" fmla="*/ 100 w 660"/>
                <a:gd name="T85" fmla="*/ 284 h 517"/>
                <a:gd name="T86" fmla="*/ 136 w 660"/>
                <a:gd name="T87" fmla="*/ 301 h 517"/>
                <a:gd name="T88" fmla="*/ 113 w 660"/>
                <a:gd name="T89" fmla="*/ 273 h 517"/>
                <a:gd name="T90" fmla="*/ 113 w 660"/>
                <a:gd name="T91" fmla="*/ 223 h 517"/>
                <a:gd name="T92" fmla="*/ 117 w 660"/>
                <a:gd name="T93" fmla="*/ 188 h 517"/>
                <a:gd name="T94" fmla="*/ 142 w 660"/>
                <a:gd name="T95" fmla="*/ 154 h 517"/>
                <a:gd name="T96" fmla="*/ 180 w 660"/>
                <a:gd name="T97" fmla="*/ 152 h 517"/>
                <a:gd name="T98" fmla="*/ 209 w 660"/>
                <a:gd name="T99" fmla="*/ 129 h 517"/>
                <a:gd name="T100" fmla="*/ 230 w 660"/>
                <a:gd name="T101" fmla="*/ 104 h 517"/>
                <a:gd name="T102" fmla="*/ 243 w 660"/>
                <a:gd name="T103" fmla="*/ 81 h 517"/>
                <a:gd name="T104" fmla="*/ 247 w 660"/>
                <a:gd name="T105" fmla="*/ 44 h 517"/>
                <a:gd name="T106" fmla="*/ 295 w 660"/>
                <a:gd name="T107" fmla="*/ 13 h 517"/>
                <a:gd name="T108" fmla="*/ 320 w 660"/>
                <a:gd name="T109" fmla="*/ 25 h 517"/>
                <a:gd name="T110" fmla="*/ 370 w 660"/>
                <a:gd name="T111" fmla="*/ 15 h 517"/>
                <a:gd name="T112" fmla="*/ 407 w 660"/>
                <a:gd name="T113" fmla="*/ 25 h 517"/>
                <a:gd name="T114" fmla="*/ 407 w 660"/>
                <a:gd name="T115" fmla="*/ 50 h 517"/>
                <a:gd name="T116" fmla="*/ 443 w 660"/>
                <a:gd name="T117" fmla="*/ 46 h 517"/>
                <a:gd name="T118" fmla="*/ 476 w 660"/>
                <a:gd name="T119" fmla="*/ 61 h 517"/>
                <a:gd name="T120" fmla="*/ 504 w 660"/>
                <a:gd name="T121" fmla="*/ 29 h 517"/>
                <a:gd name="T122" fmla="*/ 514 w 660"/>
                <a:gd name="T123" fmla="*/ 9 h 517"/>
                <a:gd name="T124" fmla="*/ 566 w 660"/>
                <a:gd name="T125" fmla="*/ 29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0" h="517">
                  <a:moveTo>
                    <a:pt x="451" y="311"/>
                  </a:moveTo>
                  <a:lnTo>
                    <a:pt x="453" y="311"/>
                  </a:lnTo>
                  <a:lnTo>
                    <a:pt x="451" y="311"/>
                  </a:lnTo>
                  <a:close/>
                  <a:moveTo>
                    <a:pt x="583" y="236"/>
                  </a:moveTo>
                  <a:lnTo>
                    <a:pt x="583" y="232"/>
                  </a:lnTo>
                  <a:lnTo>
                    <a:pt x="583" y="236"/>
                  </a:lnTo>
                  <a:close/>
                  <a:moveTo>
                    <a:pt x="583" y="228"/>
                  </a:moveTo>
                  <a:lnTo>
                    <a:pt x="585" y="227"/>
                  </a:lnTo>
                  <a:lnTo>
                    <a:pt x="585" y="223"/>
                  </a:lnTo>
                  <a:lnTo>
                    <a:pt x="585" y="227"/>
                  </a:lnTo>
                  <a:lnTo>
                    <a:pt x="583" y="228"/>
                  </a:lnTo>
                  <a:close/>
                  <a:moveTo>
                    <a:pt x="614" y="200"/>
                  </a:moveTo>
                  <a:lnTo>
                    <a:pt x="616" y="200"/>
                  </a:lnTo>
                  <a:lnTo>
                    <a:pt x="614" y="200"/>
                  </a:lnTo>
                  <a:close/>
                  <a:moveTo>
                    <a:pt x="614" y="196"/>
                  </a:moveTo>
                  <a:lnTo>
                    <a:pt x="616" y="196"/>
                  </a:lnTo>
                  <a:lnTo>
                    <a:pt x="616" y="198"/>
                  </a:lnTo>
                  <a:lnTo>
                    <a:pt x="614" y="198"/>
                  </a:lnTo>
                  <a:lnTo>
                    <a:pt x="614" y="196"/>
                  </a:lnTo>
                  <a:close/>
                  <a:moveTo>
                    <a:pt x="595" y="194"/>
                  </a:moveTo>
                  <a:lnTo>
                    <a:pt x="597" y="194"/>
                  </a:lnTo>
                  <a:lnTo>
                    <a:pt x="597" y="196"/>
                  </a:lnTo>
                  <a:lnTo>
                    <a:pt x="595" y="196"/>
                  </a:lnTo>
                  <a:lnTo>
                    <a:pt x="595" y="194"/>
                  </a:lnTo>
                  <a:close/>
                  <a:moveTo>
                    <a:pt x="600" y="194"/>
                  </a:moveTo>
                  <a:lnTo>
                    <a:pt x="593" y="194"/>
                  </a:lnTo>
                  <a:lnTo>
                    <a:pt x="595" y="194"/>
                  </a:lnTo>
                  <a:lnTo>
                    <a:pt x="600" y="194"/>
                  </a:lnTo>
                  <a:close/>
                  <a:moveTo>
                    <a:pt x="606" y="188"/>
                  </a:moveTo>
                  <a:lnTo>
                    <a:pt x="608" y="190"/>
                  </a:lnTo>
                  <a:lnTo>
                    <a:pt x="608" y="192"/>
                  </a:lnTo>
                  <a:lnTo>
                    <a:pt x="606" y="190"/>
                  </a:lnTo>
                  <a:lnTo>
                    <a:pt x="606" y="188"/>
                  </a:lnTo>
                  <a:close/>
                  <a:moveTo>
                    <a:pt x="654" y="107"/>
                  </a:moveTo>
                  <a:lnTo>
                    <a:pt x="656" y="107"/>
                  </a:lnTo>
                  <a:lnTo>
                    <a:pt x="656" y="109"/>
                  </a:lnTo>
                  <a:lnTo>
                    <a:pt x="652" y="109"/>
                  </a:lnTo>
                  <a:lnTo>
                    <a:pt x="654" y="107"/>
                  </a:lnTo>
                  <a:close/>
                  <a:moveTo>
                    <a:pt x="656" y="106"/>
                  </a:moveTo>
                  <a:lnTo>
                    <a:pt x="658" y="106"/>
                  </a:lnTo>
                  <a:lnTo>
                    <a:pt x="658" y="109"/>
                  </a:lnTo>
                  <a:lnTo>
                    <a:pt x="656" y="109"/>
                  </a:lnTo>
                  <a:lnTo>
                    <a:pt x="656" y="106"/>
                  </a:lnTo>
                  <a:close/>
                  <a:moveTo>
                    <a:pt x="579" y="38"/>
                  </a:moveTo>
                  <a:lnTo>
                    <a:pt x="579" y="46"/>
                  </a:lnTo>
                  <a:lnTo>
                    <a:pt x="587" y="44"/>
                  </a:lnTo>
                  <a:lnTo>
                    <a:pt x="589" y="48"/>
                  </a:lnTo>
                  <a:lnTo>
                    <a:pt x="591" y="48"/>
                  </a:lnTo>
                  <a:lnTo>
                    <a:pt x="591" y="52"/>
                  </a:lnTo>
                  <a:lnTo>
                    <a:pt x="593" y="50"/>
                  </a:lnTo>
                  <a:lnTo>
                    <a:pt x="602" y="52"/>
                  </a:lnTo>
                  <a:lnTo>
                    <a:pt x="604" y="52"/>
                  </a:lnTo>
                  <a:lnTo>
                    <a:pt x="612" y="57"/>
                  </a:lnTo>
                  <a:lnTo>
                    <a:pt x="614" y="61"/>
                  </a:lnTo>
                  <a:lnTo>
                    <a:pt x="608" y="71"/>
                  </a:lnTo>
                  <a:lnTo>
                    <a:pt x="616" y="77"/>
                  </a:lnTo>
                  <a:lnTo>
                    <a:pt x="620" y="77"/>
                  </a:lnTo>
                  <a:lnTo>
                    <a:pt x="620" y="71"/>
                  </a:lnTo>
                  <a:lnTo>
                    <a:pt x="625" y="69"/>
                  </a:lnTo>
                  <a:lnTo>
                    <a:pt x="627" y="63"/>
                  </a:lnTo>
                  <a:lnTo>
                    <a:pt x="629" y="65"/>
                  </a:lnTo>
                  <a:lnTo>
                    <a:pt x="633" y="65"/>
                  </a:lnTo>
                  <a:lnTo>
                    <a:pt x="635" y="71"/>
                  </a:lnTo>
                  <a:lnTo>
                    <a:pt x="633" y="73"/>
                  </a:lnTo>
                  <a:lnTo>
                    <a:pt x="635" y="75"/>
                  </a:lnTo>
                  <a:lnTo>
                    <a:pt x="635" y="77"/>
                  </a:lnTo>
                  <a:lnTo>
                    <a:pt x="639" y="82"/>
                  </a:lnTo>
                  <a:lnTo>
                    <a:pt x="641" y="82"/>
                  </a:lnTo>
                  <a:lnTo>
                    <a:pt x="645" y="84"/>
                  </a:lnTo>
                  <a:lnTo>
                    <a:pt x="647" y="84"/>
                  </a:lnTo>
                  <a:lnTo>
                    <a:pt x="648" y="86"/>
                  </a:lnTo>
                  <a:lnTo>
                    <a:pt x="650" y="86"/>
                  </a:lnTo>
                  <a:lnTo>
                    <a:pt x="656" y="86"/>
                  </a:lnTo>
                  <a:lnTo>
                    <a:pt x="656" y="90"/>
                  </a:lnTo>
                  <a:lnTo>
                    <a:pt x="658" y="90"/>
                  </a:lnTo>
                  <a:lnTo>
                    <a:pt x="660" y="92"/>
                  </a:lnTo>
                  <a:lnTo>
                    <a:pt x="658" y="100"/>
                  </a:lnTo>
                  <a:lnTo>
                    <a:pt x="660" y="102"/>
                  </a:lnTo>
                  <a:lnTo>
                    <a:pt x="660" y="104"/>
                  </a:lnTo>
                  <a:lnTo>
                    <a:pt x="656" y="106"/>
                  </a:lnTo>
                  <a:lnTo>
                    <a:pt x="652" y="109"/>
                  </a:lnTo>
                  <a:lnTo>
                    <a:pt x="645" y="107"/>
                  </a:lnTo>
                  <a:lnTo>
                    <a:pt x="647" y="111"/>
                  </a:lnTo>
                  <a:lnTo>
                    <a:pt x="639" y="109"/>
                  </a:lnTo>
                  <a:lnTo>
                    <a:pt x="629" y="111"/>
                  </a:lnTo>
                  <a:lnTo>
                    <a:pt x="622" y="115"/>
                  </a:lnTo>
                  <a:lnTo>
                    <a:pt x="622" y="113"/>
                  </a:lnTo>
                  <a:lnTo>
                    <a:pt x="620" y="113"/>
                  </a:lnTo>
                  <a:lnTo>
                    <a:pt x="622" y="115"/>
                  </a:lnTo>
                  <a:lnTo>
                    <a:pt x="620" y="115"/>
                  </a:lnTo>
                  <a:lnTo>
                    <a:pt x="616" y="119"/>
                  </a:lnTo>
                  <a:lnTo>
                    <a:pt x="614" y="119"/>
                  </a:lnTo>
                  <a:lnTo>
                    <a:pt x="608" y="125"/>
                  </a:lnTo>
                  <a:lnTo>
                    <a:pt x="606" y="125"/>
                  </a:lnTo>
                  <a:lnTo>
                    <a:pt x="600" y="132"/>
                  </a:lnTo>
                  <a:lnTo>
                    <a:pt x="599" y="134"/>
                  </a:lnTo>
                  <a:lnTo>
                    <a:pt x="597" y="134"/>
                  </a:lnTo>
                  <a:lnTo>
                    <a:pt x="597" y="136"/>
                  </a:lnTo>
                  <a:lnTo>
                    <a:pt x="593" y="142"/>
                  </a:lnTo>
                  <a:lnTo>
                    <a:pt x="589" y="150"/>
                  </a:lnTo>
                  <a:lnTo>
                    <a:pt x="589" y="155"/>
                  </a:lnTo>
                  <a:lnTo>
                    <a:pt x="591" y="161"/>
                  </a:lnTo>
                  <a:lnTo>
                    <a:pt x="595" y="169"/>
                  </a:lnTo>
                  <a:lnTo>
                    <a:pt x="597" y="171"/>
                  </a:lnTo>
                  <a:lnTo>
                    <a:pt x="599" y="177"/>
                  </a:lnTo>
                  <a:lnTo>
                    <a:pt x="600" y="182"/>
                  </a:lnTo>
                  <a:lnTo>
                    <a:pt x="602" y="184"/>
                  </a:lnTo>
                  <a:lnTo>
                    <a:pt x="604" y="190"/>
                  </a:lnTo>
                  <a:lnTo>
                    <a:pt x="602" y="194"/>
                  </a:lnTo>
                  <a:lnTo>
                    <a:pt x="593" y="192"/>
                  </a:lnTo>
                  <a:lnTo>
                    <a:pt x="591" y="194"/>
                  </a:lnTo>
                  <a:lnTo>
                    <a:pt x="595" y="196"/>
                  </a:lnTo>
                  <a:lnTo>
                    <a:pt x="602" y="196"/>
                  </a:lnTo>
                  <a:lnTo>
                    <a:pt x="606" y="196"/>
                  </a:lnTo>
                  <a:lnTo>
                    <a:pt x="608" y="198"/>
                  </a:lnTo>
                  <a:lnTo>
                    <a:pt x="606" y="202"/>
                  </a:lnTo>
                  <a:lnTo>
                    <a:pt x="599" y="202"/>
                  </a:lnTo>
                  <a:lnTo>
                    <a:pt x="606" y="203"/>
                  </a:lnTo>
                  <a:lnTo>
                    <a:pt x="612" y="202"/>
                  </a:lnTo>
                  <a:lnTo>
                    <a:pt x="608" y="205"/>
                  </a:lnTo>
                  <a:lnTo>
                    <a:pt x="604" y="207"/>
                  </a:lnTo>
                  <a:lnTo>
                    <a:pt x="602" y="207"/>
                  </a:lnTo>
                  <a:lnTo>
                    <a:pt x="597" y="211"/>
                  </a:lnTo>
                  <a:lnTo>
                    <a:pt x="591" y="215"/>
                  </a:lnTo>
                  <a:lnTo>
                    <a:pt x="585" y="219"/>
                  </a:lnTo>
                  <a:lnTo>
                    <a:pt x="581" y="225"/>
                  </a:lnTo>
                  <a:lnTo>
                    <a:pt x="577" y="221"/>
                  </a:lnTo>
                  <a:lnTo>
                    <a:pt x="579" y="225"/>
                  </a:lnTo>
                  <a:lnTo>
                    <a:pt x="579" y="228"/>
                  </a:lnTo>
                  <a:lnTo>
                    <a:pt x="577" y="227"/>
                  </a:lnTo>
                  <a:lnTo>
                    <a:pt x="577" y="234"/>
                  </a:lnTo>
                  <a:lnTo>
                    <a:pt x="575" y="236"/>
                  </a:lnTo>
                  <a:lnTo>
                    <a:pt x="575" y="234"/>
                  </a:lnTo>
                  <a:lnTo>
                    <a:pt x="575" y="236"/>
                  </a:lnTo>
                  <a:lnTo>
                    <a:pt x="577" y="234"/>
                  </a:lnTo>
                  <a:lnTo>
                    <a:pt x="581" y="236"/>
                  </a:lnTo>
                  <a:lnTo>
                    <a:pt x="581" y="238"/>
                  </a:lnTo>
                  <a:lnTo>
                    <a:pt x="583" y="238"/>
                  </a:lnTo>
                  <a:lnTo>
                    <a:pt x="583" y="240"/>
                  </a:lnTo>
                  <a:lnTo>
                    <a:pt x="581" y="242"/>
                  </a:lnTo>
                  <a:lnTo>
                    <a:pt x="585" y="238"/>
                  </a:lnTo>
                  <a:lnTo>
                    <a:pt x="585" y="232"/>
                  </a:lnTo>
                  <a:lnTo>
                    <a:pt x="585" y="240"/>
                  </a:lnTo>
                  <a:lnTo>
                    <a:pt x="583" y="242"/>
                  </a:lnTo>
                  <a:lnTo>
                    <a:pt x="577" y="246"/>
                  </a:lnTo>
                  <a:lnTo>
                    <a:pt x="575" y="246"/>
                  </a:lnTo>
                  <a:lnTo>
                    <a:pt x="572" y="246"/>
                  </a:lnTo>
                  <a:lnTo>
                    <a:pt x="575" y="248"/>
                  </a:lnTo>
                  <a:lnTo>
                    <a:pt x="572" y="250"/>
                  </a:lnTo>
                  <a:lnTo>
                    <a:pt x="570" y="248"/>
                  </a:lnTo>
                  <a:lnTo>
                    <a:pt x="572" y="251"/>
                  </a:lnTo>
                  <a:lnTo>
                    <a:pt x="564" y="253"/>
                  </a:lnTo>
                  <a:lnTo>
                    <a:pt x="558" y="257"/>
                  </a:lnTo>
                  <a:lnTo>
                    <a:pt x="560" y="255"/>
                  </a:lnTo>
                  <a:lnTo>
                    <a:pt x="554" y="259"/>
                  </a:lnTo>
                  <a:lnTo>
                    <a:pt x="558" y="257"/>
                  </a:lnTo>
                  <a:lnTo>
                    <a:pt x="554" y="261"/>
                  </a:lnTo>
                  <a:lnTo>
                    <a:pt x="549" y="269"/>
                  </a:lnTo>
                  <a:lnTo>
                    <a:pt x="545" y="273"/>
                  </a:lnTo>
                  <a:lnTo>
                    <a:pt x="543" y="278"/>
                  </a:lnTo>
                  <a:lnTo>
                    <a:pt x="541" y="280"/>
                  </a:lnTo>
                  <a:lnTo>
                    <a:pt x="543" y="278"/>
                  </a:lnTo>
                  <a:lnTo>
                    <a:pt x="543" y="280"/>
                  </a:lnTo>
                  <a:lnTo>
                    <a:pt x="541" y="282"/>
                  </a:lnTo>
                  <a:lnTo>
                    <a:pt x="539" y="280"/>
                  </a:lnTo>
                  <a:lnTo>
                    <a:pt x="535" y="280"/>
                  </a:lnTo>
                  <a:lnTo>
                    <a:pt x="533" y="280"/>
                  </a:lnTo>
                  <a:lnTo>
                    <a:pt x="531" y="280"/>
                  </a:lnTo>
                  <a:lnTo>
                    <a:pt x="535" y="282"/>
                  </a:lnTo>
                  <a:lnTo>
                    <a:pt x="537" y="284"/>
                  </a:lnTo>
                  <a:lnTo>
                    <a:pt x="541" y="282"/>
                  </a:lnTo>
                  <a:lnTo>
                    <a:pt x="537" y="284"/>
                  </a:lnTo>
                  <a:lnTo>
                    <a:pt x="529" y="286"/>
                  </a:lnTo>
                  <a:lnTo>
                    <a:pt x="524" y="288"/>
                  </a:lnTo>
                  <a:lnTo>
                    <a:pt x="522" y="288"/>
                  </a:lnTo>
                  <a:lnTo>
                    <a:pt x="522" y="290"/>
                  </a:lnTo>
                  <a:lnTo>
                    <a:pt x="524" y="288"/>
                  </a:lnTo>
                  <a:lnTo>
                    <a:pt x="522" y="290"/>
                  </a:lnTo>
                  <a:lnTo>
                    <a:pt x="516" y="292"/>
                  </a:lnTo>
                  <a:lnTo>
                    <a:pt x="508" y="294"/>
                  </a:lnTo>
                  <a:lnTo>
                    <a:pt x="503" y="294"/>
                  </a:lnTo>
                  <a:lnTo>
                    <a:pt x="506" y="294"/>
                  </a:lnTo>
                  <a:lnTo>
                    <a:pt x="504" y="296"/>
                  </a:lnTo>
                  <a:lnTo>
                    <a:pt x="497" y="298"/>
                  </a:lnTo>
                  <a:lnTo>
                    <a:pt x="493" y="298"/>
                  </a:lnTo>
                  <a:lnTo>
                    <a:pt x="489" y="298"/>
                  </a:lnTo>
                  <a:lnTo>
                    <a:pt x="487" y="300"/>
                  </a:lnTo>
                  <a:lnTo>
                    <a:pt x="483" y="300"/>
                  </a:lnTo>
                  <a:lnTo>
                    <a:pt x="476" y="301"/>
                  </a:lnTo>
                  <a:lnTo>
                    <a:pt x="472" y="303"/>
                  </a:lnTo>
                  <a:lnTo>
                    <a:pt x="466" y="305"/>
                  </a:lnTo>
                  <a:lnTo>
                    <a:pt x="462" y="307"/>
                  </a:lnTo>
                  <a:lnTo>
                    <a:pt x="460" y="307"/>
                  </a:lnTo>
                  <a:lnTo>
                    <a:pt x="455" y="309"/>
                  </a:lnTo>
                  <a:lnTo>
                    <a:pt x="449" y="311"/>
                  </a:lnTo>
                  <a:lnTo>
                    <a:pt x="447" y="313"/>
                  </a:lnTo>
                  <a:lnTo>
                    <a:pt x="449" y="313"/>
                  </a:lnTo>
                  <a:lnTo>
                    <a:pt x="451" y="313"/>
                  </a:lnTo>
                  <a:lnTo>
                    <a:pt x="453" y="311"/>
                  </a:lnTo>
                  <a:lnTo>
                    <a:pt x="460" y="307"/>
                  </a:lnTo>
                  <a:lnTo>
                    <a:pt x="453" y="311"/>
                  </a:lnTo>
                  <a:lnTo>
                    <a:pt x="449" y="313"/>
                  </a:lnTo>
                  <a:lnTo>
                    <a:pt x="447" y="313"/>
                  </a:lnTo>
                  <a:lnTo>
                    <a:pt x="445" y="315"/>
                  </a:lnTo>
                  <a:lnTo>
                    <a:pt x="439" y="319"/>
                  </a:lnTo>
                  <a:lnTo>
                    <a:pt x="435" y="321"/>
                  </a:lnTo>
                  <a:lnTo>
                    <a:pt x="426" y="324"/>
                  </a:lnTo>
                  <a:lnTo>
                    <a:pt x="418" y="330"/>
                  </a:lnTo>
                  <a:lnTo>
                    <a:pt x="412" y="334"/>
                  </a:lnTo>
                  <a:lnTo>
                    <a:pt x="409" y="338"/>
                  </a:lnTo>
                  <a:lnTo>
                    <a:pt x="405" y="338"/>
                  </a:lnTo>
                  <a:lnTo>
                    <a:pt x="401" y="344"/>
                  </a:lnTo>
                  <a:lnTo>
                    <a:pt x="397" y="348"/>
                  </a:lnTo>
                  <a:lnTo>
                    <a:pt x="393" y="346"/>
                  </a:lnTo>
                  <a:lnTo>
                    <a:pt x="395" y="348"/>
                  </a:lnTo>
                  <a:lnTo>
                    <a:pt x="399" y="346"/>
                  </a:lnTo>
                  <a:lnTo>
                    <a:pt x="397" y="348"/>
                  </a:lnTo>
                  <a:lnTo>
                    <a:pt x="391" y="351"/>
                  </a:lnTo>
                  <a:lnTo>
                    <a:pt x="385" y="353"/>
                  </a:lnTo>
                  <a:lnTo>
                    <a:pt x="385" y="357"/>
                  </a:lnTo>
                  <a:lnTo>
                    <a:pt x="378" y="361"/>
                  </a:lnTo>
                  <a:lnTo>
                    <a:pt x="374" y="365"/>
                  </a:lnTo>
                  <a:lnTo>
                    <a:pt x="370" y="369"/>
                  </a:lnTo>
                  <a:lnTo>
                    <a:pt x="366" y="374"/>
                  </a:lnTo>
                  <a:lnTo>
                    <a:pt x="364" y="376"/>
                  </a:lnTo>
                  <a:lnTo>
                    <a:pt x="362" y="374"/>
                  </a:lnTo>
                  <a:lnTo>
                    <a:pt x="361" y="376"/>
                  </a:lnTo>
                  <a:lnTo>
                    <a:pt x="357" y="374"/>
                  </a:lnTo>
                  <a:lnTo>
                    <a:pt x="359" y="371"/>
                  </a:lnTo>
                  <a:lnTo>
                    <a:pt x="353" y="369"/>
                  </a:lnTo>
                  <a:lnTo>
                    <a:pt x="353" y="372"/>
                  </a:lnTo>
                  <a:lnTo>
                    <a:pt x="345" y="372"/>
                  </a:lnTo>
                  <a:lnTo>
                    <a:pt x="349" y="378"/>
                  </a:lnTo>
                  <a:lnTo>
                    <a:pt x="353" y="378"/>
                  </a:lnTo>
                  <a:lnTo>
                    <a:pt x="353" y="380"/>
                  </a:lnTo>
                  <a:lnTo>
                    <a:pt x="349" y="380"/>
                  </a:lnTo>
                  <a:lnTo>
                    <a:pt x="345" y="384"/>
                  </a:lnTo>
                  <a:lnTo>
                    <a:pt x="343" y="384"/>
                  </a:lnTo>
                  <a:lnTo>
                    <a:pt x="345" y="380"/>
                  </a:lnTo>
                  <a:lnTo>
                    <a:pt x="343" y="380"/>
                  </a:lnTo>
                  <a:lnTo>
                    <a:pt x="341" y="382"/>
                  </a:lnTo>
                  <a:lnTo>
                    <a:pt x="338" y="382"/>
                  </a:lnTo>
                  <a:lnTo>
                    <a:pt x="332" y="388"/>
                  </a:lnTo>
                  <a:lnTo>
                    <a:pt x="326" y="386"/>
                  </a:lnTo>
                  <a:lnTo>
                    <a:pt x="330" y="390"/>
                  </a:lnTo>
                  <a:lnTo>
                    <a:pt x="326" y="394"/>
                  </a:lnTo>
                  <a:lnTo>
                    <a:pt x="328" y="396"/>
                  </a:lnTo>
                  <a:lnTo>
                    <a:pt x="326" y="397"/>
                  </a:lnTo>
                  <a:lnTo>
                    <a:pt x="320" y="397"/>
                  </a:lnTo>
                  <a:lnTo>
                    <a:pt x="324" y="401"/>
                  </a:lnTo>
                  <a:lnTo>
                    <a:pt x="320" y="399"/>
                  </a:lnTo>
                  <a:lnTo>
                    <a:pt x="322" y="401"/>
                  </a:lnTo>
                  <a:lnTo>
                    <a:pt x="320" y="401"/>
                  </a:lnTo>
                  <a:lnTo>
                    <a:pt x="318" y="401"/>
                  </a:lnTo>
                  <a:lnTo>
                    <a:pt x="318" y="405"/>
                  </a:lnTo>
                  <a:lnTo>
                    <a:pt x="316" y="409"/>
                  </a:lnTo>
                  <a:lnTo>
                    <a:pt x="314" y="411"/>
                  </a:lnTo>
                  <a:lnTo>
                    <a:pt x="313" y="409"/>
                  </a:lnTo>
                  <a:lnTo>
                    <a:pt x="309" y="411"/>
                  </a:lnTo>
                  <a:lnTo>
                    <a:pt x="307" y="409"/>
                  </a:lnTo>
                  <a:lnTo>
                    <a:pt x="301" y="411"/>
                  </a:lnTo>
                  <a:lnTo>
                    <a:pt x="297" y="411"/>
                  </a:lnTo>
                  <a:lnTo>
                    <a:pt x="295" y="413"/>
                  </a:lnTo>
                  <a:lnTo>
                    <a:pt x="291" y="415"/>
                  </a:lnTo>
                  <a:lnTo>
                    <a:pt x="286" y="407"/>
                  </a:lnTo>
                  <a:lnTo>
                    <a:pt x="276" y="409"/>
                  </a:lnTo>
                  <a:lnTo>
                    <a:pt x="272" y="407"/>
                  </a:lnTo>
                  <a:lnTo>
                    <a:pt x="270" y="407"/>
                  </a:lnTo>
                  <a:lnTo>
                    <a:pt x="265" y="401"/>
                  </a:lnTo>
                  <a:lnTo>
                    <a:pt x="265" y="397"/>
                  </a:lnTo>
                  <a:lnTo>
                    <a:pt x="263" y="397"/>
                  </a:lnTo>
                  <a:lnTo>
                    <a:pt x="263" y="392"/>
                  </a:lnTo>
                  <a:lnTo>
                    <a:pt x="259" y="386"/>
                  </a:lnTo>
                  <a:lnTo>
                    <a:pt x="255" y="388"/>
                  </a:lnTo>
                  <a:lnTo>
                    <a:pt x="259" y="396"/>
                  </a:lnTo>
                  <a:lnTo>
                    <a:pt x="257" y="397"/>
                  </a:lnTo>
                  <a:lnTo>
                    <a:pt x="255" y="396"/>
                  </a:lnTo>
                  <a:lnTo>
                    <a:pt x="253" y="390"/>
                  </a:lnTo>
                  <a:lnTo>
                    <a:pt x="251" y="388"/>
                  </a:lnTo>
                  <a:lnTo>
                    <a:pt x="253" y="386"/>
                  </a:lnTo>
                  <a:lnTo>
                    <a:pt x="249" y="384"/>
                  </a:lnTo>
                  <a:lnTo>
                    <a:pt x="245" y="378"/>
                  </a:lnTo>
                  <a:lnTo>
                    <a:pt x="245" y="372"/>
                  </a:lnTo>
                  <a:lnTo>
                    <a:pt x="243" y="372"/>
                  </a:lnTo>
                  <a:lnTo>
                    <a:pt x="242" y="371"/>
                  </a:lnTo>
                  <a:lnTo>
                    <a:pt x="240" y="372"/>
                  </a:lnTo>
                  <a:lnTo>
                    <a:pt x="240" y="376"/>
                  </a:lnTo>
                  <a:lnTo>
                    <a:pt x="238" y="378"/>
                  </a:lnTo>
                  <a:lnTo>
                    <a:pt x="238" y="382"/>
                  </a:lnTo>
                  <a:lnTo>
                    <a:pt x="236" y="380"/>
                  </a:lnTo>
                  <a:lnTo>
                    <a:pt x="234" y="378"/>
                  </a:lnTo>
                  <a:lnTo>
                    <a:pt x="234" y="382"/>
                  </a:lnTo>
                  <a:lnTo>
                    <a:pt x="232" y="386"/>
                  </a:lnTo>
                  <a:lnTo>
                    <a:pt x="228" y="384"/>
                  </a:lnTo>
                  <a:lnTo>
                    <a:pt x="230" y="384"/>
                  </a:lnTo>
                  <a:lnTo>
                    <a:pt x="230" y="380"/>
                  </a:lnTo>
                  <a:lnTo>
                    <a:pt x="228" y="380"/>
                  </a:lnTo>
                  <a:lnTo>
                    <a:pt x="224" y="378"/>
                  </a:lnTo>
                  <a:lnTo>
                    <a:pt x="226" y="384"/>
                  </a:lnTo>
                  <a:lnTo>
                    <a:pt x="226" y="386"/>
                  </a:lnTo>
                  <a:lnTo>
                    <a:pt x="222" y="388"/>
                  </a:lnTo>
                  <a:lnTo>
                    <a:pt x="224" y="388"/>
                  </a:lnTo>
                  <a:lnTo>
                    <a:pt x="224" y="392"/>
                  </a:lnTo>
                  <a:lnTo>
                    <a:pt x="217" y="386"/>
                  </a:lnTo>
                  <a:lnTo>
                    <a:pt x="215" y="388"/>
                  </a:lnTo>
                  <a:lnTo>
                    <a:pt x="211" y="386"/>
                  </a:lnTo>
                  <a:lnTo>
                    <a:pt x="211" y="388"/>
                  </a:lnTo>
                  <a:lnTo>
                    <a:pt x="207" y="388"/>
                  </a:lnTo>
                  <a:lnTo>
                    <a:pt x="211" y="392"/>
                  </a:lnTo>
                  <a:lnTo>
                    <a:pt x="211" y="396"/>
                  </a:lnTo>
                  <a:lnTo>
                    <a:pt x="213" y="392"/>
                  </a:lnTo>
                  <a:lnTo>
                    <a:pt x="215" y="392"/>
                  </a:lnTo>
                  <a:lnTo>
                    <a:pt x="217" y="396"/>
                  </a:lnTo>
                  <a:lnTo>
                    <a:pt x="215" y="396"/>
                  </a:lnTo>
                  <a:lnTo>
                    <a:pt x="213" y="394"/>
                  </a:lnTo>
                  <a:lnTo>
                    <a:pt x="213" y="396"/>
                  </a:lnTo>
                  <a:lnTo>
                    <a:pt x="213" y="397"/>
                  </a:lnTo>
                  <a:lnTo>
                    <a:pt x="217" y="397"/>
                  </a:lnTo>
                  <a:lnTo>
                    <a:pt x="215" y="399"/>
                  </a:lnTo>
                  <a:lnTo>
                    <a:pt x="219" y="401"/>
                  </a:lnTo>
                  <a:lnTo>
                    <a:pt x="219" y="405"/>
                  </a:lnTo>
                  <a:lnTo>
                    <a:pt x="215" y="407"/>
                  </a:lnTo>
                  <a:lnTo>
                    <a:pt x="213" y="405"/>
                  </a:lnTo>
                  <a:lnTo>
                    <a:pt x="213" y="407"/>
                  </a:lnTo>
                  <a:lnTo>
                    <a:pt x="213" y="409"/>
                  </a:lnTo>
                  <a:lnTo>
                    <a:pt x="211" y="409"/>
                  </a:lnTo>
                  <a:lnTo>
                    <a:pt x="211" y="411"/>
                  </a:lnTo>
                  <a:lnTo>
                    <a:pt x="207" y="409"/>
                  </a:lnTo>
                  <a:lnTo>
                    <a:pt x="205" y="409"/>
                  </a:lnTo>
                  <a:lnTo>
                    <a:pt x="203" y="413"/>
                  </a:lnTo>
                  <a:lnTo>
                    <a:pt x="197" y="413"/>
                  </a:lnTo>
                  <a:lnTo>
                    <a:pt x="197" y="417"/>
                  </a:lnTo>
                  <a:lnTo>
                    <a:pt x="195" y="415"/>
                  </a:lnTo>
                  <a:lnTo>
                    <a:pt x="188" y="411"/>
                  </a:lnTo>
                  <a:lnTo>
                    <a:pt x="186" y="413"/>
                  </a:lnTo>
                  <a:lnTo>
                    <a:pt x="188" y="415"/>
                  </a:lnTo>
                  <a:lnTo>
                    <a:pt x="182" y="419"/>
                  </a:lnTo>
                  <a:lnTo>
                    <a:pt x="180" y="424"/>
                  </a:lnTo>
                  <a:lnTo>
                    <a:pt x="176" y="426"/>
                  </a:lnTo>
                  <a:lnTo>
                    <a:pt x="176" y="430"/>
                  </a:lnTo>
                  <a:lnTo>
                    <a:pt x="174" y="432"/>
                  </a:lnTo>
                  <a:lnTo>
                    <a:pt x="178" y="430"/>
                  </a:lnTo>
                  <a:lnTo>
                    <a:pt x="180" y="432"/>
                  </a:lnTo>
                  <a:lnTo>
                    <a:pt x="176" y="434"/>
                  </a:lnTo>
                  <a:lnTo>
                    <a:pt x="178" y="436"/>
                  </a:lnTo>
                  <a:lnTo>
                    <a:pt x="180" y="438"/>
                  </a:lnTo>
                  <a:lnTo>
                    <a:pt x="184" y="438"/>
                  </a:lnTo>
                  <a:lnTo>
                    <a:pt x="178" y="444"/>
                  </a:lnTo>
                  <a:lnTo>
                    <a:pt x="174" y="447"/>
                  </a:lnTo>
                  <a:lnTo>
                    <a:pt x="178" y="447"/>
                  </a:lnTo>
                  <a:lnTo>
                    <a:pt x="178" y="451"/>
                  </a:lnTo>
                  <a:lnTo>
                    <a:pt x="180" y="449"/>
                  </a:lnTo>
                  <a:lnTo>
                    <a:pt x="180" y="453"/>
                  </a:lnTo>
                  <a:lnTo>
                    <a:pt x="180" y="455"/>
                  </a:lnTo>
                  <a:lnTo>
                    <a:pt x="178" y="455"/>
                  </a:lnTo>
                  <a:lnTo>
                    <a:pt x="176" y="453"/>
                  </a:lnTo>
                  <a:lnTo>
                    <a:pt x="172" y="457"/>
                  </a:lnTo>
                  <a:lnTo>
                    <a:pt x="167" y="457"/>
                  </a:lnTo>
                  <a:lnTo>
                    <a:pt x="161" y="455"/>
                  </a:lnTo>
                  <a:lnTo>
                    <a:pt x="161" y="449"/>
                  </a:lnTo>
                  <a:lnTo>
                    <a:pt x="157" y="451"/>
                  </a:lnTo>
                  <a:lnTo>
                    <a:pt x="151" y="447"/>
                  </a:lnTo>
                  <a:lnTo>
                    <a:pt x="149" y="449"/>
                  </a:lnTo>
                  <a:lnTo>
                    <a:pt x="151" y="451"/>
                  </a:lnTo>
                  <a:lnTo>
                    <a:pt x="149" y="459"/>
                  </a:lnTo>
                  <a:lnTo>
                    <a:pt x="142" y="463"/>
                  </a:lnTo>
                  <a:lnTo>
                    <a:pt x="138" y="463"/>
                  </a:lnTo>
                  <a:lnTo>
                    <a:pt x="136" y="469"/>
                  </a:lnTo>
                  <a:lnTo>
                    <a:pt x="134" y="470"/>
                  </a:lnTo>
                  <a:lnTo>
                    <a:pt x="128" y="467"/>
                  </a:lnTo>
                  <a:lnTo>
                    <a:pt x="130" y="463"/>
                  </a:lnTo>
                  <a:lnTo>
                    <a:pt x="128" y="463"/>
                  </a:lnTo>
                  <a:lnTo>
                    <a:pt x="130" y="461"/>
                  </a:lnTo>
                  <a:lnTo>
                    <a:pt x="130" y="457"/>
                  </a:lnTo>
                  <a:lnTo>
                    <a:pt x="132" y="457"/>
                  </a:lnTo>
                  <a:lnTo>
                    <a:pt x="130" y="453"/>
                  </a:lnTo>
                  <a:lnTo>
                    <a:pt x="124" y="453"/>
                  </a:lnTo>
                  <a:lnTo>
                    <a:pt x="126" y="447"/>
                  </a:lnTo>
                  <a:lnTo>
                    <a:pt x="124" y="445"/>
                  </a:lnTo>
                  <a:lnTo>
                    <a:pt x="124" y="447"/>
                  </a:lnTo>
                  <a:lnTo>
                    <a:pt x="121" y="445"/>
                  </a:lnTo>
                  <a:lnTo>
                    <a:pt x="123" y="444"/>
                  </a:lnTo>
                  <a:lnTo>
                    <a:pt x="123" y="440"/>
                  </a:lnTo>
                  <a:lnTo>
                    <a:pt x="119" y="440"/>
                  </a:lnTo>
                  <a:lnTo>
                    <a:pt x="119" y="436"/>
                  </a:lnTo>
                  <a:lnTo>
                    <a:pt x="113" y="442"/>
                  </a:lnTo>
                  <a:lnTo>
                    <a:pt x="107" y="449"/>
                  </a:lnTo>
                  <a:lnTo>
                    <a:pt x="103" y="453"/>
                  </a:lnTo>
                  <a:lnTo>
                    <a:pt x="107" y="455"/>
                  </a:lnTo>
                  <a:lnTo>
                    <a:pt x="101" y="461"/>
                  </a:lnTo>
                  <a:lnTo>
                    <a:pt x="107" y="461"/>
                  </a:lnTo>
                  <a:lnTo>
                    <a:pt x="107" y="463"/>
                  </a:lnTo>
                  <a:lnTo>
                    <a:pt x="105" y="465"/>
                  </a:lnTo>
                  <a:lnTo>
                    <a:pt x="103" y="467"/>
                  </a:lnTo>
                  <a:lnTo>
                    <a:pt x="100" y="470"/>
                  </a:lnTo>
                  <a:lnTo>
                    <a:pt x="101" y="472"/>
                  </a:lnTo>
                  <a:lnTo>
                    <a:pt x="100" y="474"/>
                  </a:lnTo>
                  <a:lnTo>
                    <a:pt x="100" y="476"/>
                  </a:lnTo>
                  <a:lnTo>
                    <a:pt x="103" y="478"/>
                  </a:lnTo>
                  <a:lnTo>
                    <a:pt x="105" y="480"/>
                  </a:lnTo>
                  <a:lnTo>
                    <a:pt x="103" y="482"/>
                  </a:lnTo>
                  <a:lnTo>
                    <a:pt x="101" y="480"/>
                  </a:lnTo>
                  <a:lnTo>
                    <a:pt x="101" y="484"/>
                  </a:lnTo>
                  <a:lnTo>
                    <a:pt x="103" y="488"/>
                  </a:lnTo>
                  <a:lnTo>
                    <a:pt x="101" y="490"/>
                  </a:lnTo>
                  <a:lnTo>
                    <a:pt x="100" y="490"/>
                  </a:lnTo>
                  <a:lnTo>
                    <a:pt x="98" y="492"/>
                  </a:lnTo>
                  <a:lnTo>
                    <a:pt x="98" y="488"/>
                  </a:lnTo>
                  <a:lnTo>
                    <a:pt x="96" y="490"/>
                  </a:lnTo>
                  <a:lnTo>
                    <a:pt x="94" y="492"/>
                  </a:lnTo>
                  <a:lnTo>
                    <a:pt x="94" y="495"/>
                  </a:lnTo>
                  <a:lnTo>
                    <a:pt x="92" y="497"/>
                  </a:lnTo>
                  <a:lnTo>
                    <a:pt x="86" y="494"/>
                  </a:lnTo>
                  <a:lnTo>
                    <a:pt x="84" y="494"/>
                  </a:lnTo>
                  <a:lnTo>
                    <a:pt x="82" y="490"/>
                  </a:lnTo>
                  <a:lnTo>
                    <a:pt x="80" y="492"/>
                  </a:lnTo>
                  <a:lnTo>
                    <a:pt x="78" y="490"/>
                  </a:lnTo>
                  <a:lnTo>
                    <a:pt x="73" y="488"/>
                  </a:lnTo>
                  <a:lnTo>
                    <a:pt x="71" y="490"/>
                  </a:lnTo>
                  <a:lnTo>
                    <a:pt x="69" y="488"/>
                  </a:lnTo>
                  <a:lnTo>
                    <a:pt x="65" y="490"/>
                  </a:lnTo>
                  <a:lnTo>
                    <a:pt x="65" y="494"/>
                  </a:lnTo>
                  <a:lnTo>
                    <a:pt x="61" y="495"/>
                  </a:lnTo>
                  <a:lnTo>
                    <a:pt x="55" y="497"/>
                  </a:lnTo>
                  <a:lnTo>
                    <a:pt x="50" y="499"/>
                  </a:lnTo>
                  <a:lnTo>
                    <a:pt x="44" y="501"/>
                  </a:lnTo>
                  <a:lnTo>
                    <a:pt x="38" y="507"/>
                  </a:lnTo>
                  <a:lnTo>
                    <a:pt x="32" y="511"/>
                  </a:lnTo>
                  <a:lnTo>
                    <a:pt x="32" y="507"/>
                  </a:lnTo>
                  <a:lnTo>
                    <a:pt x="28" y="509"/>
                  </a:lnTo>
                  <a:lnTo>
                    <a:pt x="23" y="515"/>
                  </a:lnTo>
                  <a:lnTo>
                    <a:pt x="19" y="515"/>
                  </a:lnTo>
                  <a:lnTo>
                    <a:pt x="9" y="517"/>
                  </a:lnTo>
                  <a:lnTo>
                    <a:pt x="7" y="513"/>
                  </a:lnTo>
                  <a:lnTo>
                    <a:pt x="0" y="517"/>
                  </a:lnTo>
                  <a:lnTo>
                    <a:pt x="0" y="507"/>
                  </a:lnTo>
                  <a:lnTo>
                    <a:pt x="5" y="509"/>
                  </a:lnTo>
                  <a:lnTo>
                    <a:pt x="5" y="503"/>
                  </a:lnTo>
                  <a:lnTo>
                    <a:pt x="9" y="499"/>
                  </a:lnTo>
                  <a:lnTo>
                    <a:pt x="9" y="490"/>
                  </a:lnTo>
                  <a:lnTo>
                    <a:pt x="13" y="486"/>
                  </a:lnTo>
                  <a:lnTo>
                    <a:pt x="13" y="480"/>
                  </a:lnTo>
                  <a:lnTo>
                    <a:pt x="11" y="476"/>
                  </a:lnTo>
                  <a:lnTo>
                    <a:pt x="15" y="467"/>
                  </a:lnTo>
                  <a:lnTo>
                    <a:pt x="19" y="467"/>
                  </a:lnTo>
                  <a:lnTo>
                    <a:pt x="23" y="463"/>
                  </a:lnTo>
                  <a:lnTo>
                    <a:pt x="28" y="461"/>
                  </a:lnTo>
                  <a:lnTo>
                    <a:pt x="28" y="459"/>
                  </a:lnTo>
                  <a:lnTo>
                    <a:pt x="38" y="457"/>
                  </a:lnTo>
                  <a:lnTo>
                    <a:pt x="40" y="451"/>
                  </a:lnTo>
                  <a:lnTo>
                    <a:pt x="46" y="445"/>
                  </a:lnTo>
                  <a:lnTo>
                    <a:pt x="50" y="444"/>
                  </a:lnTo>
                  <a:lnTo>
                    <a:pt x="52" y="440"/>
                  </a:lnTo>
                  <a:lnTo>
                    <a:pt x="55" y="438"/>
                  </a:lnTo>
                  <a:lnTo>
                    <a:pt x="57" y="434"/>
                  </a:lnTo>
                  <a:lnTo>
                    <a:pt x="61" y="434"/>
                  </a:lnTo>
                  <a:lnTo>
                    <a:pt x="61" y="432"/>
                  </a:lnTo>
                  <a:lnTo>
                    <a:pt x="55" y="428"/>
                  </a:lnTo>
                  <a:lnTo>
                    <a:pt x="55" y="424"/>
                  </a:lnTo>
                  <a:lnTo>
                    <a:pt x="61" y="426"/>
                  </a:lnTo>
                  <a:lnTo>
                    <a:pt x="61" y="421"/>
                  </a:lnTo>
                  <a:lnTo>
                    <a:pt x="69" y="417"/>
                  </a:lnTo>
                  <a:lnTo>
                    <a:pt x="75" y="419"/>
                  </a:lnTo>
                  <a:lnTo>
                    <a:pt x="76" y="413"/>
                  </a:lnTo>
                  <a:lnTo>
                    <a:pt x="80" y="413"/>
                  </a:lnTo>
                  <a:lnTo>
                    <a:pt x="80" y="411"/>
                  </a:lnTo>
                  <a:lnTo>
                    <a:pt x="84" y="409"/>
                  </a:lnTo>
                  <a:lnTo>
                    <a:pt x="84" y="401"/>
                  </a:lnTo>
                  <a:lnTo>
                    <a:pt x="86" y="397"/>
                  </a:lnTo>
                  <a:lnTo>
                    <a:pt x="90" y="396"/>
                  </a:lnTo>
                  <a:lnTo>
                    <a:pt x="94" y="396"/>
                  </a:lnTo>
                  <a:lnTo>
                    <a:pt x="94" y="388"/>
                  </a:lnTo>
                  <a:lnTo>
                    <a:pt x="88" y="380"/>
                  </a:lnTo>
                  <a:lnTo>
                    <a:pt x="90" y="376"/>
                  </a:lnTo>
                  <a:lnTo>
                    <a:pt x="90" y="374"/>
                  </a:lnTo>
                  <a:lnTo>
                    <a:pt x="86" y="372"/>
                  </a:lnTo>
                  <a:lnTo>
                    <a:pt x="86" y="374"/>
                  </a:lnTo>
                  <a:lnTo>
                    <a:pt x="84" y="372"/>
                  </a:lnTo>
                  <a:lnTo>
                    <a:pt x="88" y="369"/>
                  </a:lnTo>
                  <a:lnTo>
                    <a:pt x="84" y="365"/>
                  </a:lnTo>
                  <a:lnTo>
                    <a:pt x="84" y="357"/>
                  </a:lnTo>
                  <a:lnTo>
                    <a:pt x="88" y="351"/>
                  </a:lnTo>
                  <a:lnTo>
                    <a:pt x="84" y="349"/>
                  </a:lnTo>
                  <a:lnTo>
                    <a:pt x="84" y="348"/>
                  </a:lnTo>
                  <a:lnTo>
                    <a:pt x="86" y="348"/>
                  </a:lnTo>
                  <a:lnTo>
                    <a:pt x="88" y="342"/>
                  </a:lnTo>
                  <a:lnTo>
                    <a:pt x="80" y="340"/>
                  </a:lnTo>
                  <a:lnTo>
                    <a:pt x="78" y="336"/>
                  </a:lnTo>
                  <a:lnTo>
                    <a:pt x="78" y="332"/>
                  </a:lnTo>
                  <a:lnTo>
                    <a:pt x="76" y="330"/>
                  </a:lnTo>
                  <a:lnTo>
                    <a:pt x="75" y="332"/>
                  </a:lnTo>
                  <a:lnTo>
                    <a:pt x="71" y="332"/>
                  </a:lnTo>
                  <a:lnTo>
                    <a:pt x="75" y="328"/>
                  </a:lnTo>
                  <a:lnTo>
                    <a:pt x="73" y="323"/>
                  </a:lnTo>
                  <a:lnTo>
                    <a:pt x="75" y="319"/>
                  </a:lnTo>
                  <a:lnTo>
                    <a:pt x="73" y="311"/>
                  </a:lnTo>
                  <a:lnTo>
                    <a:pt x="76" y="301"/>
                  </a:lnTo>
                  <a:lnTo>
                    <a:pt x="67" y="301"/>
                  </a:lnTo>
                  <a:lnTo>
                    <a:pt x="65" y="294"/>
                  </a:lnTo>
                  <a:lnTo>
                    <a:pt x="57" y="290"/>
                  </a:lnTo>
                  <a:lnTo>
                    <a:pt x="53" y="288"/>
                  </a:lnTo>
                  <a:lnTo>
                    <a:pt x="53" y="284"/>
                  </a:lnTo>
                  <a:lnTo>
                    <a:pt x="55" y="278"/>
                  </a:lnTo>
                  <a:lnTo>
                    <a:pt x="55" y="275"/>
                  </a:lnTo>
                  <a:lnTo>
                    <a:pt x="59" y="275"/>
                  </a:lnTo>
                  <a:lnTo>
                    <a:pt x="65" y="267"/>
                  </a:lnTo>
                  <a:lnTo>
                    <a:pt x="69" y="273"/>
                  </a:lnTo>
                  <a:lnTo>
                    <a:pt x="71" y="275"/>
                  </a:lnTo>
                  <a:lnTo>
                    <a:pt x="73" y="276"/>
                  </a:lnTo>
                  <a:lnTo>
                    <a:pt x="76" y="273"/>
                  </a:lnTo>
                  <a:lnTo>
                    <a:pt x="82" y="276"/>
                  </a:lnTo>
                  <a:lnTo>
                    <a:pt x="88" y="278"/>
                  </a:lnTo>
                  <a:lnTo>
                    <a:pt x="90" y="280"/>
                  </a:lnTo>
                  <a:lnTo>
                    <a:pt x="96" y="278"/>
                  </a:lnTo>
                  <a:lnTo>
                    <a:pt x="98" y="282"/>
                  </a:lnTo>
                  <a:lnTo>
                    <a:pt x="100" y="284"/>
                  </a:lnTo>
                  <a:lnTo>
                    <a:pt x="101" y="292"/>
                  </a:lnTo>
                  <a:lnTo>
                    <a:pt x="105" y="298"/>
                  </a:lnTo>
                  <a:lnTo>
                    <a:pt x="111" y="292"/>
                  </a:lnTo>
                  <a:lnTo>
                    <a:pt x="117" y="288"/>
                  </a:lnTo>
                  <a:lnTo>
                    <a:pt x="123" y="290"/>
                  </a:lnTo>
                  <a:lnTo>
                    <a:pt x="128" y="294"/>
                  </a:lnTo>
                  <a:lnTo>
                    <a:pt x="130" y="292"/>
                  </a:lnTo>
                  <a:lnTo>
                    <a:pt x="134" y="294"/>
                  </a:lnTo>
                  <a:lnTo>
                    <a:pt x="130" y="298"/>
                  </a:lnTo>
                  <a:lnTo>
                    <a:pt x="130" y="301"/>
                  </a:lnTo>
                  <a:lnTo>
                    <a:pt x="132" y="303"/>
                  </a:lnTo>
                  <a:lnTo>
                    <a:pt x="136" y="301"/>
                  </a:lnTo>
                  <a:lnTo>
                    <a:pt x="140" y="298"/>
                  </a:lnTo>
                  <a:lnTo>
                    <a:pt x="146" y="298"/>
                  </a:lnTo>
                  <a:lnTo>
                    <a:pt x="147" y="292"/>
                  </a:lnTo>
                  <a:lnTo>
                    <a:pt x="146" y="290"/>
                  </a:lnTo>
                  <a:lnTo>
                    <a:pt x="146" y="284"/>
                  </a:lnTo>
                  <a:lnTo>
                    <a:pt x="146" y="278"/>
                  </a:lnTo>
                  <a:lnTo>
                    <a:pt x="138" y="278"/>
                  </a:lnTo>
                  <a:lnTo>
                    <a:pt x="134" y="280"/>
                  </a:lnTo>
                  <a:lnTo>
                    <a:pt x="128" y="276"/>
                  </a:lnTo>
                  <a:lnTo>
                    <a:pt x="124" y="276"/>
                  </a:lnTo>
                  <a:lnTo>
                    <a:pt x="121" y="275"/>
                  </a:lnTo>
                  <a:lnTo>
                    <a:pt x="113" y="273"/>
                  </a:lnTo>
                  <a:lnTo>
                    <a:pt x="113" y="267"/>
                  </a:lnTo>
                  <a:lnTo>
                    <a:pt x="111" y="263"/>
                  </a:lnTo>
                  <a:lnTo>
                    <a:pt x="115" y="257"/>
                  </a:lnTo>
                  <a:lnTo>
                    <a:pt x="115" y="250"/>
                  </a:lnTo>
                  <a:lnTo>
                    <a:pt x="117" y="248"/>
                  </a:lnTo>
                  <a:lnTo>
                    <a:pt x="117" y="246"/>
                  </a:lnTo>
                  <a:lnTo>
                    <a:pt x="113" y="242"/>
                  </a:lnTo>
                  <a:lnTo>
                    <a:pt x="115" y="234"/>
                  </a:lnTo>
                  <a:lnTo>
                    <a:pt x="117" y="232"/>
                  </a:lnTo>
                  <a:lnTo>
                    <a:pt x="115" y="227"/>
                  </a:lnTo>
                  <a:lnTo>
                    <a:pt x="113" y="228"/>
                  </a:lnTo>
                  <a:lnTo>
                    <a:pt x="113" y="223"/>
                  </a:lnTo>
                  <a:lnTo>
                    <a:pt x="109" y="221"/>
                  </a:lnTo>
                  <a:lnTo>
                    <a:pt x="107" y="219"/>
                  </a:lnTo>
                  <a:lnTo>
                    <a:pt x="109" y="215"/>
                  </a:lnTo>
                  <a:lnTo>
                    <a:pt x="107" y="213"/>
                  </a:lnTo>
                  <a:lnTo>
                    <a:pt x="111" y="211"/>
                  </a:lnTo>
                  <a:lnTo>
                    <a:pt x="109" y="202"/>
                  </a:lnTo>
                  <a:lnTo>
                    <a:pt x="107" y="196"/>
                  </a:lnTo>
                  <a:lnTo>
                    <a:pt x="107" y="186"/>
                  </a:lnTo>
                  <a:lnTo>
                    <a:pt x="109" y="182"/>
                  </a:lnTo>
                  <a:lnTo>
                    <a:pt x="111" y="184"/>
                  </a:lnTo>
                  <a:lnTo>
                    <a:pt x="115" y="184"/>
                  </a:lnTo>
                  <a:lnTo>
                    <a:pt x="117" y="188"/>
                  </a:lnTo>
                  <a:lnTo>
                    <a:pt x="121" y="188"/>
                  </a:lnTo>
                  <a:lnTo>
                    <a:pt x="124" y="186"/>
                  </a:lnTo>
                  <a:lnTo>
                    <a:pt x="124" y="180"/>
                  </a:lnTo>
                  <a:lnTo>
                    <a:pt x="132" y="177"/>
                  </a:lnTo>
                  <a:lnTo>
                    <a:pt x="132" y="173"/>
                  </a:lnTo>
                  <a:lnTo>
                    <a:pt x="140" y="165"/>
                  </a:lnTo>
                  <a:lnTo>
                    <a:pt x="138" y="163"/>
                  </a:lnTo>
                  <a:lnTo>
                    <a:pt x="142" y="159"/>
                  </a:lnTo>
                  <a:lnTo>
                    <a:pt x="140" y="157"/>
                  </a:lnTo>
                  <a:lnTo>
                    <a:pt x="142" y="155"/>
                  </a:lnTo>
                  <a:lnTo>
                    <a:pt x="140" y="154"/>
                  </a:lnTo>
                  <a:lnTo>
                    <a:pt x="142" y="154"/>
                  </a:lnTo>
                  <a:lnTo>
                    <a:pt x="146" y="152"/>
                  </a:lnTo>
                  <a:lnTo>
                    <a:pt x="153" y="152"/>
                  </a:lnTo>
                  <a:lnTo>
                    <a:pt x="157" y="154"/>
                  </a:lnTo>
                  <a:lnTo>
                    <a:pt x="163" y="152"/>
                  </a:lnTo>
                  <a:lnTo>
                    <a:pt x="167" y="154"/>
                  </a:lnTo>
                  <a:lnTo>
                    <a:pt x="169" y="152"/>
                  </a:lnTo>
                  <a:lnTo>
                    <a:pt x="174" y="152"/>
                  </a:lnTo>
                  <a:lnTo>
                    <a:pt x="176" y="150"/>
                  </a:lnTo>
                  <a:lnTo>
                    <a:pt x="176" y="152"/>
                  </a:lnTo>
                  <a:lnTo>
                    <a:pt x="178" y="150"/>
                  </a:lnTo>
                  <a:lnTo>
                    <a:pt x="178" y="152"/>
                  </a:lnTo>
                  <a:lnTo>
                    <a:pt x="180" y="152"/>
                  </a:lnTo>
                  <a:lnTo>
                    <a:pt x="178" y="155"/>
                  </a:lnTo>
                  <a:lnTo>
                    <a:pt x="180" y="154"/>
                  </a:lnTo>
                  <a:lnTo>
                    <a:pt x="188" y="157"/>
                  </a:lnTo>
                  <a:lnTo>
                    <a:pt x="194" y="159"/>
                  </a:lnTo>
                  <a:lnTo>
                    <a:pt x="201" y="154"/>
                  </a:lnTo>
                  <a:lnTo>
                    <a:pt x="203" y="150"/>
                  </a:lnTo>
                  <a:lnTo>
                    <a:pt x="203" y="142"/>
                  </a:lnTo>
                  <a:lnTo>
                    <a:pt x="205" y="140"/>
                  </a:lnTo>
                  <a:lnTo>
                    <a:pt x="209" y="140"/>
                  </a:lnTo>
                  <a:lnTo>
                    <a:pt x="209" y="138"/>
                  </a:lnTo>
                  <a:lnTo>
                    <a:pt x="207" y="136"/>
                  </a:lnTo>
                  <a:lnTo>
                    <a:pt x="209" y="129"/>
                  </a:lnTo>
                  <a:lnTo>
                    <a:pt x="211" y="129"/>
                  </a:lnTo>
                  <a:lnTo>
                    <a:pt x="215" y="130"/>
                  </a:lnTo>
                  <a:lnTo>
                    <a:pt x="220" y="132"/>
                  </a:lnTo>
                  <a:lnTo>
                    <a:pt x="224" y="132"/>
                  </a:lnTo>
                  <a:lnTo>
                    <a:pt x="222" y="127"/>
                  </a:lnTo>
                  <a:lnTo>
                    <a:pt x="219" y="121"/>
                  </a:lnTo>
                  <a:lnTo>
                    <a:pt x="217" y="115"/>
                  </a:lnTo>
                  <a:lnTo>
                    <a:pt x="220" y="109"/>
                  </a:lnTo>
                  <a:lnTo>
                    <a:pt x="219" y="107"/>
                  </a:lnTo>
                  <a:lnTo>
                    <a:pt x="222" y="104"/>
                  </a:lnTo>
                  <a:lnTo>
                    <a:pt x="228" y="100"/>
                  </a:lnTo>
                  <a:lnTo>
                    <a:pt x="230" y="104"/>
                  </a:lnTo>
                  <a:lnTo>
                    <a:pt x="232" y="102"/>
                  </a:lnTo>
                  <a:lnTo>
                    <a:pt x="226" y="96"/>
                  </a:lnTo>
                  <a:lnTo>
                    <a:pt x="226" y="94"/>
                  </a:lnTo>
                  <a:lnTo>
                    <a:pt x="230" y="94"/>
                  </a:lnTo>
                  <a:lnTo>
                    <a:pt x="234" y="90"/>
                  </a:lnTo>
                  <a:lnTo>
                    <a:pt x="232" y="84"/>
                  </a:lnTo>
                  <a:lnTo>
                    <a:pt x="234" y="81"/>
                  </a:lnTo>
                  <a:lnTo>
                    <a:pt x="238" y="84"/>
                  </a:lnTo>
                  <a:lnTo>
                    <a:pt x="240" y="84"/>
                  </a:lnTo>
                  <a:lnTo>
                    <a:pt x="238" y="81"/>
                  </a:lnTo>
                  <a:lnTo>
                    <a:pt x="240" y="79"/>
                  </a:lnTo>
                  <a:lnTo>
                    <a:pt x="243" y="81"/>
                  </a:lnTo>
                  <a:lnTo>
                    <a:pt x="245" y="79"/>
                  </a:lnTo>
                  <a:lnTo>
                    <a:pt x="243" y="75"/>
                  </a:lnTo>
                  <a:lnTo>
                    <a:pt x="245" y="71"/>
                  </a:lnTo>
                  <a:lnTo>
                    <a:pt x="242" y="69"/>
                  </a:lnTo>
                  <a:lnTo>
                    <a:pt x="242" y="67"/>
                  </a:lnTo>
                  <a:lnTo>
                    <a:pt x="240" y="65"/>
                  </a:lnTo>
                  <a:lnTo>
                    <a:pt x="242" y="61"/>
                  </a:lnTo>
                  <a:lnTo>
                    <a:pt x="240" y="57"/>
                  </a:lnTo>
                  <a:lnTo>
                    <a:pt x="240" y="56"/>
                  </a:lnTo>
                  <a:lnTo>
                    <a:pt x="245" y="56"/>
                  </a:lnTo>
                  <a:lnTo>
                    <a:pt x="242" y="50"/>
                  </a:lnTo>
                  <a:lnTo>
                    <a:pt x="247" y="44"/>
                  </a:lnTo>
                  <a:lnTo>
                    <a:pt x="251" y="38"/>
                  </a:lnTo>
                  <a:lnTo>
                    <a:pt x="257" y="34"/>
                  </a:lnTo>
                  <a:lnTo>
                    <a:pt x="263" y="34"/>
                  </a:lnTo>
                  <a:lnTo>
                    <a:pt x="265" y="34"/>
                  </a:lnTo>
                  <a:lnTo>
                    <a:pt x="268" y="31"/>
                  </a:lnTo>
                  <a:lnTo>
                    <a:pt x="270" y="31"/>
                  </a:lnTo>
                  <a:lnTo>
                    <a:pt x="270" y="27"/>
                  </a:lnTo>
                  <a:lnTo>
                    <a:pt x="276" y="25"/>
                  </a:lnTo>
                  <a:lnTo>
                    <a:pt x="284" y="23"/>
                  </a:lnTo>
                  <a:lnTo>
                    <a:pt x="288" y="23"/>
                  </a:lnTo>
                  <a:lnTo>
                    <a:pt x="291" y="21"/>
                  </a:lnTo>
                  <a:lnTo>
                    <a:pt x="295" y="13"/>
                  </a:lnTo>
                  <a:lnTo>
                    <a:pt x="295" y="9"/>
                  </a:lnTo>
                  <a:lnTo>
                    <a:pt x="288" y="8"/>
                  </a:lnTo>
                  <a:lnTo>
                    <a:pt x="288" y="6"/>
                  </a:lnTo>
                  <a:lnTo>
                    <a:pt x="290" y="4"/>
                  </a:lnTo>
                  <a:lnTo>
                    <a:pt x="297" y="6"/>
                  </a:lnTo>
                  <a:lnTo>
                    <a:pt x="301" y="9"/>
                  </a:lnTo>
                  <a:lnTo>
                    <a:pt x="305" y="9"/>
                  </a:lnTo>
                  <a:lnTo>
                    <a:pt x="305" y="15"/>
                  </a:lnTo>
                  <a:lnTo>
                    <a:pt x="307" y="17"/>
                  </a:lnTo>
                  <a:lnTo>
                    <a:pt x="311" y="21"/>
                  </a:lnTo>
                  <a:lnTo>
                    <a:pt x="316" y="21"/>
                  </a:lnTo>
                  <a:lnTo>
                    <a:pt x="320" y="25"/>
                  </a:lnTo>
                  <a:lnTo>
                    <a:pt x="326" y="23"/>
                  </a:lnTo>
                  <a:lnTo>
                    <a:pt x="328" y="25"/>
                  </a:lnTo>
                  <a:lnTo>
                    <a:pt x="334" y="23"/>
                  </a:lnTo>
                  <a:lnTo>
                    <a:pt x="336" y="23"/>
                  </a:lnTo>
                  <a:lnTo>
                    <a:pt x="338" y="21"/>
                  </a:lnTo>
                  <a:lnTo>
                    <a:pt x="341" y="19"/>
                  </a:lnTo>
                  <a:lnTo>
                    <a:pt x="341" y="17"/>
                  </a:lnTo>
                  <a:lnTo>
                    <a:pt x="345" y="15"/>
                  </a:lnTo>
                  <a:lnTo>
                    <a:pt x="347" y="15"/>
                  </a:lnTo>
                  <a:lnTo>
                    <a:pt x="357" y="15"/>
                  </a:lnTo>
                  <a:lnTo>
                    <a:pt x="361" y="15"/>
                  </a:lnTo>
                  <a:lnTo>
                    <a:pt x="370" y="15"/>
                  </a:lnTo>
                  <a:lnTo>
                    <a:pt x="370" y="13"/>
                  </a:lnTo>
                  <a:lnTo>
                    <a:pt x="376" y="13"/>
                  </a:lnTo>
                  <a:lnTo>
                    <a:pt x="380" y="15"/>
                  </a:lnTo>
                  <a:lnTo>
                    <a:pt x="384" y="13"/>
                  </a:lnTo>
                  <a:lnTo>
                    <a:pt x="384" y="15"/>
                  </a:lnTo>
                  <a:lnTo>
                    <a:pt x="393" y="11"/>
                  </a:lnTo>
                  <a:lnTo>
                    <a:pt x="401" y="9"/>
                  </a:lnTo>
                  <a:lnTo>
                    <a:pt x="405" y="9"/>
                  </a:lnTo>
                  <a:lnTo>
                    <a:pt x="403" y="13"/>
                  </a:lnTo>
                  <a:lnTo>
                    <a:pt x="405" y="19"/>
                  </a:lnTo>
                  <a:lnTo>
                    <a:pt x="405" y="23"/>
                  </a:lnTo>
                  <a:lnTo>
                    <a:pt x="407" y="25"/>
                  </a:lnTo>
                  <a:lnTo>
                    <a:pt x="407" y="27"/>
                  </a:lnTo>
                  <a:lnTo>
                    <a:pt x="409" y="27"/>
                  </a:lnTo>
                  <a:lnTo>
                    <a:pt x="409" y="31"/>
                  </a:lnTo>
                  <a:lnTo>
                    <a:pt x="403" y="33"/>
                  </a:lnTo>
                  <a:lnTo>
                    <a:pt x="405" y="34"/>
                  </a:lnTo>
                  <a:lnTo>
                    <a:pt x="401" y="42"/>
                  </a:lnTo>
                  <a:lnTo>
                    <a:pt x="399" y="44"/>
                  </a:lnTo>
                  <a:lnTo>
                    <a:pt x="399" y="48"/>
                  </a:lnTo>
                  <a:lnTo>
                    <a:pt x="393" y="52"/>
                  </a:lnTo>
                  <a:lnTo>
                    <a:pt x="395" y="54"/>
                  </a:lnTo>
                  <a:lnTo>
                    <a:pt x="401" y="50"/>
                  </a:lnTo>
                  <a:lnTo>
                    <a:pt x="407" y="50"/>
                  </a:lnTo>
                  <a:lnTo>
                    <a:pt x="409" y="54"/>
                  </a:lnTo>
                  <a:lnTo>
                    <a:pt x="412" y="54"/>
                  </a:lnTo>
                  <a:lnTo>
                    <a:pt x="414" y="56"/>
                  </a:lnTo>
                  <a:lnTo>
                    <a:pt x="414" y="54"/>
                  </a:lnTo>
                  <a:lnTo>
                    <a:pt x="418" y="56"/>
                  </a:lnTo>
                  <a:lnTo>
                    <a:pt x="420" y="61"/>
                  </a:lnTo>
                  <a:lnTo>
                    <a:pt x="426" y="52"/>
                  </a:lnTo>
                  <a:lnTo>
                    <a:pt x="430" y="48"/>
                  </a:lnTo>
                  <a:lnTo>
                    <a:pt x="435" y="48"/>
                  </a:lnTo>
                  <a:lnTo>
                    <a:pt x="435" y="44"/>
                  </a:lnTo>
                  <a:lnTo>
                    <a:pt x="437" y="44"/>
                  </a:lnTo>
                  <a:lnTo>
                    <a:pt x="443" y="46"/>
                  </a:lnTo>
                  <a:lnTo>
                    <a:pt x="451" y="50"/>
                  </a:lnTo>
                  <a:lnTo>
                    <a:pt x="455" y="52"/>
                  </a:lnTo>
                  <a:lnTo>
                    <a:pt x="460" y="54"/>
                  </a:lnTo>
                  <a:lnTo>
                    <a:pt x="464" y="52"/>
                  </a:lnTo>
                  <a:lnTo>
                    <a:pt x="468" y="56"/>
                  </a:lnTo>
                  <a:lnTo>
                    <a:pt x="476" y="54"/>
                  </a:lnTo>
                  <a:lnTo>
                    <a:pt x="481" y="50"/>
                  </a:lnTo>
                  <a:lnTo>
                    <a:pt x="485" y="54"/>
                  </a:lnTo>
                  <a:lnTo>
                    <a:pt x="480" y="54"/>
                  </a:lnTo>
                  <a:lnTo>
                    <a:pt x="478" y="56"/>
                  </a:lnTo>
                  <a:lnTo>
                    <a:pt x="480" y="57"/>
                  </a:lnTo>
                  <a:lnTo>
                    <a:pt x="476" y="61"/>
                  </a:lnTo>
                  <a:lnTo>
                    <a:pt x="478" y="61"/>
                  </a:lnTo>
                  <a:lnTo>
                    <a:pt x="483" y="65"/>
                  </a:lnTo>
                  <a:lnTo>
                    <a:pt x="491" y="63"/>
                  </a:lnTo>
                  <a:lnTo>
                    <a:pt x="491" y="65"/>
                  </a:lnTo>
                  <a:lnTo>
                    <a:pt x="493" y="61"/>
                  </a:lnTo>
                  <a:lnTo>
                    <a:pt x="497" y="59"/>
                  </a:lnTo>
                  <a:lnTo>
                    <a:pt x="501" y="52"/>
                  </a:lnTo>
                  <a:lnTo>
                    <a:pt x="503" y="50"/>
                  </a:lnTo>
                  <a:lnTo>
                    <a:pt x="503" y="46"/>
                  </a:lnTo>
                  <a:lnTo>
                    <a:pt x="506" y="40"/>
                  </a:lnTo>
                  <a:lnTo>
                    <a:pt x="501" y="34"/>
                  </a:lnTo>
                  <a:lnTo>
                    <a:pt x="504" y="29"/>
                  </a:lnTo>
                  <a:lnTo>
                    <a:pt x="504" y="27"/>
                  </a:lnTo>
                  <a:lnTo>
                    <a:pt x="504" y="25"/>
                  </a:lnTo>
                  <a:lnTo>
                    <a:pt x="503" y="25"/>
                  </a:lnTo>
                  <a:lnTo>
                    <a:pt x="506" y="21"/>
                  </a:lnTo>
                  <a:lnTo>
                    <a:pt x="504" y="15"/>
                  </a:lnTo>
                  <a:lnTo>
                    <a:pt x="499" y="13"/>
                  </a:lnTo>
                  <a:lnTo>
                    <a:pt x="499" y="9"/>
                  </a:lnTo>
                  <a:lnTo>
                    <a:pt x="499" y="8"/>
                  </a:lnTo>
                  <a:lnTo>
                    <a:pt x="506" y="4"/>
                  </a:lnTo>
                  <a:lnTo>
                    <a:pt x="508" y="0"/>
                  </a:lnTo>
                  <a:lnTo>
                    <a:pt x="512" y="4"/>
                  </a:lnTo>
                  <a:lnTo>
                    <a:pt x="514" y="9"/>
                  </a:lnTo>
                  <a:lnTo>
                    <a:pt x="522" y="9"/>
                  </a:lnTo>
                  <a:lnTo>
                    <a:pt x="528" y="11"/>
                  </a:lnTo>
                  <a:lnTo>
                    <a:pt x="533" y="13"/>
                  </a:lnTo>
                  <a:lnTo>
                    <a:pt x="537" y="21"/>
                  </a:lnTo>
                  <a:lnTo>
                    <a:pt x="543" y="25"/>
                  </a:lnTo>
                  <a:lnTo>
                    <a:pt x="549" y="29"/>
                  </a:lnTo>
                  <a:lnTo>
                    <a:pt x="551" y="29"/>
                  </a:lnTo>
                  <a:lnTo>
                    <a:pt x="551" y="27"/>
                  </a:lnTo>
                  <a:lnTo>
                    <a:pt x="556" y="23"/>
                  </a:lnTo>
                  <a:lnTo>
                    <a:pt x="560" y="27"/>
                  </a:lnTo>
                  <a:lnTo>
                    <a:pt x="560" y="29"/>
                  </a:lnTo>
                  <a:lnTo>
                    <a:pt x="566" y="29"/>
                  </a:lnTo>
                  <a:lnTo>
                    <a:pt x="566" y="31"/>
                  </a:lnTo>
                  <a:lnTo>
                    <a:pt x="572" y="33"/>
                  </a:lnTo>
                  <a:lnTo>
                    <a:pt x="572" y="36"/>
                  </a:lnTo>
                  <a:lnTo>
                    <a:pt x="579" y="3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8" name="Freeform 15">
              <a:extLst>
                <a:ext uri="{FF2B5EF4-FFF2-40B4-BE49-F238E27FC236}">
                  <a16:creationId xmlns:a16="http://schemas.microsoft.com/office/drawing/2014/main" id="{1B318DA6-D480-4D06-8F00-50E421EFAA91}"/>
                </a:ext>
              </a:extLst>
            </p:cNvPr>
            <p:cNvSpPr>
              <a:spLocks noEditPoints="1"/>
            </p:cNvSpPr>
            <p:nvPr/>
          </p:nvSpPr>
          <p:spPr bwMode="gray">
            <a:xfrm>
              <a:off x="4211639" y="3795715"/>
              <a:ext cx="1401763" cy="1111251"/>
            </a:xfrm>
            <a:custGeom>
              <a:avLst/>
              <a:gdLst>
                <a:gd name="T0" fmla="*/ 850 w 883"/>
                <a:gd name="T1" fmla="*/ 125 h 700"/>
                <a:gd name="T2" fmla="*/ 856 w 883"/>
                <a:gd name="T3" fmla="*/ 187 h 700"/>
                <a:gd name="T4" fmla="*/ 837 w 883"/>
                <a:gd name="T5" fmla="*/ 227 h 700"/>
                <a:gd name="T6" fmla="*/ 869 w 883"/>
                <a:gd name="T7" fmla="*/ 267 h 700"/>
                <a:gd name="T8" fmla="*/ 850 w 883"/>
                <a:gd name="T9" fmla="*/ 289 h 700"/>
                <a:gd name="T10" fmla="*/ 814 w 883"/>
                <a:gd name="T11" fmla="*/ 360 h 700"/>
                <a:gd name="T12" fmla="*/ 770 w 883"/>
                <a:gd name="T13" fmla="*/ 319 h 700"/>
                <a:gd name="T14" fmla="*/ 735 w 883"/>
                <a:gd name="T15" fmla="*/ 271 h 700"/>
                <a:gd name="T16" fmla="*/ 679 w 883"/>
                <a:gd name="T17" fmla="*/ 269 h 700"/>
                <a:gd name="T18" fmla="*/ 624 w 883"/>
                <a:gd name="T19" fmla="*/ 243 h 700"/>
                <a:gd name="T20" fmla="*/ 605 w 883"/>
                <a:gd name="T21" fmla="*/ 279 h 700"/>
                <a:gd name="T22" fmla="*/ 555 w 883"/>
                <a:gd name="T23" fmla="*/ 315 h 700"/>
                <a:gd name="T24" fmla="*/ 549 w 883"/>
                <a:gd name="T25" fmla="*/ 364 h 700"/>
                <a:gd name="T26" fmla="*/ 522 w 883"/>
                <a:gd name="T27" fmla="*/ 394 h 700"/>
                <a:gd name="T28" fmla="*/ 487 w 883"/>
                <a:gd name="T29" fmla="*/ 394 h 700"/>
                <a:gd name="T30" fmla="*/ 457 w 883"/>
                <a:gd name="T31" fmla="*/ 429 h 700"/>
                <a:gd name="T32" fmla="*/ 436 w 883"/>
                <a:gd name="T33" fmla="*/ 456 h 700"/>
                <a:gd name="T34" fmla="*/ 397 w 883"/>
                <a:gd name="T35" fmla="*/ 483 h 700"/>
                <a:gd name="T36" fmla="*/ 380 w 883"/>
                <a:gd name="T37" fmla="*/ 510 h 700"/>
                <a:gd name="T38" fmla="*/ 328 w 883"/>
                <a:gd name="T39" fmla="*/ 508 h 700"/>
                <a:gd name="T40" fmla="*/ 315 w 883"/>
                <a:gd name="T41" fmla="*/ 540 h 700"/>
                <a:gd name="T42" fmla="*/ 272 w 883"/>
                <a:gd name="T43" fmla="*/ 561 h 700"/>
                <a:gd name="T44" fmla="*/ 232 w 883"/>
                <a:gd name="T45" fmla="*/ 563 h 700"/>
                <a:gd name="T46" fmla="*/ 192 w 883"/>
                <a:gd name="T47" fmla="*/ 586 h 700"/>
                <a:gd name="T48" fmla="*/ 161 w 883"/>
                <a:gd name="T49" fmla="*/ 604 h 700"/>
                <a:gd name="T50" fmla="*/ 178 w 883"/>
                <a:gd name="T51" fmla="*/ 625 h 700"/>
                <a:gd name="T52" fmla="*/ 171 w 883"/>
                <a:gd name="T53" fmla="*/ 667 h 700"/>
                <a:gd name="T54" fmla="*/ 144 w 883"/>
                <a:gd name="T55" fmla="*/ 694 h 700"/>
                <a:gd name="T56" fmla="*/ 92 w 883"/>
                <a:gd name="T57" fmla="*/ 673 h 700"/>
                <a:gd name="T58" fmla="*/ 67 w 883"/>
                <a:gd name="T59" fmla="*/ 617 h 700"/>
                <a:gd name="T60" fmla="*/ 65 w 883"/>
                <a:gd name="T61" fmla="*/ 588 h 700"/>
                <a:gd name="T62" fmla="*/ 58 w 883"/>
                <a:gd name="T63" fmla="*/ 561 h 700"/>
                <a:gd name="T64" fmla="*/ 54 w 883"/>
                <a:gd name="T65" fmla="*/ 523 h 700"/>
                <a:gd name="T66" fmla="*/ 44 w 883"/>
                <a:gd name="T67" fmla="*/ 467 h 700"/>
                <a:gd name="T68" fmla="*/ 25 w 883"/>
                <a:gd name="T69" fmla="*/ 408 h 700"/>
                <a:gd name="T70" fmla="*/ 23 w 883"/>
                <a:gd name="T71" fmla="*/ 385 h 700"/>
                <a:gd name="T72" fmla="*/ 31 w 883"/>
                <a:gd name="T73" fmla="*/ 352 h 700"/>
                <a:gd name="T74" fmla="*/ 34 w 883"/>
                <a:gd name="T75" fmla="*/ 321 h 700"/>
                <a:gd name="T76" fmla="*/ 15 w 883"/>
                <a:gd name="T77" fmla="*/ 325 h 700"/>
                <a:gd name="T78" fmla="*/ 19 w 883"/>
                <a:gd name="T79" fmla="*/ 275 h 700"/>
                <a:gd name="T80" fmla="*/ 10 w 883"/>
                <a:gd name="T81" fmla="*/ 227 h 700"/>
                <a:gd name="T82" fmla="*/ 34 w 883"/>
                <a:gd name="T83" fmla="*/ 206 h 700"/>
                <a:gd name="T84" fmla="*/ 67 w 883"/>
                <a:gd name="T85" fmla="*/ 206 h 700"/>
                <a:gd name="T86" fmla="*/ 90 w 883"/>
                <a:gd name="T87" fmla="*/ 164 h 700"/>
                <a:gd name="T88" fmla="*/ 123 w 883"/>
                <a:gd name="T89" fmla="*/ 156 h 700"/>
                <a:gd name="T90" fmla="*/ 127 w 883"/>
                <a:gd name="T91" fmla="*/ 110 h 700"/>
                <a:gd name="T92" fmla="*/ 121 w 883"/>
                <a:gd name="T93" fmla="*/ 95 h 700"/>
                <a:gd name="T94" fmla="*/ 175 w 883"/>
                <a:gd name="T95" fmla="*/ 64 h 700"/>
                <a:gd name="T96" fmla="*/ 140 w 883"/>
                <a:gd name="T97" fmla="*/ 56 h 700"/>
                <a:gd name="T98" fmla="*/ 161 w 883"/>
                <a:gd name="T99" fmla="*/ 12 h 700"/>
                <a:gd name="T100" fmla="*/ 213 w 883"/>
                <a:gd name="T101" fmla="*/ 39 h 700"/>
                <a:gd name="T102" fmla="*/ 290 w 883"/>
                <a:gd name="T103" fmla="*/ 72 h 700"/>
                <a:gd name="T104" fmla="*/ 382 w 883"/>
                <a:gd name="T105" fmla="*/ 89 h 700"/>
                <a:gd name="T106" fmla="*/ 416 w 883"/>
                <a:gd name="T107" fmla="*/ 93 h 700"/>
                <a:gd name="T108" fmla="*/ 457 w 883"/>
                <a:gd name="T109" fmla="*/ 47 h 700"/>
                <a:gd name="T110" fmla="*/ 516 w 883"/>
                <a:gd name="T111" fmla="*/ 31 h 700"/>
                <a:gd name="T112" fmla="*/ 533 w 883"/>
                <a:gd name="T113" fmla="*/ 73 h 700"/>
                <a:gd name="T114" fmla="*/ 597 w 883"/>
                <a:gd name="T115" fmla="*/ 60 h 700"/>
                <a:gd name="T116" fmla="*/ 656 w 883"/>
                <a:gd name="T117" fmla="*/ 62 h 700"/>
                <a:gd name="T118" fmla="*/ 700 w 883"/>
                <a:gd name="T119" fmla="*/ 45 h 700"/>
                <a:gd name="T120" fmla="*/ 764 w 883"/>
                <a:gd name="T121" fmla="*/ 49 h 700"/>
                <a:gd name="T122" fmla="*/ 829 w 883"/>
                <a:gd name="T123" fmla="*/ 50 h 700"/>
                <a:gd name="T124" fmla="*/ 159 w 883"/>
                <a:gd name="T125" fmla="*/ 675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3" h="700">
                  <a:moveTo>
                    <a:pt x="21" y="294"/>
                  </a:moveTo>
                  <a:lnTo>
                    <a:pt x="17" y="294"/>
                  </a:lnTo>
                  <a:lnTo>
                    <a:pt x="21" y="294"/>
                  </a:lnTo>
                  <a:close/>
                  <a:moveTo>
                    <a:pt x="864" y="77"/>
                  </a:moveTo>
                  <a:lnTo>
                    <a:pt x="866" y="81"/>
                  </a:lnTo>
                  <a:lnTo>
                    <a:pt x="860" y="87"/>
                  </a:lnTo>
                  <a:lnTo>
                    <a:pt x="852" y="91"/>
                  </a:lnTo>
                  <a:lnTo>
                    <a:pt x="848" y="91"/>
                  </a:lnTo>
                  <a:lnTo>
                    <a:pt x="846" y="93"/>
                  </a:lnTo>
                  <a:lnTo>
                    <a:pt x="841" y="95"/>
                  </a:lnTo>
                  <a:lnTo>
                    <a:pt x="839" y="100"/>
                  </a:lnTo>
                  <a:lnTo>
                    <a:pt x="841" y="100"/>
                  </a:lnTo>
                  <a:lnTo>
                    <a:pt x="839" y="102"/>
                  </a:lnTo>
                  <a:lnTo>
                    <a:pt x="841" y="110"/>
                  </a:lnTo>
                  <a:lnTo>
                    <a:pt x="837" y="112"/>
                  </a:lnTo>
                  <a:lnTo>
                    <a:pt x="841" y="121"/>
                  </a:lnTo>
                  <a:lnTo>
                    <a:pt x="848" y="121"/>
                  </a:lnTo>
                  <a:lnTo>
                    <a:pt x="850" y="125"/>
                  </a:lnTo>
                  <a:lnTo>
                    <a:pt x="850" y="133"/>
                  </a:lnTo>
                  <a:lnTo>
                    <a:pt x="850" y="139"/>
                  </a:lnTo>
                  <a:lnTo>
                    <a:pt x="850" y="145"/>
                  </a:lnTo>
                  <a:lnTo>
                    <a:pt x="852" y="146"/>
                  </a:lnTo>
                  <a:lnTo>
                    <a:pt x="846" y="150"/>
                  </a:lnTo>
                  <a:lnTo>
                    <a:pt x="843" y="154"/>
                  </a:lnTo>
                  <a:lnTo>
                    <a:pt x="844" y="158"/>
                  </a:lnTo>
                  <a:lnTo>
                    <a:pt x="852" y="156"/>
                  </a:lnTo>
                  <a:lnTo>
                    <a:pt x="858" y="156"/>
                  </a:lnTo>
                  <a:lnTo>
                    <a:pt x="856" y="158"/>
                  </a:lnTo>
                  <a:lnTo>
                    <a:pt x="856" y="160"/>
                  </a:lnTo>
                  <a:lnTo>
                    <a:pt x="856" y="162"/>
                  </a:lnTo>
                  <a:lnTo>
                    <a:pt x="856" y="168"/>
                  </a:lnTo>
                  <a:lnTo>
                    <a:pt x="854" y="173"/>
                  </a:lnTo>
                  <a:lnTo>
                    <a:pt x="856" y="175"/>
                  </a:lnTo>
                  <a:lnTo>
                    <a:pt x="852" y="179"/>
                  </a:lnTo>
                  <a:lnTo>
                    <a:pt x="856" y="185"/>
                  </a:lnTo>
                  <a:lnTo>
                    <a:pt x="856" y="187"/>
                  </a:lnTo>
                  <a:lnTo>
                    <a:pt x="848" y="189"/>
                  </a:lnTo>
                  <a:lnTo>
                    <a:pt x="844" y="193"/>
                  </a:lnTo>
                  <a:lnTo>
                    <a:pt x="841" y="193"/>
                  </a:lnTo>
                  <a:lnTo>
                    <a:pt x="837" y="194"/>
                  </a:lnTo>
                  <a:lnTo>
                    <a:pt x="831" y="196"/>
                  </a:lnTo>
                  <a:lnTo>
                    <a:pt x="835" y="200"/>
                  </a:lnTo>
                  <a:lnTo>
                    <a:pt x="831" y="204"/>
                  </a:lnTo>
                  <a:lnTo>
                    <a:pt x="831" y="206"/>
                  </a:lnTo>
                  <a:lnTo>
                    <a:pt x="835" y="208"/>
                  </a:lnTo>
                  <a:lnTo>
                    <a:pt x="839" y="206"/>
                  </a:lnTo>
                  <a:lnTo>
                    <a:pt x="846" y="208"/>
                  </a:lnTo>
                  <a:lnTo>
                    <a:pt x="848" y="210"/>
                  </a:lnTo>
                  <a:lnTo>
                    <a:pt x="846" y="212"/>
                  </a:lnTo>
                  <a:lnTo>
                    <a:pt x="848" y="214"/>
                  </a:lnTo>
                  <a:lnTo>
                    <a:pt x="846" y="223"/>
                  </a:lnTo>
                  <a:lnTo>
                    <a:pt x="844" y="229"/>
                  </a:lnTo>
                  <a:lnTo>
                    <a:pt x="841" y="229"/>
                  </a:lnTo>
                  <a:lnTo>
                    <a:pt x="837" y="227"/>
                  </a:lnTo>
                  <a:lnTo>
                    <a:pt x="833" y="229"/>
                  </a:lnTo>
                  <a:lnTo>
                    <a:pt x="833" y="233"/>
                  </a:lnTo>
                  <a:lnTo>
                    <a:pt x="841" y="233"/>
                  </a:lnTo>
                  <a:lnTo>
                    <a:pt x="843" y="237"/>
                  </a:lnTo>
                  <a:lnTo>
                    <a:pt x="835" y="243"/>
                  </a:lnTo>
                  <a:lnTo>
                    <a:pt x="831" y="243"/>
                  </a:lnTo>
                  <a:lnTo>
                    <a:pt x="831" y="244"/>
                  </a:lnTo>
                  <a:lnTo>
                    <a:pt x="837" y="244"/>
                  </a:lnTo>
                  <a:lnTo>
                    <a:pt x="841" y="246"/>
                  </a:lnTo>
                  <a:lnTo>
                    <a:pt x="839" y="241"/>
                  </a:lnTo>
                  <a:lnTo>
                    <a:pt x="846" y="241"/>
                  </a:lnTo>
                  <a:lnTo>
                    <a:pt x="846" y="248"/>
                  </a:lnTo>
                  <a:lnTo>
                    <a:pt x="850" y="250"/>
                  </a:lnTo>
                  <a:lnTo>
                    <a:pt x="856" y="252"/>
                  </a:lnTo>
                  <a:lnTo>
                    <a:pt x="860" y="254"/>
                  </a:lnTo>
                  <a:lnTo>
                    <a:pt x="858" y="264"/>
                  </a:lnTo>
                  <a:lnTo>
                    <a:pt x="864" y="264"/>
                  </a:lnTo>
                  <a:lnTo>
                    <a:pt x="869" y="267"/>
                  </a:lnTo>
                  <a:lnTo>
                    <a:pt x="869" y="269"/>
                  </a:lnTo>
                  <a:lnTo>
                    <a:pt x="877" y="269"/>
                  </a:lnTo>
                  <a:lnTo>
                    <a:pt x="879" y="273"/>
                  </a:lnTo>
                  <a:lnTo>
                    <a:pt x="883" y="273"/>
                  </a:lnTo>
                  <a:lnTo>
                    <a:pt x="883" y="279"/>
                  </a:lnTo>
                  <a:lnTo>
                    <a:pt x="881" y="283"/>
                  </a:lnTo>
                  <a:lnTo>
                    <a:pt x="873" y="283"/>
                  </a:lnTo>
                  <a:lnTo>
                    <a:pt x="875" y="289"/>
                  </a:lnTo>
                  <a:lnTo>
                    <a:pt x="877" y="291"/>
                  </a:lnTo>
                  <a:lnTo>
                    <a:pt x="873" y="294"/>
                  </a:lnTo>
                  <a:lnTo>
                    <a:pt x="869" y="296"/>
                  </a:lnTo>
                  <a:lnTo>
                    <a:pt x="867" y="298"/>
                  </a:lnTo>
                  <a:lnTo>
                    <a:pt x="860" y="300"/>
                  </a:lnTo>
                  <a:lnTo>
                    <a:pt x="860" y="296"/>
                  </a:lnTo>
                  <a:lnTo>
                    <a:pt x="860" y="294"/>
                  </a:lnTo>
                  <a:lnTo>
                    <a:pt x="852" y="296"/>
                  </a:lnTo>
                  <a:lnTo>
                    <a:pt x="848" y="292"/>
                  </a:lnTo>
                  <a:lnTo>
                    <a:pt x="850" y="289"/>
                  </a:lnTo>
                  <a:lnTo>
                    <a:pt x="848" y="287"/>
                  </a:lnTo>
                  <a:lnTo>
                    <a:pt x="843" y="294"/>
                  </a:lnTo>
                  <a:lnTo>
                    <a:pt x="839" y="294"/>
                  </a:lnTo>
                  <a:lnTo>
                    <a:pt x="833" y="302"/>
                  </a:lnTo>
                  <a:lnTo>
                    <a:pt x="827" y="304"/>
                  </a:lnTo>
                  <a:lnTo>
                    <a:pt x="827" y="310"/>
                  </a:lnTo>
                  <a:lnTo>
                    <a:pt x="821" y="315"/>
                  </a:lnTo>
                  <a:lnTo>
                    <a:pt x="821" y="323"/>
                  </a:lnTo>
                  <a:lnTo>
                    <a:pt x="818" y="325"/>
                  </a:lnTo>
                  <a:lnTo>
                    <a:pt x="818" y="327"/>
                  </a:lnTo>
                  <a:lnTo>
                    <a:pt x="814" y="331"/>
                  </a:lnTo>
                  <a:lnTo>
                    <a:pt x="814" y="337"/>
                  </a:lnTo>
                  <a:lnTo>
                    <a:pt x="821" y="344"/>
                  </a:lnTo>
                  <a:lnTo>
                    <a:pt x="823" y="350"/>
                  </a:lnTo>
                  <a:lnTo>
                    <a:pt x="818" y="354"/>
                  </a:lnTo>
                  <a:lnTo>
                    <a:pt x="816" y="356"/>
                  </a:lnTo>
                  <a:lnTo>
                    <a:pt x="812" y="356"/>
                  </a:lnTo>
                  <a:lnTo>
                    <a:pt x="814" y="360"/>
                  </a:lnTo>
                  <a:lnTo>
                    <a:pt x="808" y="364"/>
                  </a:lnTo>
                  <a:lnTo>
                    <a:pt x="806" y="364"/>
                  </a:lnTo>
                  <a:lnTo>
                    <a:pt x="804" y="362"/>
                  </a:lnTo>
                  <a:lnTo>
                    <a:pt x="800" y="364"/>
                  </a:lnTo>
                  <a:lnTo>
                    <a:pt x="796" y="364"/>
                  </a:lnTo>
                  <a:lnTo>
                    <a:pt x="791" y="362"/>
                  </a:lnTo>
                  <a:lnTo>
                    <a:pt x="787" y="356"/>
                  </a:lnTo>
                  <a:lnTo>
                    <a:pt x="779" y="354"/>
                  </a:lnTo>
                  <a:lnTo>
                    <a:pt x="775" y="350"/>
                  </a:lnTo>
                  <a:lnTo>
                    <a:pt x="775" y="348"/>
                  </a:lnTo>
                  <a:lnTo>
                    <a:pt x="781" y="344"/>
                  </a:lnTo>
                  <a:lnTo>
                    <a:pt x="781" y="342"/>
                  </a:lnTo>
                  <a:lnTo>
                    <a:pt x="781" y="335"/>
                  </a:lnTo>
                  <a:lnTo>
                    <a:pt x="779" y="331"/>
                  </a:lnTo>
                  <a:lnTo>
                    <a:pt x="779" y="327"/>
                  </a:lnTo>
                  <a:lnTo>
                    <a:pt x="777" y="325"/>
                  </a:lnTo>
                  <a:lnTo>
                    <a:pt x="771" y="327"/>
                  </a:lnTo>
                  <a:lnTo>
                    <a:pt x="770" y="319"/>
                  </a:lnTo>
                  <a:lnTo>
                    <a:pt x="771" y="317"/>
                  </a:lnTo>
                  <a:lnTo>
                    <a:pt x="779" y="312"/>
                  </a:lnTo>
                  <a:lnTo>
                    <a:pt x="777" y="306"/>
                  </a:lnTo>
                  <a:lnTo>
                    <a:pt x="781" y="298"/>
                  </a:lnTo>
                  <a:lnTo>
                    <a:pt x="783" y="298"/>
                  </a:lnTo>
                  <a:lnTo>
                    <a:pt x="781" y="294"/>
                  </a:lnTo>
                  <a:lnTo>
                    <a:pt x="783" y="287"/>
                  </a:lnTo>
                  <a:lnTo>
                    <a:pt x="781" y="279"/>
                  </a:lnTo>
                  <a:lnTo>
                    <a:pt x="773" y="275"/>
                  </a:lnTo>
                  <a:lnTo>
                    <a:pt x="768" y="267"/>
                  </a:lnTo>
                  <a:lnTo>
                    <a:pt x="764" y="266"/>
                  </a:lnTo>
                  <a:lnTo>
                    <a:pt x="760" y="264"/>
                  </a:lnTo>
                  <a:lnTo>
                    <a:pt x="756" y="267"/>
                  </a:lnTo>
                  <a:lnTo>
                    <a:pt x="747" y="267"/>
                  </a:lnTo>
                  <a:lnTo>
                    <a:pt x="743" y="275"/>
                  </a:lnTo>
                  <a:lnTo>
                    <a:pt x="739" y="273"/>
                  </a:lnTo>
                  <a:lnTo>
                    <a:pt x="737" y="269"/>
                  </a:lnTo>
                  <a:lnTo>
                    <a:pt x="735" y="271"/>
                  </a:lnTo>
                  <a:lnTo>
                    <a:pt x="735" y="273"/>
                  </a:lnTo>
                  <a:lnTo>
                    <a:pt x="729" y="275"/>
                  </a:lnTo>
                  <a:lnTo>
                    <a:pt x="727" y="271"/>
                  </a:lnTo>
                  <a:lnTo>
                    <a:pt x="724" y="271"/>
                  </a:lnTo>
                  <a:lnTo>
                    <a:pt x="720" y="267"/>
                  </a:lnTo>
                  <a:lnTo>
                    <a:pt x="714" y="269"/>
                  </a:lnTo>
                  <a:lnTo>
                    <a:pt x="712" y="266"/>
                  </a:lnTo>
                  <a:lnTo>
                    <a:pt x="706" y="264"/>
                  </a:lnTo>
                  <a:lnTo>
                    <a:pt x="706" y="267"/>
                  </a:lnTo>
                  <a:lnTo>
                    <a:pt x="704" y="273"/>
                  </a:lnTo>
                  <a:lnTo>
                    <a:pt x="700" y="277"/>
                  </a:lnTo>
                  <a:lnTo>
                    <a:pt x="702" y="279"/>
                  </a:lnTo>
                  <a:lnTo>
                    <a:pt x="700" y="281"/>
                  </a:lnTo>
                  <a:lnTo>
                    <a:pt x="697" y="277"/>
                  </a:lnTo>
                  <a:lnTo>
                    <a:pt x="691" y="273"/>
                  </a:lnTo>
                  <a:lnTo>
                    <a:pt x="685" y="271"/>
                  </a:lnTo>
                  <a:lnTo>
                    <a:pt x="677" y="271"/>
                  </a:lnTo>
                  <a:lnTo>
                    <a:pt x="679" y="269"/>
                  </a:lnTo>
                  <a:lnTo>
                    <a:pt x="677" y="269"/>
                  </a:lnTo>
                  <a:lnTo>
                    <a:pt x="677" y="267"/>
                  </a:lnTo>
                  <a:lnTo>
                    <a:pt x="676" y="266"/>
                  </a:lnTo>
                  <a:lnTo>
                    <a:pt x="676" y="260"/>
                  </a:lnTo>
                  <a:lnTo>
                    <a:pt x="672" y="258"/>
                  </a:lnTo>
                  <a:lnTo>
                    <a:pt x="664" y="258"/>
                  </a:lnTo>
                  <a:lnTo>
                    <a:pt x="664" y="252"/>
                  </a:lnTo>
                  <a:lnTo>
                    <a:pt x="662" y="248"/>
                  </a:lnTo>
                  <a:lnTo>
                    <a:pt x="658" y="248"/>
                  </a:lnTo>
                  <a:lnTo>
                    <a:pt x="656" y="246"/>
                  </a:lnTo>
                  <a:lnTo>
                    <a:pt x="652" y="246"/>
                  </a:lnTo>
                  <a:lnTo>
                    <a:pt x="651" y="246"/>
                  </a:lnTo>
                  <a:lnTo>
                    <a:pt x="647" y="244"/>
                  </a:lnTo>
                  <a:lnTo>
                    <a:pt x="639" y="243"/>
                  </a:lnTo>
                  <a:lnTo>
                    <a:pt x="631" y="241"/>
                  </a:lnTo>
                  <a:lnTo>
                    <a:pt x="628" y="243"/>
                  </a:lnTo>
                  <a:lnTo>
                    <a:pt x="626" y="244"/>
                  </a:lnTo>
                  <a:lnTo>
                    <a:pt x="624" y="243"/>
                  </a:lnTo>
                  <a:lnTo>
                    <a:pt x="620" y="243"/>
                  </a:lnTo>
                  <a:lnTo>
                    <a:pt x="618" y="241"/>
                  </a:lnTo>
                  <a:lnTo>
                    <a:pt x="614" y="239"/>
                  </a:lnTo>
                  <a:lnTo>
                    <a:pt x="614" y="235"/>
                  </a:lnTo>
                  <a:lnTo>
                    <a:pt x="608" y="235"/>
                  </a:lnTo>
                  <a:lnTo>
                    <a:pt x="608" y="231"/>
                  </a:lnTo>
                  <a:lnTo>
                    <a:pt x="605" y="237"/>
                  </a:lnTo>
                  <a:lnTo>
                    <a:pt x="610" y="239"/>
                  </a:lnTo>
                  <a:lnTo>
                    <a:pt x="612" y="246"/>
                  </a:lnTo>
                  <a:lnTo>
                    <a:pt x="610" y="252"/>
                  </a:lnTo>
                  <a:lnTo>
                    <a:pt x="606" y="256"/>
                  </a:lnTo>
                  <a:lnTo>
                    <a:pt x="603" y="256"/>
                  </a:lnTo>
                  <a:lnTo>
                    <a:pt x="603" y="258"/>
                  </a:lnTo>
                  <a:lnTo>
                    <a:pt x="606" y="264"/>
                  </a:lnTo>
                  <a:lnTo>
                    <a:pt x="606" y="267"/>
                  </a:lnTo>
                  <a:lnTo>
                    <a:pt x="603" y="269"/>
                  </a:lnTo>
                  <a:lnTo>
                    <a:pt x="605" y="271"/>
                  </a:lnTo>
                  <a:lnTo>
                    <a:pt x="605" y="279"/>
                  </a:lnTo>
                  <a:lnTo>
                    <a:pt x="599" y="283"/>
                  </a:lnTo>
                  <a:lnTo>
                    <a:pt x="595" y="285"/>
                  </a:lnTo>
                  <a:lnTo>
                    <a:pt x="593" y="287"/>
                  </a:lnTo>
                  <a:lnTo>
                    <a:pt x="591" y="292"/>
                  </a:lnTo>
                  <a:lnTo>
                    <a:pt x="593" y="294"/>
                  </a:lnTo>
                  <a:lnTo>
                    <a:pt x="591" y="304"/>
                  </a:lnTo>
                  <a:lnTo>
                    <a:pt x="589" y="304"/>
                  </a:lnTo>
                  <a:lnTo>
                    <a:pt x="587" y="306"/>
                  </a:lnTo>
                  <a:lnTo>
                    <a:pt x="583" y="304"/>
                  </a:lnTo>
                  <a:lnTo>
                    <a:pt x="578" y="304"/>
                  </a:lnTo>
                  <a:lnTo>
                    <a:pt x="572" y="298"/>
                  </a:lnTo>
                  <a:lnTo>
                    <a:pt x="566" y="294"/>
                  </a:lnTo>
                  <a:lnTo>
                    <a:pt x="558" y="298"/>
                  </a:lnTo>
                  <a:lnTo>
                    <a:pt x="558" y="300"/>
                  </a:lnTo>
                  <a:lnTo>
                    <a:pt x="562" y="302"/>
                  </a:lnTo>
                  <a:lnTo>
                    <a:pt x="557" y="306"/>
                  </a:lnTo>
                  <a:lnTo>
                    <a:pt x="557" y="314"/>
                  </a:lnTo>
                  <a:lnTo>
                    <a:pt x="555" y="315"/>
                  </a:lnTo>
                  <a:lnTo>
                    <a:pt x="557" y="319"/>
                  </a:lnTo>
                  <a:lnTo>
                    <a:pt x="555" y="319"/>
                  </a:lnTo>
                  <a:lnTo>
                    <a:pt x="551" y="319"/>
                  </a:lnTo>
                  <a:lnTo>
                    <a:pt x="549" y="325"/>
                  </a:lnTo>
                  <a:lnTo>
                    <a:pt x="545" y="323"/>
                  </a:lnTo>
                  <a:lnTo>
                    <a:pt x="547" y="331"/>
                  </a:lnTo>
                  <a:lnTo>
                    <a:pt x="547" y="333"/>
                  </a:lnTo>
                  <a:lnTo>
                    <a:pt x="551" y="333"/>
                  </a:lnTo>
                  <a:lnTo>
                    <a:pt x="551" y="337"/>
                  </a:lnTo>
                  <a:lnTo>
                    <a:pt x="555" y="337"/>
                  </a:lnTo>
                  <a:lnTo>
                    <a:pt x="553" y="340"/>
                  </a:lnTo>
                  <a:lnTo>
                    <a:pt x="558" y="340"/>
                  </a:lnTo>
                  <a:lnTo>
                    <a:pt x="560" y="344"/>
                  </a:lnTo>
                  <a:lnTo>
                    <a:pt x="564" y="348"/>
                  </a:lnTo>
                  <a:lnTo>
                    <a:pt x="558" y="350"/>
                  </a:lnTo>
                  <a:lnTo>
                    <a:pt x="553" y="352"/>
                  </a:lnTo>
                  <a:lnTo>
                    <a:pt x="551" y="358"/>
                  </a:lnTo>
                  <a:lnTo>
                    <a:pt x="549" y="364"/>
                  </a:lnTo>
                  <a:lnTo>
                    <a:pt x="543" y="364"/>
                  </a:lnTo>
                  <a:lnTo>
                    <a:pt x="541" y="367"/>
                  </a:lnTo>
                  <a:lnTo>
                    <a:pt x="543" y="373"/>
                  </a:lnTo>
                  <a:lnTo>
                    <a:pt x="541" y="379"/>
                  </a:lnTo>
                  <a:lnTo>
                    <a:pt x="532" y="381"/>
                  </a:lnTo>
                  <a:lnTo>
                    <a:pt x="532" y="379"/>
                  </a:lnTo>
                  <a:lnTo>
                    <a:pt x="526" y="379"/>
                  </a:lnTo>
                  <a:lnTo>
                    <a:pt x="528" y="383"/>
                  </a:lnTo>
                  <a:lnTo>
                    <a:pt x="526" y="385"/>
                  </a:lnTo>
                  <a:lnTo>
                    <a:pt x="526" y="387"/>
                  </a:lnTo>
                  <a:lnTo>
                    <a:pt x="524" y="387"/>
                  </a:lnTo>
                  <a:lnTo>
                    <a:pt x="524" y="388"/>
                  </a:lnTo>
                  <a:lnTo>
                    <a:pt x="520" y="388"/>
                  </a:lnTo>
                  <a:lnTo>
                    <a:pt x="526" y="390"/>
                  </a:lnTo>
                  <a:lnTo>
                    <a:pt x="522" y="392"/>
                  </a:lnTo>
                  <a:lnTo>
                    <a:pt x="518" y="390"/>
                  </a:lnTo>
                  <a:lnTo>
                    <a:pt x="518" y="392"/>
                  </a:lnTo>
                  <a:lnTo>
                    <a:pt x="522" y="394"/>
                  </a:lnTo>
                  <a:lnTo>
                    <a:pt x="518" y="400"/>
                  </a:lnTo>
                  <a:lnTo>
                    <a:pt x="522" y="404"/>
                  </a:lnTo>
                  <a:lnTo>
                    <a:pt x="520" y="408"/>
                  </a:lnTo>
                  <a:lnTo>
                    <a:pt x="516" y="406"/>
                  </a:lnTo>
                  <a:lnTo>
                    <a:pt x="516" y="410"/>
                  </a:lnTo>
                  <a:lnTo>
                    <a:pt x="510" y="410"/>
                  </a:lnTo>
                  <a:lnTo>
                    <a:pt x="509" y="406"/>
                  </a:lnTo>
                  <a:lnTo>
                    <a:pt x="505" y="406"/>
                  </a:lnTo>
                  <a:lnTo>
                    <a:pt x="501" y="406"/>
                  </a:lnTo>
                  <a:lnTo>
                    <a:pt x="499" y="404"/>
                  </a:lnTo>
                  <a:lnTo>
                    <a:pt x="505" y="402"/>
                  </a:lnTo>
                  <a:lnTo>
                    <a:pt x="507" y="396"/>
                  </a:lnTo>
                  <a:lnTo>
                    <a:pt x="503" y="396"/>
                  </a:lnTo>
                  <a:lnTo>
                    <a:pt x="501" y="390"/>
                  </a:lnTo>
                  <a:lnTo>
                    <a:pt x="499" y="392"/>
                  </a:lnTo>
                  <a:lnTo>
                    <a:pt x="497" y="388"/>
                  </a:lnTo>
                  <a:lnTo>
                    <a:pt x="489" y="394"/>
                  </a:lnTo>
                  <a:lnTo>
                    <a:pt x="487" y="394"/>
                  </a:lnTo>
                  <a:lnTo>
                    <a:pt x="487" y="396"/>
                  </a:lnTo>
                  <a:lnTo>
                    <a:pt x="487" y="398"/>
                  </a:lnTo>
                  <a:lnTo>
                    <a:pt x="486" y="400"/>
                  </a:lnTo>
                  <a:lnTo>
                    <a:pt x="486" y="402"/>
                  </a:lnTo>
                  <a:lnTo>
                    <a:pt x="484" y="404"/>
                  </a:lnTo>
                  <a:lnTo>
                    <a:pt x="484" y="408"/>
                  </a:lnTo>
                  <a:lnTo>
                    <a:pt x="480" y="408"/>
                  </a:lnTo>
                  <a:lnTo>
                    <a:pt x="478" y="415"/>
                  </a:lnTo>
                  <a:lnTo>
                    <a:pt x="472" y="417"/>
                  </a:lnTo>
                  <a:lnTo>
                    <a:pt x="474" y="421"/>
                  </a:lnTo>
                  <a:lnTo>
                    <a:pt x="468" y="423"/>
                  </a:lnTo>
                  <a:lnTo>
                    <a:pt x="464" y="419"/>
                  </a:lnTo>
                  <a:lnTo>
                    <a:pt x="464" y="421"/>
                  </a:lnTo>
                  <a:lnTo>
                    <a:pt x="461" y="421"/>
                  </a:lnTo>
                  <a:lnTo>
                    <a:pt x="461" y="419"/>
                  </a:lnTo>
                  <a:lnTo>
                    <a:pt x="457" y="419"/>
                  </a:lnTo>
                  <a:lnTo>
                    <a:pt x="453" y="425"/>
                  </a:lnTo>
                  <a:lnTo>
                    <a:pt x="457" y="429"/>
                  </a:lnTo>
                  <a:lnTo>
                    <a:pt x="455" y="431"/>
                  </a:lnTo>
                  <a:lnTo>
                    <a:pt x="455" y="435"/>
                  </a:lnTo>
                  <a:lnTo>
                    <a:pt x="453" y="435"/>
                  </a:lnTo>
                  <a:lnTo>
                    <a:pt x="453" y="440"/>
                  </a:lnTo>
                  <a:lnTo>
                    <a:pt x="451" y="446"/>
                  </a:lnTo>
                  <a:lnTo>
                    <a:pt x="453" y="446"/>
                  </a:lnTo>
                  <a:lnTo>
                    <a:pt x="451" y="448"/>
                  </a:lnTo>
                  <a:lnTo>
                    <a:pt x="449" y="448"/>
                  </a:lnTo>
                  <a:lnTo>
                    <a:pt x="447" y="450"/>
                  </a:lnTo>
                  <a:lnTo>
                    <a:pt x="445" y="450"/>
                  </a:lnTo>
                  <a:lnTo>
                    <a:pt x="443" y="452"/>
                  </a:lnTo>
                  <a:lnTo>
                    <a:pt x="439" y="452"/>
                  </a:lnTo>
                  <a:lnTo>
                    <a:pt x="439" y="454"/>
                  </a:lnTo>
                  <a:lnTo>
                    <a:pt x="436" y="452"/>
                  </a:lnTo>
                  <a:lnTo>
                    <a:pt x="436" y="450"/>
                  </a:lnTo>
                  <a:lnTo>
                    <a:pt x="432" y="450"/>
                  </a:lnTo>
                  <a:lnTo>
                    <a:pt x="432" y="454"/>
                  </a:lnTo>
                  <a:lnTo>
                    <a:pt x="436" y="456"/>
                  </a:lnTo>
                  <a:lnTo>
                    <a:pt x="438" y="458"/>
                  </a:lnTo>
                  <a:lnTo>
                    <a:pt x="434" y="461"/>
                  </a:lnTo>
                  <a:lnTo>
                    <a:pt x="430" y="463"/>
                  </a:lnTo>
                  <a:lnTo>
                    <a:pt x="430" y="467"/>
                  </a:lnTo>
                  <a:lnTo>
                    <a:pt x="428" y="469"/>
                  </a:lnTo>
                  <a:lnTo>
                    <a:pt x="426" y="473"/>
                  </a:lnTo>
                  <a:lnTo>
                    <a:pt x="424" y="473"/>
                  </a:lnTo>
                  <a:lnTo>
                    <a:pt x="422" y="469"/>
                  </a:lnTo>
                  <a:lnTo>
                    <a:pt x="420" y="469"/>
                  </a:lnTo>
                  <a:lnTo>
                    <a:pt x="418" y="463"/>
                  </a:lnTo>
                  <a:lnTo>
                    <a:pt x="414" y="471"/>
                  </a:lnTo>
                  <a:lnTo>
                    <a:pt x="414" y="465"/>
                  </a:lnTo>
                  <a:lnTo>
                    <a:pt x="409" y="465"/>
                  </a:lnTo>
                  <a:lnTo>
                    <a:pt x="409" y="469"/>
                  </a:lnTo>
                  <a:lnTo>
                    <a:pt x="405" y="469"/>
                  </a:lnTo>
                  <a:lnTo>
                    <a:pt x="405" y="475"/>
                  </a:lnTo>
                  <a:lnTo>
                    <a:pt x="397" y="477"/>
                  </a:lnTo>
                  <a:lnTo>
                    <a:pt x="397" y="483"/>
                  </a:lnTo>
                  <a:lnTo>
                    <a:pt x="388" y="483"/>
                  </a:lnTo>
                  <a:lnTo>
                    <a:pt x="388" y="488"/>
                  </a:lnTo>
                  <a:lnTo>
                    <a:pt x="391" y="488"/>
                  </a:lnTo>
                  <a:lnTo>
                    <a:pt x="390" y="494"/>
                  </a:lnTo>
                  <a:lnTo>
                    <a:pt x="391" y="494"/>
                  </a:lnTo>
                  <a:lnTo>
                    <a:pt x="388" y="496"/>
                  </a:lnTo>
                  <a:lnTo>
                    <a:pt x="388" y="500"/>
                  </a:lnTo>
                  <a:lnTo>
                    <a:pt x="391" y="500"/>
                  </a:lnTo>
                  <a:lnTo>
                    <a:pt x="390" y="506"/>
                  </a:lnTo>
                  <a:lnTo>
                    <a:pt x="395" y="508"/>
                  </a:lnTo>
                  <a:lnTo>
                    <a:pt x="395" y="510"/>
                  </a:lnTo>
                  <a:lnTo>
                    <a:pt x="391" y="513"/>
                  </a:lnTo>
                  <a:lnTo>
                    <a:pt x="390" y="513"/>
                  </a:lnTo>
                  <a:lnTo>
                    <a:pt x="388" y="510"/>
                  </a:lnTo>
                  <a:lnTo>
                    <a:pt x="386" y="510"/>
                  </a:lnTo>
                  <a:lnTo>
                    <a:pt x="386" y="511"/>
                  </a:lnTo>
                  <a:lnTo>
                    <a:pt x="380" y="511"/>
                  </a:lnTo>
                  <a:lnTo>
                    <a:pt x="380" y="510"/>
                  </a:lnTo>
                  <a:lnTo>
                    <a:pt x="378" y="508"/>
                  </a:lnTo>
                  <a:lnTo>
                    <a:pt x="370" y="510"/>
                  </a:lnTo>
                  <a:lnTo>
                    <a:pt x="370" y="515"/>
                  </a:lnTo>
                  <a:lnTo>
                    <a:pt x="368" y="515"/>
                  </a:lnTo>
                  <a:lnTo>
                    <a:pt x="368" y="511"/>
                  </a:lnTo>
                  <a:lnTo>
                    <a:pt x="365" y="508"/>
                  </a:lnTo>
                  <a:lnTo>
                    <a:pt x="363" y="508"/>
                  </a:lnTo>
                  <a:lnTo>
                    <a:pt x="361" y="511"/>
                  </a:lnTo>
                  <a:lnTo>
                    <a:pt x="357" y="510"/>
                  </a:lnTo>
                  <a:lnTo>
                    <a:pt x="353" y="510"/>
                  </a:lnTo>
                  <a:lnTo>
                    <a:pt x="343" y="513"/>
                  </a:lnTo>
                  <a:lnTo>
                    <a:pt x="340" y="510"/>
                  </a:lnTo>
                  <a:lnTo>
                    <a:pt x="340" y="502"/>
                  </a:lnTo>
                  <a:lnTo>
                    <a:pt x="336" y="506"/>
                  </a:lnTo>
                  <a:lnTo>
                    <a:pt x="336" y="504"/>
                  </a:lnTo>
                  <a:lnTo>
                    <a:pt x="332" y="502"/>
                  </a:lnTo>
                  <a:lnTo>
                    <a:pt x="332" y="508"/>
                  </a:lnTo>
                  <a:lnTo>
                    <a:pt x="328" y="508"/>
                  </a:lnTo>
                  <a:lnTo>
                    <a:pt x="326" y="504"/>
                  </a:lnTo>
                  <a:lnTo>
                    <a:pt x="322" y="502"/>
                  </a:lnTo>
                  <a:lnTo>
                    <a:pt x="319" y="504"/>
                  </a:lnTo>
                  <a:lnTo>
                    <a:pt x="317" y="498"/>
                  </a:lnTo>
                  <a:lnTo>
                    <a:pt x="313" y="496"/>
                  </a:lnTo>
                  <a:lnTo>
                    <a:pt x="309" y="502"/>
                  </a:lnTo>
                  <a:lnTo>
                    <a:pt x="309" y="506"/>
                  </a:lnTo>
                  <a:lnTo>
                    <a:pt x="305" y="506"/>
                  </a:lnTo>
                  <a:lnTo>
                    <a:pt x="307" y="510"/>
                  </a:lnTo>
                  <a:lnTo>
                    <a:pt x="309" y="510"/>
                  </a:lnTo>
                  <a:lnTo>
                    <a:pt x="309" y="513"/>
                  </a:lnTo>
                  <a:lnTo>
                    <a:pt x="315" y="519"/>
                  </a:lnTo>
                  <a:lnTo>
                    <a:pt x="315" y="525"/>
                  </a:lnTo>
                  <a:lnTo>
                    <a:pt x="311" y="529"/>
                  </a:lnTo>
                  <a:lnTo>
                    <a:pt x="313" y="534"/>
                  </a:lnTo>
                  <a:lnTo>
                    <a:pt x="315" y="534"/>
                  </a:lnTo>
                  <a:lnTo>
                    <a:pt x="317" y="536"/>
                  </a:lnTo>
                  <a:lnTo>
                    <a:pt x="315" y="540"/>
                  </a:lnTo>
                  <a:lnTo>
                    <a:pt x="313" y="544"/>
                  </a:lnTo>
                  <a:lnTo>
                    <a:pt x="315" y="544"/>
                  </a:lnTo>
                  <a:lnTo>
                    <a:pt x="315" y="552"/>
                  </a:lnTo>
                  <a:lnTo>
                    <a:pt x="311" y="554"/>
                  </a:lnTo>
                  <a:lnTo>
                    <a:pt x="311" y="552"/>
                  </a:lnTo>
                  <a:lnTo>
                    <a:pt x="307" y="550"/>
                  </a:lnTo>
                  <a:lnTo>
                    <a:pt x="309" y="548"/>
                  </a:lnTo>
                  <a:lnTo>
                    <a:pt x="305" y="546"/>
                  </a:lnTo>
                  <a:lnTo>
                    <a:pt x="303" y="552"/>
                  </a:lnTo>
                  <a:lnTo>
                    <a:pt x="299" y="552"/>
                  </a:lnTo>
                  <a:lnTo>
                    <a:pt x="296" y="554"/>
                  </a:lnTo>
                  <a:lnTo>
                    <a:pt x="296" y="550"/>
                  </a:lnTo>
                  <a:lnTo>
                    <a:pt x="292" y="550"/>
                  </a:lnTo>
                  <a:lnTo>
                    <a:pt x="288" y="552"/>
                  </a:lnTo>
                  <a:lnTo>
                    <a:pt x="284" y="550"/>
                  </a:lnTo>
                  <a:lnTo>
                    <a:pt x="280" y="552"/>
                  </a:lnTo>
                  <a:lnTo>
                    <a:pt x="272" y="552"/>
                  </a:lnTo>
                  <a:lnTo>
                    <a:pt x="272" y="561"/>
                  </a:lnTo>
                  <a:lnTo>
                    <a:pt x="271" y="563"/>
                  </a:lnTo>
                  <a:lnTo>
                    <a:pt x="269" y="561"/>
                  </a:lnTo>
                  <a:lnTo>
                    <a:pt x="267" y="565"/>
                  </a:lnTo>
                  <a:lnTo>
                    <a:pt x="263" y="565"/>
                  </a:lnTo>
                  <a:lnTo>
                    <a:pt x="263" y="561"/>
                  </a:lnTo>
                  <a:lnTo>
                    <a:pt x="261" y="561"/>
                  </a:lnTo>
                  <a:lnTo>
                    <a:pt x="257" y="561"/>
                  </a:lnTo>
                  <a:lnTo>
                    <a:pt x="257" y="559"/>
                  </a:lnTo>
                  <a:lnTo>
                    <a:pt x="251" y="556"/>
                  </a:lnTo>
                  <a:lnTo>
                    <a:pt x="251" y="554"/>
                  </a:lnTo>
                  <a:lnTo>
                    <a:pt x="246" y="556"/>
                  </a:lnTo>
                  <a:lnTo>
                    <a:pt x="246" y="554"/>
                  </a:lnTo>
                  <a:lnTo>
                    <a:pt x="240" y="556"/>
                  </a:lnTo>
                  <a:lnTo>
                    <a:pt x="236" y="554"/>
                  </a:lnTo>
                  <a:lnTo>
                    <a:pt x="234" y="556"/>
                  </a:lnTo>
                  <a:lnTo>
                    <a:pt x="238" y="558"/>
                  </a:lnTo>
                  <a:lnTo>
                    <a:pt x="238" y="561"/>
                  </a:lnTo>
                  <a:lnTo>
                    <a:pt x="232" y="563"/>
                  </a:lnTo>
                  <a:lnTo>
                    <a:pt x="234" y="573"/>
                  </a:lnTo>
                  <a:lnTo>
                    <a:pt x="226" y="573"/>
                  </a:lnTo>
                  <a:lnTo>
                    <a:pt x="219" y="575"/>
                  </a:lnTo>
                  <a:lnTo>
                    <a:pt x="213" y="579"/>
                  </a:lnTo>
                  <a:lnTo>
                    <a:pt x="209" y="579"/>
                  </a:lnTo>
                  <a:lnTo>
                    <a:pt x="207" y="582"/>
                  </a:lnTo>
                  <a:lnTo>
                    <a:pt x="209" y="582"/>
                  </a:lnTo>
                  <a:lnTo>
                    <a:pt x="205" y="586"/>
                  </a:lnTo>
                  <a:lnTo>
                    <a:pt x="207" y="588"/>
                  </a:lnTo>
                  <a:lnTo>
                    <a:pt x="207" y="590"/>
                  </a:lnTo>
                  <a:lnTo>
                    <a:pt x="203" y="590"/>
                  </a:lnTo>
                  <a:lnTo>
                    <a:pt x="201" y="594"/>
                  </a:lnTo>
                  <a:lnTo>
                    <a:pt x="201" y="592"/>
                  </a:lnTo>
                  <a:lnTo>
                    <a:pt x="196" y="596"/>
                  </a:lnTo>
                  <a:lnTo>
                    <a:pt x="194" y="594"/>
                  </a:lnTo>
                  <a:lnTo>
                    <a:pt x="196" y="592"/>
                  </a:lnTo>
                  <a:lnTo>
                    <a:pt x="192" y="592"/>
                  </a:lnTo>
                  <a:lnTo>
                    <a:pt x="192" y="586"/>
                  </a:lnTo>
                  <a:lnTo>
                    <a:pt x="186" y="588"/>
                  </a:lnTo>
                  <a:lnTo>
                    <a:pt x="184" y="584"/>
                  </a:lnTo>
                  <a:lnTo>
                    <a:pt x="182" y="586"/>
                  </a:lnTo>
                  <a:lnTo>
                    <a:pt x="184" y="590"/>
                  </a:lnTo>
                  <a:lnTo>
                    <a:pt x="177" y="592"/>
                  </a:lnTo>
                  <a:lnTo>
                    <a:pt x="175" y="598"/>
                  </a:lnTo>
                  <a:lnTo>
                    <a:pt x="173" y="598"/>
                  </a:lnTo>
                  <a:lnTo>
                    <a:pt x="173" y="596"/>
                  </a:lnTo>
                  <a:lnTo>
                    <a:pt x="171" y="596"/>
                  </a:lnTo>
                  <a:lnTo>
                    <a:pt x="169" y="596"/>
                  </a:lnTo>
                  <a:lnTo>
                    <a:pt x="167" y="602"/>
                  </a:lnTo>
                  <a:lnTo>
                    <a:pt x="167" y="598"/>
                  </a:lnTo>
                  <a:lnTo>
                    <a:pt x="165" y="600"/>
                  </a:lnTo>
                  <a:lnTo>
                    <a:pt x="163" y="596"/>
                  </a:lnTo>
                  <a:lnTo>
                    <a:pt x="163" y="598"/>
                  </a:lnTo>
                  <a:lnTo>
                    <a:pt x="163" y="602"/>
                  </a:lnTo>
                  <a:lnTo>
                    <a:pt x="161" y="602"/>
                  </a:lnTo>
                  <a:lnTo>
                    <a:pt x="161" y="604"/>
                  </a:lnTo>
                  <a:lnTo>
                    <a:pt x="165" y="602"/>
                  </a:lnTo>
                  <a:lnTo>
                    <a:pt x="165" y="606"/>
                  </a:lnTo>
                  <a:lnTo>
                    <a:pt x="169" y="607"/>
                  </a:lnTo>
                  <a:lnTo>
                    <a:pt x="169" y="613"/>
                  </a:lnTo>
                  <a:lnTo>
                    <a:pt x="173" y="611"/>
                  </a:lnTo>
                  <a:lnTo>
                    <a:pt x="171" y="615"/>
                  </a:lnTo>
                  <a:lnTo>
                    <a:pt x="169" y="613"/>
                  </a:lnTo>
                  <a:lnTo>
                    <a:pt x="169" y="615"/>
                  </a:lnTo>
                  <a:lnTo>
                    <a:pt x="169" y="619"/>
                  </a:lnTo>
                  <a:lnTo>
                    <a:pt x="167" y="621"/>
                  </a:lnTo>
                  <a:lnTo>
                    <a:pt x="169" y="621"/>
                  </a:lnTo>
                  <a:lnTo>
                    <a:pt x="167" y="623"/>
                  </a:lnTo>
                  <a:lnTo>
                    <a:pt x="169" y="623"/>
                  </a:lnTo>
                  <a:lnTo>
                    <a:pt x="169" y="625"/>
                  </a:lnTo>
                  <a:lnTo>
                    <a:pt x="169" y="627"/>
                  </a:lnTo>
                  <a:lnTo>
                    <a:pt x="173" y="625"/>
                  </a:lnTo>
                  <a:lnTo>
                    <a:pt x="175" y="627"/>
                  </a:lnTo>
                  <a:lnTo>
                    <a:pt x="178" y="625"/>
                  </a:lnTo>
                  <a:lnTo>
                    <a:pt x="178" y="629"/>
                  </a:lnTo>
                  <a:lnTo>
                    <a:pt x="182" y="631"/>
                  </a:lnTo>
                  <a:lnTo>
                    <a:pt x="184" y="629"/>
                  </a:lnTo>
                  <a:lnTo>
                    <a:pt x="188" y="636"/>
                  </a:lnTo>
                  <a:lnTo>
                    <a:pt x="184" y="640"/>
                  </a:lnTo>
                  <a:lnTo>
                    <a:pt x="184" y="646"/>
                  </a:lnTo>
                  <a:lnTo>
                    <a:pt x="178" y="644"/>
                  </a:lnTo>
                  <a:lnTo>
                    <a:pt x="171" y="650"/>
                  </a:lnTo>
                  <a:lnTo>
                    <a:pt x="173" y="650"/>
                  </a:lnTo>
                  <a:lnTo>
                    <a:pt x="173" y="652"/>
                  </a:lnTo>
                  <a:lnTo>
                    <a:pt x="178" y="650"/>
                  </a:lnTo>
                  <a:lnTo>
                    <a:pt x="182" y="652"/>
                  </a:lnTo>
                  <a:lnTo>
                    <a:pt x="180" y="655"/>
                  </a:lnTo>
                  <a:lnTo>
                    <a:pt x="178" y="661"/>
                  </a:lnTo>
                  <a:lnTo>
                    <a:pt x="175" y="667"/>
                  </a:lnTo>
                  <a:lnTo>
                    <a:pt x="175" y="673"/>
                  </a:lnTo>
                  <a:lnTo>
                    <a:pt x="173" y="673"/>
                  </a:lnTo>
                  <a:lnTo>
                    <a:pt x="171" y="667"/>
                  </a:lnTo>
                  <a:lnTo>
                    <a:pt x="169" y="673"/>
                  </a:lnTo>
                  <a:lnTo>
                    <a:pt x="173" y="673"/>
                  </a:lnTo>
                  <a:lnTo>
                    <a:pt x="171" y="677"/>
                  </a:lnTo>
                  <a:lnTo>
                    <a:pt x="171" y="679"/>
                  </a:lnTo>
                  <a:lnTo>
                    <a:pt x="169" y="682"/>
                  </a:lnTo>
                  <a:lnTo>
                    <a:pt x="167" y="680"/>
                  </a:lnTo>
                  <a:lnTo>
                    <a:pt x="163" y="684"/>
                  </a:lnTo>
                  <a:lnTo>
                    <a:pt x="159" y="682"/>
                  </a:lnTo>
                  <a:lnTo>
                    <a:pt x="157" y="684"/>
                  </a:lnTo>
                  <a:lnTo>
                    <a:pt x="155" y="682"/>
                  </a:lnTo>
                  <a:lnTo>
                    <a:pt x="157" y="679"/>
                  </a:lnTo>
                  <a:lnTo>
                    <a:pt x="155" y="679"/>
                  </a:lnTo>
                  <a:lnTo>
                    <a:pt x="153" y="682"/>
                  </a:lnTo>
                  <a:lnTo>
                    <a:pt x="150" y="682"/>
                  </a:lnTo>
                  <a:lnTo>
                    <a:pt x="146" y="686"/>
                  </a:lnTo>
                  <a:lnTo>
                    <a:pt x="146" y="690"/>
                  </a:lnTo>
                  <a:lnTo>
                    <a:pt x="140" y="692"/>
                  </a:lnTo>
                  <a:lnTo>
                    <a:pt x="144" y="694"/>
                  </a:lnTo>
                  <a:lnTo>
                    <a:pt x="138" y="696"/>
                  </a:lnTo>
                  <a:lnTo>
                    <a:pt x="134" y="698"/>
                  </a:lnTo>
                  <a:lnTo>
                    <a:pt x="134" y="700"/>
                  </a:lnTo>
                  <a:lnTo>
                    <a:pt x="130" y="698"/>
                  </a:lnTo>
                  <a:lnTo>
                    <a:pt x="129" y="696"/>
                  </a:lnTo>
                  <a:lnTo>
                    <a:pt x="127" y="690"/>
                  </a:lnTo>
                  <a:lnTo>
                    <a:pt x="125" y="684"/>
                  </a:lnTo>
                  <a:lnTo>
                    <a:pt x="119" y="682"/>
                  </a:lnTo>
                  <a:lnTo>
                    <a:pt x="117" y="679"/>
                  </a:lnTo>
                  <a:lnTo>
                    <a:pt x="113" y="684"/>
                  </a:lnTo>
                  <a:lnTo>
                    <a:pt x="109" y="686"/>
                  </a:lnTo>
                  <a:lnTo>
                    <a:pt x="104" y="684"/>
                  </a:lnTo>
                  <a:lnTo>
                    <a:pt x="102" y="686"/>
                  </a:lnTo>
                  <a:lnTo>
                    <a:pt x="96" y="686"/>
                  </a:lnTo>
                  <a:lnTo>
                    <a:pt x="94" y="684"/>
                  </a:lnTo>
                  <a:lnTo>
                    <a:pt x="96" y="682"/>
                  </a:lnTo>
                  <a:lnTo>
                    <a:pt x="92" y="677"/>
                  </a:lnTo>
                  <a:lnTo>
                    <a:pt x="92" y="673"/>
                  </a:lnTo>
                  <a:lnTo>
                    <a:pt x="88" y="667"/>
                  </a:lnTo>
                  <a:lnTo>
                    <a:pt x="82" y="663"/>
                  </a:lnTo>
                  <a:lnTo>
                    <a:pt x="79" y="663"/>
                  </a:lnTo>
                  <a:lnTo>
                    <a:pt x="79" y="657"/>
                  </a:lnTo>
                  <a:lnTo>
                    <a:pt x="77" y="657"/>
                  </a:lnTo>
                  <a:lnTo>
                    <a:pt x="79" y="659"/>
                  </a:lnTo>
                  <a:lnTo>
                    <a:pt x="77" y="657"/>
                  </a:lnTo>
                  <a:lnTo>
                    <a:pt x="77" y="652"/>
                  </a:lnTo>
                  <a:lnTo>
                    <a:pt x="75" y="650"/>
                  </a:lnTo>
                  <a:lnTo>
                    <a:pt x="75" y="646"/>
                  </a:lnTo>
                  <a:lnTo>
                    <a:pt x="75" y="644"/>
                  </a:lnTo>
                  <a:lnTo>
                    <a:pt x="75" y="646"/>
                  </a:lnTo>
                  <a:lnTo>
                    <a:pt x="75" y="642"/>
                  </a:lnTo>
                  <a:lnTo>
                    <a:pt x="73" y="634"/>
                  </a:lnTo>
                  <a:lnTo>
                    <a:pt x="71" y="634"/>
                  </a:lnTo>
                  <a:lnTo>
                    <a:pt x="69" y="625"/>
                  </a:lnTo>
                  <a:lnTo>
                    <a:pt x="67" y="619"/>
                  </a:lnTo>
                  <a:lnTo>
                    <a:pt x="67" y="617"/>
                  </a:lnTo>
                  <a:lnTo>
                    <a:pt x="65" y="617"/>
                  </a:lnTo>
                  <a:lnTo>
                    <a:pt x="65" y="613"/>
                  </a:lnTo>
                  <a:lnTo>
                    <a:pt x="65" y="615"/>
                  </a:lnTo>
                  <a:lnTo>
                    <a:pt x="69" y="613"/>
                  </a:lnTo>
                  <a:lnTo>
                    <a:pt x="65" y="613"/>
                  </a:lnTo>
                  <a:lnTo>
                    <a:pt x="65" y="607"/>
                  </a:lnTo>
                  <a:lnTo>
                    <a:pt x="59" y="600"/>
                  </a:lnTo>
                  <a:lnTo>
                    <a:pt x="59" y="598"/>
                  </a:lnTo>
                  <a:lnTo>
                    <a:pt x="61" y="596"/>
                  </a:lnTo>
                  <a:lnTo>
                    <a:pt x="63" y="598"/>
                  </a:lnTo>
                  <a:lnTo>
                    <a:pt x="65" y="600"/>
                  </a:lnTo>
                  <a:lnTo>
                    <a:pt x="63" y="596"/>
                  </a:lnTo>
                  <a:lnTo>
                    <a:pt x="65" y="594"/>
                  </a:lnTo>
                  <a:lnTo>
                    <a:pt x="61" y="592"/>
                  </a:lnTo>
                  <a:lnTo>
                    <a:pt x="61" y="590"/>
                  </a:lnTo>
                  <a:lnTo>
                    <a:pt x="65" y="592"/>
                  </a:lnTo>
                  <a:lnTo>
                    <a:pt x="63" y="590"/>
                  </a:lnTo>
                  <a:lnTo>
                    <a:pt x="65" y="588"/>
                  </a:lnTo>
                  <a:lnTo>
                    <a:pt x="67" y="588"/>
                  </a:lnTo>
                  <a:lnTo>
                    <a:pt x="67" y="590"/>
                  </a:lnTo>
                  <a:lnTo>
                    <a:pt x="69" y="588"/>
                  </a:lnTo>
                  <a:lnTo>
                    <a:pt x="67" y="586"/>
                  </a:lnTo>
                  <a:lnTo>
                    <a:pt x="61" y="588"/>
                  </a:lnTo>
                  <a:lnTo>
                    <a:pt x="63" y="588"/>
                  </a:lnTo>
                  <a:lnTo>
                    <a:pt x="61" y="586"/>
                  </a:lnTo>
                  <a:lnTo>
                    <a:pt x="61" y="582"/>
                  </a:lnTo>
                  <a:lnTo>
                    <a:pt x="59" y="577"/>
                  </a:lnTo>
                  <a:lnTo>
                    <a:pt x="59" y="573"/>
                  </a:lnTo>
                  <a:lnTo>
                    <a:pt x="61" y="569"/>
                  </a:lnTo>
                  <a:lnTo>
                    <a:pt x="63" y="569"/>
                  </a:lnTo>
                  <a:lnTo>
                    <a:pt x="63" y="571"/>
                  </a:lnTo>
                  <a:lnTo>
                    <a:pt x="63" y="569"/>
                  </a:lnTo>
                  <a:lnTo>
                    <a:pt x="63" y="567"/>
                  </a:lnTo>
                  <a:lnTo>
                    <a:pt x="61" y="569"/>
                  </a:lnTo>
                  <a:lnTo>
                    <a:pt x="59" y="567"/>
                  </a:lnTo>
                  <a:lnTo>
                    <a:pt x="58" y="561"/>
                  </a:lnTo>
                  <a:lnTo>
                    <a:pt x="59" y="559"/>
                  </a:lnTo>
                  <a:lnTo>
                    <a:pt x="58" y="559"/>
                  </a:lnTo>
                  <a:lnTo>
                    <a:pt x="58" y="554"/>
                  </a:lnTo>
                  <a:lnTo>
                    <a:pt x="59" y="550"/>
                  </a:lnTo>
                  <a:lnTo>
                    <a:pt x="61" y="552"/>
                  </a:lnTo>
                  <a:lnTo>
                    <a:pt x="61" y="550"/>
                  </a:lnTo>
                  <a:lnTo>
                    <a:pt x="58" y="550"/>
                  </a:lnTo>
                  <a:lnTo>
                    <a:pt x="58" y="546"/>
                  </a:lnTo>
                  <a:lnTo>
                    <a:pt x="56" y="544"/>
                  </a:lnTo>
                  <a:lnTo>
                    <a:pt x="56" y="542"/>
                  </a:lnTo>
                  <a:lnTo>
                    <a:pt x="58" y="544"/>
                  </a:lnTo>
                  <a:lnTo>
                    <a:pt x="59" y="542"/>
                  </a:lnTo>
                  <a:lnTo>
                    <a:pt x="59" y="536"/>
                  </a:lnTo>
                  <a:lnTo>
                    <a:pt x="58" y="536"/>
                  </a:lnTo>
                  <a:lnTo>
                    <a:pt x="56" y="527"/>
                  </a:lnTo>
                  <a:lnTo>
                    <a:pt x="54" y="527"/>
                  </a:lnTo>
                  <a:lnTo>
                    <a:pt x="56" y="525"/>
                  </a:lnTo>
                  <a:lnTo>
                    <a:pt x="54" y="523"/>
                  </a:lnTo>
                  <a:lnTo>
                    <a:pt x="52" y="519"/>
                  </a:lnTo>
                  <a:lnTo>
                    <a:pt x="50" y="519"/>
                  </a:lnTo>
                  <a:lnTo>
                    <a:pt x="50" y="515"/>
                  </a:lnTo>
                  <a:lnTo>
                    <a:pt x="52" y="515"/>
                  </a:lnTo>
                  <a:lnTo>
                    <a:pt x="54" y="517"/>
                  </a:lnTo>
                  <a:lnTo>
                    <a:pt x="56" y="513"/>
                  </a:lnTo>
                  <a:lnTo>
                    <a:pt x="52" y="511"/>
                  </a:lnTo>
                  <a:lnTo>
                    <a:pt x="52" y="506"/>
                  </a:lnTo>
                  <a:lnTo>
                    <a:pt x="48" y="506"/>
                  </a:lnTo>
                  <a:lnTo>
                    <a:pt x="48" y="504"/>
                  </a:lnTo>
                  <a:lnTo>
                    <a:pt x="50" y="500"/>
                  </a:lnTo>
                  <a:lnTo>
                    <a:pt x="48" y="492"/>
                  </a:lnTo>
                  <a:lnTo>
                    <a:pt x="44" y="486"/>
                  </a:lnTo>
                  <a:lnTo>
                    <a:pt x="48" y="485"/>
                  </a:lnTo>
                  <a:lnTo>
                    <a:pt x="44" y="481"/>
                  </a:lnTo>
                  <a:lnTo>
                    <a:pt x="42" y="473"/>
                  </a:lnTo>
                  <a:lnTo>
                    <a:pt x="44" y="469"/>
                  </a:lnTo>
                  <a:lnTo>
                    <a:pt x="44" y="467"/>
                  </a:lnTo>
                  <a:lnTo>
                    <a:pt x="40" y="460"/>
                  </a:lnTo>
                  <a:lnTo>
                    <a:pt x="40" y="456"/>
                  </a:lnTo>
                  <a:lnTo>
                    <a:pt x="36" y="450"/>
                  </a:lnTo>
                  <a:lnTo>
                    <a:pt x="36" y="446"/>
                  </a:lnTo>
                  <a:lnTo>
                    <a:pt x="34" y="444"/>
                  </a:lnTo>
                  <a:lnTo>
                    <a:pt x="34" y="440"/>
                  </a:lnTo>
                  <a:lnTo>
                    <a:pt x="31" y="437"/>
                  </a:lnTo>
                  <a:lnTo>
                    <a:pt x="33" y="437"/>
                  </a:lnTo>
                  <a:lnTo>
                    <a:pt x="34" y="437"/>
                  </a:lnTo>
                  <a:lnTo>
                    <a:pt x="33" y="437"/>
                  </a:lnTo>
                  <a:lnTo>
                    <a:pt x="31" y="433"/>
                  </a:lnTo>
                  <a:lnTo>
                    <a:pt x="31" y="431"/>
                  </a:lnTo>
                  <a:lnTo>
                    <a:pt x="29" y="425"/>
                  </a:lnTo>
                  <a:lnTo>
                    <a:pt x="31" y="421"/>
                  </a:lnTo>
                  <a:lnTo>
                    <a:pt x="29" y="417"/>
                  </a:lnTo>
                  <a:lnTo>
                    <a:pt x="27" y="415"/>
                  </a:lnTo>
                  <a:lnTo>
                    <a:pt x="25" y="415"/>
                  </a:lnTo>
                  <a:lnTo>
                    <a:pt x="25" y="408"/>
                  </a:lnTo>
                  <a:lnTo>
                    <a:pt x="29" y="410"/>
                  </a:lnTo>
                  <a:lnTo>
                    <a:pt x="31" y="413"/>
                  </a:lnTo>
                  <a:lnTo>
                    <a:pt x="34" y="412"/>
                  </a:lnTo>
                  <a:lnTo>
                    <a:pt x="40" y="415"/>
                  </a:lnTo>
                  <a:lnTo>
                    <a:pt x="40" y="413"/>
                  </a:lnTo>
                  <a:lnTo>
                    <a:pt x="38" y="412"/>
                  </a:lnTo>
                  <a:lnTo>
                    <a:pt x="38" y="410"/>
                  </a:lnTo>
                  <a:lnTo>
                    <a:pt x="36" y="408"/>
                  </a:lnTo>
                  <a:lnTo>
                    <a:pt x="38" y="410"/>
                  </a:lnTo>
                  <a:lnTo>
                    <a:pt x="36" y="410"/>
                  </a:lnTo>
                  <a:lnTo>
                    <a:pt x="33" y="408"/>
                  </a:lnTo>
                  <a:lnTo>
                    <a:pt x="31" y="410"/>
                  </a:lnTo>
                  <a:lnTo>
                    <a:pt x="27" y="402"/>
                  </a:lnTo>
                  <a:lnTo>
                    <a:pt x="23" y="400"/>
                  </a:lnTo>
                  <a:lnTo>
                    <a:pt x="25" y="398"/>
                  </a:lnTo>
                  <a:lnTo>
                    <a:pt x="23" y="396"/>
                  </a:lnTo>
                  <a:lnTo>
                    <a:pt x="21" y="388"/>
                  </a:lnTo>
                  <a:lnTo>
                    <a:pt x="23" y="385"/>
                  </a:lnTo>
                  <a:lnTo>
                    <a:pt x="23" y="381"/>
                  </a:lnTo>
                  <a:lnTo>
                    <a:pt x="25" y="381"/>
                  </a:lnTo>
                  <a:lnTo>
                    <a:pt x="23" y="373"/>
                  </a:lnTo>
                  <a:lnTo>
                    <a:pt x="21" y="371"/>
                  </a:lnTo>
                  <a:lnTo>
                    <a:pt x="21" y="369"/>
                  </a:lnTo>
                  <a:lnTo>
                    <a:pt x="23" y="369"/>
                  </a:lnTo>
                  <a:lnTo>
                    <a:pt x="21" y="369"/>
                  </a:lnTo>
                  <a:lnTo>
                    <a:pt x="19" y="369"/>
                  </a:lnTo>
                  <a:lnTo>
                    <a:pt x="19" y="367"/>
                  </a:lnTo>
                  <a:lnTo>
                    <a:pt x="17" y="364"/>
                  </a:lnTo>
                  <a:lnTo>
                    <a:pt x="19" y="360"/>
                  </a:lnTo>
                  <a:lnTo>
                    <a:pt x="19" y="354"/>
                  </a:lnTo>
                  <a:lnTo>
                    <a:pt x="21" y="352"/>
                  </a:lnTo>
                  <a:lnTo>
                    <a:pt x="25" y="354"/>
                  </a:lnTo>
                  <a:lnTo>
                    <a:pt x="27" y="348"/>
                  </a:lnTo>
                  <a:lnTo>
                    <a:pt x="31" y="352"/>
                  </a:lnTo>
                  <a:lnTo>
                    <a:pt x="33" y="354"/>
                  </a:lnTo>
                  <a:lnTo>
                    <a:pt x="31" y="352"/>
                  </a:lnTo>
                  <a:lnTo>
                    <a:pt x="34" y="352"/>
                  </a:lnTo>
                  <a:lnTo>
                    <a:pt x="31" y="350"/>
                  </a:lnTo>
                  <a:lnTo>
                    <a:pt x="33" y="346"/>
                  </a:lnTo>
                  <a:lnTo>
                    <a:pt x="27" y="348"/>
                  </a:lnTo>
                  <a:lnTo>
                    <a:pt x="25" y="346"/>
                  </a:lnTo>
                  <a:lnTo>
                    <a:pt x="25" y="340"/>
                  </a:lnTo>
                  <a:lnTo>
                    <a:pt x="27" y="342"/>
                  </a:lnTo>
                  <a:lnTo>
                    <a:pt x="31" y="339"/>
                  </a:lnTo>
                  <a:lnTo>
                    <a:pt x="27" y="337"/>
                  </a:lnTo>
                  <a:lnTo>
                    <a:pt x="29" y="335"/>
                  </a:lnTo>
                  <a:lnTo>
                    <a:pt x="33" y="337"/>
                  </a:lnTo>
                  <a:lnTo>
                    <a:pt x="29" y="333"/>
                  </a:lnTo>
                  <a:lnTo>
                    <a:pt x="34" y="333"/>
                  </a:lnTo>
                  <a:lnTo>
                    <a:pt x="38" y="329"/>
                  </a:lnTo>
                  <a:lnTo>
                    <a:pt x="34" y="331"/>
                  </a:lnTo>
                  <a:lnTo>
                    <a:pt x="34" y="325"/>
                  </a:lnTo>
                  <a:lnTo>
                    <a:pt x="33" y="323"/>
                  </a:lnTo>
                  <a:lnTo>
                    <a:pt x="34" y="321"/>
                  </a:lnTo>
                  <a:lnTo>
                    <a:pt x="33" y="315"/>
                  </a:lnTo>
                  <a:lnTo>
                    <a:pt x="31" y="319"/>
                  </a:lnTo>
                  <a:lnTo>
                    <a:pt x="31" y="327"/>
                  </a:lnTo>
                  <a:lnTo>
                    <a:pt x="25" y="331"/>
                  </a:lnTo>
                  <a:lnTo>
                    <a:pt x="25" y="333"/>
                  </a:lnTo>
                  <a:lnTo>
                    <a:pt x="21" y="329"/>
                  </a:lnTo>
                  <a:lnTo>
                    <a:pt x="19" y="331"/>
                  </a:lnTo>
                  <a:lnTo>
                    <a:pt x="17" y="339"/>
                  </a:lnTo>
                  <a:lnTo>
                    <a:pt x="13" y="342"/>
                  </a:lnTo>
                  <a:lnTo>
                    <a:pt x="15" y="337"/>
                  </a:lnTo>
                  <a:lnTo>
                    <a:pt x="13" y="335"/>
                  </a:lnTo>
                  <a:lnTo>
                    <a:pt x="11" y="337"/>
                  </a:lnTo>
                  <a:lnTo>
                    <a:pt x="15" y="333"/>
                  </a:lnTo>
                  <a:lnTo>
                    <a:pt x="15" y="327"/>
                  </a:lnTo>
                  <a:lnTo>
                    <a:pt x="15" y="329"/>
                  </a:lnTo>
                  <a:lnTo>
                    <a:pt x="17" y="327"/>
                  </a:lnTo>
                  <a:lnTo>
                    <a:pt x="17" y="325"/>
                  </a:lnTo>
                  <a:lnTo>
                    <a:pt x="15" y="325"/>
                  </a:lnTo>
                  <a:lnTo>
                    <a:pt x="15" y="317"/>
                  </a:lnTo>
                  <a:lnTo>
                    <a:pt x="13" y="315"/>
                  </a:lnTo>
                  <a:lnTo>
                    <a:pt x="11" y="315"/>
                  </a:lnTo>
                  <a:lnTo>
                    <a:pt x="11" y="314"/>
                  </a:lnTo>
                  <a:lnTo>
                    <a:pt x="15" y="306"/>
                  </a:lnTo>
                  <a:lnTo>
                    <a:pt x="11" y="310"/>
                  </a:lnTo>
                  <a:lnTo>
                    <a:pt x="11" y="306"/>
                  </a:lnTo>
                  <a:lnTo>
                    <a:pt x="11" y="298"/>
                  </a:lnTo>
                  <a:lnTo>
                    <a:pt x="19" y="296"/>
                  </a:lnTo>
                  <a:lnTo>
                    <a:pt x="27" y="298"/>
                  </a:lnTo>
                  <a:lnTo>
                    <a:pt x="21" y="294"/>
                  </a:lnTo>
                  <a:lnTo>
                    <a:pt x="13" y="294"/>
                  </a:lnTo>
                  <a:lnTo>
                    <a:pt x="10" y="291"/>
                  </a:lnTo>
                  <a:lnTo>
                    <a:pt x="10" y="289"/>
                  </a:lnTo>
                  <a:lnTo>
                    <a:pt x="10" y="279"/>
                  </a:lnTo>
                  <a:lnTo>
                    <a:pt x="13" y="277"/>
                  </a:lnTo>
                  <a:lnTo>
                    <a:pt x="17" y="277"/>
                  </a:lnTo>
                  <a:lnTo>
                    <a:pt x="19" y="275"/>
                  </a:lnTo>
                  <a:lnTo>
                    <a:pt x="11" y="275"/>
                  </a:lnTo>
                  <a:lnTo>
                    <a:pt x="6" y="271"/>
                  </a:lnTo>
                  <a:lnTo>
                    <a:pt x="6" y="266"/>
                  </a:lnTo>
                  <a:lnTo>
                    <a:pt x="8" y="266"/>
                  </a:lnTo>
                  <a:lnTo>
                    <a:pt x="6" y="260"/>
                  </a:lnTo>
                  <a:lnTo>
                    <a:pt x="6" y="254"/>
                  </a:lnTo>
                  <a:lnTo>
                    <a:pt x="4" y="252"/>
                  </a:lnTo>
                  <a:lnTo>
                    <a:pt x="6" y="250"/>
                  </a:lnTo>
                  <a:lnTo>
                    <a:pt x="4" y="250"/>
                  </a:lnTo>
                  <a:lnTo>
                    <a:pt x="4" y="248"/>
                  </a:lnTo>
                  <a:lnTo>
                    <a:pt x="4" y="243"/>
                  </a:lnTo>
                  <a:lnTo>
                    <a:pt x="0" y="241"/>
                  </a:lnTo>
                  <a:lnTo>
                    <a:pt x="0" y="237"/>
                  </a:lnTo>
                  <a:lnTo>
                    <a:pt x="4" y="237"/>
                  </a:lnTo>
                  <a:lnTo>
                    <a:pt x="4" y="235"/>
                  </a:lnTo>
                  <a:lnTo>
                    <a:pt x="2" y="229"/>
                  </a:lnTo>
                  <a:lnTo>
                    <a:pt x="6" y="225"/>
                  </a:lnTo>
                  <a:lnTo>
                    <a:pt x="10" y="227"/>
                  </a:lnTo>
                  <a:lnTo>
                    <a:pt x="8" y="225"/>
                  </a:lnTo>
                  <a:lnTo>
                    <a:pt x="8" y="221"/>
                  </a:lnTo>
                  <a:lnTo>
                    <a:pt x="8" y="214"/>
                  </a:lnTo>
                  <a:lnTo>
                    <a:pt x="10" y="214"/>
                  </a:lnTo>
                  <a:lnTo>
                    <a:pt x="11" y="208"/>
                  </a:lnTo>
                  <a:lnTo>
                    <a:pt x="15" y="208"/>
                  </a:lnTo>
                  <a:lnTo>
                    <a:pt x="15" y="206"/>
                  </a:lnTo>
                  <a:lnTo>
                    <a:pt x="19" y="206"/>
                  </a:lnTo>
                  <a:lnTo>
                    <a:pt x="19" y="202"/>
                  </a:lnTo>
                  <a:lnTo>
                    <a:pt x="21" y="202"/>
                  </a:lnTo>
                  <a:lnTo>
                    <a:pt x="21" y="198"/>
                  </a:lnTo>
                  <a:lnTo>
                    <a:pt x="23" y="200"/>
                  </a:lnTo>
                  <a:lnTo>
                    <a:pt x="25" y="196"/>
                  </a:lnTo>
                  <a:lnTo>
                    <a:pt x="29" y="196"/>
                  </a:lnTo>
                  <a:lnTo>
                    <a:pt x="34" y="198"/>
                  </a:lnTo>
                  <a:lnTo>
                    <a:pt x="34" y="202"/>
                  </a:lnTo>
                  <a:lnTo>
                    <a:pt x="36" y="202"/>
                  </a:lnTo>
                  <a:lnTo>
                    <a:pt x="34" y="206"/>
                  </a:lnTo>
                  <a:lnTo>
                    <a:pt x="34" y="210"/>
                  </a:lnTo>
                  <a:lnTo>
                    <a:pt x="38" y="210"/>
                  </a:lnTo>
                  <a:lnTo>
                    <a:pt x="38" y="206"/>
                  </a:lnTo>
                  <a:lnTo>
                    <a:pt x="38" y="210"/>
                  </a:lnTo>
                  <a:lnTo>
                    <a:pt x="42" y="214"/>
                  </a:lnTo>
                  <a:lnTo>
                    <a:pt x="46" y="212"/>
                  </a:lnTo>
                  <a:lnTo>
                    <a:pt x="50" y="212"/>
                  </a:lnTo>
                  <a:lnTo>
                    <a:pt x="50" y="214"/>
                  </a:lnTo>
                  <a:lnTo>
                    <a:pt x="54" y="212"/>
                  </a:lnTo>
                  <a:lnTo>
                    <a:pt x="56" y="216"/>
                  </a:lnTo>
                  <a:lnTo>
                    <a:pt x="59" y="216"/>
                  </a:lnTo>
                  <a:lnTo>
                    <a:pt x="59" y="214"/>
                  </a:lnTo>
                  <a:lnTo>
                    <a:pt x="61" y="212"/>
                  </a:lnTo>
                  <a:lnTo>
                    <a:pt x="61" y="208"/>
                  </a:lnTo>
                  <a:lnTo>
                    <a:pt x="61" y="206"/>
                  </a:lnTo>
                  <a:lnTo>
                    <a:pt x="63" y="208"/>
                  </a:lnTo>
                  <a:lnTo>
                    <a:pt x="65" y="208"/>
                  </a:lnTo>
                  <a:lnTo>
                    <a:pt x="67" y="206"/>
                  </a:lnTo>
                  <a:lnTo>
                    <a:pt x="69" y="200"/>
                  </a:lnTo>
                  <a:lnTo>
                    <a:pt x="71" y="198"/>
                  </a:lnTo>
                  <a:lnTo>
                    <a:pt x="75" y="200"/>
                  </a:lnTo>
                  <a:lnTo>
                    <a:pt x="77" y="198"/>
                  </a:lnTo>
                  <a:lnTo>
                    <a:pt x="79" y="200"/>
                  </a:lnTo>
                  <a:lnTo>
                    <a:pt x="79" y="198"/>
                  </a:lnTo>
                  <a:lnTo>
                    <a:pt x="81" y="200"/>
                  </a:lnTo>
                  <a:lnTo>
                    <a:pt x="84" y="200"/>
                  </a:lnTo>
                  <a:lnTo>
                    <a:pt x="82" y="194"/>
                  </a:lnTo>
                  <a:lnTo>
                    <a:pt x="84" y="191"/>
                  </a:lnTo>
                  <a:lnTo>
                    <a:pt x="84" y="187"/>
                  </a:lnTo>
                  <a:lnTo>
                    <a:pt x="82" y="179"/>
                  </a:lnTo>
                  <a:lnTo>
                    <a:pt x="81" y="181"/>
                  </a:lnTo>
                  <a:lnTo>
                    <a:pt x="81" y="179"/>
                  </a:lnTo>
                  <a:lnTo>
                    <a:pt x="84" y="177"/>
                  </a:lnTo>
                  <a:lnTo>
                    <a:pt x="86" y="171"/>
                  </a:lnTo>
                  <a:lnTo>
                    <a:pt x="90" y="168"/>
                  </a:lnTo>
                  <a:lnTo>
                    <a:pt x="90" y="164"/>
                  </a:lnTo>
                  <a:lnTo>
                    <a:pt x="92" y="164"/>
                  </a:lnTo>
                  <a:lnTo>
                    <a:pt x="90" y="158"/>
                  </a:lnTo>
                  <a:lnTo>
                    <a:pt x="86" y="156"/>
                  </a:lnTo>
                  <a:lnTo>
                    <a:pt x="84" y="154"/>
                  </a:lnTo>
                  <a:lnTo>
                    <a:pt x="82" y="152"/>
                  </a:lnTo>
                  <a:lnTo>
                    <a:pt x="86" y="148"/>
                  </a:lnTo>
                  <a:lnTo>
                    <a:pt x="88" y="145"/>
                  </a:lnTo>
                  <a:lnTo>
                    <a:pt x="92" y="143"/>
                  </a:lnTo>
                  <a:lnTo>
                    <a:pt x="94" y="150"/>
                  </a:lnTo>
                  <a:lnTo>
                    <a:pt x="98" y="148"/>
                  </a:lnTo>
                  <a:lnTo>
                    <a:pt x="100" y="152"/>
                  </a:lnTo>
                  <a:lnTo>
                    <a:pt x="102" y="150"/>
                  </a:lnTo>
                  <a:lnTo>
                    <a:pt x="105" y="152"/>
                  </a:lnTo>
                  <a:lnTo>
                    <a:pt x="107" y="158"/>
                  </a:lnTo>
                  <a:lnTo>
                    <a:pt x="111" y="162"/>
                  </a:lnTo>
                  <a:lnTo>
                    <a:pt x="115" y="160"/>
                  </a:lnTo>
                  <a:lnTo>
                    <a:pt x="119" y="160"/>
                  </a:lnTo>
                  <a:lnTo>
                    <a:pt x="123" y="156"/>
                  </a:lnTo>
                  <a:lnTo>
                    <a:pt x="127" y="156"/>
                  </a:lnTo>
                  <a:lnTo>
                    <a:pt x="130" y="154"/>
                  </a:lnTo>
                  <a:lnTo>
                    <a:pt x="130" y="150"/>
                  </a:lnTo>
                  <a:lnTo>
                    <a:pt x="127" y="146"/>
                  </a:lnTo>
                  <a:lnTo>
                    <a:pt x="129" y="146"/>
                  </a:lnTo>
                  <a:lnTo>
                    <a:pt x="130" y="146"/>
                  </a:lnTo>
                  <a:lnTo>
                    <a:pt x="134" y="143"/>
                  </a:lnTo>
                  <a:lnTo>
                    <a:pt x="138" y="143"/>
                  </a:lnTo>
                  <a:lnTo>
                    <a:pt x="142" y="141"/>
                  </a:lnTo>
                  <a:lnTo>
                    <a:pt x="140" y="137"/>
                  </a:lnTo>
                  <a:lnTo>
                    <a:pt x="142" y="131"/>
                  </a:lnTo>
                  <a:lnTo>
                    <a:pt x="140" y="129"/>
                  </a:lnTo>
                  <a:lnTo>
                    <a:pt x="140" y="123"/>
                  </a:lnTo>
                  <a:lnTo>
                    <a:pt x="136" y="120"/>
                  </a:lnTo>
                  <a:lnTo>
                    <a:pt x="138" y="118"/>
                  </a:lnTo>
                  <a:lnTo>
                    <a:pt x="138" y="116"/>
                  </a:lnTo>
                  <a:lnTo>
                    <a:pt x="132" y="114"/>
                  </a:lnTo>
                  <a:lnTo>
                    <a:pt x="127" y="110"/>
                  </a:lnTo>
                  <a:lnTo>
                    <a:pt x="129" y="104"/>
                  </a:lnTo>
                  <a:lnTo>
                    <a:pt x="127" y="106"/>
                  </a:lnTo>
                  <a:lnTo>
                    <a:pt x="123" y="106"/>
                  </a:lnTo>
                  <a:lnTo>
                    <a:pt x="121" y="104"/>
                  </a:lnTo>
                  <a:lnTo>
                    <a:pt x="123" y="100"/>
                  </a:lnTo>
                  <a:lnTo>
                    <a:pt x="121" y="102"/>
                  </a:lnTo>
                  <a:lnTo>
                    <a:pt x="117" y="100"/>
                  </a:lnTo>
                  <a:lnTo>
                    <a:pt x="117" y="102"/>
                  </a:lnTo>
                  <a:lnTo>
                    <a:pt x="113" y="102"/>
                  </a:lnTo>
                  <a:lnTo>
                    <a:pt x="111" y="100"/>
                  </a:lnTo>
                  <a:lnTo>
                    <a:pt x="109" y="100"/>
                  </a:lnTo>
                  <a:lnTo>
                    <a:pt x="109" y="97"/>
                  </a:lnTo>
                  <a:lnTo>
                    <a:pt x="104" y="95"/>
                  </a:lnTo>
                  <a:lnTo>
                    <a:pt x="107" y="95"/>
                  </a:lnTo>
                  <a:lnTo>
                    <a:pt x="109" y="98"/>
                  </a:lnTo>
                  <a:lnTo>
                    <a:pt x="113" y="97"/>
                  </a:lnTo>
                  <a:lnTo>
                    <a:pt x="121" y="98"/>
                  </a:lnTo>
                  <a:lnTo>
                    <a:pt x="121" y="95"/>
                  </a:lnTo>
                  <a:lnTo>
                    <a:pt x="130" y="95"/>
                  </a:lnTo>
                  <a:lnTo>
                    <a:pt x="130" y="93"/>
                  </a:lnTo>
                  <a:lnTo>
                    <a:pt x="129" y="91"/>
                  </a:lnTo>
                  <a:lnTo>
                    <a:pt x="130" y="85"/>
                  </a:lnTo>
                  <a:lnTo>
                    <a:pt x="138" y="85"/>
                  </a:lnTo>
                  <a:lnTo>
                    <a:pt x="144" y="81"/>
                  </a:lnTo>
                  <a:lnTo>
                    <a:pt x="144" y="75"/>
                  </a:lnTo>
                  <a:lnTo>
                    <a:pt x="144" y="70"/>
                  </a:lnTo>
                  <a:lnTo>
                    <a:pt x="146" y="72"/>
                  </a:lnTo>
                  <a:lnTo>
                    <a:pt x="152" y="68"/>
                  </a:lnTo>
                  <a:lnTo>
                    <a:pt x="155" y="68"/>
                  </a:lnTo>
                  <a:lnTo>
                    <a:pt x="157" y="60"/>
                  </a:lnTo>
                  <a:lnTo>
                    <a:pt x="159" y="64"/>
                  </a:lnTo>
                  <a:lnTo>
                    <a:pt x="161" y="64"/>
                  </a:lnTo>
                  <a:lnTo>
                    <a:pt x="165" y="64"/>
                  </a:lnTo>
                  <a:lnTo>
                    <a:pt x="167" y="64"/>
                  </a:lnTo>
                  <a:lnTo>
                    <a:pt x="169" y="62"/>
                  </a:lnTo>
                  <a:lnTo>
                    <a:pt x="175" y="64"/>
                  </a:lnTo>
                  <a:lnTo>
                    <a:pt x="175" y="62"/>
                  </a:lnTo>
                  <a:lnTo>
                    <a:pt x="178" y="64"/>
                  </a:lnTo>
                  <a:lnTo>
                    <a:pt x="186" y="60"/>
                  </a:lnTo>
                  <a:lnTo>
                    <a:pt x="186" y="54"/>
                  </a:lnTo>
                  <a:lnTo>
                    <a:pt x="184" y="54"/>
                  </a:lnTo>
                  <a:lnTo>
                    <a:pt x="184" y="52"/>
                  </a:lnTo>
                  <a:lnTo>
                    <a:pt x="178" y="54"/>
                  </a:lnTo>
                  <a:lnTo>
                    <a:pt x="177" y="54"/>
                  </a:lnTo>
                  <a:lnTo>
                    <a:pt x="173" y="56"/>
                  </a:lnTo>
                  <a:lnTo>
                    <a:pt x="171" y="52"/>
                  </a:lnTo>
                  <a:lnTo>
                    <a:pt x="165" y="54"/>
                  </a:lnTo>
                  <a:lnTo>
                    <a:pt x="163" y="52"/>
                  </a:lnTo>
                  <a:lnTo>
                    <a:pt x="153" y="52"/>
                  </a:lnTo>
                  <a:lnTo>
                    <a:pt x="148" y="54"/>
                  </a:lnTo>
                  <a:lnTo>
                    <a:pt x="150" y="56"/>
                  </a:lnTo>
                  <a:lnTo>
                    <a:pt x="146" y="54"/>
                  </a:lnTo>
                  <a:lnTo>
                    <a:pt x="146" y="58"/>
                  </a:lnTo>
                  <a:lnTo>
                    <a:pt x="140" y="56"/>
                  </a:lnTo>
                  <a:lnTo>
                    <a:pt x="134" y="60"/>
                  </a:lnTo>
                  <a:lnTo>
                    <a:pt x="132" y="54"/>
                  </a:lnTo>
                  <a:lnTo>
                    <a:pt x="130" y="49"/>
                  </a:lnTo>
                  <a:lnTo>
                    <a:pt x="129" y="47"/>
                  </a:lnTo>
                  <a:lnTo>
                    <a:pt x="129" y="45"/>
                  </a:lnTo>
                  <a:lnTo>
                    <a:pt x="138" y="43"/>
                  </a:lnTo>
                  <a:lnTo>
                    <a:pt x="140" y="41"/>
                  </a:lnTo>
                  <a:lnTo>
                    <a:pt x="140" y="37"/>
                  </a:lnTo>
                  <a:lnTo>
                    <a:pt x="132" y="31"/>
                  </a:lnTo>
                  <a:lnTo>
                    <a:pt x="134" y="27"/>
                  </a:lnTo>
                  <a:lnTo>
                    <a:pt x="130" y="24"/>
                  </a:lnTo>
                  <a:lnTo>
                    <a:pt x="132" y="22"/>
                  </a:lnTo>
                  <a:lnTo>
                    <a:pt x="138" y="22"/>
                  </a:lnTo>
                  <a:lnTo>
                    <a:pt x="144" y="20"/>
                  </a:lnTo>
                  <a:lnTo>
                    <a:pt x="146" y="18"/>
                  </a:lnTo>
                  <a:lnTo>
                    <a:pt x="155" y="14"/>
                  </a:lnTo>
                  <a:lnTo>
                    <a:pt x="157" y="12"/>
                  </a:lnTo>
                  <a:lnTo>
                    <a:pt x="161" y="12"/>
                  </a:lnTo>
                  <a:lnTo>
                    <a:pt x="167" y="10"/>
                  </a:lnTo>
                  <a:lnTo>
                    <a:pt x="173" y="12"/>
                  </a:lnTo>
                  <a:lnTo>
                    <a:pt x="182" y="12"/>
                  </a:lnTo>
                  <a:lnTo>
                    <a:pt x="184" y="8"/>
                  </a:lnTo>
                  <a:lnTo>
                    <a:pt x="190" y="6"/>
                  </a:lnTo>
                  <a:lnTo>
                    <a:pt x="194" y="2"/>
                  </a:lnTo>
                  <a:lnTo>
                    <a:pt x="200" y="0"/>
                  </a:lnTo>
                  <a:lnTo>
                    <a:pt x="201" y="4"/>
                  </a:lnTo>
                  <a:lnTo>
                    <a:pt x="200" y="4"/>
                  </a:lnTo>
                  <a:lnTo>
                    <a:pt x="200" y="6"/>
                  </a:lnTo>
                  <a:lnTo>
                    <a:pt x="205" y="10"/>
                  </a:lnTo>
                  <a:lnTo>
                    <a:pt x="209" y="16"/>
                  </a:lnTo>
                  <a:lnTo>
                    <a:pt x="207" y="18"/>
                  </a:lnTo>
                  <a:lnTo>
                    <a:pt x="205" y="25"/>
                  </a:lnTo>
                  <a:lnTo>
                    <a:pt x="205" y="35"/>
                  </a:lnTo>
                  <a:lnTo>
                    <a:pt x="209" y="35"/>
                  </a:lnTo>
                  <a:lnTo>
                    <a:pt x="211" y="39"/>
                  </a:lnTo>
                  <a:lnTo>
                    <a:pt x="213" y="39"/>
                  </a:lnTo>
                  <a:lnTo>
                    <a:pt x="213" y="41"/>
                  </a:lnTo>
                  <a:lnTo>
                    <a:pt x="223" y="43"/>
                  </a:lnTo>
                  <a:lnTo>
                    <a:pt x="224" y="45"/>
                  </a:lnTo>
                  <a:lnTo>
                    <a:pt x="228" y="47"/>
                  </a:lnTo>
                  <a:lnTo>
                    <a:pt x="234" y="47"/>
                  </a:lnTo>
                  <a:lnTo>
                    <a:pt x="240" y="47"/>
                  </a:lnTo>
                  <a:lnTo>
                    <a:pt x="244" y="45"/>
                  </a:lnTo>
                  <a:lnTo>
                    <a:pt x="248" y="45"/>
                  </a:lnTo>
                  <a:lnTo>
                    <a:pt x="249" y="47"/>
                  </a:lnTo>
                  <a:lnTo>
                    <a:pt x="255" y="49"/>
                  </a:lnTo>
                  <a:lnTo>
                    <a:pt x="263" y="52"/>
                  </a:lnTo>
                  <a:lnTo>
                    <a:pt x="267" y="56"/>
                  </a:lnTo>
                  <a:lnTo>
                    <a:pt x="269" y="64"/>
                  </a:lnTo>
                  <a:lnTo>
                    <a:pt x="278" y="68"/>
                  </a:lnTo>
                  <a:lnTo>
                    <a:pt x="280" y="70"/>
                  </a:lnTo>
                  <a:lnTo>
                    <a:pt x="284" y="70"/>
                  </a:lnTo>
                  <a:lnTo>
                    <a:pt x="288" y="68"/>
                  </a:lnTo>
                  <a:lnTo>
                    <a:pt x="290" y="72"/>
                  </a:lnTo>
                  <a:lnTo>
                    <a:pt x="296" y="70"/>
                  </a:lnTo>
                  <a:lnTo>
                    <a:pt x="297" y="72"/>
                  </a:lnTo>
                  <a:lnTo>
                    <a:pt x="303" y="72"/>
                  </a:lnTo>
                  <a:lnTo>
                    <a:pt x="313" y="72"/>
                  </a:lnTo>
                  <a:lnTo>
                    <a:pt x="315" y="73"/>
                  </a:lnTo>
                  <a:lnTo>
                    <a:pt x="322" y="72"/>
                  </a:lnTo>
                  <a:lnTo>
                    <a:pt x="326" y="73"/>
                  </a:lnTo>
                  <a:lnTo>
                    <a:pt x="328" y="72"/>
                  </a:lnTo>
                  <a:lnTo>
                    <a:pt x="336" y="72"/>
                  </a:lnTo>
                  <a:lnTo>
                    <a:pt x="345" y="72"/>
                  </a:lnTo>
                  <a:lnTo>
                    <a:pt x="351" y="70"/>
                  </a:lnTo>
                  <a:lnTo>
                    <a:pt x="361" y="72"/>
                  </a:lnTo>
                  <a:lnTo>
                    <a:pt x="370" y="75"/>
                  </a:lnTo>
                  <a:lnTo>
                    <a:pt x="374" y="73"/>
                  </a:lnTo>
                  <a:lnTo>
                    <a:pt x="378" y="81"/>
                  </a:lnTo>
                  <a:lnTo>
                    <a:pt x="380" y="85"/>
                  </a:lnTo>
                  <a:lnTo>
                    <a:pt x="378" y="87"/>
                  </a:lnTo>
                  <a:lnTo>
                    <a:pt x="382" y="89"/>
                  </a:lnTo>
                  <a:lnTo>
                    <a:pt x="382" y="93"/>
                  </a:lnTo>
                  <a:lnTo>
                    <a:pt x="382" y="95"/>
                  </a:lnTo>
                  <a:lnTo>
                    <a:pt x="378" y="95"/>
                  </a:lnTo>
                  <a:lnTo>
                    <a:pt x="376" y="97"/>
                  </a:lnTo>
                  <a:lnTo>
                    <a:pt x="378" y="98"/>
                  </a:lnTo>
                  <a:lnTo>
                    <a:pt x="378" y="100"/>
                  </a:lnTo>
                  <a:lnTo>
                    <a:pt x="382" y="102"/>
                  </a:lnTo>
                  <a:lnTo>
                    <a:pt x="382" y="104"/>
                  </a:lnTo>
                  <a:lnTo>
                    <a:pt x="390" y="104"/>
                  </a:lnTo>
                  <a:lnTo>
                    <a:pt x="391" y="104"/>
                  </a:lnTo>
                  <a:lnTo>
                    <a:pt x="393" y="106"/>
                  </a:lnTo>
                  <a:lnTo>
                    <a:pt x="401" y="104"/>
                  </a:lnTo>
                  <a:lnTo>
                    <a:pt x="403" y="106"/>
                  </a:lnTo>
                  <a:lnTo>
                    <a:pt x="407" y="104"/>
                  </a:lnTo>
                  <a:lnTo>
                    <a:pt x="407" y="102"/>
                  </a:lnTo>
                  <a:lnTo>
                    <a:pt x="413" y="102"/>
                  </a:lnTo>
                  <a:lnTo>
                    <a:pt x="414" y="97"/>
                  </a:lnTo>
                  <a:lnTo>
                    <a:pt x="416" y="93"/>
                  </a:lnTo>
                  <a:lnTo>
                    <a:pt x="420" y="93"/>
                  </a:lnTo>
                  <a:lnTo>
                    <a:pt x="424" y="93"/>
                  </a:lnTo>
                  <a:lnTo>
                    <a:pt x="432" y="93"/>
                  </a:lnTo>
                  <a:lnTo>
                    <a:pt x="432" y="87"/>
                  </a:lnTo>
                  <a:lnTo>
                    <a:pt x="436" y="87"/>
                  </a:lnTo>
                  <a:lnTo>
                    <a:pt x="436" y="83"/>
                  </a:lnTo>
                  <a:lnTo>
                    <a:pt x="430" y="77"/>
                  </a:lnTo>
                  <a:lnTo>
                    <a:pt x="439" y="72"/>
                  </a:lnTo>
                  <a:lnTo>
                    <a:pt x="443" y="68"/>
                  </a:lnTo>
                  <a:lnTo>
                    <a:pt x="443" y="66"/>
                  </a:lnTo>
                  <a:lnTo>
                    <a:pt x="449" y="62"/>
                  </a:lnTo>
                  <a:lnTo>
                    <a:pt x="449" y="60"/>
                  </a:lnTo>
                  <a:lnTo>
                    <a:pt x="447" y="56"/>
                  </a:lnTo>
                  <a:lnTo>
                    <a:pt x="449" y="54"/>
                  </a:lnTo>
                  <a:lnTo>
                    <a:pt x="449" y="50"/>
                  </a:lnTo>
                  <a:lnTo>
                    <a:pt x="449" y="49"/>
                  </a:lnTo>
                  <a:lnTo>
                    <a:pt x="455" y="49"/>
                  </a:lnTo>
                  <a:lnTo>
                    <a:pt x="457" y="47"/>
                  </a:lnTo>
                  <a:lnTo>
                    <a:pt x="462" y="49"/>
                  </a:lnTo>
                  <a:lnTo>
                    <a:pt x="464" y="45"/>
                  </a:lnTo>
                  <a:lnTo>
                    <a:pt x="472" y="41"/>
                  </a:lnTo>
                  <a:lnTo>
                    <a:pt x="478" y="37"/>
                  </a:lnTo>
                  <a:lnTo>
                    <a:pt x="476" y="31"/>
                  </a:lnTo>
                  <a:lnTo>
                    <a:pt x="482" y="35"/>
                  </a:lnTo>
                  <a:lnTo>
                    <a:pt x="486" y="35"/>
                  </a:lnTo>
                  <a:lnTo>
                    <a:pt x="489" y="35"/>
                  </a:lnTo>
                  <a:lnTo>
                    <a:pt x="491" y="35"/>
                  </a:lnTo>
                  <a:lnTo>
                    <a:pt x="493" y="35"/>
                  </a:lnTo>
                  <a:lnTo>
                    <a:pt x="493" y="37"/>
                  </a:lnTo>
                  <a:lnTo>
                    <a:pt x="495" y="39"/>
                  </a:lnTo>
                  <a:lnTo>
                    <a:pt x="497" y="37"/>
                  </a:lnTo>
                  <a:lnTo>
                    <a:pt x="497" y="35"/>
                  </a:lnTo>
                  <a:lnTo>
                    <a:pt x="503" y="35"/>
                  </a:lnTo>
                  <a:lnTo>
                    <a:pt x="503" y="31"/>
                  </a:lnTo>
                  <a:lnTo>
                    <a:pt x="507" y="31"/>
                  </a:lnTo>
                  <a:lnTo>
                    <a:pt x="516" y="31"/>
                  </a:lnTo>
                  <a:lnTo>
                    <a:pt x="524" y="29"/>
                  </a:lnTo>
                  <a:lnTo>
                    <a:pt x="530" y="37"/>
                  </a:lnTo>
                  <a:lnTo>
                    <a:pt x="532" y="41"/>
                  </a:lnTo>
                  <a:lnTo>
                    <a:pt x="533" y="45"/>
                  </a:lnTo>
                  <a:lnTo>
                    <a:pt x="533" y="52"/>
                  </a:lnTo>
                  <a:lnTo>
                    <a:pt x="537" y="54"/>
                  </a:lnTo>
                  <a:lnTo>
                    <a:pt x="533" y="56"/>
                  </a:lnTo>
                  <a:lnTo>
                    <a:pt x="526" y="52"/>
                  </a:lnTo>
                  <a:lnTo>
                    <a:pt x="520" y="52"/>
                  </a:lnTo>
                  <a:lnTo>
                    <a:pt x="516" y="54"/>
                  </a:lnTo>
                  <a:lnTo>
                    <a:pt x="518" y="62"/>
                  </a:lnTo>
                  <a:lnTo>
                    <a:pt x="522" y="64"/>
                  </a:lnTo>
                  <a:lnTo>
                    <a:pt x="524" y="72"/>
                  </a:lnTo>
                  <a:lnTo>
                    <a:pt x="526" y="72"/>
                  </a:lnTo>
                  <a:lnTo>
                    <a:pt x="528" y="68"/>
                  </a:lnTo>
                  <a:lnTo>
                    <a:pt x="532" y="70"/>
                  </a:lnTo>
                  <a:lnTo>
                    <a:pt x="532" y="73"/>
                  </a:lnTo>
                  <a:lnTo>
                    <a:pt x="533" y="73"/>
                  </a:lnTo>
                  <a:lnTo>
                    <a:pt x="535" y="73"/>
                  </a:lnTo>
                  <a:lnTo>
                    <a:pt x="535" y="72"/>
                  </a:lnTo>
                  <a:lnTo>
                    <a:pt x="541" y="72"/>
                  </a:lnTo>
                  <a:lnTo>
                    <a:pt x="543" y="73"/>
                  </a:lnTo>
                  <a:lnTo>
                    <a:pt x="545" y="70"/>
                  </a:lnTo>
                  <a:lnTo>
                    <a:pt x="547" y="73"/>
                  </a:lnTo>
                  <a:lnTo>
                    <a:pt x="549" y="73"/>
                  </a:lnTo>
                  <a:lnTo>
                    <a:pt x="551" y="72"/>
                  </a:lnTo>
                  <a:lnTo>
                    <a:pt x="557" y="72"/>
                  </a:lnTo>
                  <a:lnTo>
                    <a:pt x="557" y="68"/>
                  </a:lnTo>
                  <a:lnTo>
                    <a:pt x="566" y="72"/>
                  </a:lnTo>
                  <a:lnTo>
                    <a:pt x="572" y="72"/>
                  </a:lnTo>
                  <a:lnTo>
                    <a:pt x="572" y="70"/>
                  </a:lnTo>
                  <a:lnTo>
                    <a:pt x="576" y="70"/>
                  </a:lnTo>
                  <a:lnTo>
                    <a:pt x="580" y="68"/>
                  </a:lnTo>
                  <a:lnTo>
                    <a:pt x="587" y="66"/>
                  </a:lnTo>
                  <a:lnTo>
                    <a:pt x="589" y="64"/>
                  </a:lnTo>
                  <a:lnTo>
                    <a:pt x="597" y="60"/>
                  </a:lnTo>
                  <a:lnTo>
                    <a:pt x="599" y="52"/>
                  </a:lnTo>
                  <a:lnTo>
                    <a:pt x="608" y="52"/>
                  </a:lnTo>
                  <a:lnTo>
                    <a:pt x="606" y="50"/>
                  </a:lnTo>
                  <a:lnTo>
                    <a:pt x="608" y="49"/>
                  </a:lnTo>
                  <a:lnTo>
                    <a:pt x="612" y="50"/>
                  </a:lnTo>
                  <a:lnTo>
                    <a:pt x="614" y="50"/>
                  </a:lnTo>
                  <a:lnTo>
                    <a:pt x="618" y="50"/>
                  </a:lnTo>
                  <a:lnTo>
                    <a:pt x="620" y="47"/>
                  </a:lnTo>
                  <a:lnTo>
                    <a:pt x="624" y="49"/>
                  </a:lnTo>
                  <a:lnTo>
                    <a:pt x="624" y="54"/>
                  </a:lnTo>
                  <a:lnTo>
                    <a:pt x="626" y="58"/>
                  </a:lnTo>
                  <a:lnTo>
                    <a:pt x="628" y="60"/>
                  </a:lnTo>
                  <a:lnTo>
                    <a:pt x="633" y="56"/>
                  </a:lnTo>
                  <a:lnTo>
                    <a:pt x="639" y="58"/>
                  </a:lnTo>
                  <a:lnTo>
                    <a:pt x="641" y="60"/>
                  </a:lnTo>
                  <a:lnTo>
                    <a:pt x="647" y="62"/>
                  </a:lnTo>
                  <a:lnTo>
                    <a:pt x="652" y="62"/>
                  </a:lnTo>
                  <a:lnTo>
                    <a:pt x="656" y="62"/>
                  </a:lnTo>
                  <a:lnTo>
                    <a:pt x="658" y="62"/>
                  </a:lnTo>
                  <a:lnTo>
                    <a:pt x="658" y="60"/>
                  </a:lnTo>
                  <a:lnTo>
                    <a:pt x="662" y="62"/>
                  </a:lnTo>
                  <a:lnTo>
                    <a:pt x="666" y="60"/>
                  </a:lnTo>
                  <a:lnTo>
                    <a:pt x="674" y="60"/>
                  </a:lnTo>
                  <a:lnTo>
                    <a:pt x="674" y="58"/>
                  </a:lnTo>
                  <a:lnTo>
                    <a:pt x="679" y="60"/>
                  </a:lnTo>
                  <a:lnTo>
                    <a:pt x="679" y="58"/>
                  </a:lnTo>
                  <a:lnTo>
                    <a:pt x="676" y="54"/>
                  </a:lnTo>
                  <a:lnTo>
                    <a:pt x="677" y="52"/>
                  </a:lnTo>
                  <a:lnTo>
                    <a:pt x="677" y="50"/>
                  </a:lnTo>
                  <a:lnTo>
                    <a:pt x="677" y="49"/>
                  </a:lnTo>
                  <a:lnTo>
                    <a:pt x="679" y="49"/>
                  </a:lnTo>
                  <a:lnTo>
                    <a:pt x="683" y="47"/>
                  </a:lnTo>
                  <a:lnTo>
                    <a:pt x="687" y="49"/>
                  </a:lnTo>
                  <a:lnTo>
                    <a:pt x="697" y="49"/>
                  </a:lnTo>
                  <a:lnTo>
                    <a:pt x="697" y="45"/>
                  </a:lnTo>
                  <a:lnTo>
                    <a:pt x="700" y="45"/>
                  </a:lnTo>
                  <a:lnTo>
                    <a:pt x="702" y="41"/>
                  </a:lnTo>
                  <a:lnTo>
                    <a:pt x="710" y="43"/>
                  </a:lnTo>
                  <a:lnTo>
                    <a:pt x="710" y="37"/>
                  </a:lnTo>
                  <a:lnTo>
                    <a:pt x="714" y="35"/>
                  </a:lnTo>
                  <a:lnTo>
                    <a:pt x="718" y="39"/>
                  </a:lnTo>
                  <a:lnTo>
                    <a:pt x="724" y="39"/>
                  </a:lnTo>
                  <a:lnTo>
                    <a:pt x="727" y="41"/>
                  </a:lnTo>
                  <a:lnTo>
                    <a:pt x="731" y="39"/>
                  </a:lnTo>
                  <a:lnTo>
                    <a:pt x="739" y="41"/>
                  </a:lnTo>
                  <a:lnTo>
                    <a:pt x="741" y="45"/>
                  </a:lnTo>
                  <a:lnTo>
                    <a:pt x="739" y="47"/>
                  </a:lnTo>
                  <a:lnTo>
                    <a:pt x="741" y="50"/>
                  </a:lnTo>
                  <a:lnTo>
                    <a:pt x="745" y="52"/>
                  </a:lnTo>
                  <a:lnTo>
                    <a:pt x="743" y="54"/>
                  </a:lnTo>
                  <a:lnTo>
                    <a:pt x="747" y="54"/>
                  </a:lnTo>
                  <a:lnTo>
                    <a:pt x="756" y="52"/>
                  </a:lnTo>
                  <a:lnTo>
                    <a:pt x="756" y="50"/>
                  </a:lnTo>
                  <a:lnTo>
                    <a:pt x="764" y="49"/>
                  </a:lnTo>
                  <a:lnTo>
                    <a:pt x="770" y="50"/>
                  </a:lnTo>
                  <a:lnTo>
                    <a:pt x="777" y="56"/>
                  </a:lnTo>
                  <a:lnTo>
                    <a:pt x="783" y="56"/>
                  </a:lnTo>
                  <a:lnTo>
                    <a:pt x="785" y="52"/>
                  </a:lnTo>
                  <a:lnTo>
                    <a:pt x="789" y="52"/>
                  </a:lnTo>
                  <a:lnTo>
                    <a:pt x="793" y="56"/>
                  </a:lnTo>
                  <a:lnTo>
                    <a:pt x="796" y="52"/>
                  </a:lnTo>
                  <a:lnTo>
                    <a:pt x="798" y="52"/>
                  </a:lnTo>
                  <a:lnTo>
                    <a:pt x="806" y="49"/>
                  </a:lnTo>
                  <a:lnTo>
                    <a:pt x="806" y="47"/>
                  </a:lnTo>
                  <a:lnTo>
                    <a:pt x="810" y="47"/>
                  </a:lnTo>
                  <a:lnTo>
                    <a:pt x="816" y="45"/>
                  </a:lnTo>
                  <a:lnTo>
                    <a:pt x="816" y="47"/>
                  </a:lnTo>
                  <a:lnTo>
                    <a:pt x="821" y="47"/>
                  </a:lnTo>
                  <a:lnTo>
                    <a:pt x="825" y="50"/>
                  </a:lnTo>
                  <a:lnTo>
                    <a:pt x="827" y="50"/>
                  </a:lnTo>
                  <a:lnTo>
                    <a:pt x="827" y="52"/>
                  </a:lnTo>
                  <a:lnTo>
                    <a:pt x="829" y="50"/>
                  </a:lnTo>
                  <a:lnTo>
                    <a:pt x="827" y="54"/>
                  </a:lnTo>
                  <a:lnTo>
                    <a:pt x="833" y="56"/>
                  </a:lnTo>
                  <a:lnTo>
                    <a:pt x="833" y="60"/>
                  </a:lnTo>
                  <a:lnTo>
                    <a:pt x="837" y="66"/>
                  </a:lnTo>
                  <a:lnTo>
                    <a:pt x="835" y="70"/>
                  </a:lnTo>
                  <a:lnTo>
                    <a:pt x="837" y="73"/>
                  </a:lnTo>
                  <a:lnTo>
                    <a:pt x="841" y="73"/>
                  </a:lnTo>
                  <a:lnTo>
                    <a:pt x="843" y="70"/>
                  </a:lnTo>
                  <a:lnTo>
                    <a:pt x="848" y="70"/>
                  </a:lnTo>
                  <a:lnTo>
                    <a:pt x="850" y="73"/>
                  </a:lnTo>
                  <a:lnTo>
                    <a:pt x="852" y="73"/>
                  </a:lnTo>
                  <a:lnTo>
                    <a:pt x="852" y="75"/>
                  </a:lnTo>
                  <a:lnTo>
                    <a:pt x="856" y="75"/>
                  </a:lnTo>
                  <a:lnTo>
                    <a:pt x="856" y="77"/>
                  </a:lnTo>
                  <a:lnTo>
                    <a:pt x="864" y="77"/>
                  </a:lnTo>
                  <a:close/>
                  <a:moveTo>
                    <a:pt x="165" y="679"/>
                  </a:moveTo>
                  <a:lnTo>
                    <a:pt x="163" y="675"/>
                  </a:lnTo>
                  <a:lnTo>
                    <a:pt x="159" y="675"/>
                  </a:lnTo>
                  <a:lnTo>
                    <a:pt x="159" y="679"/>
                  </a:lnTo>
                  <a:lnTo>
                    <a:pt x="165" y="679"/>
                  </a:lnTo>
                  <a:close/>
                </a:path>
              </a:pathLst>
            </a:custGeom>
            <a:solidFill>
              <a:schemeClr val="accent3"/>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9" name="Freeform 16">
              <a:extLst>
                <a:ext uri="{FF2B5EF4-FFF2-40B4-BE49-F238E27FC236}">
                  <a16:creationId xmlns:a16="http://schemas.microsoft.com/office/drawing/2014/main" id="{2CAA1D35-83CA-4A8C-8D6D-1911C03CEE45}"/>
                </a:ext>
              </a:extLst>
            </p:cNvPr>
            <p:cNvSpPr>
              <a:spLocks noEditPoints="1"/>
            </p:cNvSpPr>
            <p:nvPr/>
          </p:nvSpPr>
          <p:spPr bwMode="gray">
            <a:xfrm>
              <a:off x="3476626" y="3335340"/>
              <a:ext cx="1063625" cy="790575"/>
            </a:xfrm>
            <a:custGeom>
              <a:avLst/>
              <a:gdLst>
                <a:gd name="T0" fmla="*/ 117 w 670"/>
                <a:gd name="T1" fmla="*/ 246 h 498"/>
                <a:gd name="T2" fmla="*/ 175 w 670"/>
                <a:gd name="T3" fmla="*/ 237 h 498"/>
                <a:gd name="T4" fmla="*/ 238 w 670"/>
                <a:gd name="T5" fmla="*/ 189 h 498"/>
                <a:gd name="T6" fmla="*/ 2 w 670"/>
                <a:gd name="T7" fmla="*/ 120 h 498"/>
                <a:gd name="T8" fmla="*/ 666 w 670"/>
                <a:gd name="T9" fmla="*/ 194 h 498"/>
                <a:gd name="T10" fmla="*/ 620 w 670"/>
                <a:gd name="T11" fmla="*/ 239 h 498"/>
                <a:gd name="T12" fmla="*/ 643 w 670"/>
                <a:gd name="T13" fmla="*/ 254 h 498"/>
                <a:gd name="T14" fmla="*/ 632 w 670"/>
                <a:gd name="T15" fmla="*/ 296 h 498"/>
                <a:gd name="T16" fmla="*/ 595 w 670"/>
                <a:gd name="T17" fmla="*/ 344 h 498"/>
                <a:gd name="T18" fmla="*/ 641 w 670"/>
                <a:gd name="T19" fmla="*/ 354 h 498"/>
                <a:gd name="T20" fmla="*/ 593 w 670"/>
                <a:gd name="T21" fmla="*/ 383 h 498"/>
                <a:gd name="T22" fmla="*/ 590 w 670"/>
                <a:gd name="T23" fmla="*/ 396 h 498"/>
                <a:gd name="T24" fmla="*/ 593 w 670"/>
                <a:gd name="T25" fmla="*/ 444 h 498"/>
                <a:gd name="T26" fmla="*/ 553 w 670"/>
                <a:gd name="T27" fmla="*/ 448 h 498"/>
                <a:gd name="T28" fmla="*/ 534 w 670"/>
                <a:gd name="T29" fmla="*/ 488 h 498"/>
                <a:gd name="T30" fmla="*/ 509 w 670"/>
                <a:gd name="T31" fmla="*/ 488 h 498"/>
                <a:gd name="T32" fmla="*/ 492 w 670"/>
                <a:gd name="T33" fmla="*/ 483 h 498"/>
                <a:gd name="T34" fmla="*/ 478 w 670"/>
                <a:gd name="T35" fmla="*/ 479 h 498"/>
                <a:gd name="T36" fmla="*/ 488 w 670"/>
                <a:gd name="T37" fmla="*/ 433 h 498"/>
                <a:gd name="T38" fmla="*/ 478 w 670"/>
                <a:gd name="T39" fmla="*/ 396 h 498"/>
                <a:gd name="T40" fmla="*/ 465 w 670"/>
                <a:gd name="T41" fmla="*/ 369 h 498"/>
                <a:gd name="T42" fmla="*/ 467 w 670"/>
                <a:gd name="T43" fmla="*/ 337 h 498"/>
                <a:gd name="T44" fmla="*/ 471 w 670"/>
                <a:gd name="T45" fmla="*/ 300 h 498"/>
                <a:gd name="T46" fmla="*/ 484 w 670"/>
                <a:gd name="T47" fmla="*/ 275 h 498"/>
                <a:gd name="T48" fmla="*/ 442 w 670"/>
                <a:gd name="T49" fmla="*/ 264 h 498"/>
                <a:gd name="T50" fmla="*/ 428 w 670"/>
                <a:gd name="T51" fmla="*/ 306 h 498"/>
                <a:gd name="T52" fmla="*/ 409 w 670"/>
                <a:gd name="T53" fmla="*/ 369 h 498"/>
                <a:gd name="T54" fmla="*/ 357 w 670"/>
                <a:gd name="T55" fmla="*/ 406 h 498"/>
                <a:gd name="T56" fmla="*/ 315 w 670"/>
                <a:gd name="T57" fmla="*/ 423 h 498"/>
                <a:gd name="T58" fmla="*/ 246 w 670"/>
                <a:gd name="T59" fmla="*/ 427 h 498"/>
                <a:gd name="T60" fmla="*/ 171 w 670"/>
                <a:gd name="T61" fmla="*/ 365 h 498"/>
                <a:gd name="T62" fmla="*/ 112 w 670"/>
                <a:gd name="T63" fmla="*/ 306 h 498"/>
                <a:gd name="T64" fmla="*/ 94 w 670"/>
                <a:gd name="T65" fmla="*/ 250 h 498"/>
                <a:gd name="T66" fmla="*/ 144 w 670"/>
                <a:gd name="T67" fmla="*/ 254 h 498"/>
                <a:gd name="T68" fmla="*/ 164 w 670"/>
                <a:gd name="T69" fmla="*/ 248 h 498"/>
                <a:gd name="T70" fmla="*/ 185 w 670"/>
                <a:gd name="T71" fmla="*/ 237 h 498"/>
                <a:gd name="T72" fmla="*/ 238 w 670"/>
                <a:gd name="T73" fmla="*/ 194 h 498"/>
                <a:gd name="T74" fmla="*/ 217 w 670"/>
                <a:gd name="T75" fmla="*/ 189 h 498"/>
                <a:gd name="T76" fmla="*/ 177 w 670"/>
                <a:gd name="T77" fmla="*/ 200 h 498"/>
                <a:gd name="T78" fmla="*/ 137 w 670"/>
                <a:gd name="T79" fmla="*/ 210 h 498"/>
                <a:gd name="T80" fmla="*/ 50 w 670"/>
                <a:gd name="T81" fmla="*/ 169 h 498"/>
                <a:gd name="T82" fmla="*/ 41 w 670"/>
                <a:gd name="T83" fmla="*/ 156 h 498"/>
                <a:gd name="T84" fmla="*/ 35 w 670"/>
                <a:gd name="T85" fmla="*/ 141 h 498"/>
                <a:gd name="T86" fmla="*/ 27 w 670"/>
                <a:gd name="T87" fmla="*/ 131 h 498"/>
                <a:gd name="T88" fmla="*/ 56 w 670"/>
                <a:gd name="T89" fmla="*/ 95 h 498"/>
                <a:gd name="T90" fmla="*/ 25 w 670"/>
                <a:gd name="T91" fmla="*/ 114 h 498"/>
                <a:gd name="T92" fmla="*/ 2 w 670"/>
                <a:gd name="T93" fmla="*/ 106 h 498"/>
                <a:gd name="T94" fmla="*/ 79 w 670"/>
                <a:gd name="T95" fmla="*/ 54 h 498"/>
                <a:gd name="T96" fmla="*/ 160 w 670"/>
                <a:gd name="T97" fmla="*/ 45 h 498"/>
                <a:gd name="T98" fmla="*/ 250 w 670"/>
                <a:gd name="T99" fmla="*/ 35 h 498"/>
                <a:gd name="T100" fmla="*/ 259 w 670"/>
                <a:gd name="T101" fmla="*/ 39 h 498"/>
                <a:gd name="T102" fmla="*/ 319 w 670"/>
                <a:gd name="T103" fmla="*/ 31 h 498"/>
                <a:gd name="T104" fmla="*/ 338 w 670"/>
                <a:gd name="T105" fmla="*/ 10 h 498"/>
                <a:gd name="T106" fmla="*/ 413 w 670"/>
                <a:gd name="T107" fmla="*/ 2 h 498"/>
                <a:gd name="T108" fmla="*/ 449 w 670"/>
                <a:gd name="T109" fmla="*/ 16 h 498"/>
                <a:gd name="T110" fmla="*/ 517 w 670"/>
                <a:gd name="T111" fmla="*/ 37 h 498"/>
                <a:gd name="T112" fmla="*/ 532 w 670"/>
                <a:gd name="T113" fmla="*/ 45 h 498"/>
                <a:gd name="T114" fmla="*/ 555 w 670"/>
                <a:gd name="T115" fmla="*/ 93 h 498"/>
                <a:gd name="T116" fmla="*/ 582 w 670"/>
                <a:gd name="T117" fmla="*/ 137 h 498"/>
                <a:gd name="T118" fmla="*/ 630 w 670"/>
                <a:gd name="T119" fmla="*/ 154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0" h="498">
                  <a:moveTo>
                    <a:pt x="499" y="486"/>
                  </a:moveTo>
                  <a:lnTo>
                    <a:pt x="503" y="486"/>
                  </a:lnTo>
                  <a:lnTo>
                    <a:pt x="503" y="488"/>
                  </a:lnTo>
                  <a:lnTo>
                    <a:pt x="499" y="488"/>
                  </a:lnTo>
                  <a:lnTo>
                    <a:pt x="499" y="486"/>
                  </a:lnTo>
                  <a:close/>
                  <a:moveTo>
                    <a:pt x="480" y="333"/>
                  </a:moveTo>
                  <a:lnTo>
                    <a:pt x="478" y="333"/>
                  </a:lnTo>
                  <a:lnTo>
                    <a:pt x="476" y="331"/>
                  </a:lnTo>
                  <a:lnTo>
                    <a:pt x="480" y="333"/>
                  </a:lnTo>
                  <a:close/>
                  <a:moveTo>
                    <a:pt x="150" y="250"/>
                  </a:moveTo>
                  <a:lnTo>
                    <a:pt x="146" y="248"/>
                  </a:lnTo>
                  <a:lnTo>
                    <a:pt x="146" y="246"/>
                  </a:lnTo>
                  <a:lnTo>
                    <a:pt x="152" y="244"/>
                  </a:lnTo>
                  <a:lnTo>
                    <a:pt x="154" y="248"/>
                  </a:lnTo>
                  <a:lnTo>
                    <a:pt x="150" y="250"/>
                  </a:lnTo>
                  <a:close/>
                  <a:moveTo>
                    <a:pt x="116" y="242"/>
                  </a:moveTo>
                  <a:lnTo>
                    <a:pt x="117" y="242"/>
                  </a:lnTo>
                  <a:lnTo>
                    <a:pt x="117" y="246"/>
                  </a:lnTo>
                  <a:lnTo>
                    <a:pt x="116" y="246"/>
                  </a:lnTo>
                  <a:lnTo>
                    <a:pt x="116" y="242"/>
                  </a:lnTo>
                  <a:close/>
                  <a:moveTo>
                    <a:pt x="98" y="242"/>
                  </a:moveTo>
                  <a:lnTo>
                    <a:pt x="98" y="246"/>
                  </a:lnTo>
                  <a:lnTo>
                    <a:pt x="98" y="244"/>
                  </a:lnTo>
                  <a:lnTo>
                    <a:pt x="96" y="244"/>
                  </a:lnTo>
                  <a:lnTo>
                    <a:pt x="94" y="246"/>
                  </a:lnTo>
                  <a:lnTo>
                    <a:pt x="93" y="248"/>
                  </a:lnTo>
                  <a:lnTo>
                    <a:pt x="93" y="244"/>
                  </a:lnTo>
                  <a:lnTo>
                    <a:pt x="98" y="242"/>
                  </a:lnTo>
                  <a:close/>
                  <a:moveTo>
                    <a:pt x="119" y="237"/>
                  </a:moveTo>
                  <a:lnTo>
                    <a:pt x="123" y="239"/>
                  </a:lnTo>
                  <a:lnTo>
                    <a:pt x="119" y="239"/>
                  </a:lnTo>
                  <a:lnTo>
                    <a:pt x="117" y="239"/>
                  </a:lnTo>
                  <a:lnTo>
                    <a:pt x="119" y="237"/>
                  </a:lnTo>
                  <a:close/>
                  <a:moveTo>
                    <a:pt x="183" y="237"/>
                  </a:moveTo>
                  <a:lnTo>
                    <a:pt x="181" y="239"/>
                  </a:lnTo>
                  <a:lnTo>
                    <a:pt x="175" y="237"/>
                  </a:lnTo>
                  <a:lnTo>
                    <a:pt x="179" y="239"/>
                  </a:lnTo>
                  <a:lnTo>
                    <a:pt x="183" y="235"/>
                  </a:lnTo>
                  <a:lnTo>
                    <a:pt x="183" y="237"/>
                  </a:lnTo>
                  <a:close/>
                  <a:moveTo>
                    <a:pt x="194" y="231"/>
                  </a:moveTo>
                  <a:lnTo>
                    <a:pt x="192" y="235"/>
                  </a:lnTo>
                  <a:lnTo>
                    <a:pt x="187" y="235"/>
                  </a:lnTo>
                  <a:lnTo>
                    <a:pt x="187" y="231"/>
                  </a:lnTo>
                  <a:lnTo>
                    <a:pt x="192" y="231"/>
                  </a:lnTo>
                  <a:lnTo>
                    <a:pt x="194" y="231"/>
                  </a:lnTo>
                  <a:close/>
                  <a:moveTo>
                    <a:pt x="152" y="212"/>
                  </a:moveTo>
                  <a:lnTo>
                    <a:pt x="156" y="212"/>
                  </a:lnTo>
                  <a:lnTo>
                    <a:pt x="156" y="214"/>
                  </a:lnTo>
                  <a:lnTo>
                    <a:pt x="152" y="214"/>
                  </a:lnTo>
                  <a:lnTo>
                    <a:pt x="152" y="212"/>
                  </a:lnTo>
                  <a:close/>
                  <a:moveTo>
                    <a:pt x="238" y="187"/>
                  </a:moveTo>
                  <a:lnTo>
                    <a:pt x="242" y="187"/>
                  </a:lnTo>
                  <a:lnTo>
                    <a:pt x="242" y="189"/>
                  </a:lnTo>
                  <a:lnTo>
                    <a:pt x="238" y="189"/>
                  </a:lnTo>
                  <a:lnTo>
                    <a:pt x="238" y="187"/>
                  </a:lnTo>
                  <a:close/>
                  <a:moveTo>
                    <a:pt x="35" y="144"/>
                  </a:moveTo>
                  <a:lnTo>
                    <a:pt x="35" y="146"/>
                  </a:lnTo>
                  <a:lnTo>
                    <a:pt x="35" y="144"/>
                  </a:lnTo>
                  <a:close/>
                  <a:moveTo>
                    <a:pt x="25" y="141"/>
                  </a:moveTo>
                  <a:lnTo>
                    <a:pt x="27" y="141"/>
                  </a:lnTo>
                  <a:lnTo>
                    <a:pt x="27" y="143"/>
                  </a:lnTo>
                  <a:lnTo>
                    <a:pt x="25" y="143"/>
                  </a:lnTo>
                  <a:lnTo>
                    <a:pt x="25" y="141"/>
                  </a:lnTo>
                  <a:close/>
                  <a:moveTo>
                    <a:pt x="33" y="120"/>
                  </a:moveTo>
                  <a:lnTo>
                    <a:pt x="31" y="121"/>
                  </a:lnTo>
                  <a:lnTo>
                    <a:pt x="29" y="121"/>
                  </a:lnTo>
                  <a:lnTo>
                    <a:pt x="29" y="120"/>
                  </a:lnTo>
                  <a:lnTo>
                    <a:pt x="33" y="118"/>
                  </a:lnTo>
                  <a:lnTo>
                    <a:pt x="33" y="120"/>
                  </a:lnTo>
                  <a:close/>
                  <a:moveTo>
                    <a:pt x="0" y="118"/>
                  </a:moveTo>
                  <a:lnTo>
                    <a:pt x="2" y="118"/>
                  </a:lnTo>
                  <a:lnTo>
                    <a:pt x="2" y="120"/>
                  </a:lnTo>
                  <a:lnTo>
                    <a:pt x="0" y="120"/>
                  </a:lnTo>
                  <a:lnTo>
                    <a:pt x="0" y="118"/>
                  </a:lnTo>
                  <a:close/>
                  <a:moveTo>
                    <a:pt x="45" y="98"/>
                  </a:moveTo>
                  <a:lnTo>
                    <a:pt x="46" y="98"/>
                  </a:lnTo>
                  <a:lnTo>
                    <a:pt x="46" y="100"/>
                  </a:lnTo>
                  <a:lnTo>
                    <a:pt x="45" y="100"/>
                  </a:lnTo>
                  <a:lnTo>
                    <a:pt x="45" y="98"/>
                  </a:lnTo>
                  <a:close/>
                  <a:moveTo>
                    <a:pt x="50" y="96"/>
                  </a:moveTo>
                  <a:lnTo>
                    <a:pt x="46" y="100"/>
                  </a:lnTo>
                  <a:lnTo>
                    <a:pt x="46" y="96"/>
                  </a:lnTo>
                  <a:lnTo>
                    <a:pt x="50" y="96"/>
                  </a:lnTo>
                  <a:close/>
                  <a:moveTo>
                    <a:pt x="655" y="179"/>
                  </a:moveTo>
                  <a:lnTo>
                    <a:pt x="657" y="183"/>
                  </a:lnTo>
                  <a:lnTo>
                    <a:pt x="659" y="189"/>
                  </a:lnTo>
                  <a:lnTo>
                    <a:pt x="655" y="191"/>
                  </a:lnTo>
                  <a:lnTo>
                    <a:pt x="659" y="193"/>
                  </a:lnTo>
                  <a:lnTo>
                    <a:pt x="663" y="196"/>
                  </a:lnTo>
                  <a:lnTo>
                    <a:pt x="666" y="194"/>
                  </a:lnTo>
                  <a:lnTo>
                    <a:pt x="670" y="202"/>
                  </a:lnTo>
                  <a:lnTo>
                    <a:pt x="668" y="206"/>
                  </a:lnTo>
                  <a:lnTo>
                    <a:pt x="666" y="208"/>
                  </a:lnTo>
                  <a:lnTo>
                    <a:pt x="664" y="210"/>
                  </a:lnTo>
                  <a:lnTo>
                    <a:pt x="661" y="216"/>
                  </a:lnTo>
                  <a:lnTo>
                    <a:pt x="659" y="221"/>
                  </a:lnTo>
                  <a:lnTo>
                    <a:pt x="659" y="225"/>
                  </a:lnTo>
                  <a:lnTo>
                    <a:pt x="657" y="225"/>
                  </a:lnTo>
                  <a:lnTo>
                    <a:pt x="649" y="225"/>
                  </a:lnTo>
                  <a:lnTo>
                    <a:pt x="645" y="225"/>
                  </a:lnTo>
                  <a:lnTo>
                    <a:pt x="640" y="233"/>
                  </a:lnTo>
                  <a:lnTo>
                    <a:pt x="638" y="233"/>
                  </a:lnTo>
                  <a:lnTo>
                    <a:pt x="638" y="235"/>
                  </a:lnTo>
                  <a:lnTo>
                    <a:pt x="636" y="237"/>
                  </a:lnTo>
                  <a:lnTo>
                    <a:pt x="634" y="239"/>
                  </a:lnTo>
                  <a:lnTo>
                    <a:pt x="626" y="235"/>
                  </a:lnTo>
                  <a:lnTo>
                    <a:pt x="622" y="237"/>
                  </a:lnTo>
                  <a:lnTo>
                    <a:pt x="620" y="239"/>
                  </a:lnTo>
                  <a:lnTo>
                    <a:pt x="622" y="241"/>
                  </a:lnTo>
                  <a:lnTo>
                    <a:pt x="624" y="239"/>
                  </a:lnTo>
                  <a:lnTo>
                    <a:pt x="626" y="239"/>
                  </a:lnTo>
                  <a:lnTo>
                    <a:pt x="626" y="242"/>
                  </a:lnTo>
                  <a:lnTo>
                    <a:pt x="626" y="244"/>
                  </a:lnTo>
                  <a:lnTo>
                    <a:pt x="628" y="244"/>
                  </a:lnTo>
                  <a:lnTo>
                    <a:pt x="628" y="248"/>
                  </a:lnTo>
                  <a:lnTo>
                    <a:pt x="630" y="248"/>
                  </a:lnTo>
                  <a:lnTo>
                    <a:pt x="632" y="244"/>
                  </a:lnTo>
                  <a:lnTo>
                    <a:pt x="634" y="244"/>
                  </a:lnTo>
                  <a:lnTo>
                    <a:pt x="634" y="248"/>
                  </a:lnTo>
                  <a:lnTo>
                    <a:pt x="638" y="246"/>
                  </a:lnTo>
                  <a:lnTo>
                    <a:pt x="638" y="242"/>
                  </a:lnTo>
                  <a:lnTo>
                    <a:pt x="640" y="246"/>
                  </a:lnTo>
                  <a:lnTo>
                    <a:pt x="643" y="248"/>
                  </a:lnTo>
                  <a:lnTo>
                    <a:pt x="649" y="252"/>
                  </a:lnTo>
                  <a:lnTo>
                    <a:pt x="645" y="252"/>
                  </a:lnTo>
                  <a:lnTo>
                    <a:pt x="643" y="254"/>
                  </a:lnTo>
                  <a:lnTo>
                    <a:pt x="641" y="254"/>
                  </a:lnTo>
                  <a:lnTo>
                    <a:pt x="641" y="256"/>
                  </a:lnTo>
                  <a:lnTo>
                    <a:pt x="640" y="254"/>
                  </a:lnTo>
                  <a:lnTo>
                    <a:pt x="638" y="260"/>
                  </a:lnTo>
                  <a:lnTo>
                    <a:pt x="630" y="258"/>
                  </a:lnTo>
                  <a:lnTo>
                    <a:pt x="628" y="254"/>
                  </a:lnTo>
                  <a:lnTo>
                    <a:pt x="624" y="256"/>
                  </a:lnTo>
                  <a:lnTo>
                    <a:pt x="622" y="262"/>
                  </a:lnTo>
                  <a:lnTo>
                    <a:pt x="626" y="267"/>
                  </a:lnTo>
                  <a:lnTo>
                    <a:pt x="624" y="271"/>
                  </a:lnTo>
                  <a:lnTo>
                    <a:pt x="630" y="271"/>
                  </a:lnTo>
                  <a:lnTo>
                    <a:pt x="630" y="277"/>
                  </a:lnTo>
                  <a:lnTo>
                    <a:pt x="630" y="285"/>
                  </a:lnTo>
                  <a:lnTo>
                    <a:pt x="636" y="285"/>
                  </a:lnTo>
                  <a:lnTo>
                    <a:pt x="632" y="289"/>
                  </a:lnTo>
                  <a:lnTo>
                    <a:pt x="626" y="292"/>
                  </a:lnTo>
                  <a:lnTo>
                    <a:pt x="626" y="294"/>
                  </a:lnTo>
                  <a:lnTo>
                    <a:pt x="632" y="296"/>
                  </a:lnTo>
                  <a:lnTo>
                    <a:pt x="630" y="300"/>
                  </a:lnTo>
                  <a:lnTo>
                    <a:pt x="624" y="302"/>
                  </a:lnTo>
                  <a:lnTo>
                    <a:pt x="620" y="302"/>
                  </a:lnTo>
                  <a:lnTo>
                    <a:pt x="618" y="304"/>
                  </a:lnTo>
                  <a:lnTo>
                    <a:pt x="609" y="308"/>
                  </a:lnTo>
                  <a:lnTo>
                    <a:pt x="607" y="310"/>
                  </a:lnTo>
                  <a:lnTo>
                    <a:pt x="601" y="312"/>
                  </a:lnTo>
                  <a:lnTo>
                    <a:pt x="595" y="312"/>
                  </a:lnTo>
                  <a:lnTo>
                    <a:pt x="593" y="314"/>
                  </a:lnTo>
                  <a:lnTo>
                    <a:pt x="597" y="317"/>
                  </a:lnTo>
                  <a:lnTo>
                    <a:pt x="595" y="321"/>
                  </a:lnTo>
                  <a:lnTo>
                    <a:pt x="603" y="327"/>
                  </a:lnTo>
                  <a:lnTo>
                    <a:pt x="603" y="331"/>
                  </a:lnTo>
                  <a:lnTo>
                    <a:pt x="601" y="333"/>
                  </a:lnTo>
                  <a:lnTo>
                    <a:pt x="592" y="335"/>
                  </a:lnTo>
                  <a:lnTo>
                    <a:pt x="592" y="337"/>
                  </a:lnTo>
                  <a:lnTo>
                    <a:pt x="593" y="339"/>
                  </a:lnTo>
                  <a:lnTo>
                    <a:pt x="595" y="344"/>
                  </a:lnTo>
                  <a:lnTo>
                    <a:pt x="597" y="350"/>
                  </a:lnTo>
                  <a:lnTo>
                    <a:pt x="603" y="346"/>
                  </a:lnTo>
                  <a:lnTo>
                    <a:pt x="609" y="348"/>
                  </a:lnTo>
                  <a:lnTo>
                    <a:pt x="609" y="344"/>
                  </a:lnTo>
                  <a:lnTo>
                    <a:pt x="613" y="346"/>
                  </a:lnTo>
                  <a:lnTo>
                    <a:pt x="611" y="344"/>
                  </a:lnTo>
                  <a:lnTo>
                    <a:pt x="616" y="342"/>
                  </a:lnTo>
                  <a:lnTo>
                    <a:pt x="626" y="342"/>
                  </a:lnTo>
                  <a:lnTo>
                    <a:pt x="628" y="344"/>
                  </a:lnTo>
                  <a:lnTo>
                    <a:pt x="634" y="342"/>
                  </a:lnTo>
                  <a:lnTo>
                    <a:pt x="636" y="346"/>
                  </a:lnTo>
                  <a:lnTo>
                    <a:pt x="640" y="344"/>
                  </a:lnTo>
                  <a:lnTo>
                    <a:pt x="641" y="344"/>
                  </a:lnTo>
                  <a:lnTo>
                    <a:pt x="647" y="342"/>
                  </a:lnTo>
                  <a:lnTo>
                    <a:pt x="647" y="344"/>
                  </a:lnTo>
                  <a:lnTo>
                    <a:pt x="649" y="344"/>
                  </a:lnTo>
                  <a:lnTo>
                    <a:pt x="649" y="350"/>
                  </a:lnTo>
                  <a:lnTo>
                    <a:pt x="641" y="354"/>
                  </a:lnTo>
                  <a:lnTo>
                    <a:pt x="638" y="352"/>
                  </a:lnTo>
                  <a:lnTo>
                    <a:pt x="638" y="354"/>
                  </a:lnTo>
                  <a:lnTo>
                    <a:pt x="632" y="352"/>
                  </a:lnTo>
                  <a:lnTo>
                    <a:pt x="630" y="354"/>
                  </a:lnTo>
                  <a:lnTo>
                    <a:pt x="628" y="354"/>
                  </a:lnTo>
                  <a:lnTo>
                    <a:pt x="624" y="354"/>
                  </a:lnTo>
                  <a:lnTo>
                    <a:pt x="622" y="354"/>
                  </a:lnTo>
                  <a:lnTo>
                    <a:pt x="620" y="350"/>
                  </a:lnTo>
                  <a:lnTo>
                    <a:pt x="618" y="358"/>
                  </a:lnTo>
                  <a:lnTo>
                    <a:pt x="615" y="358"/>
                  </a:lnTo>
                  <a:lnTo>
                    <a:pt x="609" y="362"/>
                  </a:lnTo>
                  <a:lnTo>
                    <a:pt x="607" y="360"/>
                  </a:lnTo>
                  <a:lnTo>
                    <a:pt x="607" y="365"/>
                  </a:lnTo>
                  <a:lnTo>
                    <a:pt x="607" y="371"/>
                  </a:lnTo>
                  <a:lnTo>
                    <a:pt x="601" y="375"/>
                  </a:lnTo>
                  <a:lnTo>
                    <a:pt x="593" y="375"/>
                  </a:lnTo>
                  <a:lnTo>
                    <a:pt x="592" y="381"/>
                  </a:lnTo>
                  <a:lnTo>
                    <a:pt x="593" y="383"/>
                  </a:lnTo>
                  <a:lnTo>
                    <a:pt x="593" y="385"/>
                  </a:lnTo>
                  <a:lnTo>
                    <a:pt x="584" y="385"/>
                  </a:lnTo>
                  <a:lnTo>
                    <a:pt x="584" y="388"/>
                  </a:lnTo>
                  <a:lnTo>
                    <a:pt x="576" y="387"/>
                  </a:lnTo>
                  <a:lnTo>
                    <a:pt x="572" y="388"/>
                  </a:lnTo>
                  <a:lnTo>
                    <a:pt x="570" y="385"/>
                  </a:lnTo>
                  <a:lnTo>
                    <a:pt x="567" y="385"/>
                  </a:lnTo>
                  <a:lnTo>
                    <a:pt x="572" y="387"/>
                  </a:lnTo>
                  <a:lnTo>
                    <a:pt x="572" y="390"/>
                  </a:lnTo>
                  <a:lnTo>
                    <a:pt x="574" y="390"/>
                  </a:lnTo>
                  <a:lnTo>
                    <a:pt x="576" y="392"/>
                  </a:lnTo>
                  <a:lnTo>
                    <a:pt x="580" y="392"/>
                  </a:lnTo>
                  <a:lnTo>
                    <a:pt x="580" y="390"/>
                  </a:lnTo>
                  <a:lnTo>
                    <a:pt x="584" y="392"/>
                  </a:lnTo>
                  <a:lnTo>
                    <a:pt x="586" y="390"/>
                  </a:lnTo>
                  <a:lnTo>
                    <a:pt x="584" y="394"/>
                  </a:lnTo>
                  <a:lnTo>
                    <a:pt x="586" y="396"/>
                  </a:lnTo>
                  <a:lnTo>
                    <a:pt x="590" y="396"/>
                  </a:lnTo>
                  <a:lnTo>
                    <a:pt x="592" y="394"/>
                  </a:lnTo>
                  <a:lnTo>
                    <a:pt x="590" y="400"/>
                  </a:lnTo>
                  <a:lnTo>
                    <a:pt x="595" y="404"/>
                  </a:lnTo>
                  <a:lnTo>
                    <a:pt x="601" y="406"/>
                  </a:lnTo>
                  <a:lnTo>
                    <a:pt x="601" y="408"/>
                  </a:lnTo>
                  <a:lnTo>
                    <a:pt x="599" y="410"/>
                  </a:lnTo>
                  <a:lnTo>
                    <a:pt x="603" y="413"/>
                  </a:lnTo>
                  <a:lnTo>
                    <a:pt x="603" y="419"/>
                  </a:lnTo>
                  <a:lnTo>
                    <a:pt x="605" y="421"/>
                  </a:lnTo>
                  <a:lnTo>
                    <a:pt x="603" y="427"/>
                  </a:lnTo>
                  <a:lnTo>
                    <a:pt x="605" y="431"/>
                  </a:lnTo>
                  <a:lnTo>
                    <a:pt x="601" y="433"/>
                  </a:lnTo>
                  <a:lnTo>
                    <a:pt x="597" y="433"/>
                  </a:lnTo>
                  <a:lnTo>
                    <a:pt x="593" y="436"/>
                  </a:lnTo>
                  <a:lnTo>
                    <a:pt x="592" y="436"/>
                  </a:lnTo>
                  <a:lnTo>
                    <a:pt x="590" y="436"/>
                  </a:lnTo>
                  <a:lnTo>
                    <a:pt x="593" y="440"/>
                  </a:lnTo>
                  <a:lnTo>
                    <a:pt x="593" y="444"/>
                  </a:lnTo>
                  <a:lnTo>
                    <a:pt x="590" y="446"/>
                  </a:lnTo>
                  <a:lnTo>
                    <a:pt x="586" y="446"/>
                  </a:lnTo>
                  <a:lnTo>
                    <a:pt x="582" y="450"/>
                  </a:lnTo>
                  <a:lnTo>
                    <a:pt x="578" y="450"/>
                  </a:lnTo>
                  <a:lnTo>
                    <a:pt x="574" y="452"/>
                  </a:lnTo>
                  <a:lnTo>
                    <a:pt x="570" y="448"/>
                  </a:lnTo>
                  <a:lnTo>
                    <a:pt x="568" y="442"/>
                  </a:lnTo>
                  <a:lnTo>
                    <a:pt x="565" y="440"/>
                  </a:lnTo>
                  <a:lnTo>
                    <a:pt x="563" y="442"/>
                  </a:lnTo>
                  <a:lnTo>
                    <a:pt x="561" y="438"/>
                  </a:lnTo>
                  <a:lnTo>
                    <a:pt x="557" y="440"/>
                  </a:lnTo>
                  <a:lnTo>
                    <a:pt x="555" y="433"/>
                  </a:lnTo>
                  <a:lnTo>
                    <a:pt x="551" y="435"/>
                  </a:lnTo>
                  <a:lnTo>
                    <a:pt x="549" y="438"/>
                  </a:lnTo>
                  <a:lnTo>
                    <a:pt x="545" y="442"/>
                  </a:lnTo>
                  <a:lnTo>
                    <a:pt x="547" y="444"/>
                  </a:lnTo>
                  <a:lnTo>
                    <a:pt x="549" y="446"/>
                  </a:lnTo>
                  <a:lnTo>
                    <a:pt x="553" y="448"/>
                  </a:lnTo>
                  <a:lnTo>
                    <a:pt x="555" y="454"/>
                  </a:lnTo>
                  <a:lnTo>
                    <a:pt x="553" y="454"/>
                  </a:lnTo>
                  <a:lnTo>
                    <a:pt x="553" y="458"/>
                  </a:lnTo>
                  <a:lnTo>
                    <a:pt x="549" y="461"/>
                  </a:lnTo>
                  <a:lnTo>
                    <a:pt x="547" y="467"/>
                  </a:lnTo>
                  <a:lnTo>
                    <a:pt x="544" y="469"/>
                  </a:lnTo>
                  <a:lnTo>
                    <a:pt x="544" y="471"/>
                  </a:lnTo>
                  <a:lnTo>
                    <a:pt x="545" y="469"/>
                  </a:lnTo>
                  <a:lnTo>
                    <a:pt x="547" y="477"/>
                  </a:lnTo>
                  <a:lnTo>
                    <a:pt x="547" y="481"/>
                  </a:lnTo>
                  <a:lnTo>
                    <a:pt x="545" y="484"/>
                  </a:lnTo>
                  <a:lnTo>
                    <a:pt x="547" y="490"/>
                  </a:lnTo>
                  <a:lnTo>
                    <a:pt x="544" y="490"/>
                  </a:lnTo>
                  <a:lnTo>
                    <a:pt x="542" y="488"/>
                  </a:lnTo>
                  <a:lnTo>
                    <a:pt x="542" y="490"/>
                  </a:lnTo>
                  <a:lnTo>
                    <a:pt x="540" y="488"/>
                  </a:lnTo>
                  <a:lnTo>
                    <a:pt x="538" y="490"/>
                  </a:lnTo>
                  <a:lnTo>
                    <a:pt x="534" y="488"/>
                  </a:lnTo>
                  <a:lnTo>
                    <a:pt x="532" y="490"/>
                  </a:lnTo>
                  <a:lnTo>
                    <a:pt x="530" y="496"/>
                  </a:lnTo>
                  <a:lnTo>
                    <a:pt x="528" y="498"/>
                  </a:lnTo>
                  <a:lnTo>
                    <a:pt x="526" y="498"/>
                  </a:lnTo>
                  <a:lnTo>
                    <a:pt x="524" y="496"/>
                  </a:lnTo>
                  <a:lnTo>
                    <a:pt x="524" y="498"/>
                  </a:lnTo>
                  <a:lnTo>
                    <a:pt x="522" y="498"/>
                  </a:lnTo>
                  <a:lnTo>
                    <a:pt x="521" y="496"/>
                  </a:lnTo>
                  <a:lnTo>
                    <a:pt x="524" y="492"/>
                  </a:lnTo>
                  <a:lnTo>
                    <a:pt x="521" y="490"/>
                  </a:lnTo>
                  <a:lnTo>
                    <a:pt x="521" y="488"/>
                  </a:lnTo>
                  <a:lnTo>
                    <a:pt x="517" y="490"/>
                  </a:lnTo>
                  <a:lnTo>
                    <a:pt x="517" y="492"/>
                  </a:lnTo>
                  <a:lnTo>
                    <a:pt x="515" y="496"/>
                  </a:lnTo>
                  <a:lnTo>
                    <a:pt x="511" y="492"/>
                  </a:lnTo>
                  <a:lnTo>
                    <a:pt x="509" y="494"/>
                  </a:lnTo>
                  <a:lnTo>
                    <a:pt x="507" y="490"/>
                  </a:lnTo>
                  <a:lnTo>
                    <a:pt x="509" y="488"/>
                  </a:lnTo>
                  <a:lnTo>
                    <a:pt x="513" y="486"/>
                  </a:lnTo>
                  <a:lnTo>
                    <a:pt x="519" y="481"/>
                  </a:lnTo>
                  <a:lnTo>
                    <a:pt x="521" y="481"/>
                  </a:lnTo>
                  <a:lnTo>
                    <a:pt x="521" y="479"/>
                  </a:lnTo>
                  <a:lnTo>
                    <a:pt x="519" y="477"/>
                  </a:lnTo>
                  <a:lnTo>
                    <a:pt x="513" y="479"/>
                  </a:lnTo>
                  <a:lnTo>
                    <a:pt x="515" y="475"/>
                  </a:lnTo>
                  <a:lnTo>
                    <a:pt x="513" y="473"/>
                  </a:lnTo>
                  <a:lnTo>
                    <a:pt x="511" y="477"/>
                  </a:lnTo>
                  <a:lnTo>
                    <a:pt x="507" y="477"/>
                  </a:lnTo>
                  <a:lnTo>
                    <a:pt x="505" y="481"/>
                  </a:lnTo>
                  <a:lnTo>
                    <a:pt x="503" y="481"/>
                  </a:lnTo>
                  <a:lnTo>
                    <a:pt x="503" y="479"/>
                  </a:lnTo>
                  <a:lnTo>
                    <a:pt x="503" y="481"/>
                  </a:lnTo>
                  <a:lnTo>
                    <a:pt x="499" y="481"/>
                  </a:lnTo>
                  <a:lnTo>
                    <a:pt x="499" y="483"/>
                  </a:lnTo>
                  <a:lnTo>
                    <a:pt x="496" y="481"/>
                  </a:lnTo>
                  <a:lnTo>
                    <a:pt x="492" y="483"/>
                  </a:lnTo>
                  <a:lnTo>
                    <a:pt x="494" y="484"/>
                  </a:lnTo>
                  <a:lnTo>
                    <a:pt x="497" y="488"/>
                  </a:lnTo>
                  <a:lnTo>
                    <a:pt x="492" y="486"/>
                  </a:lnTo>
                  <a:lnTo>
                    <a:pt x="488" y="486"/>
                  </a:lnTo>
                  <a:lnTo>
                    <a:pt x="486" y="490"/>
                  </a:lnTo>
                  <a:lnTo>
                    <a:pt x="484" y="488"/>
                  </a:lnTo>
                  <a:lnTo>
                    <a:pt x="484" y="492"/>
                  </a:lnTo>
                  <a:lnTo>
                    <a:pt x="482" y="492"/>
                  </a:lnTo>
                  <a:lnTo>
                    <a:pt x="482" y="496"/>
                  </a:lnTo>
                  <a:lnTo>
                    <a:pt x="478" y="496"/>
                  </a:lnTo>
                  <a:lnTo>
                    <a:pt x="478" y="498"/>
                  </a:lnTo>
                  <a:lnTo>
                    <a:pt x="474" y="498"/>
                  </a:lnTo>
                  <a:lnTo>
                    <a:pt x="474" y="490"/>
                  </a:lnTo>
                  <a:lnTo>
                    <a:pt x="476" y="488"/>
                  </a:lnTo>
                  <a:lnTo>
                    <a:pt x="474" y="490"/>
                  </a:lnTo>
                  <a:lnTo>
                    <a:pt x="474" y="486"/>
                  </a:lnTo>
                  <a:lnTo>
                    <a:pt x="476" y="481"/>
                  </a:lnTo>
                  <a:lnTo>
                    <a:pt x="478" y="479"/>
                  </a:lnTo>
                  <a:lnTo>
                    <a:pt x="480" y="473"/>
                  </a:lnTo>
                  <a:lnTo>
                    <a:pt x="484" y="471"/>
                  </a:lnTo>
                  <a:lnTo>
                    <a:pt x="490" y="471"/>
                  </a:lnTo>
                  <a:lnTo>
                    <a:pt x="492" y="471"/>
                  </a:lnTo>
                  <a:lnTo>
                    <a:pt x="490" y="469"/>
                  </a:lnTo>
                  <a:lnTo>
                    <a:pt x="492" y="467"/>
                  </a:lnTo>
                  <a:lnTo>
                    <a:pt x="488" y="465"/>
                  </a:lnTo>
                  <a:lnTo>
                    <a:pt x="492" y="463"/>
                  </a:lnTo>
                  <a:lnTo>
                    <a:pt x="492" y="461"/>
                  </a:lnTo>
                  <a:lnTo>
                    <a:pt x="488" y="461"/>
                  </a:lnTo>
                  <a:lnTo>
                    <a:pt x="490" y="458"/>
                  </a:lnTo>
                  <a:lnTo>
                    <a:pt x="490" y="454"/>
                  </a:lnTo>
                  <a:lnTo>
                    <a:pt x="492" y="454"/>
                  </a:lnTo>
                  <a:lnTo>
                    <a:pt x="490" y="452"/>
                  </a:lnTo>
                  <a:lnTo>
                    <a:pt x="492" y="448"/>
                  </a:lnTo>
                  <a:lnTo>
                    <a:pt x="492" y="442"/>
                  </a:lnTo>
                  <a:lnTo>
                    <a:pt x="490" y="440"/>
                  </a:lnTo>
                  <a:lnTo>
                    <a:pt x="488" y="433"/>
                  </a:lnTo>
                  <a:lnTo>
                    <a:pt x="488" y="431"/>
                  </a:lnTo>
                  <a:lnTo>
                    <a:pt x="492" y="431"/>
                  </a:lnTo>
                  <a:lnTo>
                    <a:pt x="486" y="427"/>
                  </a:lnTo>
                  <a:lnTo>
                    <a:pt x="486" y="425"/>
                  </a:lnTo>
                  <a:lnTo>
                    <a:pt x="488" y="425"/>
                  </a:lnTo>
                  <a:lnTo>
                    <a:pt x="486" y="423"/>
                  </a:lnTo>
                  <a:lnTo>
                    <a:pt x="484" y="419"/>
                  </a:lnTo>
                  <a:lnTo>
                    <a:pt x="482" y="413"/>
                  </a:lnTo>
                  <a:lnTo>
                    <a:pt x="482" y="410"/>
                  </a:lnTo>
                  <a:lnTo>
                    <a:pt x="480" y="410"/>
                  </a:lnTo>
                  <a:lnTo>
                    <a:pt x="480" y="411"/>
                  </a:lnTo>
                  <a:lnTo>
                    <a:pt x="478" y="408"/>
                  </a:lnTo>
                  <a:lnTo>
                    <a:pt x="474" y="400"/>
                  </a:lnTo>
                  <a:lnTo>
                    <a:pt x="476" y="398"/>
                  </a:lnTo>
                  <a:lnTo>
                    <a:pt x="482" y="396"/>
                  </a:lnTo>
                  <a:lnTo>
                    <a:pt x="484" y="398"/>
                  </a:lnTo>
                  <a:lnTo>
                    <a:pt x="484" y="396"/>
                  </a:lnTo>
                  <a:lnTo>
                    <a:pt x="478" y="396"/>
                  </a:lnTo>
                  <a:lnTo>
                    <a:pt x="474" y="394"/>
                  </a:lnTo>
                  <a:lnTo>
                    <a:pt x="474" y="388"/>
                  </a:lnTo>
                  <a:lnTo>
                    <a:pt x="473" y="392"/>
                  </a:lnTo>
                  <a:lnTo>
                    <a:pt x="469" y="388"/>
                  </a:lnTo>
                  <a:lnTo>
                    <a:pt x="469" y="398"/>
                  </a:lnTo>
                  <a:lnTo>
                    <a:pt x="467" y="398"/>
                  </a:lnTo>
                  <a:lnTo>
                    <a:pt x="465" y="394"/>
                  </a:lnTo>
                  <a:lnTo>
                    <a:pt x="463" y="392"/>
                  </a:lnTo>
                  <a:lnTo>
                    <a:pt x="465" y="388"/>
                  </a:lnTo>
                  <a:lnTo>
                    <a:pt x="465" y="381"/>
                  </a:lnTo>
                  <a:lnTo>
                    <a:pt x="471" y="379"/>
                  </a:lnTo>
                  <a:lnTo>
                    <a:pt x="465" y="379"/>
                  </a:lnTo>
                  <a:lnTo>
                    <a:pt x="463" y="375"/>
                  </a:lnTo>
                  <a:lnTo>
                    <a:pt x="465" y="375"/>
                  </a:lnTo>
                  <a:lnTo>
                    <a:pt x="465" y="371"/>
                  </a:lnTo>
                  <a:lnTo>
                    <a:pt x="463" y="371"/>
                  </a:lnTo>
                  <a:lnTo>
                    <a:pt x="463" y="369"/>
                  </a:lnTo>
                  <a:lnTo>
                    <a:pt x="465" y="369"/>
                  </a:lnTo>
                  <a:lnTo>
                    <a:pt x="465" y="367"/>
                  </a:lnTo>
                  <a:lnTo>
                    <a:pt x="467" y="365"/>
                  </a:lnTo>
                  <a:lnTo>
                    <a:pt x="469" y="365"/>
                  </a:lnTo>
                  <a:lnTo>
                    <a:pt x="469" y="362"/>
                  </a:lnTo>
                  <a:lnTo>
                    <a:pt x="467" y="362"/>
                  </a:lnTo>
                  <a:lnTo>
                    <a:pt x="471" y="360"/>
                  </a:lnTo>
                  <a:lnTo>
                    <a:pt x="474" y="352"/>
                  </a:lnTo>
                  <a:lnTo>
                    <a:pt x="469" y="356"/>
                  </a:lnTo>
                  <a:lnTo>
                    <a:pt x="469" y="352"/>
                  </a:lnTo>
                  <a:lnTo>
                    <a:pt x="474" y="346"/>
                  </a:lnTo>
                  <a:lnTo>
                    <a:pt x="480" y="344"/>
                  </a:lnTo>
                  <a:lnTo>
                    <a:pt x="474" y="344"/>
                  </a:lnTo>
                  <a:lnTo>
                    <a:pt x="473" y="344"/>
                  </a:lnTo>
                  <a:lnTo>
                    <a:pt x="471" y="346"/>
                  </a:lnTo>
                  <a:lnTo>
                    <a:pt x="467" y="342"/>
                  </a:lnTo>
                  <a:lnTo>
                    <a:pt x="465" y="340"/>
                  </a:lnTo>
                  <a:lnTo>
                    <a:pt x="467" y="339"/>
                  </a:lnTo>
                  <a:lnTo>
                    <a:pt x="467" y="337"/>
                  </a:lnTo>
                  <a:lnTo>
                    <a:pt x="473" y="335"/>
                  </a:lnTo>
                  <a:lnTo>
                    <a:pt x="474" y="333"/>
                  </a:lnTo>
                  <a:lnTo>
                    <a:pt x="478" y="335"/>
                  </a:lnTo>
                  <a:lnTo>
                    <a:pt x="484" y="333"/>
                  </a:lnTo>
                  <a:lnTo>
                    <a:pt x="490" y="331"/>
                  </a:lnTo>
                  <a:lnTo>
                    <a:pt x="484" y="331"/>
                  </a:lnTo>
                  <a:lnTo>
                    <a:pt x="480" y="329"/>
                  </a:lnTo>
                  <a:lnTo>
                    <a:pt x="476" y="329"/>
                  </a:lnTo>
                  <a:lnTo>
                    <a:pt x="473" y="329"/>
                  </a:lnTo>
                  <a:lnTo>
                    <a:pt x="465" y="329"/>
                  </a:lnTo>
                  <a:lnTo>
                    <a:pt x="459" y="331"/>
                  </a:lnTo>
                  <a:lnTo>
                    <a:pt x="457" y="331"/>
                  </a:lnTo>
                  <a:lnTo>
                    <a:pt x="457" y="327"/>
                  </a:lnTo>
                  <a:lnTo>
                    <a:pt x="459" y="323"/>
                  </a:lnTo>
                  <a:lnTo>
                    <a:pt x="461" y="317"/>
                  </a:lnTo>
                  <a:lnTo>
                    <a:pt x="467" y="310"/>
                  </a:lnTo>
                  <a:lnTo>
                    <a:pt x="469" y="306"/>
                  </a:lnTo>
                  <a:lnTo>
                    <a:pt x="471" y="300"/>
                  </a:lnTo>
                  <a:lnTo>
                    <a:pt x="473" y="300"/>
                  </a:lnTo>
                  <a:lnTo>
                    <a:pt x="476" y="302"/>
                  </a:lnTo>
                  <a:lnTo>
                    <a:pt x="480" y="300"/>
                  </a:lnTo>
                  <a:lnTo>
                    <a:pt x="478" y="300"/>
                  </a:lnTo>
                  <a:lnTo>
                    <a:pt x="474" y="298"/>
                  </a:lnTo>
                  <a:lnTo>
                    <a:pt x="471" y="298"/>
                  </a:lnTo>
                  <a:lnTo>
                    <a:pt x="465" y="304"/>
                  </a:lnTo>
                  <a:lnTo>
                    <a:pt x="463" y="308"/>
                  </a:lnTo>
                  <a:lnTo>
                    <a:pt x="459" y="308"/>
                  </a:lnTo>
                  <a:lnTo>
                    <a:pt x="457" y="308"/>
                  </a:lnTo>
                  <a:lnTo>
                    <a:pt x="455" y="300"/>
                  </a:lnTo>
                  <a:lnTo>
                    <a:pt x="457" y="292"/>
                  </a:lnTo>
                  <a:lnTo>
                    <a:pt x="459" y="287"/>
                  </a:lnTo>
                  <a:lnTo>
                    <a:pt x="461" y="281"/>
                  </a:lnTo>
                  <a:lnTo>
                    <a:pt x="465" y="273"/>
                  </a:lnTo>
                  <a:lnTo>
                    <a:pt x="473" y="271"/>
                  </a:lnTo>
                  <a:lnTo>
                    <a:pt x="478" y="275"/>
                  </a:lnTo>
                  <a:lnTo>
                    <a:pt x="484" y="275"/>
                  </a:lnTo>
                  <a:lnTo>
                    <a:pt x="490" y="267"/>
                  </a:lnTo>
                  <a:lnTo>
                    <a:pt x="494" y="269"/>
                  </a:lnTo>
                  <a:lnTo>
                    <a:pt x="492" y="266"/>
                  </a:lnTo>
                  <a:lnTo>
                    <a:pt x="484" y="269"/>
                  </a:lnTo>
                  <a:lnTo>
                    <a:pt x="480" y="267"/>
                  </a:lnTo>
                  <a:lnTo>
                    <a:pt x="474" y="267"/>
                  </a:lnTo>
                  <a:lnTo>
                    <a:pt x="474" y="264"/>
                  </a:lnTo>
                  <a:lnTo>
                    <a:pt x="471" y="264"/>
                  </a:lnTo>
                  <a:lnTo>
                    <a:pt x="463" y="266"/>
                  </a:lnTo>
                  <a:lnTo>
                    <a:pt x="463" y="264"/>
                  </a:lnTo>
                  <a:lnTo>
                    <a:pt x="455" y="267"/>
                  </a:lnTo>
                  <a:lnTo>
                    <a:pt x="449" y="262"/>
                  </a:lnTo>
                  <a:lnTo>
                    <a:pt x="446" y="262"/>
                  </a:lnTo>
                  <a:lnTo>
                    <a:pt x="446" y="258"/>
                  </a:lnTo>
                  <a:lnTo>
                    <a:pt x="442" y="260"/>
                  </a:lnTo>
                  <a:lnTo>
                    <a:pt x="442" y="264"/>
                  </a:lnTo>
                  <a:lnTo>
                    <a:pt x="444" y="266"/>
                  </a:lnTo>
                  <a:lnTo>
                    <a:pt x="442" y="264"/>
                  </a:lnTo>
                  <a:lnTo>
                    <a:pt x="440" y="269"/>
                  </a:lnTo>
                  <a:lnTo>
                    <a:pt x="440" y="267"/>
                  </a:lnTo>
                  <a:lnTo>
                    <a:pt x="438" y="271"/>
                  </a:lnTo>
                  <a:lnTo>
                    <a:pt x="438" y="269"/>
                  </a:lnTo>
                  <a:lnTo>
                    <a:pt x="434" y="269"/>
                  </a:lnTo>
                  <a:lnTo>
                    <a:pt x="436" y="269"/>
                  </a:lnTo>
                  <a:lnTo>
                    <a:pt x="434" y="271"/>
                  </a:lnTo>
                  <a:lnTo>
                    <a:pt x="434" y="279"/>
                  </a:lnTo>
                  <a:lnTo>
                    <a:pt x="434" y="283"/>
                  </a:lnTo>
                  <a:lnTo>
                    <a:pt x="432" y="287"/>
                  </a:lnTo>
                  <a:lnTo>
                    <a:pt x="428" y="289"/>
                  </a:lnTo>
                  <a:lnTo>
                    <a:pt x="428" y="292"/>
                  </a:lnTo>
                  <a:lnTo>
                    <a:pt x="423" y="294"/>
                  </a:lnTo>
                  <a:lnTo>
                    <a:pt x="426" y="294"/>
                  </a:lnTo>
                  <a:lnTo>
                    <a:pt x="425" y="300"/>
                  </a:lnTo>
                  <a:lnTo>
                    <a:pt x="423" y="302"/>
                  </a:lnTo>
                  <a:lnTo>
                    <a:pt x="425" y="300"/>
                  </a:lnTo>
                  <a:lnTo>
                    <a:pt x="428" y="306"/>
                  </a:lnTo>
                  <a:lnTo>
                    <a:pt x="428" y="310"/>
                  </a:lnTo>
                  <a:lnTo>
                    <a:pt x="428" y="317"/>
                  </a:lnTo>
                  <a:lnTo>
                    <a:pt x="432" y="327"/>
                  </a:lnTo>
                  <a:lnTo>
                    <a:pt x="428" y="321"/>
                  </a:lnTo>
                  <a:lnTo>
                    <a:pt x="428" y="317"/>
                  </a:lnTo>
                  <a:lnTo>
                    <a:pt x="425" y="317"/>
                  </a:lnTo>
                  <a:lnTo>
                    <a:pt x="426" y="317"/>
                  </a:lnTo>
                  <a:lnTo>
                    <a:pt x="426" y="321"/>
                  </a:lnTo>
                  <a:lnTo>
                    <a:pt x="428" y="325"/>
                  </a:lnTo>
                  <a:lnTo>
                    <a:pt x="432" y="333"/>
                  </a:lnTo>
                  <a:lnTo>
                    <a:pt x="432" y="335"/>
                  </a:lnTo>
                  <a:lnTo>
                    <a:pt x="428" y="340"/>
                  </a:lnTo>
                  <a:lnTo>
                    <a:pt x="426" y="348"/>
                  </a:lnTo>
                  <a:lnTo>
                    <a:pt x="425" y="356"/>
                  </a:lnTo>
                  <a:lnTo>
                    <a:pt x="419" y="362"/>
                  </a:lnTo>
                  <a:lnTo>
                    <a:pt x="413" y="367"/>
                  </a:lnTo>
                  <a:lnTo>
                    <a:pt x="411" y="371"/>
                  </a:lnTo>
                  <a:lnTo>
                    <a:pt x="409" y="369"/>
                  </a:lnTo>
                  <a:lnTo>
                    <a:pt x="411" y="371"/>
                  </a:lnTo>
                  <a:lnTo>
                    <a:pt x="409" y="375"/>
                  </a:lnTo>
                  <a:lnTo>
                    <a:pt x="407" y="375"/>
                  </a:lnTo>
                  <a:lnTo>
                    <a:pt x="411" y="381"/>
                  </a:lnTo>
                  <a:lnTo>
                    <a:pt x="407" y="383"/>
                  </a:lnTo>
                  <a:lnTo>
                    <a:pt x="400" y="387"/>
                  </a:lnTo>
                  <a:lnTo>
                    <a:pt x="400" y="388"/>
                  </a:lnTo>
                  <a:lnTo>
                    <a:pt x="398" y="388"/>
                  </a:lnTo>
                  <a:lnTo>
                    <a:pt x="396" y="390"/>
                  </a:lnTo>
                  <a:lnTo>
                    <a:pt x="388" y="390"/>
                  </a:lnTo>
                  <a:lnTo>
                    <a:pt x="384" y="394"/>
                  </a:lnTo>
                  <a:lnTo>
                    <a:pt x="378" y="396"/>
                  </a:lnTo>
                  <a:lnTo>
                    <a:pt x="377" y="398"/>
                  </a:lnTo>
                  <a:lnTo>
                    <a:pt x="377" y="400"/>
                  </a:lnTo>
                  <a:lnTo>
                    <a:pt x="367" y="402"/>
                  </a:lnTo>
                  <a:lnTo>
                    <a:pt x="359" y="404"/>
                  </a:lnTo>
                  <a:lnTo>
                    <a:pt x="359" y="406"/>
                  </a:lnTo>
                  <a:lnTo>
                    <a:pt x="357" y="406"/>
                  </a:lnTo>
                  <a:lnTo>
                    <a:pt x="355" y="406"/>
                  </a:lnTo>
                  <a:lnTo>
                    <a:pt x="355" y="408"/>
                  </a:lnTo>
                  <a:lnTo>
                    <a:pt x="352" y="410"/>
                  </a:lnTo>
                  <a:lnTo>
                    <a:pt x="348" y="410"/>
                  </a:lnTo>
                  <a:lnTo>
                    <a:pt x="352" y="406"/>
                  </a:lnTo>
                  <a:lnTo>
                    <a:pt x="346" y="410"/>
                  </a:lnTo>
                  <a:lnTo>
                    <a:pt x="346" y="411"/>
                  </a:lnTo>
                  <a:lnTo>
                    <a:pt x="342" y="411"/>
                  </a:lnTo>
                  <a:lnTo>
                    <a:pt x="342" y="413"/>
                  </a:lnTo>
                  <a:lnTo>
                    <a:pt x="344" y="413"/>
                  </a:lnTo>
                  <a:lnTo>
                    <a:pt x="342" y="413"/>
                  </a:lnTo>
                  <a:lnTo>
                    <a:pt x="342" y="415"/>
                  </a:lnTo>
                  <a:lnTo>
                    <a:pt x="336" y="417"/>
                  </a:lnTo>
                  <a:lnTo>
                    <a:pt x="332" y="417"/>
                  </a:lnTo>
                  <a:lnTo>
                    <a:pt x="330" y="417"/>
                  </a:lnTo>
                  <a:lnTo>
                    <a:pt x="330" y="419"/>
                  </a:lnTo>
                  <a:lnTo>
                    <a:pt x="325" y="419"/>
                  </a:lnTo>
                  <a:lnTo>
                    <a:pt x="315" y="423"/>
                  </a:lnTo>
                  <a:lnTo>
                    <a:pt x="315" y="425"/>
                  </a:lnTo>
                  <a:lnTo>
                    <a:pt x="313" y="425"/>
                  </a:lnTo>
                  <a:lnTo>
                    <a:pt x="311" y="427"/>
                  </a:lnTo>
                  <a:lnTo>
                    <a:pt x="307" y="427"/>
                  </a:lnTo>
                  <a:lnTo>
                    <a:pt x="306" y="429"/>
                  </a:lnTo>
                  <a:lnTo>
                    <a:pt x="300" y="429"/>
                  </a:lnTo>
                  <a:lnTo>
                    <a:pt x="298" y="431"/>
                  </a:lnTo>
                  <a:lnTo>
                    <a:pt x="294" y="433"/>
                  </a:lnTo>
                  <a:lnTo>
                    <a:pt x="290" y="431"/>
                  </a:lnTo>
                  <a:lnTo>
                    <a:pt x="281" y="431"/>
                  </a:lnTo>
                  <a:lnTo>
                    <a:pt x="277" y="433"/>
                  </a:lnTo>
                  <a:lnTo>
                    <a:pt x="277" y="435"/>
                  </a:lnTo>
                  <a:lnTo>
                    <a:pt x="271" y="436"/>
                  </a:lnTo>
                  <a:lnTo>
                    <a:pt x="267" y="435"/>
                  </a:lnTo>
                  <a:lnTo>
                    <a:pt x="258" y="431"/>
                  </a:lnTo>
                  <a:lnTo>
                    <a:pt x="256" y="429"/>
                  </a:lnTo>
                  <a:lnTo>
                    <a:pt x="254" y="431"/>
                  </a:lnTo>
                  <a:lnTo>
                    <a:pt x="246" y="427"/>
                  </a:lnTo>
                  <a:lnTo>
                    <a:pt x="242" y="425"/>
                  </a:lnTo>
                  <a:lnTo>
                    <a:pt x="240" y="425"/>
                  </a:lnTo>
                  <a:lnTo>
                    <a:pt x="235" y="421"/>
                  </a:lnTo>
                  <a:lnTo>
                    <a:pt x="231" y="419"/>
                  </a:lnTo>
                  <a:lnTo>
                    <a:pt x="225" y="415"/>
                  </a:lnTo>
                  <a:lnTo>
                    <a:pt x="217" y="411"/>
                  </a:lnTo>
                  <a:lnTo>
                    <a:pt x="212" y="406"/>
                  </a:lnTo>
                  <a:lnTo>
                    <a:pt x="210" y="404"/>
                  </a:lnTo>
                  <a:lnTo>
                    <a:pt x="208" y="402"/>
                  </a:lnTo>
                  <a:lnTo>
                    <a:pt x="200" y="398"/>
                  </a:lnTo>
                  <a:lnTo>
                    <a:pt x="194" y="390"/>
                  </a:lnTo>
                  <a:lnTo>
                    <a:pt x="190" y="387"/>
                  </a:lnTo>
                  <a:lnTo>
                    <a:pt x="188" y="385"/>
                  </a:lnTo>
                  <a:lnTo>
                    <a:pt x="185" y="383"/>
                  </a:lnTo>
                  <a:lnTo>
                    <a:pt x="181" y="375"/>
                  </a:lnTo>
                  <a:lnTo>
                    <a:pt x="175" y="371"/>
                  </a:lnTo>
                  <a:lnTo>
                    <a:pt x="175" y="369"/>
                  </a:lnTo>
                  <a:lnTo>
                    <a:pt x="171" y="365"/>
                  </a:lnTo>
                  <a:lnTo>
                    <a:pt x="167" y="360"/>
                  </a:lnTo>
                  <a:lnTo>
                    <a:pt x="162" y="354"/>
                  </a:lnTo>
                  <a:lnTo>
                    <a:pt x="160" y="352"/>
                  </a:lnTo>
                  <a:lnTo>
                    <a:pt x="156" y="346"/>
                  </a:lnTo>
                  <a:lnTo>
                    <a:pt x="154" y="344"/>
                  </a:lnTo>
                  <a:lnTo>
                    <a:pt x="152" y="342"/>
                  </a:lnTo>
                  <a:lnTo>
                    <a:pt x="144" y="335"/>
                  </a:lnTo>
                  <a:lnTo>
                    <a:pt x="142" y="335"/>
                  </a:lnTo>
                  <a:lnTo>
                    <a:pt x="142" y="337"/>
                  </a:lnTo>
                  <a:lnTo>
                    <a:pt x="142" y="335"/>
                  </a:lnTo>
                  <a:lnTo>
                    <a:pt x="137" y="331"/>
                  </a:lnTo>
                  <a:lnTo>
                    <a:pt x="135" y="327"/>
                  </a:lnTo>
                  <a:lnTo>
                    <a:pt x="131" y="323"/>
                  </a:lnTo>
                  <a:lnTo>
                    <a:pt x="127" y="319"/>
                  </a:lnTo>
                  <a:lnTo>
                    <a:pt x="123" y="315"/>
                  </a:lnTo>
                  <a:lnTo>
                    <a:pt x="119" y="312"/>
                  </a:lnTo>
                  <a:lnTo>
                    <a:pt x="116" y="310"/>
                  </a:lnTo>
                  <a:lnTo>
                    <a:pt x="112" y="306"/>
                  </a:lnTo>
                  <a:lnTo>
                    <a:pt x="106" y="300"/>
                  </a:lnTo>
                  <a:lnTo>
                    <a:pt x="102" y="296"/>
                  </a:lnTo>
                  <a:lnTo>
                    <a:pt x="98" y="292"/>
                  </a:lnTo>
                  <a:lnTo>
                    <a:pt x="94" y="287"/>
                  </a:lnTo>
                  <a:lnTo>
                    <a:pt x="91" y="285"/>
                  </a:lnTo>
                  <a:lnTo>
                    <a:pt x="87" y="281"/>
                  </a:lnTo>
                  <a:lnTo>
                    <a:pt x="83" y="275"/>
                  </a:lnTo>
                  <a:lnTo>
                    <a:pt x="79" y="269"/>
                  </a:lnTo>
                  <a:lnTo>
                    <a:pt x="77" y="269"/>
                  </a:lnTo>
                  <a:lnTo>
                    <a:pt x="75" y="262"/>
                  </a:lnTo>
                  <a:lnTo>
                    <a:pt x="79" y="254"/>
                  </a:lnTo>
                  <a:lnTo>
                    <a:pt x="81" y="250"/>
                  </a:lnTo>
                  <a:lnTo>
                    <a:pt x="85" y="246"/>
                  </a:lnTo>
                  <a:lnTo>
                    <a:pt x="91" y="242"/>
                  </a:lnTo>
                  <a:lnTo>
                    <a:pt x="93" y="242"/>
                  </a:lnTo>
                  <a:lnTo>
                    <a:pt x="89" y="246"/>
                  </a:lnTo>
                  <a:lnTo>
                    <a:pt x="91" y="252"/>
                  </a:lnTo>
                  <a:lnTo>
                    <a:pt x="94" y="250"/>
                  </a:lnTo>
                  <a:lnTo>
                    <a:pt x="98" y="250"/>
                  </a:lnTo>
                  <a:lnTo>
                    <a:pt x="104" y="248"/>
                  </a:lnTo>
                  <a:lnTo>
                    <a:pt x="106" y="250"/>
                  </a:lnTo>
                  <a:lnTo>
                    <a:pt x="102" y="254"/>
                  </a:lnTo>
                  <a:lnTo>
                    <a:pt x="100" y="262"/>
                  </a:lnTo>
                  <a:lnTo>
                    <a:pt x="104" y="266"/>
                  </a:lnTo>
                  <a:lnTo>
                    <a:pt x="108" y="267"/>
                  </a:lnTo>
                  <a:lnTo>
                    <a:pt x="117" y="264"/>
                  </a:lnTo>
                  <a:lnTo>
                    <a:pt x="119" y="262"/>
                  </a:lnTo>
                  <a:lnTo>
                    <a:pt x="117" y="260"/>
                  </a:lnTo>
                  <a:lnTo>
                    <a:pt x="127" y="260"/>
                  </a:lnTo>
                  <a:lnTo>
                    <a:pt x="135" y="258"/>
                  </a:lnTo>
                  <a:lnTo>
                    <a:pt x="135" y="256"/>
                  </a:lnTo>
                  <a:lnTo>
                    <a:pt x="139" y="252"/>
                  </a:lnTo>
                  <a:lnTo>
                    <a:pt x="137" y="246"/>
                  </a:lnTo>
                  <a:lnTo>
                    <a:pt x="142" y="250"/>
                  </a:lnTo>
                  <a:lnTo>
                    <a:pt x="142" y="256"/>
                  </a:lnTo>
                  <a:lnTo>
                    <a:pt x="144" y="254"/>
                  </a:lnTo>
                  <a:lnTo>
                    <a:pt x="146" y="256"/>
                  </a:lnTo>
                  <a:lnTo>
                    <a:pt x="144" y="258"/>
                  </a:lnTo>
                  <a:lnTo>
                    <a:pt x="148" y="256"/>
                  </a:lnTo>
                  <a:lnTo>
                    <a:pt x="148" y="258"/>
                  </a:lnTo>
                  <a:lnTo>
                    <a:pt x="148" y="256"/>
                  </a:lnTo>
                  <a:lnTo>
                    <a:pt x="148" y="258"/>
                  </a:lnTo>
                  <a:lnTo>
                    <a:pt x="148" y="254"/>
                  </a:lnTo>
                  <a:lnTo>
                    <a:pt x="154" y="256"/>
                  </a:lnTo>
                  <a:lnTo>
                    <a:pt x="154" y="252"/>
                  </a:lnTo>
                  <a:lnTo>
                    <a:pt x="158" y="252"/>
                  </a:lnTo>
                  <a:lnTo>
                    <a:pt x="158" y="246"/>
                  </a:lnTo>
                  <a:lnTo>
                    <a:pt x="156" y="246"/>
                  </a:lnTo>
                  <a:lnTo>
                    <a:pt x="156" y="244"/>
                  </a:lnTo>
                  <a:lnTo>
                    <a:pt x="156" y="246"/>
                  </a:lnTo>
                  <a:lnTo>
                    <a:pt x="158" y="246"/>
                  </a:lnTo>
                  <a:lnTo>
                    <a:pt x="160" y="244"/>
                  </a:lnTo>
                  <a:lnTo>
                    <a:pt x="162" y="242"/>
                  </a:lnTo>
                  <a:lnTo>
                    <a:pt x="164" y="248"/>
                  </a:lnTo>
                  <a:lnTo>
                    <a:pt x="164" y="246"/>
                  </a:lnTo>
                  <a:lnTo>
                    <a:pt x="169" y="250"/>
                  </a:lnTo>
                  <a:lnTo>
                    <a:pt x="171" y="250"/>
                  </a:lnTo>
                  <a:lnTo>
                    <a:pt x="169" y="248"/>
                  </a:lnTo>
                  <a:lnTo>
                    <a:pt x="171" y="248"/>
                  </a:lnTo>
                  <a:lnTo>
                    <a:pt x="171" y="246"/>
                  </a:lnTo>
                  <a:lnTo>
                    <a:pt x="171" y="244"/>
                  </a:lnTo>
                  <a:lnTo>
                    <a:pt x="171" y="246"/>
                  </a:lnTo>
                  <a:lnTo>
                    <a:pt x="173" y="242"/>
                  </a:lnTo>
                  <a:lnTo>
                    <a:pt x="173" y="244"/>
                  </a:lnTo>
                  <a:lnTo>
                    <a:pt x="173" y="241"/>
                  </a:lnTo>
                  <a:lnTo>
                    <a:pt x="173" y="244"/>
                  </a:lnTo>
                  <a:lnTo>
                    <a:pt x="177" y="246"/>
                  </a:lnTo>
                  <a:lnTo>
                    <a:pt x="183" y="239"/>
                  </a:lnTo>
                  <a:lnTo>
                    <a:pt x="187" y="241"/>
                  </a:lnTo>
                  <a:lnTo>
                    <a:pt x="187" y="239"/>
                  </a:lnTo>
                  <a:lnTo>
                    <a:pt x="185" y="239"/>
                  </a:lnTo>
                  <a:lnTo>
                    <a:pt x="185" y="237"/>
                  </a:lnTo>
                  <a:lnTo>
                    <a:pt x="194" y="235"/>
                  </a:lnTo>
                  <a:lnTo>
                    <a:pt x="196" y="233"/>
                  </a:lnTo>
                  <a:lnTo>
                    <a:pt x="196" y="235"/>
                  </a:lnTo>
                  <a:lnTo>
                    <a:pt x="200" y="235"/>
                  </a:lnTo>
                  <a:lnTo>
                    <a:pt x="208" y="235"/>
                  </a:lnTo>
                  <a:lnTo>
                    <a:pt x="212" y="231"/>
                  </a:lnTo>
                  <a:lnTo>
                    <a:pt x="213" y="223"/>
                  </a:lnTo>
                  <a:lnTo>
                    <a:pt x="217" y="221"/>
                  </a:lnTo>
                  <a:lnTo>
                    <a:pt x="217" y="219"/>
                  </a:lnTo>
                  <a:lnTo>
                    <a:pt x="215" y="219"/>
                  </a:lnTo>
                  <a:lnTo>
                    <a:pt x="215" y="217"/>
                  </a:lnTo>
                  <a:lnTo>
                    <a:pt x="217" y="216"/>
                  </a:lnTo>
                  <a:lnTo>
                    <a:pt x="223" y="212"/>
                  </a:lnTo>
                  <a:lnTo>
                    <a:pt x="223" y="210"/>
                  </a:lnTo>
                  <a:lnTo>
                    <a:pt x="227" y="206"/>
                  </a:lnTo>
                  <a:lnTo>
                    <a:pt x="231" y="200"/>
                  </a:lnTo>
                  <a:lnTo>
                    <a:pt x="233" y="196"/>
                  </a:lnTo>
                  <a:lnTo>
                    <a:pt x="238" y="194"/>
                  </a:lnTo>
                  <a:lnTo>
                    <a:pt x="238" y="191"/>
                  </a:lnTo>
                  <a:lnTo>
                    <a:pt x="242" y="191"/>
                  </a:lnTo>
                  <a:lnTo>
                    <a:pt x="240" y="191"/>
                  </a:lnTo>
                  <a:lnTo>
                    <a:pt x="244" y="189"/>
                  </a:lnTo>
                  <a:lnTo>
                    <a:pt x="240" y="189"/>
                  </a:lnTo>
                  <a:lnTo>
                    <a:pt x="244" y="187"/>
                  </a:lnTo>
                  <a:lnTo>
                    <a:pt x="240" y="189"/>
                  </a:lnTo>
                  <a:lnTo>
                    <a:pt x="244" y="185"/>
                  </a:lnTo>
                  <a:lnTo>
                    <a:pt x="244" y="181"/>
                  </a:lnTo>
                  <a:lnTo>
                    <a:pt x="240" y="183"/>
                  </a:lnTo>
                  <a:lnTo>
                    <a:pt x="240" y="181"/>
                  </a:lnTo>
                  <a:lnTo>
                    <a:pt x="236" y="187"/>
                  </a:lnTo>
                  <a:lnTo>
                    <a:pt x="236" y="183"/>
                  </a:lnTo>
                  <a:lnTo>
                    <a:pt x="235" y="183"/>
                  </a:lnTo>
                  <a:lnTo>
                    <a:pt x="235" y="193"/>
                  </a:lnTo>
                  <a:lnTo>
                    <a:pt x="229" y="194"/>
                  </a:lnTo>
                  <a:lnTo>
                    <a:pt x="221" y="191"/>
                  </a:lnTo>
                  <a:lnTo>
                    <a:pt x="217" y="189"/>
                  </a:lnTo>
                  <a:lnTo>
                    <a:pt x="217" y="185"/>
                  </a:lnTo>
                  <a:lnTo>
                    <a:pt x="217" y="191"/>
                  </a:lnTo>
                  <a:lnTo>
                    <a:pt x="213" y="187"/>
                  </a:lnTo>
                  <a:lnTo>
                    <a:pt x="217" y="191"/>
                  </a:lnTo>
                  <a:lnTo>
                    <a:pt x="210" y="193"/>
                  </a:lnTo>
                  <a:lnTo>
                    <a:pt x="206" y="191"/>
                  </a:lnTo>
                  <a:lnTo>
                    <a:pt x="206" y="187"/>
                  </a:lnTo>
                  <a:lnTo>
                    <a:pt x="204" y="191"/>
                  </a:lnTo>
                  <a:lnTo>
                    <a:pt x="206" y="193"/>
                  </a:lnTo>
                  <a:lnTo>
                    <a:pt x="204" y="191"/>
                  </a:lnTo>
                  <a:lnTo>
                    <a:pt x="208" y="193"/>
                  </a:lnTo>
                  <a:lnTo>
                    <a:pt x="206" y="194"/>
                  </a:lnTo>
                  <a:lnTo>
                    <a:pt x="198" y="196"/>
                  </a:lnTo>
                  <a:lnTo>
                    <a:pt x="192" y="196"/>
                  </a:lnTo>
                  <a:lnTo>
                    <a:pt x="188" y="198"/>
                  </a:lnTo>
                  <a:lnTo>
                    <a:pt x="187" y="196"/>
                  </a:lnTo>
                  <a:lnTo>
                    <a:pt x="183" y="200"/>
                  </a:lnTo>
                  <a:lnTo>
                    <a:pt x="177" y="200"/>
                  </a:lnTo>
                  <a:lnTo>
                    <a:pt x="171" y="202"/>
                  </a:lnTo>
                  <a:lnTo>
                    <a:pt x="165" y="206"/>
                  </a:lnTo>
                  <a:lnTo>
                    <a:pt x="160" y="212"/>
                  </a:lnTo>
                  <a:lnTo>
                    <a:pt x="162" y="214"/>
                  </a:lnTo>
                  <a:lnTo>
                    <a:pt x="160" y="216"/>
                  </a:lnTo>
                  <a:lnTo>
                    <a:pt x="156" y="216"/>
                  </a:lnTo>
                  <a:lnTo>
                    <a:pt x="158" y="214"/>
                  </a:lnTo>
                  <a:lnTo>
                    <a:pt x="156" y="212"/>
                  </a:lnTo>
                  <a:lnTo>
                    <a:pt x="154" y="210"/>
                  </a:lnTo>
                  <a:lnTo>
                    <a:pt x="154" y="212"/>
                  </a:lnTo>
                  <a:lnTo>
                    <a:pt x="150" y="212"/>
                  </a:lnTo>
                  <a:lnTo>
                    <a:pt x="146" y="212"/>
                  </a:lnTo>
                  <a:lnTo>
                    <a:pt x="146" y="214"/>
                  </a:lnTo>
                  <a:lnTo>
                    <a:pt x="144" y="214"/>
                  </a:lnTo>
                  <a:lnTo>
                    <a:pt x="144" y="210"/>
                  </a:lnTo>
                  <a:lnTo>
                    <a:pt x="144" y="208"/>
                  </a:lnTo>
                  <a:lnTo>
                    <a:pt x="144" y="210"/>
                  </a:lnTo>
                  <a:lnTo>
                    <a:pt x="137" y="210"/>
                  </a:lnTo>
                  <a:lnTo>
                    <a:pt x="133" y="210"/>
                  </a:lnTo>
                  <a:lnTo>
                    <a:pt x="125" y="206"/>
                  </a:lnTo>
                  <a:lnTo>
                    <a:pt x="119" y="204"/>
                  </a:lnTo>
                  <a:lnTo>
                    <a:pt x="114" y="206"/>
                  </a:lnTo>
                  <a:lnTo>
                    <a:pt x="106" y="204"/>
                  </a:lnTo>
                  <a:lnTo>
                    <a:pt x="100" y="200"/>
                  </a:lnTo>
                  <a:lnTo>
                    <a:pt x="96" y="198"/>
                  </a:lnTo>
                  <a:lnTo>
                    <a:pt x="91" y="194"/>
                  </a:lnTo>
                  <a:lnTo>
                    <a:pt x="81" y="189"/>
                  </a:lnTo>
                  <a:lnTo>
                    <a:pt x="79" y="187"/>
                  </a:lnTo>
                  <a:lnTo>
                    <a:pt x="73" y="183"/>
                  </a:lnTo>
                  <a:lnTo>
                    <a:pt x="66" y="179"/>
                  </a:lnTo>
                  <a:lnTo>
                    <a:pt x="62" y="177"/>
                  </a:lnTo>
                  <a:lnTo>
                    <a:pt x="56" y="173"/>
                  </a:lnTo>
                  <a:lnTo>
                    <a:pt x="50" y="169"/>
                  </a:lnTo>
                  <a:lnTo>
                    <a:pt x="48" y="168"/>
                  </a:lnTo>
                  <a:lnTo>
                    <a:pt x="48" y="166"/>
                  </a:lnTo>
                  <a:lnTo>
                    <a:pt x="50" y="169"/>
                  </a:lnTo>
                  <a:lnTo>
                    <a:pt x="54" y="171"/>
                  </a:lnTo>
                  <a:lnTo>
                    <a:pt x="50" y="169"/>
                  </a:lnTo>
                  <a:lnTo>
                    <a:pt x="50" y="168"/>
                  </a:lnTo>
                  <a:lnTo>
                    <a:pt x="43" y="162"/>
                  </a:lnTo>
                  <a:lnTo>
                    <a:pt x="45" y="160"/>
                  </a:lnTo>
                  <a:lnTo>
                    <a:pt x="46" y="162"/>
                  </a:lnTo>
                  <a:lnTo>
                    <a:pt x="45" y="160"/>
                  </a:lnTo>
                  <a:lnTo>
                    <a:pt x="50" y="158"/>
                  </a:lnTo>
                  <a:lnTo>
                    <a:pt x="48" y="156"/>
                  </a:lnTo>
                  <a:lnTo>
                    <a:pt x="48" y="154"/>
                  </a:lnTo>
                  <a:lnTo>
                    <a:pt x="54" y="152"/>
                  </a:lnTo>
                  <a:lnTo>
                    <a:pt x="48" y="152"/>
                  </a:lnTo>
                  <a:lnTo>
                    <a:pt x="46" y="154"/>
                  </a:lnTo>
                  <a:lnTo>
                    <a:pt x="46" y="156"/>
                  </a:lnTo>
                  <a:lnTo>
                    <a:pt x="43" y="158"/>
                  </a:lnTo>
                  <a:lnTo>
                    <a:pt x="39" y="158"/>
                  </a:lnTo>
                  <a:lnTo>
                    <a:pt x="39" y="156"/>
                  </a:lnTo>
                  <a:lnTo>
                    <a:pt x="41" y="156"/>
                  </a:lnTo>
                  <a:lnTo>
                    <a:pt x="41" y="152"/>
                  </a:lnTo>
                  <a:lnTo>
                    <a:pt x="43" y="154"/>
                  </a:lnTo>
                  <a:lnTo>
                    <a:pt x="43" y="152"/>
                  </a:lnTo>
                  <a:lnTo>
                    <a:pt x="45" y="152"/>
                  </a:lnTo>
                  <a:lnTo>
                    <a:pt x="43" y="152"/>
                  </a:lnTo>
                  <a:lnTo>
                    <a:pt x="48" y="150"/>
                  </a:lnTo>
                  <a:lnTo>
                    <a:pt x="48" y="148"/>
                  </a:lnTo>
                  <a:lnTo>
                    <a:pt x="46" y="150"/>
                  </a:lnTo>
                  <a:lnTo>
                    <a:pt x="43" y="148"/>
                  </a:lnTo>
                  <a:lnTo>
                    <a:pt x="43" y="144"/>
                  </a:lnTo>
                  <a:lnTo>
                    <a:pt x="41" y="146"/>
                  </a:lnTo>
                  <a:lnTo>
                    <a:pt x="41" y="144"/>
                  </a:lnTo>
                  <a:lnTo>
                    <a:pt x="39" y="146"/>
                  </a:lnTo>
                  <a:lnTo>
                    <a:pt x="37" y="144"/>
                  </a:lnTo>
                  <a:lnTo>
                    <a:pt x="37" y="143"/>
                  </a:lnTo>
                  <a:lnTo>
                    <a:pt x="39" y="143"/>
                  </a:lnTo>
                  <a:lnTo>
                    <a:pt x="39" y="139"/>
                  </a:lnTo>
                  <a:lnTo>
                    <a:pt x="35" y="141"/>
                  </a:lnTo>
                  <a:lnTo>
                    <a:pt x="35" y="137"/>
                  </a:lnTo>
                  <a:lnTo>
                    <a:pt x="33" y="143"/>
                  </a:lnTo>
                  <a:lnTo>
                    <a:pt x="31" y="141"/>
                  </a:lnTo>
                  <a:lnTo>
                    <a:pt x="31" y="137"/>
                  </a:lnTo>
                  <a:lnTo>
                    <a:pt x="27" y="141"/>
                  </a:lnTo>
                  <a:lnTo>
                    <a:pt x="23" y="141"/>
                  </a:lnTo>
                  <a:lnTo>
                    <a:pt x="25" y="137"/>
                  </a:lnTo>
                  <a:lnTo>
                    <a:pt x="27" y="135"/>
                  </a:lnTo>
                  <a:lnTo>
                    <a:pt x="27" y="137"/>
                  </a:lnTo>
                  <a:lnTo>
                    <a:pt x="31" y="135"/>
                  </a:lnTo>
                  <a:lnTo>
                    <a:pt x="29" y="133"/>
                  </a:lnTo>
                  <a:lnTo>
                    <a:pt x="31" y="131"/>
                  </a:lnTo>
                  <a:lnTo>
                    <a:pt x="33" y="131"/>
                  </a:lnTo>
                  <a:lnTo>
                    <a:pt x="33" y="129"/>
                  </a:lnTo>
                  <a:lnTo>
                    <a:pt x="31" y="131"/>
                  </a:lnTo>
                  <a:lnTo>
                    <a:pt x="31" y="129"/>
                  </a:lnTo>
                  <a:lnTo>
                    <a:pt x="31" y="125"/>
                  </a:lnTo>
                  <a:lnTo>
                    <a:pt x="27" y="131"/>
                  </a:lnTo>
                  <a:lnTo>
                    <a:pt x="27" y="127"/>
                  </a:lnTo>
                  <a:lnTo>
                    <a:pt x="31" y="123"/>
                  </a:lnTo>
                  <a:lnTo>
                    <a:pt x="29" y="123"/>
                  </a:lnTo>
                  <a:lnTo>
                    <a:pt x="31" y="121"/>
                  </a:lnTo>
                  <a:lnTo>
                    <a:pt x="33" y="121"/>
                  </a:lnTo>
                  <a:lnTo>
                    <a:pt x="33" y="120"/>
                  </a:lnTo>
                  <a:lnTo>
                    <a:pt x="39" y="112"/>
                  </a:lnTo>
                  <a:lnTo>
                    <a:pt x="43" y="108"/>
                  </a:lnTo>
                  <a:lnTo>
                    <a:pt x="46" y="106"/>
                  </a:lnTo>
                  <a:lnTo>
                    <a:pt x="52" y="102"/>
                  </a:lnTo>
                  <a:lnTo>
                    <a:pt x="54" y="98"/>
                  </a:lnTo>
                  <a:lnTo>
                    <a:pt x="60" y="96"/>
                  </a:lnTo>
                  <a:lnTo>
                    <a:pt x="58" y="96"/>
                  </a:lnTo>
                  <a:lnTo>
                    <a:pt x="62" y="93"/>
                  </a:lnTo>
                  <a:lnTo>
                    <a:pt x="68" y="91"/>
                  </a:lnTo>
                  <a:lnTo>
                    <a:pt x="64" y="91"/>
                  </a:lnTo>
                  <a:lnTo>
                    <a:pt x="60" y="95"/>
                  </a:lnTo>
                  <a:lnTo>
                    <a:pt x="56" y="95"/>
                  </a:lnTo>
                  <a:lnTo>
                    <a:pt x="54" y="93"/>
                  </a:lnTo>
                  <a:lnTo>
                    <a:pt x="54" y="95"/>
                  </a:lnTo>
                  <a:lnTo>
                    <a:pt x="46" y="95"/>
                  </a:lnTo>
                  <a:lnTo>
                    <a:pt x="45" y="96"/>
                  </a:lnTo>
                  <a:lnTo>
                    <a:pt x="41" y="104"/>
                  </a:lnTo>
                  <a:lnTo>
                    <a:pt x="39" y="102"/>
                  </a:lnTo>
                  <a:lnTo>
                    <a:pt x="39" y="104"/>
                  </a:lnTo>
                  <a:lnTo>
                    <a:pt x="35" y="106"/>
                  </a:lnTo>
                  <a:lnTo>
                    <a:pt x="31" y="108"/>
                  </a:lnTo>
                  <a:lnTo>
                    <a:pt x="29" y="106"/>
                  </a:lnTo>
                  <a:lnTo>
                    <a:pt x="31" y="102"/>
                  </a:lnTo>
                  <a:lnTo>
                    <a:pt x="31" y="96"/>
                  </a:lnTo>
                  <a:lnTo>
                    <a:pt x="29" y="96"/>
                  </a:lnTo>
                  <a:lnTo>
                    <a:pt x="27" y="98"/>
                  </a:lnTo>
                  <a:lnTo>
                    <a:pt x="29" y="102"/>
                  </a:lnTo>
                  <a:lnTo>
                    <a:pt x="27" y="104"/>
                  </a:lnTo>
                  <a:lnTo>
                    <a:pt x="27" y="108"/>
                  </a:lnTo>
                  <a:lnTo>
                    <a:pt x="25" y="114"/>
                  </a:lnTo>
                  <a:lnTo>
                    <a:pt x="23" y="116"/>
                  </a:lnTo>
                  <a:lnTo>
                    <a:pt x="23" y="114"/>
                  </a:lnTo>
                  <a:lnTo>
                    <a:pt x="20" y="121"/>
                  </a:lnTo>
                  <a:lnTo>
                    <a:pt x="16" y="123"/>
                  </a:lnTo>
                  <a:lnTo>
                    <a:pt x="12" y="121"/>
                  </a:lnTo>
                  <a:lnTo>
                    <a:pt x="10" y="123"/>
                  </a:lnTo>
                  <a:lnTo>
                    <a:pt x="4" y="121"/>
                  </a:lnTo>
                  <a:lnTo>
                    <a:pt x="2" y="118"/>
                  </a:lnTo>
                  <a:lnTo>
                    <a:pt x="4" y="116"/>
                  </a:lnTo>
                  <a:lnTo>
                    <a:pt x="12" y="116"/>
                  </a:lnTo>
                  <a:lnTo>
                    <a:pt x="16" y="112"/>
                  </a:lnTo>
                  <a:lnTo>
                    <a:pt x="18" y="106"/>
                  </a:lnTo>
                  <a:lnTo>
                    <a:pt x="14" y="106"/>
                  </a:lnTo>
                  <a:lnTo>
                    <a:pt x="12" y="110"/>
                  </a:lnTo>
                  <a:lnTo>
                    <a:pt x="10" y="108"/>
                  </a:lnTo>
                  <a:lnTo>
                    <a:pt x="12" y="112"/>
                  </a:lnTo>
                  <a:lnTo>
                    <a:pt x="10" y="112"/>
                  </a:lnTo>
                  <a:lnTo>
                    <a:pt x="2" y="106"/>
                  </a:lnTo>
                  <a:lnTo>
                    <a:pt x="4" y="100"/>
                  </a:lnTo>
                  <a:lnTo>
                    <a:pt x="6" y="91"/>
                  </a:lnTo>
                  <a:lnTo>
                    <a:pt x="14" y="85"/>
                  </a:lnTo>
                  <a:lnTo>
                    <a:pt x="20" y="85"/>
                  </a:lnTo>
                  <a:lnTo>
                    <a:pt x="21" y="81"/>
                  </a:lnTo>
                  <a:lnTo>
                    <a:pt x="23" y="79"/>
                  </a:lnTo>
                  <a:lnTo>
                    <a:pt x="25" y="81"/>
                  </a:lnTo>
                  <a:lnTo>
                    <a:pt x="64" y="81"/>
                  </a:lnTo>
                  <a:lnTo>
                    <a:pt x="64" y="72"/>
                  </a:lnTo>
                  <a:lnTo>
                    <a:pt x="64" y="66"/>
                  </a:lnTo>
                  <a:lnTo>
                    <a:pt x="66" y="60"/>
                  </a:lnTo>
                  <a:lnTo>
                    <a:pt x="66" y="58"/>
                  </a:lnTo>
                  <a:lnTo>
                    <a:pt x="66" y="50"/>
                  </a:lnTo>
                  <a:lnTo>
                    <a:pt x="66" y="47"/>
                  </a:lnTo>
                  <a:lnTo>
                    <a:pt x="71" y="43"/>
                  </a:lnTo>
                  <a:lnTo>
                    <a:pt x="75" y="45"/>
                  </a:lnTo>
                  <a:lnTo>
                    <a:pt x="77" y="52"/>
                  </a:lnTo>
                  <a:lnTo>
                    <a:pt x="79" y="54"/>
                  </a:lnTo>
                  <a:lnTo>
                    <a:pt x="83" y="47"/>
                  </a:lnTo>
                  <a:lnTo>
                    <a:pt x="87" y="45"/>
                  </a:lnTo>
                  <a:lnTo>
                    <a:pt x="91" y="52"/>
                  </a:lnTo>
                  <a:lnTo>
                    <a:pt x="94" y="52"/>
                  </a:lnTo>
                  <a:lnTo>
                    <a:pt x="96" y="47"/>
                  </a:lnTo>
                  <a:lnTo>
                    <a:pt x="100" y="45"/>
                  </a:lnTo>
                  <a:lnTo>
                    <a:pt x="98" y="41"/>
                  </a:lnTo>
                  <a:lnTo>
                    <a:pt x="108" y="45"/>
                  </a:lnTo>
                  <a:lnTo>
                    <a:pt x="110" y="45"/>
                  </a:lnTo>
                  <a:lnTo>
                    <a:pt x="112" y="45"/>
                  </a:lnTo>
                  <a:lnTo>
                    <a:pt x="117" y="45"/>
                  </a:lnTo>
                  <a:lnTo>
                    <a:pt x="119" y="47"/>
                  </a:lnTo>
                  <a:lnTo>
                    <a:pt x="121" y="47"/>
                  </a:lnTo>
                  <a:lnTo>
                    <a:pt x="131" y="48"/>
                  </a:lnTo>
                  <a:lnTo>
                    <a:pt x="140" y="47"/>
                  </a:lnTo>
                  <a:lnTo>
                    <a:pt x="148" y="48"/>
                  </a:lnTo>
                  <a:lnTo>
                    <a:pt x="158" y="45"/>
                  </a:lnTo>
                  <a:lnTo>
                    <a:pt x="160" y="45"/>
                  </a:lnTo>
                  <a:lnTo>
                    <a:pt x="167" y="47"/>
                  </a:lnTo>
                  <a:lnTo>
                    <a:pt x="171" y="47"/>
                  </a:lnTo>
                  <a:lnTo>
                    <a:pt x="175" y="47"/>
                  </a:lnTo>
                  <a:lnTo>
                    <a:pt x="181" y="47"/>
                  </a:lnTo>
                  <a:lnTo>
                    <a:pt x="188" y="47"/>
                  </a:lnTo>
                  <a:lnTo>
                    <a:pt x="198" y="47"/>
                  </a:lnTo>
                  <a:lnTo>
                    <a:pt x="204" y="47"/>
                  </a:lnTo>
                  <a:lnTo>
                    <a:pt x="213" y="45"/>
                  </a:lnTo>
                  <a:lnTo>
                    <a:pt x="217" y="45"/>
                  </a:lnTo>
                  <a:lnTo>
                    <a:pt x="223" y="41"/>
                  </a:lnTo>
                  <a:lnTo>
                    <a:pt x="225" y="43"/>
                  </a:lnTo>
                  <a:lnTo>
                    <a:pt x="231" y="39"/>
                  </a:lnTo>
                  <a:lnTo>
                    <a:pt x="240" y="39"/>
                  </a:lnTo>
                  <a:lnTo>
                    <a:pt x="242" y="37"/>
                  </a:lnTo>
                  <a:lnTo>
                    <a:pt x="242" y="33"/>
                  </a:lnTo>
                  <a:lnTo>
                    <a:pt x="244" y="37"/>
                  </a:lnTo>
                  <a:lnTo>
                    <a:pt x="246" y="35"/>
                  </a:lnTo>
                  <a:lnTo>
                    <a:pt x="250" y="35"/>
                  </a:lnTo>
                  <a:lnTo>
                    <a:pt x="254" y="33"/>
                  </a:lnTo>
                  <a:lnTo>
                    <a:pt x="252" y="29"/>
                  </a:lnTo>
                  <a:lnTo>
                    <a:pt x="256" y="33"/>
                  </a:lnTo>
                  <a:lnTo>
                    <a:pt x="258" y="33"/>
                  </a:lnTo>
                  <a:lnTo>
                    <a:pt x="263" y="29"/>
                  </a:lnTo>
                  <a:lnTo>
                    <a:pt x="259" y="29"/>
                  </a:lnTo>
                  <a:lnTo>
                    <a:pt x="259" y="27"/>
                  </a:lnTo>
                  <a:lnTo>
                    <a:pt x="263" y="27"/>
                  </a:lnTo>
                  <a:lnTo>
                    <a:pt x="263" y="29"/>
                  </a:lnTo>
                  <a:lnTo>
                    <a:pt x="271" y="27"/>
                  </a:lnTo>
                  <a:lnTo>
                    <a:pt x="271" y="25"/>
                  </a:lnTo>
                  <a:lnTo>
                    <a:pt x="269" y="25"/>
                  </a:lnTo>
                  <a:lnTo>
                    <a:pt x="271" y="25"/>
                  </a:lnTo>
                  <a:lnTo>
                    <a:pt x="275" y="25"/>
                  </a:lnTo>
                  <a:lnTo>
                    <a:pt x="271" y="27"/>
                  </a:lnTo>
                  <a:lnTo>
                    <a:pt x="265" y="31"/>
                  </a:lnTo>
                  <a:lnTo>
                    <a:pt x="261" y="37"/>
                  </a:lnTo>
                  <a:lnTo>
                    <a:pt x="259" y="39"/>
                  </a:lnTo>
                  <a:lnTo>
                    <a:pt x="261" y="45"/>
                  </a:lnTo>
                  <a:lnTo>
                    <a:pt x="259" y="47"/>
                  </a:lnTo>
                  <a:lnTo>
                    <a:pt x="261" y="48"/>
                  </a:lnTo>
                  <a:lnTo>
                    <a:pt x="259" y="50"/>
                  </a:lnTo>
                  <a:lnTo>
                    <a:pt x="265" y="52"/>
                  </a:lnTo>
                  <a:lnTo>
                    <a:pt x="269" y="54"/>
                  </a:lnTo>
                  <a:lnTo>
                    <a:pt x="275" y="54"/>
                  </a:lnTo>
                  <a:lnTo>
                    <a:pt x="284" y="54"/>
                  </a:lnTo>
                  <a:lnTo>
                    <a:pt x="288" y="50"/>
                  </a:lnTo>
                  <a:lnTo>
                    <a:pt x="292" y="50"/>
                  </a:lnTo>
                  <a:lnTo>
                    <a:pt x="296" y="48"/>
                  </a:lnTo>
                  <a:lnTo>
                    <a:pt x="292" y="45"/>
                  </a:lnTo>
                  <a:lnTo>
                    <a:pt x="298" y="41"/>
                  </a:lnTo>
                  <a:lnTo>
                    <a:pt x="304" y="37"/>
                  </a:lnTo>
                  <a:lnTo>
                    <a:pt x="309" y="39"/>
                  </a:lnTo>
                  <a:lnTo>
                    <a:pt x="315" y="35"/>
                  </a:lnTo>
                  <a:lnTo>
                    <a:pt x="319" y="33"/>
                  </a:lnTo>
                  <a:lnTo>
                    <a:pt x="319" y="31"/>
                  </a:lnTo>
                  <a:lnTo>
                    <a:pt x="317" y="29"/>
                  </a:lnTo>
                  <a:lnTo>
                    <a:pt x="309" y="31"/>
                  </a:lnTo>
                  <a:lnTo>
                    <a:pt x="302" y="27"/>
                  </a:lnTo>
                  <a:lnTo>
                    <a:pt x="298" y="22"/>
                  </a:lnTo>
                  <a:lnTo>
                    <a:pt x="292" y="20"/>
                  </a:lnTo>
                  <a:lnTo>
                    <a:pt x="298" y="18"/>
                  </a:lnTo>
                  <a:lnTo>
                    <a:pt x="302" y="25"/>
                  </a:lnTo>
                  <a:lnTo>
                    <a:pt x="306" y="27"/>
                  </a:lnTo>
                  <a:lnTo>
                    <a:pt x="307" y="20"/>
                  </a:lnTo>
                  <a:lnTo>
                    <a:pt x="306" y="18"/>
                  </a:lnTo>
                  <a:lnTo>
                    <a:pt x="306" y="12"/>
                  </a:lnTo>
                  <a:lnTo>
                    <a:pt x="309" y="8"/>
                  </a:lnTo>
                  <a:lnTo>
                    <a:pt x="313" y="6"/>
                  </a:lnTo>
                  <a:lnTo>
                    <a:pt x="319" y="2"/>
                  </a:lnTo>
                  <a:lnTo>
                    <a:pt x="325" y="6"/>
                  </a:lnTo>
                  <a:lnTo>
                    <a:pt x="330" y="8"/>
                  </a:lnTo>
                  <a:lnTo>
                    <a:pt x="334" y="10"/>
                  </a:lnTo>
                  <a:lnTo>
                    <a:pt x="338" y="10"/>
                  </a:lnTo>
                  <a:lnTo>
                    <a:pt x="344" y="6"/>
                  </a:lnTo>
                  <a:lnTo>
                    <a:pt x="346" y="8"/>
                  </a:lnTo>
                  <a:lnTo>
                    <a:pt x="348" y="10"/>
                  </a:lnTo>
                  <a:lnTo>
                    <a:pt x="352" y="8"/>
                  </a:lnTo>
                  <a:lnTo>
                    <a:pt x="359" y="4"/>
                  </a:lnTo>
                  <a:lnTo>
                    <a:pt x="363" y="2"/>
                  </a:lnTo>
                  <a:lnTo>
                    <a:pt x="371" y="4"/>
                  </a:lnTo>
                  <a:lnTo>
                    <a:pt x="377" y="8"/>
                  </a:lnTo>
                  <a:lnTo>
                    <a:pt x="382" y="6"/>
                  </a:lnTo>
                  <a:lnTo>
                    <a:pt x="392" y="4"/>
                  </a:lnTo>
                  <a:lnTo>
                    <a:pt x="394" y="10"/>
                  </a:lnTo>
                  <a:lnTo>
                    <a:pt x="398" y="12"/>
                  </a:lnTo>
                  <a:lnTo>
                    <a:pt x="400" y="4"/>
                  </a:lnTo>
                  <a:lnTo>
                    <a:pt x="405" y="4"/>
                  </a:lnTo>
                  <a:lnTo>
                    <a:pt x="405" y="6"/>
                  </a:lnTo>
                  <a:lnTo>
                    <a:pt x="407" y="8"/>
                  </a:lnTo>
                  <a:lnTo>
                    <a:pt x="413" y="6"/>
                  </a:lnTo>
                  <a:lnTo>
                    <a:pt x="413" y="2"/>
                  </a:lnTo>
                  <a:lnTo>
                    <a:pt x="421" y="0"/>
                  </a:lnTo>
                  <a:lnTo>
                    <a:pt x="423" y="2"/>
                  </a:lnTo>
                  <a:lnTo>
                    <a:pt x="423" y="6"/>
                  </a:lnTo>
                  <a:lnTo>
                    <a:pt x="426" y="8"/>
                  </a:lnTo>
                  <a:lnTo>
                    <a:pt x="428" y="8"/>
                  </a:lnTo>
                  <a:lnTo>
                    <a:pt x="430" y="10"/>
                  </a:lnTo>
                  <a:lnTo>
                    <a:pt x="434" y="12"/>
                  </a:lnTo>
                  <a:lnTo>
                    <a:pt x="438" y="8"/>
                  </a:lnTo>
                  <a:lnTo>
                    <a:pt x="440" y="10"/>
                  </a:lnTo>
                  <a:lnTo>
                    <a:pt x="448" y="10"/>
                  </a:lnTo>
                  <a:lnTo>
                    <a:pt x="449" y="8"/>
                  </a:lnTo>
                  <a:lnTo>
                    <a:pt x="451" y="10"/>
                  </a:lnTo>
                  <a:lnTo>
                    <a:pt x="449" y="12"/>
                  </a:lnTo>
                  <a:lnTo>
                    <a:pt x="444" y="12"/>
                  </a:lnTo>
                  <a:lnTo>
                    <a:pt x="440" y="14"/>
                  </a:lnTo>
                  <a:lnTo>
                    <a:pt x="444" y="18"/>
                  </a:lnTo>
                  <a:lnTo>
                    <a:pt x="448" y="18"/>
                  </a:lnTo>
                  <a:lnTo>
                    <a:pt x="449" y="16"/>
                  </a:lnTo>
                  <a:lnTo>
                    <a:pt x="453" y="23"/>
                  </a:lnTo>
                  <a:lnTo>
                    <a:pt x="459" y="22"/>
                  </a:lnTo>
                  <a:lnTo>
                    <a:pt x="459" y="27"/>
                  </a:lnTo>
                  <a:lnTo>
                    <a:pt x="463" y="33"/>
                  </a:lnTo>
                  <a:lnTo>
                    <a:pt x="467" y="33"/>
                  </a:lnTo>
                  <a:lnTo>
                    <a:pt x="465" y="27"/>
                  </a:lnTo>
                  <a:lnTo>
                    <a:pt x="467" y="27"/>
                  </a:lnTo>
                  <a:lnTo>
                    <a:pt x="467" y="25"/>
                  </a:lnTo>
                  <a:lnTo>
                    <a:pt x="471" y="22"/>
                  </a:lnTo>
                  <a:lnTo>
                    <a:pt x="474" y="25"/>
                  </a:lnTo>
                  <a:lnTo>
                    <a:pt x="482" y="27"/>
                  </a:lnTo>
                  <a:lnTo>
                    <a:pt x="486" y="27"/>
                  </a:lnTo>
                  <a:lnTo>
                    <a:pt x="486" y="33"/>
                  </a:lnTo>
                  <a:lnTo>
                    <a:pt x="490" y="39"/>
                  </a:lnTo>
                  <a:lnTo>
                    <a:pt x="497" y="39"/>
                  </a:lnTo>
                  <a:lnTo>
                    <a:pt x="503" y="37"/>
                  </a:lnTo>
                  <a:lnTo>
                    <a:pt x="509" y="41"/>
                  </a:lnTo>
                  <a:lnTo>
                    <a:pt x="517" y="37"/>
                  </a:lnTo>
                  <a:lnTo>
                    <a:pt x="515" y="35"/>
                  </a:lnTo>
                  <a:lnTo>
                    <a:pt x="517" y="31"/>
                  </a:lnTo>
                  <a:lnTo>
                    <a:pt x="519" y="29"/>
                  </a:lnTo>
                  <a:lnTo>
                    <a:pt x="517" y="27"/>
                  </a:lnTo>
                  <a:lnTo>
                    <a:pt x="519" y="25"/>
                  </a:lnTo>
                  <a:lnTo>
                    <a:pt x="521" y="25"/>
                  </a:lnTo>
                  <a:lnTo>
                    <a:pt x="521" y="27"/>
                  </a:lnTo>
                  <a:lnTo>
                    <a:pt x="522" y="27"/>
                  </a:lnTo>
                  <a:lnTo>
                    <a:pt x="528" y="23"/>
                  </a:lnTo>
                  <a:lnTo>
                    <a:pt x="530" y="31"/>
                  </a:lnTo>
                  <a:lnTo>
                    <a:pt x="528" y="35"/>
                  </a:lnTo>
                  <a:lnTo>
                    <a:pt x="536" y="39"/>
                  </a:lnTo>
                  <a:lnTo>
                    <a:pt x="540" y="37"/>
                  </a:lnTo>
                  <a:lnTo>
                    <a:pt x="542" y="37"/>
                  </a:lnTo>
                  <a:lnTo>
                    <a:pt x="540" y="41"/>
                  </a:lnTo>
                  <a:lnTo>
                    <a:pt x="538" y="41"/>
                  </a:lnTo>
                  <a:lnTo>
                    <a:pt x="536" y="45"/>
                  </a:lnTo>
                  <a:lnTo>
                    <a:pt x="532" y="45"/>
                  </a:lnTo>
                  <a:lnTo>
                    <a:pt x="532" y="47"/>
                  </a:lnTo>
                  <a:lnTo>
                    <a:pt x="528" y="50"/>
                  </a:lnTo>
                  <a:lnTo>
                    <a:pt x="526" y="56"/>
                  </a:lnTo>
                  <a:lnTo>
                    <a:pt x="532" y="64"/>
                  </a:lnTo>
                  <a:lnTo>
                    <a:pt x="540" y="70"/>
                  </a:lnTo>
                  <a:lnTo>
                    <a:pt x="538" y="73"/>
                  </a:lnTo>
                  <a:lnTo>
                    <a:pt x="544" y="77"/>
                  </a:lnTo>
                  <a:lnTo>
                    <a:pt x="547" y="77"/>
                  </a:lnTo>
                  <a:lnTo>
                    <a:pt x="547" y="73"/>
                  </a:lnTo>
                  <a:lnTo>
                    <a:pt x="551" y="72"/>
                  </a:lnTo>
                  <a:lnTo>
                    <a:pt x="553" y="66"/>
                  </a:lnTo>
                  <a:lnTo>
                    <a:pt x="557" y="64"/>
                  </a:lnTo>
                  <a:lnTo>
                    <a:pt x="557" y="68"/>
                  </a:lnTo>
                  <a:lnTo>
                    <a:pt x="561" y="72"/>
                  </a:lnTo>
                  <a:lnTo>
                    <a:pt x="561" y="79"/>
                  </a:lnTo>
                  <a:lnTo>
                    <a:pt x="563" y="85"/>
                  </a:lnTo>
                  <a:lnTo>
                    <a:pt x="557" y="87"/>
                  </a:lnTo>
                  <a:lnTo>
                    <a:pt x="555" y="93"/>
                  </a:lnTo>
                  <a:lnTo>
                    <a:pt x="555" y="96"/>
                  </a:lnTo>
                  <a:lnTo>
                    <a:pt x="555" y="100"/>
                  </a:lnTo>
                  <a:lnTo>
                    <a:pt x="557" y="102"/>
                  </a:lnTo>
                  <a:lnTo>
                    <a:pt x="559" y="100"/>
                  </a:lnTo>
                  <a:lnTo>
                    <a:pt x="561" y="102"/>
                  </a:lnTo>
                  <a:lnTo>
                    <a:pt x="565" y="104"/>
                  </a:lnTo>
                  <a:lnTo>
                    <a:pt x="567" y="110"/>
                  </a:lnTo>
                  <a:lnTo>
                    <a:pt x="570" y="110"/>
                  </a:lnTo>
                  <a:lnTo>
                    <a:pt x="570" y="116"/>
                  </a:lnTo>
                  <a:lnTo>
                    <a:pt x="568" y="118"/>
                  </a:lnTo>
                  <a:lnTo>
                    <a:pt x="570" y="120"/>
                  </a:lnTo>
                  <a:lnTo>
                    <a:pt x="576" y="116"/>
                  </a:lnTo>
                  <a:lnTo>
                    <a:pt x="582" y="116"/>
                  </a:lnTo>
                  <a:lnTo>
                    <a:pt x="586" y="118"/>
                  </a:lnTo>
                  <a:lnTo>
                    <a:pt x="584" y="125"/>
                  </a:lnTo>
                  <a:lnTo>
                    <a:pt x="582" y="129"/>
                  </a:lnTo>
                  <a:lnTo>
                    <a:pt x="586" y="131"/>
                  </a:lnTo>
                  <a:lnTo>
                    <a:pt x="582" y="137"/>
                  </a:lnTo>
                  <a:lnTo>
                    <a:pt x="584" y="139"/>
                  </a:lnTo>
                  <a:lnTo>
                    <a:pt x="590" y="137"/>
                  </a:lnTo>
                  <a:lnTo>
                    <a:pt x="592" y="141"/>
                  </a:lnTo>
                  <a:lnTo>
                    <a:pt x="595" y="137"/>
                  </a:lnTo>
                  <a:lnTo>
                    <a:pt x="597" y="139"/>
                  </a:lnTo>
                  <a:lnTo>
                    <a:pt x="603" y="137"/>
                  </a:lnTo>
                  <a:lnTo>
                    <a:pt x="607" y="143"/>
                  </a:lnTo>
                  <a:lnTo>
                    <a:pt x="609" y="146"/>
                  </a:lnTo>
                  <a:lnTo>
                    <a:pt x="609" y="150"/>
                  </a:lnTo>
                  <a:lnTo>
                    <a:pt x="615" y="148"/>
                  </a:lnTo>
                  <a:lnTo>
                    <a:pt x="615" y="146"/>
                  </a:lnTo>
                  <a:lnTo>
                    <a:pt x="618" y="144"/>
                  </a:lnTo>
                  <a:lnTo>
                    <a:pt x="620" y="150"/>
                  </a:lnTo>
                  <a:lnTo>
                    <a:pt x="624" y="150"/>
                  </a:lnTo>
                  <a:lnTo>
                    <a:pt x="624" y="152"/>
                  </a:lnTo>
                  <a:lnTo>
                    <a:pt x="626" y="152"/>
                  </a:lnTo>
                  <a:lnTo>
                    <a:pt x="626" y="154"/>
                  </a:lnTo>
                  <a:lnTo>
                    <a:pt x="630" y="154"/>
                  </a:lnTo>
                  <a:lnTo>
                    <a:pt x="636" y="158"/>
                  </a:lnTo>
                  <a:lnTo>
                    <a:pt x="634" y="166"/>
                  </a:lnTo>
                  <a:lnTo>
                    <a:pt x="636" y="169"/>
                  </a:lnTo>
                  <a:lnTo>
                    <a:pt x="640" y="169"/>
                  </a:lnTo>
                  <a:lnTo>
                    <a:pt x="641" y="164"/>
                  </a:lnTo>
                  <a:lnTo>
                    <a:pt x="645" y="164"/>
                  </a:lnTo>
                  <a:lnTo>
                    <a:pt x="647" y="168"/>
                  </a:lnTo>
                  <a:lnTo>
                    <a:pt x="651" y="173"/>
                  </a:lnTo>
                  <a:lnTo>
                    <a:pt x="649" y="175"/>
                  </a:lnTo>
                  <a:lnTo>
                    <a:pt x="655" y="179"/>
                  </a:lnTo>
                  <a:close/>
                  <a:moveTo>
                    <a:pt x="499" y="475"/>
                  </a:moveTo>
                  <a:lnTo>
                    <a:pt x="497" y="477"/>
                  </a:lnTo>
                  <a:lnTo>
                    <a:pt x="499" y="479"/>
                  </a:lnTo>
                  <a:lnTo>
                    <a:pt x="501" y="477"/>
                  </a:lnTo>
                  <a:lnTo>
                    <a:pt x="499" y="475"/>
                  </a:lnTo>
                  <a:close/>
                </a:path>
              </a:pathLst>
            </a:custGeom>
            <a:solidFill>
              <a:schemeClr val="accent3"/>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0" name="Freeform 17">
              <a:extLst>
                <a:ext uri="{FF2B5EF4-FFF2-40B4-BE49-F238E27FC236}">
                  <a16:creationId xmlns:a16="http://schemas.microsoft.com/office/drawing/2014/main" id="{B26A947F-4D08-4E56-8716-9899491C34C7}"/>
                </a:ext>
              </a:extLst>
            </p:cNvPr>
            <p:cNvSpPr>
              <a:spLocks noEditPoints="1"/>
            </p:cNvSpPr>
            <p:nvPr/>
          </p:nvSpPr>
          <p:spPr bwMode="gray">
            <a:xfrm>
              <a:off x="6462714" y="2903539"/>
              <a:ext cx="701675" cy="977900"/>
            </a:xfrm>
            <a:custGeom>
              <a:avLst/>
              <a:gdLst>
                <a:gd name="T0" fmla="*/ 294 w 442"/>
                <a:gd name="T1" fmla="*/ 609 h 616"/>
                <a:gd name="T2" fmla="*/ 313 w 442"/>
                <a:gd name="T3" fmla="*/ 605 h 616"/>
                <a:gd name="T4" fmla="*/ 294 w 442"/>
                <a:gd name="T5" fmla="*/ 597 h 616"/>
                <a:gd name="T6" fmla="*/ 294 w 442"/>
                <a:gd name="T7" fmla="*/ 609 h 616"/>
                <a:gd name="T8" fmla="*/ 296 w 442"/>
                <a:gd name="T9" fmla="*/ 586 h 616"/>
                <a:gd name="T10" fmla="*/ 238 w 442"/>
                <a:gd name="T11" fmla="*/ 591 h 616"/>
                <a:gd name="T12" fmla="*/ 300 w 442"/>
                <a:gd name="T13" fmla="*/ 576 h 616"/>
                <a:gd name="T14" fmla="*/ 304 w 442"/>
                <a:gd name="T15" fmla="*/ 564 h 616"/>
                <a:gd name="T16" fmla="*/ 332 w 442"/>
                <a:gd name="T17" fmla="*/ 25 h 616"/>
                <a:gd name="T18" fmla="*/ 394 w 442"/>
                <a:gd name="T19" fmla="*/ 40 h 616"/>
                <a:gd name="T20" fmla="*/ 438 w 442"/>
                <a:gd name="T21" fmla="*/ 84 h 616"/>
                <a:gd name="T22" fmla="*/ 419 w 442"/>
                <a:gd name="T23" fmla="*/ 115 h 616"/>
                <a:gd name="T24" fmla="*/ 411 w 442"/>
                <a:gd name="T25" fmla="*/ 126 h 616"/>
                <a:gd name="T26" fmla="*/ 355 w 442"/>
                <a:gd name="T27" fmla="*/ 101 h 616"/>
                <a:gd name="T28" fmla="*/ 342 w 442"/>
                <a:gd name="T29" fmla="*/ 86 h 616"/>
                <a:gd name="T30" fmla="*/ 332 w 442"/>
                <a:gd name="T31" fmla="*/ 105 h 616"/>
                <a:gd name="T32" fmla="*/ 304 w 442"/>
                <a:gd name="T33" fmla="*/ 84 h 616"/>
                <a:gd name="T34" fmla="*/ 292 w 442"/>
                <a:gd name="T35" fmla="*/ 88 h 616"/>
                <a:gd name="T36" fmla="*/ 254 w 442"/>
                <a:gd name="T37" fmla="*/ 130 h 616"/>
                <a:gd name="T38" fmla="*/ 290 w 442"/>
                <a:gd name="T39" fmla="*/ 178 h 616"/>
                <a:gd name="T40" fmla="*/ 325 w 442"/>
                <a:gd name="T41" fmla="*/ 192 h 616"/>
                <a:gd name="T42" fmla="*/ 330 w 442"/>
                <a:gd name="T43" fmla="*/ 219 h 616"/>
                <a:gd name="T44" fmla="*/ 275 w 442"/>
                <a:gd name="T45" fmla="*/ 246 h 616"/>
                <a:gd name="T46" fmla="*/ 250 w 442"/>
                <a:gd name="T47" fmla="*/ 263 h 616"/>
                <a:gd name="T48" fmla="*/ 298 w 442"/>
                <a:gd name="T49" fmla="*/ 319 h 616"/>
                <a:gd name="T50" fmla="*/ 313 w 442"/>
                <a:gd name="T51" fmla="*/ 357 h 616"/>
                <a:gd name="T52" fmla="*/ 294 w 442"/>
                <a:gd name="T53" fmla="*/ 390 h 616"/>
                <a:gd name="T54" fmla="*/ 311 w 442"/>
                <a:gd name="T55" fmla="*/ 420 h 616"/>
                <a:gd name="T56" fmla="*/ 332 w 442"/>
                <a:gd name="T57" fmla="*/ 441 h 616"/>
                <a:gd name="T58" fmla="*/ 334 w 442"/>
                <a:gd name="T59" fmla="*/ 480 h 616"/>
                <a:gd name="T60" fmla="*/ 342 w 442"/>
                <a:gd name="T61" fmla="*/ 539 h 616"/>
                <a:gd name="T62" fmla="*/ 340 w 442"/>
                <a:gd name="T63" fmla="*/ 587 h 616"/>
                <a:gd name="T64" fmla="*/ 330 w 442"/>
                <a:gd name="T65" fmla="*/ 601 h 616"/>
                <a:gd name="T66" fmla="*/ 305 w 442"/>
                <a:gd name="T67" fmla="*/ 587 h 616"/>
                <a:gd name="T68" fmla="*/ 309 w 442"/>
                <a:gd name="T69" fmla="*/ 566 h 616"/>
                <a:gd name="T70" fmla="*/ 290 w 442"/>
                <a:gd name="T71" fmla="*/ 580 h 616"/>
                <a:gd name="T72" fmla="*/ 282 w 442"/>
                <a:gd name="T73" fmla="*/ 589 h 616"/>
                <a:gd name="T74" fmla="*/ 267 w 442"/>
                <a:gd name="T75" fmla="*/ 599 h 616"/>
                <a:gd name="T76" fmla="*/ 254 w 442"/>
                <a:gd name="T77" fmla="*/ 599 h 616"/>
                <a:gd name="T78" fmla="*/ 238 w 442"/>
                <a:gd name="T79" fmla="*/ 547 h 616"/>
                <a:gd name="T80" fmla="*/ 204 w 442"/>
                <a:gd name="T81" fmla="*/ 599 h 616"/>
                <a:gd name="T82" fmla="*/ 150 w 442"/>
                <a:gd name="T83" fmla="*/ 582 h 616"/>
                <a:gd name="T84" fmla="*/ 106 w 442"/>
                <a:gd name="T85" fmla="*/ 553 h 616"/>
                <a:gd name="T86" fmla="*/ 100 w 442"/>
                <a:gd name="T87" fmla="*/ 503 h 616"/>
                <a:gd name="T88" fmla="*/ 75 w 442"/>
                <a:gd name="T89" fmla="*/ 461 h 616"/>
                <a:gd name="T90" fmla="*/ 6 w 442"/>
                <a:gd name="T91" fmla="*/ 434 h 616"/>
                <a:gd name="T92" fmla="*/ 25 w 442"/>
                <a:gd name="T93" fmla="*/ 393 h 616"/>
                <a:gd name="T94" fmla="*/ 58 w 442"/>
                <a:gd name="T95" fmla="*/ 405 h 616"/>
                <a:gd name="T96" fmla="*/ 112 w 442"/>
                <a:gd name="T97" fmla="*/ 368 h 616"/>
                <a:gd name="T98" fmla="*/ 148 w 442"/>
                <a:gd name="T99" fmla="*/ 367 h 616"/>
                <a:gd name="T100" fmla="*/ 177 w 442"/>
                <a:gd name="T101" fmla="*/ 349 h 616"/>
                <a:gd name="T102" fmla="*/ 200 w 442"/>
                <a:gd name="T103" fmla="*/ 326 h 616"/>
                <a:gd name="T104" fmla="*/ 213 w 442"/>
                <a:gd name="T105" fmla="*/ 295 h 616"/>
                <a:gd name="T106" fmla="*/ 219 w 442"/>
                <a:gd name="T107" fmla="*/ 263 h 616"/>
                <a:gd name="T108" fmla="*/ 215 w 442"/>
                <a:gd name="T109" fmla="*/ 213 h 616"/>
                <a:gd name="T110" fmla="*/ 244 w 442"/>
                <a:gd name="T111" fmla="*/ 188 h 616"/>
                <a:gd name="T112" fmla="*/ 219 w 442"/>
                <a:gd name="T113" fmla="*/ 142 h 616"/>
                <a:gd name="T114" fmla="*/ 248 w 442"/>
                <a:gd name="T115" fmla="*/ 113 h 616"/>
                <a:gd name="T116" fmla="*/ 263 w 442"/>
                <a:gd name="T117" fmla="*/ 75 h 616"/>
                <a:gd name="T118" fmla="*/ 240 w 442"/>
                <a:gd name="T119" fmla="*/ 11 h 616"/>
                <a:gd name="T120" fmla="*/ 313 w 442"/>
                <a:gd name="T121" fmla="*/ 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2" h="616">
                  <a:moveTo>
                    <a:pt x="248" y="611"/>
                  </a:moveTo>
                  <a:lnTo>
                    <a:pt x="250" y="611"/>
                  </a:lnTo>
                  <a:lnTo>
                    <a:pt x="250" y="612"/>
                  </a:lnTo>
                  <a:lnTo>
                    <a:pt x="248" y="612"/>
                  </a:lnTo>
                  <a:lnTo>
                    <a:pt x="248" y="611"/>
                  </a:lnTo>
                  <a:close/>
                  <a:moveTo>
                    <a:pt x="286" y="616"/>
                  </a:moveTo>
                  <a:lnTo>
                    <a:pt x="282" y="614"/>
                  </a:lnTo>
                  <a:lnTo>
                    <a:pt x="282" y="611"/>
                  </a:lnTo>
                  <a:lnTo>
                    <a:pt x="288" y="612"/>
                  </a:lnTo>
                  <a:lnTo>
                    <a:pt x="286" y="616"/>
                  </a:lnTo>
                  <a:close/>
                  <a:moveTo>
                    <a:pt x="321" y="611"/>
                  </a:moveTo>
                  <a:lnTo>
                    <a:pt x="325" y="611"/>
                  </a:lnTo>
                  <a:lnTo>
                    <a:pt x="327" y="614"/>
                  </a:lnTo>
                  <a:lnTo>
                    <a:pt x="321" y="614"/>
                  </a:lnTo>
                  <a:lnTo>
                    <a:pt x="319" y="611"/>
                  </a:lnTo>
                  <a:lnTo>
                    <a:pt x="321" y="611"/>
                  </a:lnTo>
                  <a:close/>
                  <a:moveTo>
                    <a:pt x="292" y="609"/>
                  </a:moveTo>
                  <a:lnTo>
                    <a:pt x="294" y="609"/>
                  </a:lnTo>
                  <a:lnTo>
                    <a:pt x="292" y="612"/>
                  </a:lnTo>
                  <a:lnTo>
                    <a:pt x="288" y="614"/>
                  </a:lnTo>
                  <a:lnTo>
                    <a:pt x="284" y="611"/>
                  </a:lnTo>
                  <a:lnTo>
                    <a:pt x="286" y="605"/>
                  </a:lnTo>
                  <a:lnTo>
                    <a:pt x="292" y="609"/>
                  </a:lnTo>
                  <a:close/>
                  <a:moveTo>
                    <a:pt x="298" y="601"/>
                  </a:moveTo>
                  <a:lnTo>
                    <a:pt x="298" y="605"/>
                  </a:lnTo>
                  <a:lnTo>
                    <a:pt x="298" y="601"/>
                  </a:lnTo>
                  <a:close/>
                  <a:moveTo>
                    <a:pt x="263" y="599"/>
                  </a:moveTo>
                  <a:lnTo>
                    <a:pt x="265" y="599"/>
                  </a:lnTo>
                  <a:lnTo>
                    <a:pt x="267" y="601"/>
                  </a:lnTo>
                  <a:lnTo>
                    <a:pt x="267" y="607"/>
                  </a:lnTo>
                  <a:lnTo>
                    <a:pt x="263" y="609"/>
                  </a:lnTo>
                  <a:lnTo>
                    <a:pt x="263" y="607"/>
                  </a:lnTo>
                  <a:lnTo>
                    <a:pt x="263" y="603"/>
                  </a:lnTo>
                  <a:lnTo>
                    <a:pt x="263" y="599"/>
                  </a:lnTo>
                  <a:close/>
                  <a:moveTo>
                    <a:pt x="311" y="605"/>
                  </a:moveTo>
                  <a:lnTo>
                    <a:pt x="313" y="605"/>
                  </a:lnTo>
                  <a:lnTo>
                    <a:pt x="315" y="611"/>
                  </a:lnTo>
                  <a:lnTo>
                    <a:pt x="309" y="612"/>
                  </a:lnTo>
                  <a:lnTo>
                    <a:pt x="307" y="612"/>
                  </a:lnTo>
                  <a:lnTo>
                    <a:pt x="305" y="609"/>
                  </a:lnTo>
                  <a:lnTo>
                    <a:pt x="307" y="605"/>
                  </a:lnTo>
                  <a:lnTo>
                    <a:pt x="304" y="601"/>
                  </a:lnTo>
                  <a:lnTo>
                    <a:pt x="305" y="597"/>
                  </a:lnTo>
                  <a:lnTo>
                    <a:pt x="305" y="601"/>
                  </a:lnTo>
                  <a:lnTo>
                    <a:pt x="311" y="605"/>
                  </a:lnTo>
                  <a:close/>
                  <a:moveTo>
                    <a:pt x="254" y="603"/>
                  </a:moveTo>
                  <a:lnTo>
                    <a:pt x="256" y="605"/>
                  </a:lnTo>
                  <a:lnTo>
                    <a:pt x="252" y="609"/>
                  </a:lnTo>
                  <a:lnTo>
                    <a:pt x="250" y="601"/>
                  </a:lnTo>
                  <a:lnTo>
                    <a:pt x="252" y="597"/>
                  </a:lnTo>
                  <a:lnTo>
                    <a:pt x="254" y="599"/>
                  </a:lnTo>
                  <a:lnTo>
                    <a:pt x="252" y="601"/>
                  </a:lnTo>
                  <a:lnTo>
                    <a:pt x="254" y="603"/>
                  </a:lnTo>
                  <a:close/>
                  <a:moveTo>
                    <a:pt x="294" y="597"/>
                  </a:moveTo>
                  <a:lnTo>
                    <a:pt x="292" y="591"/>
                  </a:lnTo>
                  <a:lnTo>
                    <a:pt x="292" y="593"/>
                  </a:lnTo>
                  <a:lnTo>
                    <a:pt x="296" y="595"/>
                  </a:lnTo>
                  <a:lnTo>
                    <a:pt x="294" y="597"/>
                  </a:lnTo>
                  <a:close/>
                  <a:moveTo>
                    <a:pt x="296" y="597"/>
                  </a:moveTo>
                  <a:lnTo>
                    <a:pt x="294" y="597"/>
                  </a:lnTo>
                  <a:lnTo>
                    <a:pt x="296" y="597"/>
                  </a:lnTo>
                  <a:lnTo>
                    <a:pt x="298" y="595"/>
                  </a:lnTo>
                  <a:lnTo>
                    <a:pt x="294" y="593"/>
                  </a:lnTo>
                  <a:lnTo>
                    <a:pt x="296" y="589"/>
                  </a:lnTo>
                  <a:lnTo>
                    <a:pt x="298" y="593"/>
                  </a:lnTo>
                  <a:lnTo>
                    <a:pt x="296" y="597"/>
                  </a:lnTo>
                  <a:close/>
                  <a:moveTo>
                    <a:pt x="290" y="591"/>
                  </a:moveTo>
                  <a:lnTo>
                    <a:pt x="292" y="597"/>
                  </a:lnTo>
                  <a:lnTo>
                    <a:pt x="296" y="601"/>
                  </a:lnTo>
                  <a:lnTo>
                    <a:pt x="294" y="603"/>
                  </a:lnTo>
                  <a:lnTo>
                    <a:pt x="294" y="607"/>
                  </a:lnTo>
                  <a:lnTo>
                    <a:pt x="294" y="609"/>
                  </a:lnTo>
                  <a:lnTo>
                    <a:pt x="286" y="605"/>
                  </a:lnTo>
                  <a:lnTo>
                    <a:pt x="286" y="601"/>
                  </a:lnTo>
                  <a:lnTo>
                    <a:pt x="284" y="593"/>
                  </a:lnTo>
                  <a:lnTo>
                    <a:pt x="286" y="591"/>
                  </a:lnTo>
                  <a:lnTo>
                    <a:pt x="284" y="593"/>
                  </a:lnTo>
                  <a:lnTo>
                    <a:pt x="284" y="591"/>
                  </a:lnTo>
                  <a:lnTo>
                    <a:pt x="288" y="587"/>
                  </a:lnTo>
                  <a:lnTo>
                    <a:pt x="292" y="589"/>
                  </a:lnTo>
                  <a:lnTo>
                    <a:pt x="290" y="591"/>
                  </a:lnTo>
                  <a:close/>
                  <a:moveTo>
                    <a:pt x="282" y="584"/>
                  </a:moveTo>
                  <a:lnTo>
                    <a:pt x="282" y="587"/>
                  </a:lnTo>
                  <a:lnTo>
                    <a:pt x="279" y="587"/>
                  </a:lnTo>
                  <a:lnTo>
                    <a:pt x="282" y="584"/>
                  </a:lnTo>
                  <a:close/>
                  <a:moveTo>
                    <a:pt x="296" y="589"/>
                  </a:moveTo>
                  <a:lnTo>
                    <a:pt x="294" y="589"/>
                  </a:lnTo>
                  <a:lnTo>
                    <a:pt x="292" y="587"/>
                  </a:lnTo>
                  <a:lnTo>
                    <a:pt x="294" y="582"/>
                  </a:lnTo>
                  <a:lnTo>
                    <a:pt x="296" y="586"/>
                  </a:lnTo>
                  <a:lnTo>
                    <a:pt x="296" y="587"/>
                  </a:lnTo>
                  <a:lnTo>
                    <a:pt x="296" y="589"/>
                  </a:lnTo>
                  <a:close/>
                  <a:moveTo>
                    <a:pt x="284" y="582"/>
                  </a:moveTo>
                  <a:lnTo>
                    <a:pt x="286" y="582"/>
                  </a:lnTo>
                  <a:lnTo>
                    <a:pt x="286" y="586"/>
                  </a:lnTo>
                  <a:lnTo>
                    <a:pt x="284" y="586"/>
                  </a:lnTo>
                  <a:lnTo>
                    <a:pt x="284" y="582"/>
                  </a:lnTo>
                  <a:close/>
                  <a:moveTo>
                    <a:pt x="246" y="582"/>
                  </a:moveTo>
                  <a:lnTo>
                    <a:pt x="250" y="587"/>
                  </a:lnTo>
                  <a:lnTo>
                    <a:pt x="248" y="595"/>
                  </a:lnTo>
                  <a:lnTo>
                    <a:pt x="246" y="601"/>
                  </a:lnTo>
                  <a:lnTo>
                    <a:pt x="246" y="605"/>
                  </a:lnTo>
                  <a:lnTo>
                    <a:pt x="244" y="607"/>
                  </a:lnTo>
                  <a:lnTo>
                    <a:pt x="238" y="607"/>
                  </a:lnTo>
                  <a:lnTo>
                    <a:pt x="234" y="605"/>
                  </a:lnTo>
                  <a:lnTo>
                    <a:pt x="234" y="601"/>
                  </a:lnTo>
                  <a:lnTo>
                    <a:pt x="236" y="595"/>
                  </a:lnTo>
                  <a:lnTo>
                    <a:pt x="238" y="591"/>
                  </a:lnTo>
                  <a:lnTo>
                    <a:pt x="240" y="589"/>
                  </a:lnTo>
                  <a:lnTo>
                    <a:pt x="240" y="587"/>
                  </a:lnTo>
                  <a:lnTo>
                    <a:pt x="244" y="580"/>
                  </a:lnTo>
                  <a:lnTo>
                    <a:pt x="246" y="582"/>
                  </a:lnTo>
                  <a:close/>
                  <a:moveTo>
                    <a:pt x="282" y="576"/>
                  </a:moveTo>
                  <a:lnTo>
                    <a:pt x="284" y="576"/>
                  </a:lnTo>
                  <a:lnTo>
                    <a:pt x="284" y="578"/>
                  </a:lnTo>
                  <a:lnTo>
                    <a:pt x="282" y="578"/>
                  </a:lnTo>
                  <a:lnTo>
                    <a:pt x="282" y="576"/>
                  </a:lnTo>
                  <a:close/>
                  <a:moveTo>
                    <a:pt x="300" y="576"/>
                  </a:moveTo>
                  <a:lnTo>
                    <a:pt x="302" y="576"/>
                  </a:lnTo>
                  <a:lnTo>
                    <a:pt x="300" y="580"/>
                  </a:lnTo>
                  <a:lnTo>
                    <a:pt x="300" y="582"/>
                  </a:lnTo>
                  <a:lnTo>
                    <a:pt x="298" y="589"/>
                  </a:lnTo>
                  <a:lnTo>
                    <a:pt x="296" y="587"/>
                  </a:lnTo>
                  <a:lnTo>
                    <a:pt x="298" y="586"/>
                  </a:lnTo>
                  <a:lnTo>
                    <a:pt x="294" y="582"/>
                  </a:lnTo>
                  <a:lnTo>
                    <a:pt x="300" y="576"/>
                  </a:lnTo>
                  <a:close/>
                  <a:moveTo>
                    <a:pt x="244" y="574"/>
                  </a:moveTo>
                  <a:lnTo>
                    <a:pt x="246" y="574"/>
                  </a:lnTo>
                  <a:lnTo>
                    <a:pt x="246" y="578"/>
                  </a:lnTo>
                  <a:lnTo>
                    <a:pt x="244" y="578"/>
                  </a:lnTo>
                  <a:lnTo>
                    <a:pt x="244" y="574"/>
                  </a:lnTo>
                  <a:close/>
                  <a:moveTo>
                    <a:pt x="309" y="566"/>
                  </a:moveTo>
                  <a:lnTo>
                    <a:pt x="311" y="566"/>
                  </a:lnTo>
                  <a:lnTo>
                    <a:pt x="311" y="568"/>
                  </a:lnTo>
                  <a:lnTo>
                    <a:pt x="309" y="568"/>
                  </a:lnTo>
                  <a:lnTo>
                    <a:pt x="309" y="566"/>
                  </a:lnTo>
                  <a:close/>
                  <a:moveTo>
                    <a:pt x="304" y="564"/>
                  </a:moveTo>
                  <a:lnTo>
                    <a:pt x="307" y="566"/>
                  </a:lnTo>
                  <a:lnTo>
                    <a:pt x="305" y="570"/>
                  </a:lnTo>
                  <a:lnTo>
                    <a:pt x="304" y="572"/>
                  </a:lnTo>
                  <a:lnTo>
                    <a:pt x="298" y="572"/>
                  </a:lnTo>
                  <a:lnTo>
                    <a:pt x="300" y="566"/>
                  </a:lnTo>
                  <a:lnTo>
                    <a:pt x="302" y="564"/>
                  </a:lnTo>
                  <a:lnTo>
                    <a:pt x="304" y="564"/>
                  </a:lnTo>
                  <a:close/>
                  <a:moveTo>
                    <a:pt x="236" y="576"/>
                  </a:moveTo>
                  <a:lnTo>
                    <a:pt x="236" y="572"/>
                  </a:lnTo>
                  <a:lnTo>
                    <a:pt x="238" y="566"/>
                  </a:lnTo>
                  <a:lnTo>
                    <a:pt x="246" y="564"/>
                  </a:lnTo>
                  <a:lnTo>
                    <a:pt x="242" y="570"/>
                  </a:lnTo>
                  <a:lnTo>
                    <a:pt x="238" y="574"/>
                  </a:lnTo>
                  <a:lnTo>
                    <a:pt x="236" y="576"/>
                  </a:lnTo>
                  <a:close/>
                  <a:moveTo>
                    <a:pt x="246" y="559"/>
                  </a:moveTo>
                  <a:lnTo>
                    <a:pt x="250" y="559"/>
                  </a:lnTo>
                  <a:lnTo>
                    <a:pt x="250" y="562"/>
                  </a:lnTo>
                  <a:lnTo>
                    <a:pt x="246" y="562"/>
                  </a:lnTo>
                  <a:lnTo>
                    <a:pt x="246" y="559"/>
                  </a:lnTo>
                  <a:close/>
                  <a:moveTo>
                    <a:pt x="321" y="7"/>
                  </a:moveTo>
                  <a:lnTo>
                    <a:pt x="327" y="9"/>
                  </a:lnTo>
                  <a:lnTo>
                    <a:pt x="330" y="11"/>
                  </a:lnTo>
                  <a:lnTo>
                    <a:pt x="334" y="11"/>
                  </a:lnTo>
                  <a:lnTo>
                    <a:pt x="334" y="17"/>
                  </a:lnTo>
                  <a:lnTo>
                    <a:pt x="332" y="25"/>
                  </a:lnTo>
                  <a:lnTo>
                    <a:pt x="334" y="30"/>
                  </a:lnTo>
                  <a:lnTo>
                    <a:pt x="338" y="25"/>
                  </a:lnTo>
                  <a:lnTo>
                    <a:pt x="342" y="27"/>
                  </a:lnTo>
                  <a:lnTo>
                    <a:pt x="342" y="30"/>
                  </a:lnTo>
                  <a:lnTo>
                    <a:pt x="346" y="32"/>
                  </a:lnTo>
                  <a:lnTo>
                    <a:pt x="350" y="30"/>
                  </a:lnTo>
                  <a:lnTo>
                    <a:pt x="352" y="32"/>
                  </a:lnTo>
                  <a:lnTo>
                    <a:pt x="352" y="34"/>
                  </a:lnTo>
                  <a:lnTo>
                    <a:pt x="355" y="34"/>
                  </a:lnTo>
                  <a:lnTo>
                    <a:pt x="357" y="36"/>
                  </a:lnTo>
                  <a:lnTo>
                    <a:pt x="357" y="42"/>
                  </a:lnTo>
                  <a:lnTo>
                    <a:pt x="361" y="44"/>
                  </a:lnTo>
                  <a:lnTo>
                    <a:pt x="365" y="42"/>
                  </a:lnTo>
                  <a:lnTo>
                    <a:pt x="375" y="44"/>
                  </a:lnTo>
                  <a:lnTo>
                    <a:pt x="378" y="40"/>
                  </a:lnTo>
                  <a:lnTo>
                    <a:pt x="388" y="38"/>
                  </a:lnTo>
                  <a:lnTo>
                    <a:pt x="388" y="40"/>
                  </a:lnTo>
                  <a:lnTo>
                    <a:pt x="394" y="40"/>
                  </a:lnTo>
                  <a:lnTo>
                    <a:pt x="396" y="46"/>
                  </a:lnTo>
                  <a:lnTo>
                    <a:pt x="405" y="44"/>
                  </a:lnTo>
                  <a:lnTo>
                    <a:pt x="405" y="46"/>
                  </a:lnTo>
                  <a:lnTo>
                    <a:pt x="415" y="48"/>
                  </a:lnTo>
                  <a:lnTo>
                    <a:pt x="413" y="53"/>
                  </a:lnTo>
                  <a:lnTo>
                    <a:pt x="417" y="53"/>
                  </a:lnTo>
                  <a:lnTo>
                    <a:pt x="417" y="52"/>
                  </a:lnTo>
                  <a:lnTo>
                    <a:pt x="423" y="53"/>
                  </a:lnTo>
                  <a:lnTo>
                    <a:pt x="426" y="52"/>
                  </a:lnTo>
                  <a:lnTo>
                    <a:pt x="428" y="55"/>
                  </a:lnTo>
                  <a:lnTo>
                    <a:pt x="432" y="55"/>
                  </a:lnTo>
                  <a:lnTo>
                    <a:pt x="438" y="55"/>
                  </a:lnTo>
                  <a:lnTo>
                    <a:pt x="440" y="59"/>
                  </a:lnTo>
                  <a:lnTo>
                    <a:pt x="440" y="67"/>
                  </a:lnTo>
                  <a:lnTo>
                    <a:pt x="442" y="73"/>
                  </a:lnTo>
                  <a:lnTo>
                    <a:pt x="440" y="73"/>
                  </a:lnTo>
                  <a:lnTo>
                    <a:pt x="436" y="82"/>
                  </a:lnTo>
                  <a:lnTo>
                    <a:pt x="438" y="84"/>
                  </a:lnTo>
                  <a:lnTo>
                    <a:pt x="436" y="84"/>
                  </a:lnTo>
                  <a:lnTo>
                    <a:pt x="438" y="88"/>
                  </a:lnTo>
                  <a:lnTo>
                    <a:pt x="436" y="90"/>
                  </a:lnTo>
                  <a:lnTo>
                    <a:pt x="434" y="90"/>
                  </a:lnTo>
                  <a:lnTo>
                    <a:pt x="428" y="94"/>
                  </a:lnTo>
                  <a:lnTo>
                    <a:pt x="428" y="98"/>
                  </a:lnTo>
                  <a:lnTo>
                    <a:pt x="426" y="98"/>
                  </a:lnTo>
                  <a:lnTo>
                    <a:pt x="426" y="101"/>
                  </a:lnTo>
                  <a:lnTo>
                    <a:pt x="423" y="100"/>
                  </a:lnTo>
                  <a:lnTo>
                    <a:pt x="424" y="103"/>
                  </a:lnTo>
                  <a:lnTo>
                    <a:pt x="421" y="103"/>
                  </a:lnTo>
                  <a:lnTo>
                    <a:pt x="423" y="105"/>
                  </a:lnTo>
                  <a:lnTo>
                    <a:pt x="421" y="109"/>
                  </a:lnTo>
                  <a:lnTo>
                    <a:pt x="424" y="109"/>
                  </a:lnTo>
                  <a:lnTo>
                    <a:pt x="421" y="111"/>
                  </a:lnTo>
                  <a:lnTo>
                    <a:pt x="421" y="113"/>
                  </a:lnTo>
                  <a:lnTo>
                    <a:pt x="421" y="115"/>
                  </a:lnTo>
                  <a:lnTo>
                    <a:pt x="419" y="115"/>
                  </a:lnTo>
                  <a:lnTo>
                    <a:pt x="417" y="105"/>
                  </a:lnTo>
                  <a:lnTo>
                    <a:pt x="413" y="107"/>
                  </a:lnTo>
                  <a:lnTo>
                    <a:pt x="415" y="111"/>
                  </a:lnTo>
                  <a:lnTo>
                    <a:pt x="413" y="111"/>
                  </a:lnTo>
                  <a:lnTo>
                    <a:pt x="415" y="111"/>
                  </a:lnTo>
                  <a:lnTo>
                    <a:pt x="415" y="113"/>
                  </a:lnTo>
                  <a:lnTo>
                    <a:pt x="409" y="111"/>
                  </a:lnTo>
                  <a:lnTo>
                    <a:pt x="411" y="113"/>
                  </a:lnTo>
                  <a:lnTo>
                    <a:pt x="409" y="113"/>
                  </a:lnTo>
                  <a:lnTo>
                    <a:pt x="409" y="117"/>
                  </a:lnTo>
                  <a:lnTo>
                    <a:pt x="413" y="119"/>
                  </a:lnTo>
                  <a:lnTo>
                    <a:pt x="409" y="121"/>
                  </a:lnTo>
                  <a:lnTo>
                    <a:pt x="409" y="123"/>
                  </a:lnTo>
                  <a:lnTo>
                    <a:pt x="413" y="121"/>
                  </a:lnTo>
                  <a:lnTo>
                    <a:pt x="415" y="125"/>
                  </a:lnTo>
                  <a:lnTo>
                    <a:pt x="411" y="126"/>
                  </a:lnTo>
                  <a:lnTo>
                    <a:pt x="409" y="125"/>
                  </a:lnTo>
                  <a:lnTo>
                    <a:pt x="411" y="126"/>
                  </a:lnTo>
                  <a:lnTo>
                    <a:pt x="407" y="130"/>
                  </a:lnTo>
                  <a:lnTo>
                    <a:pt x="407" y="136"/>
                  </a:lnTo>
                  <a:lnTo>
                    <a:pt x="403" y="136"/>
                  </a:lnTo>
                  <a:lnTo>
                    <a:pt x="401" y="132"/>
                  </a:lnTo>
                  <a:lnTo>
                    <a:pt x="394" y="132"/>
                  </a:lnTo>
                  <a:lnTo>
                    <a:pt x="388" y="128"/>
                  </a:lnTo>
                  <a:lnTo>
                    <a:pt x="386" y="132"/>
                  </a:lnTo>
                  <a:lnTo>
                    <a:pt x="382" y="130"/>
                  </a:lnTo>
                  <a:lnTo>
                    <a:pt x="378" y="126"/>
                  </a:lnTo>
                  <a:lnTo>
                    <a:pt x="373" y="126"/>
                  </a:lnTo>
                  <a:lnTo>
                    <a:pt x="375" y="126"/>
                  </a:lnTo>
                  <a:lnTo>
                    <a:pt x="371" y="125"/>
                  </a:lnTo>
                  <a:lnTo>
                    <a:pt x="373" y="121"/>
                  </a:lnTo>
                  <a:lnTo>
                    <a:pt x="369" y="119"/>
                  </a:lnTo>
                  <a:lnTo>
                    <a:pt x="361" y="117"/>
                  </a:lnTo>
                  <a:lnTo>
                    <a:pt x="359" y="113"/>
                  </a:lnTo>
                  <a:lnTo>
                    <a:pt x="361" y="107"/>
                  </a:lnTo>
                  <a:lnTo>
                    <a:pt x="355" y="101"/>
                  </a:lnTo>
                  <a:lnTo>
                    <a:pt x="357" y="100"/>
                  </a:lnTo>
                  <a:lnTo>
                    <a:pt x="357" y="98"/>
                  </a:lnTo>
                  <a:lnTo>
                    <a:pt x="359" y="100"/>
                  </a:lnTo>
                  <a:lnTo>
                    <a:pt x="359" y="98"/>
                  </a:lnTo>
                  <a:lnTo>
                    <a:pt x="355" y="96"/>
                  </a:lnTo>
                  <a:lnTo>
                    <a:pt x="352" y="98"/>
                  </a:lnTo>
                  <a:lnTo>
                    <a:pt x="352" y="96"/>
                  </a:lnTo>
                  <a:lnTo>
                    <a:pt x="353" y="98"/>
                  </a:lnTo>
                  <a:lnTo>
                    <a:pt x="355" y="96"/>
                  </a:lnTo>
                  <a:lnTo>
                    <a:pt x="355" y="92"/>
                  </a:lnTo>
                  <a:lnTo>
                    <a:pt x="353" y="92"/>
                  </a:lnTo>
                  <a:lnTo>
                    <a:pt x="355" y="88"/>
                  </a:lnTo>
                  <a:lnTo>
                    <a:pt x="350" y="88"/>
                  </a:lnTo>
                  <a:lnTo>
                    <a:pt x="346" y="86"/>
                  </a:lnTo>
                  <a:lnTo>
                    <a:pt x="344" y="88"/>
                  </a:lnTo>
                  <a:lnTo>
                    <a:pt x="346" y="84"/>
                  </a:lnTo>
                  <a:lnTo>
                    <a:pt x="342" y="82"/>
                  </a:lnTo>
                  <a:lnTo>
                    <a:pt x="342" y="86"/>
                  </a:lnTo>
                  <a:lnTo>
                    <a:pt x="338" y="84"/>
                  </a:lnTo>
                  <a:lnTo>
                    <a:pt x="338" y="88"/>
                  </a:lnTo>
                  <a:lnTo>
                    <a:pt x="336" y="88"/>
                  </a:lnTo>
                  <a:lnTo>
                    <a:pt x="338" y="92"/>
                  </a:lnTo>
                  <a:lnTo>
                    <a:pt x="342" y="94"/>
                  </a:lnTo>
                  <a:lnTo>
                    <a:pt x="340" y="96"/>
                  </a:lnTo>
                  <a:lnTo>
                    <a:pt x="344" y="94"/>
                  </a:lnTo>
                  <a:lnTo>
                    <a:pt x="346" y="96"/>
                  </a:lnTo>
                  <a:lnTo>
                    <a:pt x="344" y="100"/>
                  </a:lnTo>
                  <a:lnTo>
                    <a:pt x="352" y="103"/>
                  </a:lnTo>
                  <a:lnTo>
                    <a:pt x="350" y="105"/>
                  </a:lnTo>
                  <a:lnTo>
                    <a:pt x="348" y="105"/>
                  </a:lnTo>
                  <a:lnTo>
                    <a:pt x="348" y="107"/>
                  </a:lnTo>
                  <a:lnTo>
                    <a:pt x="338" y="105"/>
                  </a:lnTo>
                  <a:lnTo>
                    <a:pt x="336" y="101"/>
                  </a:lnTo>
                  <a:lnTo>
                    <a:pt x="332" y="101"/>
                  </a:lnTo>
                  <a:lnTo>
                    <a:pt x="330" y="103"/>
                  </a:lnTo>
                  <a:lnTo>
                    <a:pt x="332" y="105"/>
                  </a:lnTo>
                  <a:lnTo>
                    <a:pt x="328" y="107"/>
                  </a:lnTo>
                  <a:lnTo>
                    <a:pt x="327" y="103"/>
                  </a:lnTo>
                  <a:lnTo>
                    <a:pt x="327" y="100"/>
                  </a:lnTo>
                  <a:lnTo>
                    <a:pt x="325" y="98"/>
                  </a:lnTo>
                  <a:lnTo>
                    <a:pt x="321" y="100"/>
                  </a:lnTo>
                  <a:lnTo>
                    <a:pt x="319" y="98"/>
                  </a:lnTo>
                  <a:lnTo>
                    <a:pt x="315" y="103"/>
                  </a:lnTo>
                  <a:lnTo>
                    <a:pt x="311" y="101"/>
                  </a:lnTo>
                  <a:lnTo>
                    <a:pt x="311" y="100"/>
                  </a:lnTo>
                  <a:lnTo>
                    <a:pt x="309" y="98"/>
                  </a:lnTo>
                  <a:lnTo>
                    <a:pt x="315" y="96"/>
                  </a:lnTo>
                  <a:lnTo>
                    <a:pt x="313" y="90"/>
                  </a:lnTo>
                  <a:lnTo>
                    <a:pt x="311" y="90"/>
                  </a:lnTo>
                  <a:lnTo>
                    <a:pt x="311" y="88"/>
                  </a:lnTo>
                  <a:lnTo>
                    <a:pt x="307" y="86"/>
                  </a:lnTo>
                  <a:lnTo>
                    <a:pt x="305" y="80"/>
                  </a:lnTo>
                  <a:lnTo>
                    <a:pt x="304" y="80"/>
                  </a:lnTo>
                  <a:lnTo>
                    <a:pt x="304" y="84"/>
                  </a:lnTo>
                  <a:lnTo>
                    <a:pt x="300" y="82"/>
                  </a:lnTo>
                  <a:lnTo>
                    <a:pt x="300" y="80"/>
                  </a:lnTo>
                  <a:lnTo>
                    <a:pt x="296" y="80"/>
                  </a:lnTo>
                  <a:lnTo>
                    <a:pt x="296" y="78"/>
                  </a:lnTo>
                  <a:lnTo>
                    <a:pt x="292" y="77"/>
                  </a:lnTo>
                  <a:lnTo>
                    <a:pt x="292" y="75"/>
                  </a:lnTo>
                  <a:lnTo>
                    <a:pt x="286" y="73"/>
                  </a:lnTo>
                  <a:lnTo>
                    <a:pt x="284" y="71"/>
                  </a:lnTo>
                  <a:lnTo>
                    <a:pt x="284" y="63"/>
                  </a:lnTo>
                  <a:lnTo>
                    <a:pt x="279" y="69"/>
                  </a:lnTo>
                  <a:lnTo>
                    <a:pt x="277" y="77"/>
                  </a:lnTo>
                  <a:lnTo>
                    <a:pt x="275" y="78"/>
                  </a:lnTo>
                  <a:lnTo>
                    <a:pt x="277" y="84"/>
                  </a:lnTo>
                  <a:lnTo>
                    <a:pt x="279" y="78"/>
                  </a:lnTo>
                  <a:lnTo>
                    <a:pt x="284" y="82"/>
                  </a:lnTo>
                  <a:lnTo>
                    <a:pt x="286" y="80"/>
                  </a:lnTo>
                  <a:lnTo>
                    <a:pt x="292" y="82"/>
                  </a:lnTo>
                  <a:lnTo>
                    <a:pt x="292" y="88"/>
                  </a:lnTo>
                  <a:lnTo>
                    <a:pt x="294" y="90"/>
                  </a:lnTo>
                  <a:lnTo>
                    <a:pt x="296" y="94"/>
                  </a:lnTo>
                  <a:lnTo>
                    <a:pt x="294" y="94"/>
                  </a:lnTo>
                  <a:lnTo>
                    <a:pt x="292" y="94"/>
                  </a:lnTo>
                  <a:lnTo>
                    <a:pt x="288" y="92"/>
                  </a:lnTo>
                  <a:lnTo>
                    <a:pt x="286" y="96"/>
                  </a:lnTo>
                  <a:lnTo>
                    <a:pt x="284" y="96"/>
                  </a:lnTo>
                  <a:lnTo>
                    <a:pt x="277" y="101"/>
                  </a:lnTo>
                  <a:lnTo>
                    <a:pt x="277" y="107"/>
                  </a:lnTo>
                  <a:lnTo>
                    <a:pt x="269" y="111"/>
                  </a:lnTo>
                  <a:lnTo>
                    <a:pt x="265" y="111"/>
                  </a:lnTo>
                  <a:lnTo>
                    <a:pt x="263" y="113"/>
                  </a:lnTo>
                  <a:lnTo>
                    <a:pt x="257" y="117"/>
                  </a:lnTo>
                  <a:lnTo>
                    <a:pt x="256" y="123"/>
                  </a:lnTo>
                  <a:lnTo>
                    <a:pt x="259" y="125"/>
                  </a:lnTo>
                  <a:lnTo>
                    <a:pt x="257" y="126"/>
                  </a:lnTo>
                  <a:lnTo>
                    <a:pt x="257" y="130"/>
                  </a:lnTo>
                  <a:lnTo>
                    <a:pt x="254" y="130"/>
                  </a:lnTo>
                  <a:lnTo>
                    <a:pt x="252" y="140"/>
                  </a:lnTo>
                  <a:lnTo>
                    <a:pt x="250" y="140"/>
                  </a:lnTo>
                  <a:lnTo>
                    <a:pt x="248" y="142"/>
                  </a:lnTo>
                  <a:lnTo>
                    <a:pt x="250" y="148"/>
                  </a:lnTo>
                  <a:lnTo>
                    <a:pt x="250" y="151"/>
                  </a:lnTo>
                  <a:lnTo>
                    <a:pt x="254" y="155"/>
                  </a:lnTo>
                  <a:lnTo>
                    <a:pt x="257" y="153"/>
                  </a:lnTo>
                  <a:lnTo>
                    <a:pt x="259" y="155"/>
                  </a:lnTo>
                  <a:lnTo>
                    <a:pt x="267" y="151"/>
                  </a:lnTo>
                  <a:lnTo>
                    <a:pt x="267" y="155"/>
                  </a:lnTo>
                  <a:lnTo>
                    <a:pt x="273" y="159"/>
                  </a:lnTo>
                  <a:lnTo>
                    <a:pt x="279" y="163"/>
                  </a:lnTo>
                  <a:lnTo>
                    <a:pt x="282" y="165"/>
                  </a:lnTo>
                  <a:lnTo>
                    <a:pt x="281" y="167"/>
                  </a:lnTo>
                  <a:lnTo>
                    <a:pt x="286" y="167"/>
                  </a:lnTo>
                  <a:lnTo>
                    <a:pt x="286" y="176"/>
                  </a:lnTo>
                  <a:lnTo>
                    <a:pt x="288" y="178"/>
                  </a:lnTo>
                  <a:lnTo>
                    <a:pt x="290" y="178"/>
                  </a:lnTo>
                  <a:lnTo>
                    <a:pt x="290" y="180"/>
                  </a:lnTo>
                  <a:lnTo>
                    <a:pt x="292" y="182"/>
                  </a:lnTo>
                  <a:lnTo>
                    <a:pt x="294" y="182"/>
                  </a:lnTo>
                  <a:lnTo>
                    <a:pt x="294" y="186"/>
                  </a:lnTo>
                  <a:lnTo>
                    <a:pt x="296" y="184"/>
                  </a:lnTo>
                  <a:lnTo>
                    <a:pt x="302" y="186"/>
                  </a:lnTo>
                  <a:lnTo>
                    <a:pt x="302" y="184"/>
                  </a:lnTo>
                  <a:lnTo>
                    <a:pt x="304" y="186"/>
                  </a:lnTo>
                  <a:lnTo>
                    <a:pt x="305" y="186"/>
                  </a:lnTo>
                  <a:lnTo>
                    <a:pt x="305" y="190"/>
                  </a:lnTo>
                  <a:lnTo>
                    <a:pt x="311" y="190"/>
                  </a:lnTo>
                  <a:lnTo>
                    <a:pt x="313" y="186"/>
                  </a:lnTo>
                  <a:lnTo>
                    <a:pt x="319" y="186"/>
                  </a:lnTo>
                  <a:lnTo>
                    <a:pt x="319" y="184"/>
                  </a:lnTo>
                  <a:lnTo>
                    <a:pt x="321" y="186"/>
                  </a:lnTo>
                  <a:lnTo>
                    <a:pt x="323" y="184"/>
                  </a:lnTo>
                  <a:lnTo>
                    <a:pt x="327" y="192"/>
                  </a:lnTo>
                  <a:lnTo>
                    <a:pt x="325" y="192"/>
                  </a:lnTo>
                  <a:lnTo>
                    <a:pt x="325" y="198"/>
                  </a:lnTo>
                  <a:lnTo>
                    <a:pt x="327" y="198"/>
                  </a:lnTo>
                  <a:lnTo>
                    <a:pt x="330" y="205"/>
                  </a:lnTo>
                  <a:lnTo>
                    <a:pt x="334" y="203"/>
                  </a:lnTo>
                  <a:lnTo>
                    <a:pt x="334" y="207"/>
                  </a:lnTo>
                  <a:lnTo>
                    <a:pt x="336" y="207"/>
                  </a:lnTo>
                  <a:lnTo>
                    <a:pt x="336" y="209"/>
                  </a:lnTo>
                  <a:lnTo>
                    <a:pt x="340" y="207"/>
                  </a:lnTo>
                  <a:lnTo>
                    <a:pt x="344" y="209"/>
                  </a:lnTo>
                  <a:lnTo>
                    <a:pt x="344" y="211"/>
                  </a:lnTo>
                  <a:lnTo>
                    <a:pt x="342" y="211"/>
                  </a:lnTo>
                  <a:lnTo>
                    <a:pt x="338" y="215"/>
                  </a:lnTo>
                  <a:lnTo>
                    <a:pt x="340" y="219"/>
                  </a:lnTo>
                  <a:lnTo>
                    <a:pt x="336" y="219"/>
                  </a:lnTo>
                  <a:lnTo>
                    <a:pt x="338" y="221"/>
                  </a:lnTo>
                  <a:lnTo>
                    <a:pt x="334" y="222"/>
                  </a:lnTo>
                  <a:lnTo>
                    <a:pt x="330" y="221"/>
                  </a:lnTo>
                  <a:lnTo>
                    <a:pt x="330" y="219"/>
                  </a:lnTo>
                  <a:lnTo>
                    <a:pt x="328" y="219"/>
                  </a:lnTo>
                  <a:lnTo>
                    <a:pt x="327" y="217"/>
                  </a:lnTo>
                  <a:lnTo>
                    <a:pt x="323" y="222"/>
                  </a:lnTo>
                  <a:lnTo>
                    <a:pt x="319" y="221"/>
                  </a:lnTo>
                  <a:lnTo>
                    <a:pt x="317" y="221"/>
                  </a:lnTo>
                  <a:lnTo>
                    <a:pt x="311" y="217"/>
                  </a:lnTo>
                  <a:lnTo>
                    <a:pt x="309" y="219"/>
                  </a:lnTo>
                  <a:lnTo>
                    <a:pt x="302" y="219"/>
                  </a:lnTo>
                  <a:lnTo>
                    <a:pt x="298" y="221"/>
                  </a:lnTo>
                  <a:lnTo>
                    <a:pt x="288" y="217"/>
                  </a:lnTo>
                  <a:lnTo>
                    <a:pt x="284" y="219"/>
                  </a:lnTo>
                  <a:lnTo>
                    <a:pt x="284" y="222"/>
                  </a:lnTo>
                  <a:lnTo>
                    <a:pt x="286" y="224"/>
                  </a:lnTo>
                  <a:lnTo>
                    <a:pt x="284" y="226"/>
                  </a:lnTo>
                  <a:lnTo>
                    <a:pt x="284" y="236"/>
                  </a:lnTo>
                  <a:lnTo>
                    <a:pt x="279" y="244"/>
                  </a:lnTo>
                  <a:lnTo>
                    <a:pt x="279" y="247"/>
                  </a:lnTo>
                  <a:lnTo>
                    <a:pt x="275" y="246"/>
                  </a:lnTo>
                  <a:lnTo>
                    <a:pt x="271" y="249"/>
                  </a:lnTo>
                  <a:lnTo>
                    <a:pt x="271" y="251"/>
                  </a:lnTo>
                  <a:lnTo>
                    <a:pt x="273" y="253"/>
                  </a:lnTo>
                  <a:lnTo>
                    <a:pt x="273" y="255"/>
                  </a:lnTo>
                  <a:lnTo>
                    <a:pt x="271" y="253"/>
                  </a:lnTo>
                  <a:lnTo>
                    <a:pt x="269" y="255"/>
                  </a:lnTo>
                  <a:lnTo>
                    <a:pt x="265" y="253"/>
                  </a:lnTo>
                  <a:lnTo>
                    <a:pt x="265" y="255"/>
                  </a:lnTo>
                  <a:lnTo>
                    <a:pt x="263" y="255"/>
                  </a:lnTo>
                  <a:lnTo>
                    <a:pt x="265" y="249"/>
                  </a:lnTo>
                  <a:lnTo>
                    <a:pt x="261" y="246"/>
                  </a:lnTo>
                  <a:lnTo>
                    <a:pt x="254" y="247"/>
                  </a:lnTo>
                  <a:lnTo>
                    <a:pt x="252" y="249"/>
                  </a:lnTo>
                  <a:lnTo>
                    <a:pt x="254" y="253"/>
                  </a:lnTo>
                  <a:lnTo>
                    <a:pt x="252" y="253"/>
                  </a:lnTo>
                  <a:lnTo>
                    <a:pt x="254" y="257"/>
                  </a:lnTo>
                  <a:lnTo>
                    <a:pt x="250" y="259"/>
                  </a:lnTo>
                  <a:lnTo>
                    <a:pt x="250" y="263"/>
                  </a:lnTo>
                  <a:lnTo>
                    <a:pt x="246" y="267"/>
                  </a:lnTo>
                  <a:lnTo>
                    <a:pt x="242" y="272"/>
                  </a:lnTo>
                  <a:lnTo>
                    <a:pt x="236" y="276"/>
                  </a:lnTo>
                  <a:lnTo>
                    <a:pt x="238" y="280"/>
                  </a:lnTo>
                  <a:lnTo>
                    <a:pt x="242" y="286"/>
                  </a:lnTo>
                  <a:lnTo>
                    <a:pt x="244" y="288"/>
                  </a:lnTo>
                  <a:lnTo>
                    <a:pt x="244" y="294"/>
                  </a:lnTo>
                  <a:lnTo>
                    <a:pt x="248" y="292"/>
                  </a:lnTo>
                  <a:lnTo>
                    <a:pt x="252" y="297"/>
                  </a:lnTo>
                  <a:lnTo>
                    <a:pt x="256" y="299"/>
                  </a:lnTo>
                  <a:lnTo>
                    <a:pt x="261" y="301"/>
                  </a:lnTo>
                  <a:lnTo>
                    <a:pt x="263" y="301"/>
                  </a:lnTo>
                  <a:lnTo>
                    <a:pt x="269" y="307"/>
                  </a:lnTo>
                  <a:lnTo>
                    <a:pt x="277" y="309"/>
                  </a:lnTo>
                  <a:lnTo>
                    <a:pt x="282" y="307"/>
                  </a:lnTo>
                  <a:lnTo>
                    <a:pt x="290" y="313"/>
                  </a:lnTo>
                  <a:lnTo>
                    <a:pt x="296" y="315"/>
                  </a:lnTo>
                  <a:lnTo>
                    <a:pt x="298" y="319"/>
                  </a:lnTo>
                  <a:lnTo>
                    <a:pt x="302" y="319"/>
                  </a:lnTo>
                  <a:lnTo>
                    <a:pt x="304" y="317"/>
                  </a:lnTo>
                  <a:lnTo>
                    <a:pt x="305" y="319"/>
                  </a:lnTo>
                  <a:lnTo>
                    <a:pt x="311" y="317"/>
                  </a:lnTo>
                  <a:lnTo>
                    <a:pt x="313" y="320"/>
                  </a:lnTo>
                  <a:lnTo>
                    <a:pt x="313" y="328"/>
                  </a:lnTo>
                  <a:lnTo>
                    <a:pt x="309" y="334"/>
                  </a:lnTo>
                  <a:lnTo>
                    <a:pt x="309" y="338"/>
                  </a:lnTo>
                  <a:lnTo>
                    <a:pt x="313" y="344"/>
                  </a:lnTo>
                  <a:lnTo>
                    <a:pt x="311" y="345"/>
                  </a:lnTo>
                  <a:lnTo>
                    <a:pt x="315" y="345"/>
                  </a:lnTo>
                  <a:lnTo>
                    <a:pt x="313" y="347"/>
                  </a:lnTo>
                  <a:lnTo>
                    <a:pt x="313" y="349"/>
                  </a:lnTo>
                  <a:lnTo>
                    <a:pt x="315" y="349"/>
                  </a:lnTo>
                  <a:lnTo>
                    <a:pt x="317" y="351"/>
                  </a:lnTo>
                  <a:lnTo>
                    <a:pt x="313" y="351"/>
                  </a:lnTo>
                  <a:lnTo>
                    <a:pt x="313" y="355"/>
                  </a:lnTo>
                  <a:lnTo>
                    <a:pt x="313" y="357"/>
                  </a:lnTo>
                  <a:lnTo>
                    <a:pt x="305" y="363"/>
                  </a:lnTo>
                  <a:lnTo>
                    <a:pt x="305" y="365"/>
                  </a:lnTo>
                  <a:lnTo>
                    <a:pt x="304" y="365"/>
                  </a:lnTo>
                  <a:lnTo>
                    <a:pt x="300" y="363"/>
                  </a:lnTo>
                  <a:lnTo>
                    <a:pt x="300" y="365"/>
                  </a:lnTo>
                  <a:lnTo>
                    <a:pt x="298" y="363"/>
                  </a:lnTo>
                  <a:lnTo>
                    <a:pt x="294" y="365"/>
                  </a:lnTo>
                  <a:lnTo>
                    <a:pt x="296" y="367"/>
                  </a:lnTo>
                  <a:lnTo>
                    <a:pt x="298" y="365"/>
                  </a:lnTo>
                  <a:lnTo>
                    <a:pt x="296" y="368"/>
                  </a:lnTo>
                  <a:lnTo>
                    <a:pt x="298" y="368"/>
                  </a:lnTo>
                  <a:lnTo>
                    <a:pt x="296" y="372"/>
                  </a:lnTo>
                  <a:lnTo>
                    <a:pt x="294" y="372"/>
                  </a:lnTo>
                  <a:lnTo>
                    <a:pt x="296" y="374"/>
                  </a:lnTo>
                  <a:lnTo>
                    <a:pt x="294" y="380"/>
                  </a:lnTo>
                  <a:lnTo>
                    <a:pt x="294" y="386"/>
                  </a:lnTo>
                  <a:lnTo>
                    <a:pt x="296" y="386"/>
                  </a:lnTo>
                  <a:lnTo>
                    <a:pt x="294" y="390"/>
                  </a:lnTo>
                  <a:lnTo>
                    <a:pt x="298" y="390"/>
                  </a:lnTo>
                  <a:lnTo>
                    <a:pt x="296" y="390"/>
                  </a:lnTo>
                  <a:lnTo>
                    <a:pt x="300" y="392"/>
                  </a:lnTo>
                  <a:lnTo>
                    <a:pt x="298" y="393"/>
                  </a:lnTo>
                  <a:lnTo>
                    <a:pt x="304" y="392"/>
                  </a:lnTo>
                  <a:lnTo>
                    <a:pt x="304" y="397"/>
                  </a:lnTo>
                  <a:lnTo>
                    <a:pt x="307" y="401"/>
                  </a:lnTo>
                  <a:lnTo>
                    <a:pt x="311" y="403"/>
                  </a:lnTo>
                  <a:lnTo>
                    <a:pt x="313" y="405"/>
                  </a:lnTo>
                  <a:lnTo>
                    <a:pt x="315" y="405"/>
                  </a:lnTo>
                  <a:lnTo>
                    <a:pt x="317" y="405"/>
                  </a:lnTo>
                  <a:lnTo>
                    <a:pt x="315" y="403"/>
                  </a:lnTo>
                  <a:lnTo>
                    <a:pt x="317" y="403"/>
                  </a:lnTo>
                  <a:lnTo>
                    <a:pt x="319" y="405"/>
                  </a:lnTo>
                  <a:lnTo>
                    <a:pt x="319" y="411"/>
                  </a:lnTo>
                  <a:lnTo>
                    <a:pt x="315" y="411"/>
                  </a:lnTo>
                  <a:lnTo>
                    <a:pt x="315" y="418"/>
                  </a:lnTo>
                  <a:lnTo>
                    <a:pt x="311" y="420"/>
                  </a:lnTo>
                  <a:lnTo>
                    <a:pt x="313" y="424"/>
                  </a:lnTo>
                  <a:lnTo>
                    <a:pt x="311" y="424"/>
                  </a:lnTo>
                  <a:lnTo>
                    <a:pt x="311" y="426"/>
                  </a:lnTo>
                  <a:lnTo>
                    <a:pt x="309" y="424"/>
                  </a:lnTo>
                  <a:lnTo>
                    <a:pt x="307" y="426"/>
                  </a:lnTo>
                  <a:lnTo>
                    <a:pt x="311" y="428"/>
                  </a:lnTo>
                  <a:lnTo>
                    <a:pt x="309" y="430"/>
                  </a:lnTo>
                  <a:lnTo>
                    <a:pt x="315" y="434"/>
                  </a:lnTo>
                  <a:lnTo>
                    <a:pt x="317" y="436"/>
                  </a:lnTo>
                  <a:lnTo>
                    <a:pt x="319" y="436"/>
                  </a:lnTo>
                  <a:lnTo>
                    <a:pt x="319" y="432"/>
                  </a:lnTo>
                  <a:lnTo>
                    <a:pt x="325" y="434"/>
                  </a:lnTo>
                  <a:lnTo>
                    <a:pt x="327" y="434"/>
                  </a:lnTo>
                  <a:lnTo>
                    <a:pt x="327" y="436"/>
                  </a:lnTo>
                  <a:lnTo>
                    <a:pt x="330" y="436"/>
                  </a:lnTo>
                  <a:lnTo>
                    <a:pt x="338" y="436"/>
                  </a:lnTo>
                  <a:lnTo>
                    <a:pt x="336" y="440"/>
                  </a:lnTo>
                  <a:lnTo>
                    <a:pt x="332" y="441"/>
                  </a:lnTo>
                  <a:lnTo>
                    <a:pt x="332" y="443"/>
                  </a:lnTo>
                  <a:lnTo>
                    <a:pt x="327" y="447"/>
                  </a:lnTo>
                  <a:lnTo>
                    <a:pt x="323" y="453"/>
                  </a:lnTo>
                  <a:lnTo>
                    <a:pt x="327" y="455"/>
                  </a:lnTo>
                  <a:lnTo>
                    <a:pt x="327" y="457"/>
                  </a:lnTo>
                  <a:lnTo>
                    <a:pt x="323" y="457"/>
                  </a:lnTo>
                  <a:lnTo>
                    <a:pt x="325" y="459"/>
                  </a:lnTo>
                  <a:lnTo>
                    <a:pt x="325" y="461"/>
                  </a:lnTo>
                  <a:lnTo>
                    <a:pt x="325" y="465"/>
                  </a:lnTo>
                  <a:lnTo>
                    <a:pt x="328" y="463"/>
                  </a:lnTo>
                  <a:lnTo>
                    <a:pt x="327" y="465"/>
                  </a:lnTo>
                  <a:lnTo>
                    <a:pt x="330" y="466"/>
                  </a:lnTo>
                  <a:lnTo>
                    <a:pt x="328" y="466"/>
                  </a:lnTo>
                  <a:lnTo>
                    <a:pt x="328" y="470"/>
                  </a:lnTo>
                  <a:lnTo>
                    <a:pt x="332" y="470"/>
                  </a:lnTo>
                  <a:lnTo>
                    <a:pt x="336" y="474"/>
                  </a:lnTo>
                  <a:lnTo>
                    <a:pt x="334" y="478"/>
                  </a:lnTo>
                  <a:lnTo>
                    <a:pt x="334" y="480"/>
                  </a:lnTo>
                  <a:lnTo>
                    <a:pt x="328" y="486"/>
                  </a:lnTo>
                  <a:lnTo>
                    <a:pt x="334" y="491"/>
                  </a:lnTo>
                  <a:lnTo>
                    <a:pt x="330" y="495"/>
                  </a:lnTo>
                  <a:lnTo>
                    <a:pt x="332" y="499"/>
                  </a:lnTo>
                  <a:lnTo>
                    <a:pt x="334" y="499"/>
                  </a:lnTo>
                  <a:lnTo>
                    <a:pt x="330" y="505"/>
                  </a:lnTo>
                  <a:lnTo>
                    <a:pt x="334" y="507"/>
                  </a:lnTo>
                  <a:lnTo>
                    <a:pt x="338" y="516"/>
                  </a:lnTo>
                  <a:lnTo>
                    <a:pt x="338" y="520"/>
                  </a:lnTo>
                  <a:lnTo>
                    <a:pt x="336" y="522"/>
                  </a:lnTo>
                  <a:lnTo>
                    <a:pt x="338" y="524"/>
                  </a:lnTo>
                  <a:lnTo>
                    <a:pt x="336" y="526"/>
                  </a:lnTo>
                  <a:lnTo>
                    <a:pt x="336" y="532"/>
                  </a:lnTo>
                  <a:lnTo>
                    <a:pt x="340" y="534"/>
                  </a:lnTo>
                  <a:lnTo>
                    <a:pt x="338" y="536"/>
                  </a:lnTo>
                  <a:lnTo>
                    <a:pt x="340" y="538"/>
                  </a:lnTo>
                  <a:lnTo>
                    <a:pt x="340" y="539"/>
                  </a:lnTo>
                  <a:lnTo>
                    <a:pt x="342" y="539"/>
                  </a:lnTo>
                  <a:lnTo>
                    <a:pt x="342" y="541"/>
                  </a:lnTo>
                  <a:lnTo>
                    <a:pt x="346" y="545"/>
                  </a:lnTo>
                  <a:lnTo>
                    <a:pt x="346" y="549"/>
                  </a:lnTo>
                  <a:lnTo>
                    <a:pt x="348" y="549"/>
                  </a:lnTo>
                  <a:lnTo>
                    <a:pt x="342" y="555"/>
                  </a:lnTo>
                  <a:lnTo>
                    <a:pt x="342" y="559"/>
                  </a:lnTo>
                  <a:lnTo>
                    <a:pt x="346" y="568"/>
                  </a:lnTo>
                  <a:lnTo>
                    <a:pt x="344" y="574"/>
                  </a:lnTo>
                  <a:lnTo>
                    <a:pt x="340" y="574"/>
                  </a:lnTo>
                  <a:lnTo>
                    <a:pt x="338" y="572"/>
                  </a:lnTo>
                  <a:lnTo>
                    <a:pt x="338" y="570"/>
                  </a:lnTo>
                  <a:lnTo>
                    <a:pt x="336" y="572"/>
                  </a:lnTo>
                  <a:lnTo>
                    <a:pt x="340" y="576"/>
                  </a:lnTo>
                  <a:lnTo>
                    <a:pt x="336" y="578"/>
                  </a:lnTo>
                  <a:lnTo>
                    <a:pt x="340" y="582"/>
                  </a:lnTo>
                  <a:lnTo>
                    <a:pt x="340" y="586"/>
                  </a:lnTo>
                  <a:lnTo>
                    <a:pt x="338" y="587"/>
                  </a:lnTo>
                  <a:lnTo>
                    <a:pt x="340" y="587"/>
                  </a:lnTo>
                  <a:lnTo>
                    <a:pt x="340" y="593"/>
                  </a:lnTo>
                  <a:lnTo>
                    <a:pt x="344" y="597"/>
                  </a:lnTo>
                  <a:lnTo>
                    <a:pt x="342" y="597"/>
                  </a:lnTo>
                  <a:lnTo>
                    <a:pt x="346" y="601"/>
                  </a:lnTo>
                  <a:lnTo>
                    <a:pt x="348" y="607"/>
                  </a:lnTo>
                  <a:lnTo>
                    <a:pt x="342" y="609"/>
                  </a:lnTo>
                  <a:lnTo>
                    <a:pt x="338" y="603"/>
                  </a:lnTo>
                  <a:lnTo>
                    <a:pt x="340" y="609"/>
                  </a:lnTo>
                  <a:lnTo>
                    <a:pt x="336" y="611"/>
                  </a:lnTo>
                  <a:lnTo>
                    <a:pt x="336" y="609"/>
                  </a:lnTo>
                  <a:lnTo>
                    <a:pt x="330" y="607"/>
                  </a:lnTo>
                  <a:lnTo>
                    <a:pt x="332" y="601"/>
                  </a:lnTo>
                  <a:lnTo>
                    <a:pt x="328" y="597"/>
                  </a:lnTo>
                  <a:lnTo>
                    <a:pt x="330" y="591"/>
                  </a:lnTo>
                  <a:lnTo>
                    <a:pt x="327" y="593"/>
                  </a:lnTo>
                  <a:lnTo>
                    <a:pt x="328" y="595"/>
                  </a:lnTo>
                  <a:lnTo>
                    <a:pt x="328" y="597"/>
                  </a:lnTo>
                  <a:lnTo>
                    <a:pt x="330" y="601"/>
                  </a:lnTo>
                  <a:lnTo>
                    <a:pt x="328" y="607"/>
                  </a:lnTo>
                  <a:lnTo>
                    <a:pt x="327" y="605"/>
                  </a:lnTo>
                  <a:lnTo>
                    <a:pt x="323" y="599"/>
                  </a:lnTo>
                  <a:lnTo>
                    <a:pt x="325" y="593"/>
                  </a:lnTo>
                  <a:lnTo>
                    <a:pt x="321" y="591"/>
                  </a:lnTo>
                  <a:lnTo>
                    <a:pt x="319" y="591"/>
                  </a:lnTo>
                  <a:lnTo>
                    <a:pt x="323" y="593"/>
                  </a:lnTo>
                  <a:lnTo>
                    <a:pt x="321" y="597"/>
                  </a:lnTo>
                  <a:lnTo>
                    <a:pt x="323" y="605"/>
                  </a:lnTo>
                  <a:lnTo>
                    <a:pt x="321" y="609"/>
                  </a:lnTo>
                  <a:lnTo>
                    <a:pt x="317" y="607"/>
                  </a:lnTo>
                  <a:lnTo>
                    <a:pt x="317" y="601"/>
                  </a:lnTo>
                  <a:lnTo>
                    <a:pt x="315" y="605"/>
                  </a:lnTo>
                  <a:lnTo>
                    <a:pt x="311" y="603"/>
                  </a:lnTo>
                  <a:lnTo>
                    <a:pt x="309" y="603"/>
                  </a:lnTo>
                  <a:lnTo>
                    <a:pt x="307" y="601"/>
                  </a:lnTo>
                  <a:lnTo>
                    <a:pt x="305" y="593"/>
                  </a:lnTo>
                  <a:lnTo>
                    <a:pt x="305" y="587"/>
                  </a:lnTo>
                  <a:lnTo>
                    <a:pt x="307" y="587"/>
                  </a:lnTo>
                  <a:lnTo>
                    <a:pt x="305" y="586"/>
                  </a:lnTo>
                  <a:lnTo>
                    <a:pt x="305" y="582"/>
                  </a:lnTo>
                  <a:lnTo>
                    <a:pt x="307" y="576"/>
                  </a:lnTo>
                  <a:lnTo>
                    <a:pt x="309" y="578"/>
                  </a:lnTo>
                  <a:lnTo>
                    <a:pt x="307" y="574"/>
                  </a:lnTo>
                  <a:lnTo>
                    <a:pt x="309" y="576"/>
                  </a:lnTo>
                  <a:lnTo>
                    <a:pt x="307" y="574"/>
                  </a:lnTo>
                  <a:lnTo>
                    <a:pt x="309" y="568"/>
                  </a:lnTo>
                  <a:lnTo>
                    <a:pt x="311" y="570"/>
                  </a:lnTo>
                  <a:lnTo>
                    <a:pt x="313" y="564"/>
                  </a:lnTo>
                  <a:lnTo>
                    <a:pt x="311" y="561"/>
                  </a:lnTo>
                  <a:lnTo>
                    <a:pt x="311" y="557"/>
                  </a:lnTo>
                  <a:lnTo>
                    <a:pt x="309" y="561"/>
                  </a:lnTo>
                  <a:lnTo>
                    <a:pt x="305" y="559"/>
                  </a:lnTo>
                  <a:lnTo>
                    <a:pt x="304" y="559"/>
                  </a:lnTo>
                  <a:lnTo>
                    <a:pt x="309" y="562"/>
                  </a:lnTo>
                  <a:lnTo>
                    <a:pt x="309" y="566"/>
                  </a:lnTo>
                  <a:lnTo>
                    <a:pt x="302" y="564"/>
                  </a:lnTo>
                  <a:lnTo>
                    <a:pt x="302" y="559"/>
                  </a:lnTo>
                  <a:lnTo>
                    <a:pt x="300" y="557"/>
                  </a:lnTo>
                  <a:lnTo>
                    <a:pt x="298" y="557"/>
                  </a:lnTo>
                  <a:lnTo>
                    <a:pt x="300" y="562"/>
                  </a:lnTo>
                  <a:lnTo>
                    <a:pt x="298" y="564"/>
                  </a:lnTo>
                  <a:lnTo>
                    <a:pt x="296" y="562"/>
                  </a:lnTo>
                  <a:lnTo>
                    <a:pt x="296" y="564"/>
                  </a:lnTo>
                  <a:lnTo>
                    <a:pt x="294" y="568"/>
                  </a:lnTo>
                  <a:lnTo>
                    <a:pt x="296" y="576"/>
                  </a:lnTo>
                  <a:lnTo>
                    <a:pt x="292" y="578"/>
                  </a:lnTo>
                  <a:lnTo>
                    <a:pt x="292" y="576"/>
                  </a:lnTo>
                  <a:lnTo>
                    <a:pt x="290" y="576"/>
                  </a:lnTo>
                  <a:lnTo>
                    <a:pt x="292" y="578"/>
                  </a:lnTo>
                  <a:lnTo>
                    <a:pt x="290" y="586"/>
                  </a:lnTo>
                  <a:lnTo>
                    <a:pt x="288" y="584"/>
                  </a:lnTo>
                  <a:lnTo>
                    <a:pt x="288" y="582"/>
                  </a:lnTo>
                  <a:lnTo>
                    <a:pt x="290" y="580"/>
                  </a:lnTo>
                  <a:lnTo>
                    <a:pt x="286" y="582"/>
                  </a:lnTo>
                  <a:lnTo>
                    <a:pt x="284" y="580"/>
                  </a:lnTo>
                  <a:lnTo>
                    <a:pt x="286" y="576"/>
                  </a:lnTo>
                  <a:lnTo>
                    <a:pt x="286" y="574"/>
                  </a:lnTo>
                  <a:lnTo>
                    <a:pt x="286" y="572"/>
                  </a:lnTo>
                  <a:lnTo>
                    <a:pt x="284" y="572"/>
                  </a:lnTo>
                  <a:lnTo>
                    <a:pt x="286" y="574"/>
                  </a:lnTo>
                  <a:lnTo>
                    <a:pt x="286" y="576"/>
                  </a:lnTo>
                  <a:lnTo>
                    <a:pt x="282" y="576"/>
                  </a:lnTo>
                  <a:lnTo>
                    <a:pt x="281" y="578"/>
                  </a:lnTo>
                  <a:lnTo>
                    <a:pt x="282" y="580"/>
                  </a:lnTo>
                  <a:lnTo>
                    <a:pt x="282" y="582"/>
                  </a:lnTo>
                  <a:lnTo>
                    <a:pt x="282" y="584"/>
                  </a:lnTo>
                  <a:lnTo>
                    <a:pt x="281" y="584"/>
                  </a:lnTo>
                  <a:lnTo>
                    <a:pt x="279" y="586"/>
                  </a:lnTo>
                  <a:lnTo>
                    <a:pt x="279" y="587"/>
                  </a:lnTo>
                  <a:lnTo>
                    <a:pt x="281" y="589"/>
                  </a:lnTo>
                  <a:lnTo>
                    <a:pt x="282" y="589"/>
                  </a:lnTo>
                  <a:lnTo>
                    <a:pt x="279" y="597"/>
                  </a:lnTo>
                  <a:lnTo>
                    <a:pt x="281" y="603"/>
                  </a:lnTo>
                  <a:lnTo>
                    <a:pt x="279" y="607"/>
                  </a:lnTo>
                  <a:lnTo>
                    <a:pt x="275" y="605"/>
                  </a:lnTo>
                  <a:lnTo>
                    <a:pt x="275" y="597"/>
                  </a:lnTo>
                  <a:lnTo>
                    <a:pt x="275" y="603"/>
                  </a:lnTo>
                  <a:lnTo>
                    <a:pt x="277" y="607"/>
                  </a:lnTo>
                  <a:lnTo>
                    <a:pt x="273" y="611"/>
                  </a:lnTo>
                  <a:lnTo>
                    <a:pt x="271" y="609"/>
                  </a:lnTo>
                  <a:lnTo>
                    <a:pt x="273" y="607"/>
                  </a:lnTo>
                  <a:lnTo>
                    <a:pt x="271" y="601"/>
                  </a:lnTo>
                  <a:lnTo>
                    <a:pt x="273" y="597"/>
                  </a:lnTo>
                  <a:lnTo>
                    <a:pt x="269" y="597"/>
                  </a:lnTo>
                  <a:lnTo>
                    <a:pt x="273" y="593"/>
                  </a:lnTo>
                  <a:lnTo>
                    <a:pt x="269" y="597"/>
                  </a:lnTo>
                  <a:lnTo>
                    <a:pt x="273" y="597"/>
                  </a:lnTo>
                  <a:lnTo>
                    <a:pt x="269" y="601"/>
                  </a:lnTo>
                  <a:lnTo>
                    <a:pt x="267" y="599"/>
                  </a:lnTo>
                  <a:lnTo>
                    <a:pt x="267" y="597"/>
                  </a:lnTo>
                  <a:lnTo>
                    <a:pt x="263" y="599"/>
                  </a:lnTo>
                  <a:lnTo>
                    <a:pt x="263" y="595"/>
                  </a:lnTo>
                  <a:lnTo>
                    <a:pt x="261" y="599"/>
                  </a:lnTo>
                  <a:lnTo>
                    <a:pt x="259" y="595"/>
                  </a:lnTo>
                  <a:lnTo>
                    <a:pt x="263" y="603"/>
                  </a:lnTo>
                  <a:lnTo>
                    <a:pt x="261" y="609"/>
                  </a:lnTo>
                  <a:lnTo>
                    <a:pt x="263" y="612"/>
                  </a:lnTo>
                  <a:lnTo>
                    <a:pt x="261" y="616"/>
                  </a:lnTo>
                  <a:lnTo>
                    <a:pt x="261" y="614"/>
                  </a:lnTo>
                  <a:lnTo>
                    <a:pt x="261" y="612"/>
                  </a:lnTo>
                  <a:lnTo>
                    <a:pt x="257" y="614"/>
                  </a:lnTo>
                  <a:lnTo>
                    <a:pt x="256" y="611"/>
                  </a:lnTo>
                  <a:lnTo>
                    <a:pt x="254" y="609"/>
                  </a:lnTo>
                  <a:lnTo>
                    <a:pt x="256" y="607"/>
                  </a:lnTo>
                  <a:lnTo>
                    <a:pt x="256" y="603"/>
                  </a:lnTo>
                  <a:lnTo>
                    <a:pt x="252" y="601"/>
                  </a:lnTo>
                  <a:lnTo>
                    <a:pt x="254" y="599"/>
                  </a:lnTo>
                  <a:lnTo>
                    <a:pt x="254" y="591"/>
                  </a:lnTo>
                  <a:lnTo>
                    <a:pt x="252" y="586"/>
                  </a:lnTo>
                  <a:lnTo>
                    <a:pt x="248" y="580"/>
                  </a:lnTo>
                  <a:lnTo>
                    <a:pt x="250" y="574"/>
                  </a:lnTo>
                  <a:lnTo>
                    <a:pt x="248" y="572"/>
                  </a:lnTo>
                  <a:lnTo>
                    <a:pt x="250" y="568"/>
                  </a:lnTo>
                  <a:lnTo>
                    <a:pt x="254" y="562"/>
                  </a:lnTo>
                  <a:lnTo>
                    <a:pt x="256" y="557"/>
                  </a:lnTo>
                  <a:lnTo>
                    <a:pt x="254" y="551"/>
                  </a:lnTo>
                  <a:lnTo>
                    <a:pt x="250" y="545"/>
                  </a:lnTo>
                  <a:lnTo>
                    <a:pt x="244" y="543"/>
                  </a:lnTo>
                  <a:lnTo>
                    <a:pt x="238" y="543"/>
                  </a:lnTo>
                  <a:lnTo>
                    <a:pt x="238" y="539"/>
                  </a:lnTo>
                  <a:lnTo>
                    <a:pt x="236" y="543"/>
                  </a:lnTo>
                  <a:lnTo>
                    <a:pt x="233" y="543"/>
                  </a:lnTo>
                  <a:lnTo>
                    <a:pt x="233" y="545"/>
                  </a:lnTo>
                  <a:lnTo>
                    <a:pt x="234" y="543"/>
                  </a:lnTo>
                  <a:lnTo>
                    <a:pt x="238" y="547"/>
                  </a:lnTo>
                  <a:lnTo>
                    <a:pt x="246" y="547"/>
                  </a:lnTo>
                  <a:lnTo>
                    <a:pt x="252" y="553"/>
                  </a:lnTo>
                  <a:lnTo>
                    <a:pt x="252" y="555"/>
                  </a:lnTo>
                  <a:lnTo>
                    <a:pt x="250" y="559"/>
                  </a:lnTo>
                  <a:lnTo>
                    <a:pt x="248" y="561"/>
                  </a:lnTo>
                  <a:lnTo>
                    <a:pt x="240" y="564"/>
                  </a:lnTo>
                  <a:lnTo>
                    <a:pt x="236" y="564"/>
                  </a:lnTo>
                  <a:lnTo>
                    <a:pt x="236" y="566"/>
                  </a:lnTo>
                  <a:lnTo>
                    <a:pt x="233" y="572"/>
                  </a:lnTo>
                  <a:lnTo>
                    <a:pt x="233" y="576"/>
                  </a:lnTo>
                  <a:lnTo>
                    <a:pt x="229" y="582"/>
                  </a:lnTo>
                  <a:lnTo>
                    <a:pt x="223" y="587"/>
                  </a:lnTo>
                  <a:lnTo>
                    <a:pt x="219" y="589"/>
                  </a:lnTo>
                  <a:lnTo>
                    <a:pt x="217" y="587"/>
                  </a:lnTo>
                  <a:lnTo>
                    <a:pt x="219" y="591"/>
                  </a:lnTo>
                  <a:lnTo>
                    <a:pt x="213" y="597"/>
                  </a:lnTo>
                  <a:lnTo>
                    <a:pt x="208" y="601"/>
                  </a:lnTo>
                  <a:lnTo>
                    <a:pt x="204" y="599"/>
                  </a:lnTo>
                  <a:lnTo>
                    <a:pt x="196" y="605"/>
                  </a:lnTo>
                  <a:lnTo>
                    <a:pt x="192" y="605"/>
                  </a:lnTo>
                  <a:lnTo>
                    <a:pt x="190" y="605"/>
                  </a:lnTo>
                  <a:lnTo>
                    <a:pt x="183" y="607"/>
                  </a:lnTo>
                  <a:lnTo>
                    <a:pt x="175" y="609"/>
                  </a:lnTo>
                  <a:lnTo>
                    <a:pt x="175" y="607"/>
                  </a:lnTo>
                  <a:lnTo>
                    <a:pt x="173" y="605"/>
                  </a:lnTo>
                  <a:lnTo>
                    <a:pt x="175" y="597"/>
                  </a:lnTo>
                  <a:lnTo>
                    <a:pt x="173" y="595"/>
                  </a:lnTo>
                  <a:lnTo>
                    <a:pt x="171" y="595"/>
                  </a:lnTo>
                  <a:lnTo>
                    <a:pt x="171" y="591"/>
                  </a:lnTo>
                  <a:lnTo>
                    <a:pt x="165" y="591"/>
                  </a:lnTo>
                  <a:lnTo>
                    <a:pt x="163" y="591"/>
                  </a:lnTo>
                  <a:lnTo>
                    <a:pt x="162" y="589"/>
                  </a:lnTo>
                  <a:lnTo>
                    <a:pt x="160" y="589"/>
                  </a:lnTo>
                  <a:lnTo>
                    <a:pt x="156" y="587"/>
                  </a:lnTo>
                  <a:lnTo>
                    <a:pt x="154" y="587"/>
                  </a:lnTo>
                  <a:lnTo>
                    <a:pt x="150" y="582"/>
                  </a:lnTo>
                  <a:lnTo>
                    <a:pt x="150" y="580"/>
                  </a:lnTo>
                  <a:lnTo>
                    <a:pt x="148" y="578"/>
                  </a:lnTo>
                  <a:lnTo>
                    <a:pt x="150" y="576"/>
                  </a:lnTo>
                  <a:lnTo>
                    <a:pt x="148" y="570"/>
                  </a:lnTo>
                  <a:lnTo>
                    <a:pt x="144" y="570"/>
                  </a:lnTo>
                  <a:lnTo>
                    <a:pt x="142" y="568"/>
                  </a:lnTo>
                  <a:lnTo>
                    <a:pt x="140" y="574"/>
                  </a:lnTo>
                  <a:lnTo>
                    <a:pt x="135" y="576"/>
                  </a:lnTo>
                  <a:lnTo>
                    <a:pt x="135" y="582"/>
                  </a:lnTo>
                  <a:lnTo>
                    <a:pt x="131" y="582"/>
                  </a:lnTo>
                  <a:lnTo>
                    <a:pt x="123" y="576"/>
                  </a:lnTo>
                  <a:lnTo>
                    <a:pt x="129" y="566"/>
                  </a:lnTo>
                  <a:lnTo>
                    <a:pt x="127" y="562"/>
                  </a:lnTo>
                  <a:lnTo>
                    <a:pt x="119" y="557"/>
                  </a:lnTo>
                  <a:lnTo>
                    <a:pt x="117" y="557"/>
                  </a:lnTo>
                  <a:lnTo>
                    <a:pt x="108" y="555"/>
                  </a:lnTo>
                  <a:lnTo>
                    <a:pt x="106" y="557"/>
                  </a:lnTo>
                  <a:lnTo>
                    <a:pt x="106" y="553"/>
                  </a:lnTo>
                  <a:lnTo>
                    <a:pt x="104" y="553"/>
                  </a:lnTo>
                  <a:lnTo>
                    <a:pt x="102" y="549"/>
                  </a:lnTo>
                  <a:lnTo>
                    <a:pt x="94" y="551"/>
                  </a:lnTo>
                  <a:lnTo>
                    <a:pt x="94" y="543"/>
                  </a:lnTo>
                  <a:lnTo>
                    <a:pt x="98" y="541"/>
                  </a:lnTo>
                  <a:lnTo>
                    <a:pt x="104" y="545"/>
                  </a:lnTo>
                  <a:lnTo>
                    <a:pt x="104" y="543"/>
                  </a:lnTo>
                  <a:lnTo>
                    <a:pt x="104" y="539"/>
                  </a:lnTo>
                  <a:lnTo>
                    <a:pt x="112" y="538"/>
                  </a:lnTo>
                  <a:lnTo>
                    <a:pt x="114" y="534"/>
                  </a:lnTo>
                  <a:lnTo>
                    <a:pt x="106" y="532"/>
                  </a:lnTo>
                  <a:lnTo>
                    <a:pt x="108" y="524"/>
                  </a:lnTo>
                  <a:lnTo>
                    <a:pt x="106" y="522"/>
                  </a:lnTo>
                  <a:lnTo>
                    <a:pt x="100" y="520"/>
                  </a:lnTo>
                  <a:lnTo>
                    <a:pt x="98" y="516"/>
                  </a:lnTo>
                  <a:lnTo>
                    <a:pt x="106" y="511"/>
                  </a:lnTo>
                  <a:lnTo>
                    <a:pt x="102" y="505"/>
                  </a:lnTo>
                  <a:lnTo>
                    <a:pt x="100" y="503"/>
                  </a:lnTo>
                  <a:lnTo>
                    <a:pt x="94" y="503"/>
                  </a:lnTo>
                  <a:lnTo>
                    <a:pt x="89" y="503"/>
                  </a:lnTo>
                  <a:lnTo>
                    <a:pt x="87" y="501"/>
                  </a:lnTo>
                  <a:lnTo>
                    <a:pt x="87" y="495"/>
                  </a:lnTo>
                  <a:lnTo>
                    <a:pt x="87" y="493"/>
                  </a:lnTo>
                  <a:lnTo>
                    <a:pt x="79" y="489"/>
                  </a:lnTo>
                  <a:lnTo>
                    <a:pt x="77" y="491"/>
                  </a:lnTo>
                  <a:lnTo>
                    <a:pt x="73" y="491"/>
                  </a:lnTo>
                  <a:lnTo>
                    <a:pt x="69" y="484"/>
                  </a:lnTo>
                  <a:lnTo>
                    <a:pt x="66" y="480"/>
                  </a:lnTo>
                  <a:lnTo>
                    <a:pt x="64" y="476"/>
                  </a:lnTo>
                  <a:lnTo>
                    <a:pt x="66" y="472"/>
                  </a:lnTo>
                  <a:lnTo>
                    <a:pt x="69" y="468"/>
                  </a:lnTo>
                  <a:lnTo>
                    <a:pt x="66" y="466"/>
                  </a:lnTo>
                  <a:lnTo>
                    <a:pt x="69" y="463"/>
                  </a:lnTo>
                  <a:lnTo>
                    <a:pt x="75" y="466"/>
                  </a:lnTo>
                  <a:lnTo>
                    <a:pt x="77" y="459"/>
                  </a:lnTo>
                  <a:lnTo>
                    <a:pt x="75" y="461"/>
                  </a:lnTo>
                  <a:lnTo>
                    <a:pt x="71" y="459"/>
                  </a:lnTo>
                  <a:lnTo>
                    <a:pt x="66" y="459"/>
                  </a:lnTo>
                  <a:lnTo>
                    <a:pt x="62" y="461"/>
                  </a:lnTo>
                  <a:lnTo>
                    <a:pt x="60" y="459"/>
                  </a:lnTo>
                  <a:lnTo>
                    <a:pt x="56" y="459"/>
                  </a:lnTo>
                  <a:lnTo>
                    <a:pt x="52" y="457"/>
                  </a:lnTo>
                  <a:lnTo>
                    <a:pt x="43" y="459"/>
                  </a:lnTo>
                  <a:lnTo>
                    <a:pt x="41" y="455"/>
                  </a:lnTo>
                  <a:lnTo>
                    <a:pt x="39" y="457"/>
                  </a:lnTo>
                  <a:lnTo>
                    <a:pt x="37" y="453"/>
                  </a:lnTo>
                  <a:lnTo>
                    <a:pt x="35" y="449"/>
                  </a:lnTo>
                  <a:lnTo>
                    <a:pt x="25" y="445"/>
                  </a:lnTo>
                  <a:lnTo>
                    <a:pt x="25" y="441"/>
                  </a:lnTo>
                  <a:lnTo>
                    <a:pt x="21" y="441"/>
                  </a:lnTo>
                  <a:lnTo>
                    <a:pt x="12" y="443"/>
                  </a:lnTo>
                  <a:lnTo>
                    <a:pt x="8" y="440"/>
                  </a:lnTo>
                  <a:lnTo>
                    <a:pt x="8" y="436"/>
                  </a:lnTo>
                  <a:lnTo>
                    <a:pt x="6" y="434"/>
                  </a:lnTo>
                  <a:lnTo>
                    <a:pt x="2" y="434"/>
                  </a:lnTo>
                  <a:lnTo>
                    <a:pt x="2" y="432"/>
                  </a:lnTo>
                  <a:lnTo>
                    <a:pt x="0" y="430"/>
                  </a:lnTo>
                  <a:lnTo>
                    <a:pt x="2" y="424"/>
                  </a:lnTo>
                  <a:lnTo>
                    <a:pt x="8" y="420"/>
                  </a:lnTo>
                  <a:lnTo>
                    <a:pt x="6" y="416"/>
                  </a:lnTo>
                  <a:lnTo>
                    <a:pt x="10" y="415"/>
                  </a:lnTo>
                  <a:lnTo>
                    <a:pt x="8" y="415"/>
                  </a:lnTo>
                  <a:lnTo>
                    <a:pt x="8" y="411"/>
                  </a:lnTo>
                  <a:lnTo>
                    <a:pt x="6" y="411"/>
                  </a:lnTo>
                  <a:lnTo>
                    <a:pt x="6" y="409"/>
                  </a:lnTo>
                  <a:lnTo>
                    <a:pt x="8" y="407"/>
                  </a:lnTo>
                  <a:lnTo>
                    <a:pt x="16" y="409"/>
                  </a:lnTo>
                  <a:lnTo>
                    <a:pt x="19" y="407"/>
                  </a:lnTo>
                  <a:lnTo>
                    <a:pt x="27" y="405"/>
                  </a:lnTo>
                  <a:lnTo>
                    <a:pt x="25" y="403"/>
                  </a:lnTo>
                  <a:lnTo>
                    <a:pt x="23" y="399"/>
                  </a:lnTo>
                  <a:lnTo>
                    <a:pt x="25" y="393"/>
                  </a:lnTo>
                  <a:lnTo>
                    <a:pt x="29" y="395"/>
                  </a:lnTo>
                  <a:lnTo>
                    <a:pt x="37" y="395"/>
                  </a:lnTo>
                  <a:lnTo>
                    <a:pt x="37" y="401"/>
                  </a:lnTo>
                  <a:lnTo>
                    <a:pt x="37" y="403"/>
                  </a:lnTo>
                  <a:lnTo>
                    <a:pt x="37" y="407"/>
                  </a:lnTo>
                  <a:lnTo>
                    <a:pt x="39" y="405"/>
                  </a:lnTo>
                  <a:lnTo>
                    <a:pt x="44" y="409"/>
                  </a:lnTo>
                  <a:lnTo>
                    <a:pt x="46" y="407"/>
                  </a:lnTo>
                  <a:lnTo>
                    <a:pt x="44" y="411"/>
                  </a:lnTo>
                  <a:lnTo>
                    <a:pt x="46" y="413"/>
                  </a:lnTo>
                  <a:lnTo>
                    <a:pt x="48" y="413"/>
                  </a:lnTo>
                  <a:lnTo>
                    <a:pt x="46" y="411"/>
                  </a:lnTo>
                  <a:lnTo>
                    <a:pt x="50" y="409"/>
                  </a:lnTo>
                  <a:lnTo>
                    <a:pt x="50" y="411"/>
                  </a:lnTo>
                  <a:lnTo>
                    <a:pt x="54" y="411"/>
                  </a:lnTo>
                  <a:lnTo>
                    <a:pt x="52" y="409"/>
                  </a:lnTo>
                  <a:lnTo>
                    <a:pt x="56" y="409"/>
                  </a:lnTo>
                  <a:lnTo>
                    <a:pt x="58" y="405"/>
                  </a:lnTo>
                  <a:lnTo>
                    <a:pt x="60" y="405"/>
                  </a:lnTo>
                  <a:lnTo>
                    <a:pt x="58" y="403"/>
                  </a:lnTo>
                  <a:lnTo>
                    <a:pt x="60" y="401"/>
                  </a:lnTo>
                  <a:lnTo>
                    <a:pt x="60" y="399"/>
                  </a:lnTo>
                  <a:lnTo>
                    <a:pt x="62" y="393"/>
                  </a:lnTo>
                  <a:lnTo>
                    <a:pt x="64" y="393"/>
                  </a:lnTo>
                  <a:lnTo>
                    <a:pt x="69" y="390"/>
                  </a:lnTo>
                  <a:lnTo>
                    <a:pt x="77" y="390"/>
                  </a:lnTo>
                  <a:lnTo>
                    <a:pt x="87" y="386"/>
                  </a:lnTo>
                  <a:lnTo>
                    <a:pt x="96" y="382"/>
                  </a:lnTo>
                  <a:lnTo>
                    <a:pt x="102" y="384"/>
                  </a:lnTo>
                  <a:lnTo>
                    <a:pt x="108" y="384"/>
                  </a:lnTo>
                  <a:lnTo>
                    <a:pt x="106" y="382"/>
                  </a:lnTo>
                  <a:lnTo>
                    <a:pt x="108" y="376"/>
                  </a:lnTo>
                  <a:lnTo>
                    <a:pt x="110" y="376"/>
                  </a:lnTo>
                  <a:lnTo>
                    <a:pt x="108" y="372"/>
                  </a:lnTo>
                  <a:lnTo>
                    <a:pt x="112" y="370"/>
                  </a:lnTo>
                  <a:lnTo>
                    <a:pt x="112" y="368"/>
                  </a:lnTo>
                  <a:lnTo>
                    <a:pt x="114" y="368"/>
                  </a:lnTo>
                  <a:lnTo>
                    <a:pt x="112" y="368"/>
                  </a:lnTo>
                  <a:lnTo>
                    <a:pt x="114" y="367"/>
                  </a:lnTo>
                  <a:lnTo>
                    <a:pt x="117" y="368"/>
                  </a:lnTo>
                  <a:lnTo>
                    <a:pt x="115" y="365"/>
                  </a:lnTo>
                  <a:lnTo>
                    <a:pt x="117" y="363"/>
                  </a:lnTo>
                  <a:lnTo>
                    <a:pt x="119" y="363"/>
                  </a:lnTo>
                  <a:lnTo>
                    <a:pt x="123" y="367"/>
                  </a:lnTo>
                  <a:lnTo>
                    <a:pt x="125" y="363"/>
                  </a:lnTo>
                  <a:lnTo>
                    <a:pt x="133" y="367"/>
                  </a:lnTo>
                  <a:lnTo>
                    <a:pt x="135" y="370"/>
                  </a:lnTo>
                  <a:lnTo>
                    <a:pt x="140" y="372"/>
                  </a:lnTo>
                  <a:lnTo>
                    <a:pt x="144" y="372"/>
                  </a:lnTo>
                  <a:lnTo>
                    <a:pt x="146" y="368"/>
                  </a:lnTo>
                  <a:lnTo>
                    <a:pt x="142" y="365"/>
                  </a:lnTo>
                  <a:lnTo>
                    <a:pt x="142" y="363"/>
                  </a:lnTo>
                  <a:lnTo>
                    <a:pt x="148" y="365"/>
                  </a:lnTo>
                  <a:lnTo>
                    <a:pt x="148" y="367"/>
                  </a:lnTo>
                  <a:lnTo>
                    <a:pt x="154" y="365"/>
                  </a:lnTo>
                  <a:lnTo>
                    <a:pt x="152" y="367"/>
                  </a:lnTo>
                  <a:lnTo>
                    <a:pt x="154" y="368"/>
                  </a:lnTo>
                  <a:lnTo>
                    <a:pt x="154" y="361"/>
                  </a:lnTo>
                  <a:lnTo>
                    <a:pt x="156" y="359"/>
                  </a:lnTo>
                  <a:lnTo>
                    <a:pt x="158" y="363"/>
                  </a:lnTo>
                  <a:lnTo>
                    <a:pt x="160" y="361"/>
                  </a:lnTo>
                  <a:lnTo>
                    <a:pt x="160" y="355"/>
                  </a:lnTo>
                  <a:lnTo>
                    <a:pt x="156" y="353"/>
                  </a:lnTo>
                  <a:lnTo>
                    <a:pt x="158" y="349"/>
                  </a:lnTo>
                  <a:lnTo>
                    <a:pt x="156" y="349"/>
                  </a:lnTo>
                  <a:lnTo>
                    <a:pt x="154" y="345"/>
                  </a:lnTo>
                  <a:lnTo>
                    <a:pt x="158" y="345"/>
                  </a:lnTo>
                  <a:lnTo>
                    <a:pt x="163" y="345"/>
                  </a:lnTo>
                  <a:lnTo>
                    <a:pt x="163" y="349"/>
                  </a:lnTo>
                  <a:lnTo>
                    <a:pt x="169" y="349"/>
                  </a:lnTo>
                  <a:lnTo>
                    <a:pt x="177" y="351"/>
                  </a:lnTo>
                  <a:lnTo>
                    <a:pt x="177" y="349"/>
                  </a:lnTo>
                  <a:lnTo>
                    <a:pt x="175" y="347"/>
                  </a:lnTo>
                  <a:lnTo>
                    <a:pt x="183" y="347"/>
                  </a:lnTo>
                  <a:lnTo>
                    <a:pt x="183" y="345"/>
                  </a:lnTo>
                  <a:lnTo>
                    <a:pt x="181" y="342"/>
                  </a:lnTo>
                  <a:lnTo>
                    <a:pt x="183" y="340"/>
                  </a:lnTo>
                  <a:lnTo>
                    <a:pt x="183" y="338"/>
                  </a:lnTo>
                  <a:lnTo>
                    <a:pt x="185" y="338"/>
                  </a:lnTo>
                  <a:lnTo>
                    <a:pt x="186" y="340"/>
                  </a:lnTo>
                  <a:lnTo>
                    <a:pt x="188" y="340"/>
                  </a:lnTo>
                  <a:lnTo>
                    <a:pt x="190" y="340"/>
                  </a:lnTo>
                  <a:lnTo>
                    <a:pt x="188" y="338"/>
                  </a:lnTo>
                  <a:lnTo>
                    <a:pt x="190" y="336"/>
                  </a:lnTo>
                  <a:lnTo>
                    <a:pt x="194" y="336"/>
                  </a:lnTo>
                  <a:lnTo>
                    <a:pt x="190" y="332"/>
                  </a:lnTo>
                  <a:lnTo>
                    <a:pt x="196" y="332"/>
                  </a:lnTo>
                  <a:lnTo>
                    <a:pt x="202" y="332"/>
                  </a:lnTo>
                  <a:lnTo>
                    <a:pt x="204" y="330"/>
                  </a:lnTo>
                  <a:lnTo>
                    <a:pt x="200" y="326"/>
                  </a:lnTo>
                  <a:lnTo>
                    <a:pt x="196" y="326"/>
                  </a:lnTo>
                  <a:lnTo>
                    <a:pt x="196" y="322"/>
                  </a:lnTo>
                  <a:lnTo>
                    <a:pt x="200" y="324"/>
                  </a:lnTo>
                  <a:lnTo>
                    <a:pt x="204" y="320"/>
                  </a:lnTo>
                  <a:lnTo>
                    <a:pt x="206" y="317"/>
                  </a:lnTo>
                  <a:lnTo>
                    <a:pt x="208" y="319"/>
                  </a:lnTo>
                  <a:lnTo>
                    <a:pt x="209" y="317"/>
                  </a:lnTo>
                  <a:lnTo>
                    <a:pt x="215" y="307"/>
                  </a:lnTo>
                  <a:lnTo>
                    <a:pt x="213" y="305"/>
                  </a:lnTo>
                  <a:lnTo>
                    <a:pt x="215" y="305"/>
                  </a:lnTo>
                  <a:lnTo>
                    <a:pt x="213" y="303"/>
                  </a:lnTo>
                  <a:lnTo>
                    <a:pt x="213" y="301"/>
                  </a:lnTo>
                  <a:lnTo>
                    <a:pt x="217" y="299"/>
                  </a:lnTo>
                  <a:lnTo>
                    <a:pt x="215" y="297"/>
                  </a:lnTo>
                  <a:lnTo>
                    <a:pt x="217" y="295"/>
                  </a:lnTo>
                  <a:lnTo>
                    <a:pt x="215" y="295"/>
                  </a:lnTo>
                  <a:lnTo>
                    <a:pt x="215" y="294"/>
                  </a:lnTo>
                  <a:lnTo>
                    <a:pt x="213" y="295"/>
                  </a:lnTo>
                  <a:lnTo>
                    <a:pt x="215" y="290"/>
                  </a:lnTo>
                  <a:lnTo>
                    <a:pt x="211" y="286"/>
                  </a:lnTo>
                  <a:lnTo>
                    <a:pt x="215" y="286"/>
                  </a:lnTo>
                  <a:lnTo>
                    <a:pt x="221" y="290"/>
                  </a:lnTo>
                  <a:lnTo>
                    <a:pt x="223" y="288"/>
                  </a:lnTo>
                  <a:lnTo>
                    <a:pt x="227" y="284"/>
                  </a:lnTo>
                  <a:lnTo>
                    <a:pt x="223" y="282"/>
                  </a:lnTo>
                  <a:lnTo>
                    <a:pt x="227" y="282"/>
                  </a:lnTo>
                  <a:lnTo>
                    <a:pt x="225" y="280"/>
                  </a:lnTo>
                  <a:lnTo>
                    <a:pt x="227" y="280"/>
                  </a:lnTo>
                  <a:lnTo>
                    <a:pt x="227" y="278"/>
                  </a:lnTo>
                  <a:lnTo>
                    <a:pt x="225" y="276"/>
                  </a:lnTo>
                  <a:lnTo>
                    <a:pt x="227" y="271"/>
                  </a:lnTo>
                  <a:lnTo>
                    <a:pt x="225" y="269"/>
                  </a:lnTo>
                  <a:lnTo>
                    <a:pt x="223" y="271"/>
                  </a:lnTo>
                  <a:lnTo>
                    <a:pt x="219" y="269"/>
                  </a:lnTo>
                  <a:lnTo>
                    <a:pt x="217" y="267"/>
                  </a:lnTo>
                  <a:lnTo>
                    <a:pt x="219" y="263"/>
                  </a:lnTo>
                  <a:lnTo>
                    <a:pt x="219" y="267"/>
                  </a:lnTo>
                  <a:lnTo>
                    <a:pt x="223" y="265"/>
                  </a:lnTo>
                  <a:lnTo>
                    <a:pt x="223" y="263"/>
                  </a:lnTo>
                  <a:lnTo>
                    <a:pt x="223" y="259"/>
                  </a:lnTo>
                  <a:lnTo>
                    <a:pt x="225" y="261"/>
                  </a:lnTo>
                  <a:lnTo>
                    <a:pt x="227" y="257"/>
                  </a:lnTo>
                  <a:lnTo>
                    <a:pt x="233" y="255"/>
                  </a:lnTo>
                  <a:lnTo>
                    <a:pt x="234" y="249"/>
                  </a:lnTo>
                  <a:lnTo>
                    <a:pt x="234" y="247"/>
                  </a:lnTo>
                  <a:lnTo>
                    <a:pt x="229" y="246"/>
                  </a:lnTo>
                  <a:lnTo>
                    <a:pt x="223" y="238"/>
                  </a:lnTo>
                  <a:lnTo>
                    <a:pt x="219" y="234"/>
                  </a:lnTo>
                  <a:lnTo>
                    <a:pt x="215" y="234"/>
                  </a:lnTo>
                  <a:lnTo>
                    <a:pt x="213" y="232"/>
                  </a:lnTo>
                  <a:lnTo>
                    <a:pt x="213" y="228"/>
                  </a:lnTo>
                  <a:lnTo>
                    <a:pt x="215" y="222"/>
                  </a:lnTo>
                  <a:lnTo>
                    <a:pt x="215" y="215"/>
                  </a:lnTo>
                  <a:lnTo>
                    <a:pt x="215" y="213"/>
                  </a:lnTo>
                  <a:lnTo>
                    <a:pt x="221" y="213"/>
                  </a:lnTo>
                  <a:lnTo>
                    <a:pt x="221" y="211"/>
                  </a:lnTo>
                  <a:lnTo>
                    <a:pt x="215" y="205"/>
                  </a:lnTo>
                  <a:lnTo>
                    <a:pt x="211" y="201"/>
                  </a:lnTo>
                  <a:lnTo>
                    <a:pt x="211" y="198"/>
                  </a:lnTo>
                  <a:lnTo>
                    <a:pt x="213" y="194"/>
                  </a:lnTo>
                  <a:lnTo>
                    <a:pt x="215" y="192"/>
                  </a:lnTo>
                  <a:lnTo>
                    <a:pt x="219" y="194"/>
                  </a:lnTo>
                  <a:lnTo>
                    <a:pt x="221" y="190"/>
                  </a:lnTo>
                  <a:lnTo>
                    <a:pt x="223" y="190"/>
                  </a:lnTo>
                  <a:lnTo>
                    <a:pt x="225" y="184"/>
                  </a:lnTo>
                  <a:lnTo>
                    <a:pt x="227" y="186"/>
                  </a:lnTo>
                  <a:lnTo>
                    <a:pt x="231" y="182"/>
                  </a:lnTo>
                  <a:lnTo>
                    <a:pt x="236" y="184"/>
                  </a:lnTo>
                  <a:lnTo>
                    <a:pt x="236" y="186"/>
                  </a:lnTo>
                  <a:lnTo>
                    <a:pt x="238" y="188"/>
                  </a:lnTo>
                  <a:lnTo>
                    <a:pt x="238" y="186"/>
                  </a:lnTo>
                  <a:lnTo>
                    <a:pt x="244" y="188"/>
                  </a:lnTo>
                  <a:lnTo>
                    <a:pt x="246" y="188"/>
                  </a:lnTo>
                  <a:lnTo>
                    <a:pt x="246" y="186"/>
                  </a:lnTo>
                  <a:lnTo>
                    <a:pt x="242" y="180"/>
                  </a:lnTo>
                  <a:lnTo>
                    <a:pt x="242" y="176"/>
                  </a:lnTo>
                  <a:lnTo>
                    <a:pt x="240" y="174"/>
                  </a:lnTo>
                  <a:lnTo>
                    <a:pt x="242" y="174"/>
                  </a:lnTo>
                  <a:lnTo>
                    <a:pt x="244" y="165"/>
                  </a:lnTo>
                  <a:lnTo>
                    <a:pt x="240" y="165"/>
                  </a:lnTo>
                  <a:lnTo>
                    <a:pt x="238" y="163"/>
                  </a:lnTo>
                  <a:lnTo>
                    <a:pt x="236" y="163"/>
                  </a:lnTo>
                  <a:lnTo>
                    <a:pt x="233" y="157"/>
                  </a:lnTo>
                  <a:lnTo>
                    <a:pt x="229" y="157"/>
                  </a:lnTo>
                  <a:lnTo>
                    <a:pt x="229" y="153"/>
                  </a:lnTo>
                  <a:lnTo>
                    <a:pt x="229" y="151"/>
                  </a:lnTo>
                  <a:lnTo>
                    <a:pt x="227" y="151"/>
                  </a:lnTo>
                  <a:lnTo>
                    <a:pt x="229" y="148"/>
                  </a:lnTo>
                  <a:lnTo>
                    <a:pt x="221" y="146"/>
                  </a:lnTo>
                  <a:lnTo>
                    <a:pt x="219" y="142"/>
                  </a:lnTo>
                  <a:lnTo>
                    <a:pt x="219" y="138"/>
                  </a:lnTo>
                  <a:lnTo>
                    <a:pt x="221" y="140"/>
                  </a:lnTo>
                  <a:lnTo>
                    <a:pt x="221" y="132"/>
                  </a:lnTo>
                  <a:lnTo>
                    <a:pt x="223" y="126"/>
                  </a:lnTo>
                  <a:lnTo>
                    <a:pt x="229" y="123"/>
                  </a:lnTo>
                  <a:lnTo>
                    <a:pt x="231" y="123"/>
                  </a:lnTo>
                  <a:lnTo>
                    <a:pt x="233" y="125"/>
                  </a:lnTo>
                  <a:lnTo>
                    <a:pt x="233" y="123"/>
                  </a:lnTo>
                  <a:lnTo>
                    <a:pt x="236" y="123"/>
                  </a:lnTo>
                  <a:lnTo>
                    <a:pt x="234" y="121"/>
                  </a:lnTo>
                  <a:lnTo>
                    <a:pt x="236" y="119"/>
                  </a:lnTo>
                  <a:lnTo>
                    <a:pt x="234" y="119"/>
                  </a:lnTo>
                  <a:lnTo>
                    <a:pt x="236" y="117"/>
                  </a:lnTo>
                  <a:lnTo>
                    <a:pt x="236" y="115"/>
                  </a:lnTo>
                  <a:lnTo>
                    <a:pt x="242" y="117"/>
                  </a:lnTo>
                  <a:lnTo>
                    <a:pt x="240" y="115"/>
                  </a:lnTo>
                  <a:lnTo>
                    <a:pt x="244" y="113"/>
                  </a:lnTo>
                  <a:lnTo>
                    <a:pt x="248" y="113"/>
                  </a:lnTo>
                  <a:lnTo>
                    <a:pt x="252" y="107"/>
                  </a:lnTo>
                  <a:lnTo>
                    <a:pt x="254" y="107"/>
                  </a:lnTo>
                  <a:lnTo>
                    <a:pt x="256" y="103"/>
                  </a:lnTo>
                  <a:lnTo>
                    <a:pt x="263" y="101"/>
                  </a:lnTo>
                  <a:lnTo>
                    <a:pt x="263" y="100"/>
                  </a:lnTo>
                  <a:lnTo>
                    <a:pt x="271" y="94"/>
                  </a:lnTo>
                  <a:lnTo>
                    <a:pt x="269" y="92"/>
                  </a:lnTo>
                  <a:lnTo>
                    <a:pt x="265" y="92"/>
                  </a:lnTo>
                  <a:lnTo>
                    <a:pt x="265" y="90"/>
                  </a:lnTo>
                  <a:lnTo>
                    <a:pt x="269" y="86"/>
                  </a:lnTo>
                  <a:lnTo>
                    <a:pt x="263" y="82"/>
                  </a:lnTo>
                  <a:lnTo>
                    <a:pt x="265" y="80"/>
                  </a:lnTo>
                  <a:lnTo>
                    <a:pt x="261" y="80"/>
                  </a:lnTo>
                  <a:lnTo>
                    <a:pt x="259" y="78"/>
                  </a:lnTo>
                  <a:lnTo>
                    <a:pt x="265" y="75"/>
                  </a:lnTo>
                  <a:lnTo>
                    <a:pt x="265" y="73"/>
                  </a:lnTo>
                  <a:lnTo>
                    <a:pt x="263" y="71"/>
                  </a:lnTo>
                  <a:lnTo>
                    <a:pt x="263" y="75"/>
                  </a:lnTo>
                  <a:lnTo>
                    <a:pt x="259" y="75"/>
                  </a:lnTo>
                  <a:lnTo>
                    <a:pt x="256" y="77"/>
                  </a:lnTo>
                  <a:lnTo>
                    <a:pt x="250" y="73"/>
                  </a:lnTo>
                  <a:lnTo>
                    <a:pt x="256" y="65"/>
                  </a:lnTo>
                  <a:lnTo>
                    <a:pt x="257" y="63"/>
                  </a:lnTo>
                  <a:lnTo>
                    <a:pt x="257" y="59"/>
                  </a:lnTo>
                  <a:lnTo>
                    <a:pt x="261" y="52"/>
                  </a:lnTo>
                  <a:lnTo>
                    <a:pt x="259" y="44"/>
                  </a:lnTo>
                  <a:lnTo>
                    <a:pt x="259" y="42"/>
                  </a:lnTo>
                  <a:lnTo>
                    <a:pt x="259" y="38"/>
                  </a:lnTo>
                  <a:lnTo>
                    <a:pt x="256" y="36"/>
                  </a:lnTo>
                  <a:lnTo>
                    <a:pt x="257" y="32"/>
                  </a:lnTo>
                  <a:lnTo>
                    <a:pt x="254" y="28"/>
                  </a:lnTo>
                  <a:lnTo>
                    <a:pt x="254" y="25"/>
                  </a:lnTo>
                  <a:lnTo>
                    <a:pt x="250" y="23"/>
                  </a:lnTo>
                  <a:lnTo>
                    <a:pt x="250" y="21"/>
                  </a:lnTo>
                  <a:lnTo>
                    <a:pt x="244" y="19"/>
                  </a:lnTo>
                  <a:lnTo>
                    <a:pt x="240" y="11"/>
                  </a:lnTo>
                  <a:lnTo>
                    <a:pt x="244" y="5"/>
                  </a:lnTo>
                  <a:lnTo>
                    <a:pt x="244" y="0"/>
                  </a:lnTo>
                  <a:lnTo>
                    <a:pt x="248" y="0"/>
                  </a:lnTo>
                  <a:lnTo>
                    <a:pt x="252" y="9"/>
                  </a:lnTo>
                  <a:lnTo>
                    <a:pt x="257" y="11"/>
                  </a:lnTo>
                  <a:lnTo>
                    <a:pt x="261" y="9"/>
                  </a:lnTo>
                  <a:lnTo>
                    <a:pt x="267" y="11"/>
                  </a:lnTo>
                  <a:lnTo>
                    <a:pt x="273" y="9"/>
                  </a:lnTo>
                  <a:lnTo>
                    <a:pt x="275" y="13"/>
                  </a:lnTo>
                  <a:lnTo>
                    <a:pt x="277" y="11"/>
                  </a:lnTo>
                  <a:lnTo>
                    <a:pt x="286" y="15"/>
                  </a:lnTo>
                  <a:lnTo>
                    <a:pt x="290" y="13"/>
                  </a:lnTo>
                  <a:lnTo>
                    <a:pt x="292" y="11"/>
                  </a:lnTo>
                  <a:lnTo>
                    <a:pt x="298" y="7"/>
                  </a:lnTo>
                  <a:lnTo>
                    <a:pt x="298" y="5"/>
                  </a:lnTo>
                  <a:lnTo>
                    <a:pt x="304" y="4"/>
                  </a:lnTo>
                  <a:lnTo>
                    <a:pt x="311" y="5"/>
                  </a:lnTo>
                  <a:lnTo>
                    <a:pt x="313" y="4"/>
                  </a:lnTo>
                  <a:lnTo>
                    <a:pt x="319" y="9"/>
                  </a:lnTo>
                  <a:lnTo>
                    <a:pt x="321" y="7"/>
                  </a:lnTo>
                  <a:close/>
                </a:path>
              </a:pathLst>
            </a:custGeom>
            <a:solidFill>
              <a:schemeClr val="accent3"/>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1" name="Freeform 18">
              <a:extLst>
                <a:ext uri="{FF2B5EF4-FFF2-40B4-BE49-F238E27FC236}">
                  <a16:creationId xmlns:a16="http://schemas.microsoft.com/office/drawing/2014/main" id="{B84433D1-0C0D-4D12-BFC0-2C4D950CE7C9}"/>
                </a:ext>
              </a:extLst>
            </p:cNvPr>
            <p:cNvSpPr>
              <a:spLocks noEditPoints="1"/>
            </p:cNvSpPr>
            <p:nvPr/>
          </p:nvSpPr>
          <p:spPr bwMode="gray">
            <a:xfrm>
              <a:off x="7529514" y="5238753"/>
              <a:ext cx="354012" cy="1192213"/>
            </a:xfrm>
            <a:custGeom>
              <a:avLst/>
              <a:gdLst>
                <a:gd name="T0" fmla="*/ 184 w 223"/>
                <a:gd name="T1" fmla="*/ 722 h 751"/>
                <a:gd name="T2" fmla="*/ 175 w 223"/>
                <a:gd name="T3" fmla="*/ 749 h 751"/>
                <a:gd name="T4" fmla="*/ 159 w 223"/>
                <a:gd name="T5" fmla="*/ 726 h 751"/>
                <a:gd name="T6" fmla="*/ 169 w 223"/>
                <a:gd name="T7" fmla="*/ 703 h 751"/>
                <a:gd name="T8" fmla="*/ 152 w 223"/>
                <a:gd name="T9" fmla="*/ 690 h 751"/>
                <a:gd name="T10" fmla="*/ 129 w 223"/>
                <a:gd name="T11" fmla="*/ 626 h 751"/>
                <a:gd name="T12" fmla="*/ 119 w 223"/>
                <a:gd name="T13" fmla="*/ 617 h 751"/>
                <a:gd name="T14" fmla="*/ 146 w 223"/>
                <a:gd name="T15" fmla="*/ 609 h 751"/>
                <a:gd name="T16" fmla="*/ 138 w 223"/>
                <a:gd name="T17" fmla="*/ 613 h 751"/>
                <a:gd name="T18" fmla="*/ 136 w 223"/>
                <a:gd name="T19" fmla="*/ 592 h 751"/>
                <a:gd name="T20" fmla="*/ 94 w 223"/>
                <a:gd name="T21" fmla="*/ 580 h 751"/>
                <a:gd name="T22" fmla="*/ 152 w 223"/>
                <a:gd name="T23" fmla="*/ 563 h 751"/>
                <a:gd name="T24" fmla="*/ 33 w 223"/>
                <a:gd name="T25" fmla="*/ 304 h 751"/>
                <a:gd name="T26" fmla="*/ 17 w 223"/>
                <a:gd name="T27" fmla="*/ 342 h 751"/>
                <a:gd name="T28" fmla="*/ 31 w 223"/>
                <a:gd name="T29" fmla="*/ 305 h 751"/>
                <a:gd name="T30" fmla="*/ 52 w 223"/>
                <a:gd name="T31" fmla="*/ 248 h 751"/>
                <a:gd name="T32" fmla="*/ 37 w 223"/>
                <a:gd name="T33" fmla="*/ 234 h 751"/>
                <a:gd name="T34" fmla="*/ 44 w 223"/>
                <a:gd name="T35" fmla="*/ 229 h 751"/>
                <a:gd name="T36" fmla="*/ 35 w 223"/>
                <a:gd name="T37" fmla="*/ 231 h 751"/>
                <a:gd name="T38" fmla="*/ 56 w 223"/>
                <a:gd name="T39" fmla="*/ 184 h 751"/>
                <a:gd name="T40" fmla="*/ 84 w 223"/>
                <a:gd name="T41" fmla="*/ 186 h 751"/>
                <a:gd name="T42" fmla="*/ 84 w 223"/>
                <a:gd name="T43" fmla="*/ 169 h 751"/>
                <a:gd name="T44" fmla="*/ 90 w 223"/>
                <a:gd name="T45" fmla="*/ 177 h 751"/>
                <a:gd name="T46" fmla="*/ 94 w 223"/>
                <a:gd name="T47" fmla="*/ 171 h 751"/>
                <a:gd name="T48" fmla="*/ 60 w 223"/>
                <a:gd name="T49" fmla="*/ 163 h 751"/>
                <a:gd name="T50" fmla="*/ 60 w 223"/>
                <a:gd name="T51" fmla="*/ 183 h 751"/>
                <a:gd name="T52" fmla="*/ 54 w 223"/>
                <a:gd name="T53" fmla="*/ 200 h 751"/>
                <a:gd name="T54" fmla="*/ 52 w 223"/>
                <a:gd name="T55" fmla="*/ 213 h 751"/>
                <a:gd name="T56" fmla="*/ 58 w 223"/>
                <a:gd name="T57" fmla="*/ 225 h 751"/>
                <a:gd name="T58" fmla="*/ 46 w 223"/>
                <a:gd name="T59" fmla="*/ 223 h 751"/>
                <a:gd name="T60" fmla="*/ 38 w 223"/>
                <a:gd name="T61" fmla="*/ 188 h 751"/>
                <a:gd name="T62" fmla="*/ 46 w 223"/>
                <a:gd name="T63" fmla="*/ 161 h 751"/>
                <a:gd name="T64" fmla="*/ 60 w 223"/>
                <a:gd name="T65" fmla="*/ 161 h 751"/>
                <a:gd name="T66" fmla="*/ 96 w 223"/>
                <a:gd name="T67" fmla="*/ 154 h 751"/>
                <a:gd name="T68" fmla="*/ 58 w 223"/>
                <a:gd name="T69" fmla="*/ 152 h 751"/>
                <a:gd name="T70" fmla="*/ 77 w 223"/>
                <a:gd name="T71" fmla="*/ 154 h 751"/>
                <a:gd name="T72" fmla="*/ 69 w 223"/>
                <a:gd name="T73" fmla="*/ 165 h 751"/>
                <a:gd name="T74" fmla="*/ 58 w 223"/>
                <a:gd name="T75" fmla="*/ 152 h 751"/>
                <a:gd name="T76" fmla="*/ 67 w 223"/>
                <a:gd name="T77" fmla="*/ 136 h 751"/>
                <a:gd name="T78" fmla="*/ 50 w 223"/>
                <a:gd name="T79" fmla="*/ 123 h 751"/>
                <a:gd name="T80" fmla="*/ 56 w 223"/>
                <a:gd name="T81" fmla="*/ 88 h 751"/>
                <a:gd name="T82" fmla="*/ 81 w 223"/>
                <a:gd name="T83" fmla="*/ 94 h 751"/>
                <a:gd name="T84" fmla="*/ 81 w 223"/>
                <a:gd name="T85" fmla="*/ 131 h 751"/>
                <a:gd name="T86" fmla="*/ 63 w 223"/>
                <a:gd name="T87" fmla="*/ 131 h 751"/>
                <a:gd name="T88" fmla="*/ 60 w 223"/>
                <a:gd name="T89" fmla="*/ 150 h 751"/>
                <a:gd name="T90" fmla="*/ 54 w 223"/>
                <a:gd name="T91" fmla="*/ 111 h 751"/>
                <a:gd name="T92" fmla="*/ 58 w 223"/>
                <a:gd name="T93" fmla="*/ 104 h 751"/>
                <a:gd name="T94" fmla="*/ 69 w 223"/>
                <a:gd name="T95" fmla="*/ 86 h 751"/>
                <a:gd name="T96" fmla="*/ 56 w 223"/>
                <a:gd name="T97" fmla="*/ 75 h 751"/>
                <a:gd name="T98" fmla="*/ 83 w 223"/>
                <a:gd name="T99" fmla="*/ 77 h 751"/>
                <a:gd name="T100" fmla="*/ 77 w 223"/>
                <a:gd name="T101" fmla="*/ 71 h 751"/>
                <a:gd name="T102" fmla="*/ 69 w 223"/>
                <a:gd name="T103" fmla="*/ 27 h 751"/>
                <a:gd name="T104" fmla="*/ 90 w 223"/>
                <a:gd name="T105" fmla="*/ 25 h 751"/>
                <a:gd name="T106" fmla="*/ 92 w 223"/>
                <a:gd name="T107" fmla="*/ 37 h 751"/>
                <a:gd name="T108" fmla="*/ 86 w 223"/>
                <a:gd name="T109" fmla="*/ 42 h 751"/>
                <a:gd name="T110" fmla="*/ 77 w 223"/>
                <a:gd name="T111" fmla="*/ 67 h 751"/>
                <a:gd name="T112" fmla="*/ 73 w 223"/>
                <a:gd name="T113" fmla="*/ 79 h 751"/>
                <a:gd name="T114" fmla="*/ 65 w 223"/>
                <a:gd name="T115" fmla="*/ 73 h 751"/>
                <a:gd name="T116" fmla="*/ 67 w 223"/>
                <a:gd name="T117" fmla="*/ 54 h 751"/>
                <a:gd name="T118" fmla="*/ 73 w 223"/>
                <a:gd name="T119" fmla="*/ 27 h 751"/>
                <a:gd name="T120" fmla="*/ 73 w 223"/>
                <a:gd name="T121" fmla="*/ 8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3" h="751">
                  <a:moveTo>
                    <a:pt x="159" y="699"/>
                  </a:moveTo>
                  <a:lnTo>
                    <a:pt x="161" y="699"/>
                  </a:lnTo>
                  <a:lnTo>
                    <a:pt x="161" y="701"/>
                  </a:lnTo>
                  <a:lnTo>
                    <a:pt x="159" y="701"/>
                  </a:lnTo>
                  <a:lnTo>
                    <a:pt x="159" y="699"/>
                  </a:lnTo>
                  <a:close/>
                  <a:moveTo>
                    <a:pt x="175" y="699"/>
                  </a:moveTo>
                  <a:lnTo>
                    <a:pt x="175" y="701"/>
                  </a:lnTo>
                  <a:lnTo>
                    <a:pt x="179" y="703"/>
                  </a:lnTo>
                  <a:lnTo>
                    <a:pt x="179" y="711"/>
                  </a:lnTo>
                  <a:lnTo>
                    <a:pt x="179" y="715"/>
                  </a:lnTo>
                  <a:lnTo>
                    <a:pt x="182" y="720"/>
                  </a:lnTo>
                  <a:lnTo>
                    <a:pt x="182" y="722"/>
                  </a:lnTo>
                  <a:lnTo>
                    <a:pt x="184" y="722"/>
                  </a:lnTo>
                  <a:lnTo>
                    <a:pt x="186" y="724"/>
                  </a:lnTo>
                  <a:lnTo>
                    <a:pt x="182" y="724"/>
                  </a:lnTo>
                  <a:lnTo>
                    <a:pt x="184" y="730"/>
                  </a:lnTo>
                  <a:lnTo>
                    <a:pt x="182" y="730"/>
                  </a:lnTo>
                  <a:lnTo>
                    <a:pt x="182" y="734"/>
                  </a:lnTo>
                  <a:lnTo>
                    <a:pt x="180" y="736"/>
                  </a:lnTo>
                  <a:lnTo>
                    <a:pt x="180" y="741"/>
                  </a:lnTo>
                  <a:lnTo>
                    <a:pt x="180" y="743"/>
                  </a:lnTo>
                  <a:lnTo>
                    <a:pt x="180" y="745"/>
                  </a:lnTo>
                  <a:lnTo>
                    <a:pt x="179" y="747"/>
                  </a:lnTo>
                  <a:lnTo>
                    <a:pt x="177" y="745"/>
                  </a:lnTo>
                  <a:lnTo>
                    <a:pt x="175" y="745"/>
                  </a:lnTo>
                  <a:lnTo>
                    <a:pt x="175" y="749"/>
                  </a:lnTo>
                  <a:lnTo>
                    <a:pt x="173" y="751"/>
                  </a:lnTo>
                  <a:lnTo>
                    <a:pt x="171" y="751"/>
                  </a:lnTo>
                  <a:lnTo>
                    <a:pt x="171" y="745"/>
                  </a:lnTo>
                  <a:lnTo>
                    <a:pt x="169" y="743"/>
                  </a:lnTo>
                  <a:lnTo>
                    <a:pt x="169" y="741"/>
                  </a:lnTo>
                  <a:lnTo>
                    <a:pt x="167" y="738"/>
                  </a:lnTo>
                  <a:lnTo>
                    <a:pt x="167" y="736"/>
                  </a:lnTo>
                  <a:lnTo>
                    <a:pt x="163" y="732"/>
                  </a:lnTo>
                  <a:lnTo>
                    <a:pt x="165" y="732"/>
                  </a:lnTo>
                  <a:lnTo>
                    <a:pt x="163" y="728"/>
                  </a:lnTo>
                  <a:lnTo>
                    <a:pt x="163" y="730"/>
                  </a:lnTo>
                  <a:lnTo>
                    <a:pt x="161" y="726"/>
                  </a:lnTo>
                  <a:lnTo>
                    <a:pt x="159" y="726"/>
                  </a:lnTo>
                  <a:lnTo>
                    <a:pt x="157" y="722"/>
                  </a:lnTo>
                  <a:lnTo>
                    <a:pt x="156" y="724"/>
                  </a:lnTo>
                  <a:lnTo>
                    <a:pt x="156" y="722"/>
                  </a:lnTo>
                  <a:lnTo>
                    <a:pt x="154" y="715"/>
                  </a:lnTo>
                  <a:lnTo>
                    <a:pt x="156" y="713"/>
                  </a:lnTo>
                  <a:lnTo>
                    <a:pt x="154" y="713"/>
                  </a:lnTo>
                  <a:lnTo>
                    <a:pt x="154" y="711"/>
                  </a:lnTo>
                  <a:lnTo>
                    <a:pt x="156" y="709"/>
                  </a:lnTo>
                  <a:lnTo>
                    <a:pt x="156" y="705"/>
                  </a:lnTo>
                  <a:lnTo>
                    <a:pt x="157" y="705"/>
                  </a:lnTo>
                  <a:lnTo>
                    <a:pt x="163" y="705"/>
                  </a:lnTo>
                  <a:lnTo>
                    <a:pt x="165" y="701"/>
                  </a:lnTo>
                  <a:lnTo>
                    <a:pt x="169" y="703"/>
                  </a:lnTo>
                  <a:lnTo>
                    <a:pt x="171" y="699"/>
                  </a:lnTo>
                  <a:lnTo>
                    <a:pt x="175" y="699"/>
                  </a:lnTo>
                  <a:close/>
                  <a:moveTo>
                    <a:pt x="159" y="676"/>
                  </a:moveTo>
                  <a:lnTo>
                    <a:pt x="161" y="682"/>
                  </a:lnTo>
                  <a:lnTo>
                    <a:pt x="165" y="684"/>
                  </a:lnTo>
                  <a:lnTo>
                    <a:pt x="165" y="686"/>
                  </a:lnTo>
                  <a:lnTo>
                    <a:pt x="161" y="692"/>
                  </a:lnTo>
                  <a:lnTo>
                    <a:pt x="157" y="693"/>
                  </a:lnTo>
                  <a:lnTo>
                    <a:pt x="154" y="699"/>
                  </a:lnTo>
                  <a:lnTo>
                    <a:pt x="152" y="695"/>
                  </a:lnTo>
                  <a:lnTo>
                    <a:pt x="152" y="693"/>
                  </a:lnTo>
                  <a:lnTo>
                    <a:pt x="150" y="692"/>
                  </a:lnTo>
                  <a:lnTo>
                    <a:pt x="152" y="690"/>
                  </a:lnTo>
                  <a:lnTo>
                    <a:pt x="152" y="684"/>
                  </a:lnTo>
                  <a:lnTo>
                    <a:pt x="161" y="682"/>
                  </a:lnTo>
                  <a:lnTo>
                    <a:pt x="159" y="682"/>
                  </a:lnTo>
                  <a:lnTo>
                    <a:pt x="159" y="676"/>
                  </a:lnTo>
                  <a:close/>
                  <a:moveTo>
                    <a:pt x="125" y="613"/>
                  </a:moveTo>
                  <a:lnTo>
                    <a:pt x="127" y="615"/>
                  </a:lnTo>
                  <a:lnTo>
                    <a:pt x="127" y="619"/>
                  </a:lnTo>
                  <a:lnTo>
                    <a:pt x="129" y="620"/>
                  </a:lnTo>
                  <a:lnTo>
                    <a:pt x="131" y="620"/>
                  </a:lnTo>
                  <a:lnTo>
                    <a:pt x="134" y="624"/>
                  </a:lnTo>
                  <a:lnTo>
                    <a:pt x="134" y="628"/>
                  </a:lnTo>
                  <a:lnTo>
                    <a:pt x="132" y="630"/>
                  </a:lnTo>
                  <a:lnTo>
                    <a:pt x="129" y="626"/>
                  </a:lnTo>
                  <a:lnTo>
                    <a:pt x="125" y="628"/>
                  </a:lnTo>
                  <a:lnTo>
                    <a:pt x="121" y="628"/>
                  </a:lnTo>
                  <a:lnTo>
                    <a:pt x="121" y="624"/>
                  </a:lnTo>
                  <a:lnTo>
                    <a:pt x="123" y="622"/>
                  </a:lnTo>
                  <a:lnTo>
                    <a:pt x="121" y="619"/>
                  </a:lnTo>
                  <a:lnTo>
                    <a:pt x="119" y="620"/>
                  </a:lnTo>
                  <a:lnTo>
                    <a:pt x="121" y="620"/>
                  </a:lnTo>
                  <a:lnTo>
                    <a:pt x="119" y="622"/>
                  </a:lnTo>
                  <a:lnTo>
                    <a:pt x="121" y="622"/>
                  </a:lnTo>
                  <a:lnTo>
                    <a:pt x="119" y="624"/>
                  </a:lnTo>
                  <a:lnTo>
                    <a:pt x="117" y="622"/>
                  </a:lnTo>
                  <a:lnTo>
                    <a:pt x="117" y="620"/>
                  </a:lnTo>
                  <a:lnTo>
                    <a:pt x="119" y="617"/>
                  </a:lnTo>
                  <a:lnTo>
                    <a:pt x="125" y="613"/>
                  </a:lnTo>
                  <a:close/>
                  <a:moveTo>
                    <a:pt x="142" y="613"/>
                  </a:moveTo>
                  <a:lnTo>
                    <a:pt x="144" y="613"/>
                  </a:lnTo>
                  <a:lnTo>
                    <a:pt x="146" y="617"/>
                  </a:lnTo>
                  <a:lnTo>
                    <a:pt x="146" y="624"/>
                  </a:lnTo>
                  <a:lnTo>
                    <a:pt x="138" y="619"/>
                  </a:lnTo>
                  <a:lnTo>
                    <a:pt x="140" y="613"/>
                  </a:lnTo>
                  <a:lnTo>
                    <a:pt x="142" y="617"/>
                  </a:lnTo>
                  <a:lnTo>
                    <a:pt x="142" y="613"/>
                  </a:lnTo>
                  <a:close/>
                  <a:moveTo>
                    <a:pt x="148" y="603"/>
                  </a:moveTo>
                  <a:lnTo>
                    <a:pt x="148" y="611"/>
                  </a:lnTo>
                  <a:lnTo>
                    <a:pt x="148" y="613"/>
                  </a:lnTo>
                  <a:lnTo>
                    <a:pt x="146" y="609"/>
                  </a:lnTo>
                  <a:lnTo>
                    <a:pt x="146" y="605"/>
                  </a:lnTo>
                  <a:lnTo>
                    <a:pt x="144" y="603"/>
                  </a:lnTo>
                  <a:lnTo>
                    <a:pt x="146" y="603"/>
                  </a:lnTo>
                  <a:lnTo>
                    <a:pt x="148" y="603"/>
                  </a:lnTo>
                  <a:close/>
                  <a:moveTo>
                    <a:pt x="140" y="592"/>
                  </a:moveTo>
                  <a:lnTo>
                    <a:pt x="142" y="592"/>
                  </a:lnTo>
                  <a:lnTo>
                    <a:pt x="142" y="595"/>
                  </a:lnTo>
                  <a:lnTo>
                    <a:pt x="138" y="599"/>
                  </a:lnTo>
                  <a:lnTo>
                    <a:pt x="142" y="607"/>
                  </a:lnTo>
                  <a:lnTo>
                    <a:pt x="142" y="613"/>
                  </a:lnTo>
                  <a:lnTo>
                    <a:pt x="140" y="611"/>
                  </a:lnTo>
                  <a:lnTo>
                    <a:pt x="140" y="613"/>
                  </a:lnTo>
                  <a:lnTo>
                    <a:pt x="138" y="613"/>
                  </a:lnTo>
                  <a:lnTo>
                    <a:pt x="138" y="617"/>
                  </a:lnTo>
                  <a:lnTo>
                    <a:pt x="136" y="611"/>
                  </a:lnTo>
                  <a:lnTo>
                    <a:pt x="138" y="611"/>
                  </a:lnTo>
                  <a:lnTo>
                    <a:pt x="138" y="609"/>
                  </a:lnTo>
                  <a:lnTo>
                    <a:pt x="140" y="611"/>
                  </a:lnTo>
                  <a:lnTo>
                    <a:pt x="140" y="607"/>
                  </a:lnTo>
                  <a:lnTo>
                    <a:pt x="138" y="607"/>
                  </a:lnTo>
                  <a:lnTo>
                    <a:pt x="136" y="611"/>
                  </a:lnTo>
                  <a:lnTo>
                    <a:pt x="136" y="607"/>
                  </a:lnTo>
                  <a:lnTo>
                    <a:pt x="132" y="603"/>
                  </a:lnTo>
                  <a:lnTo>
                    <a:pt x="132" y="597"/>
                  </a:lnTo>
                  <a:lnTo>
                    <a:pt x="136" y="594"/>
                  </a:lnTo>
                  <a:lnTo>
                    <a:pt x="136" y="592"/>
                  </a:lnTo>
                  <a:lnTo>
                    <a:pt x="140" y="592"/>
                  </a:lnTo>
                  <a:close/>
                  <a:moveTo>
                    <a:pt x="109" y="592"/>
                  </a:moveTo>
                  <a:lnTo>
                    <a:pt x="108" y="590"/>
                  </a:lnTo>
                  <a:lnTo>
                    <a:pt x="109" y="588"/>
                  </a:lnTo>
                  <a:lnTo>
                    <a:pt x="109" y="592"/>
                  </a:lnTo>
                  <a:close/>
                  <a:moveTo>
                    <a:pt x="98" y="578"/>
                  </a:moveTo>
                  <a:lnTo>
                    <a:pt x="98" y="586"/>
                  </a:lnTo>
                  <a:lnTo>
                    <a:pt x="100" y="590"/>
                  </a:lnTo>
                  <a:lnTo>
                    <a:pt x="106" y="594"/>
                  </a:lnTo>
                  <a:lnTo>
                    <a:pt x="106" y="595"/>
                  </a:lnTo>
                  <a:lnTo>
                    <a:pt x="96" y="592"/>
                  </a:lnTo>
                  <a:lnTo>
                    <a:pt x="92" y="586"/>
                  </a:lnTo>
                  <a:lnTo>
                    <a:pt x="94" y="580"/>
                  </a:lnTo>
                  <a:lnTo>
                    <a:pt x="98" y="578"/>
                  </a:lnTo>
                  <a:close/>
                  <a:moveTo>
                    <a:pt x="86" y="565"/>
                  </a:moveTo>
                  <a:lnTo>
                    <a:pt x="90" y="565"/>
                  </a:lnTo>
                  <a:lnTo>
                    <a:pt x="90" y="569"/>
                  </a:lnTo>
                  <a:lnTo>
                    <a:pt x="86" y="569"/>
                  </a:lnTo>
                  <a:lnTo>
                    <a:pt x="86" y="565"/>
                  </a:lnTo>
                  <a:close/>
                  <a:moveTo>
                    <a:pt x="150" y="553"/>
                  </a:moveTo>
                  <a:lnTo>
                    <a:pt x="152" y="559"/>
                  </a:lnTo>
                  <a:lnTo>
                    <a:pt x="154" y="565"/>
                  </a:lnTo>
                  <a:lnTo>
                    <a:pt x="152" y="565"/>
                  </a:lnTo>
                  <a:lnTo>
                    <a:pt x="152" y="571"/>
                  </a:lnTo>
                  <a:lnTo>
                    <a:pt x="150" y="567"/>
                  </a:lnTo>
                  <a:lnTo>
                    <a:pt x="152" y="563"/>
                  </a:lnTo>
                  <a:lnTo>
                    <a:pt x="150" y="557"/>
                  </a:lnTo>
                  <a:lnTo>
                    <a:pt x="150" y="553"/>
                  </a:lnTo>
                  <a:close/>
                  <a:moveTo>
                    <a:pt x="61" y="482"/>
                  </a:moveTo>
                  <a:lnTo>
                    <a:pt x="63" y="484"/>
                  </a:lnTo>
                  <a:lnTo>
                    <a:pt x="65" y="492"/>
                  </a:lnTo>
                  <a:lnTo>
                    <a:pt x="61" y="496"/>
                  </a:lnTo>
                  <a:lnTo>
                    <a:pt x="54" y="494"/>
                  </a:lnTo>
                  <a:lnTo>
                    <a:pt x="54" y="492"/>
                  </a:lnTo>
                  <a:lnTo>
                    <a:pt x="54" y="484"/>
                  </a:lnTo>
                  <a:lnTo>
                    <a:pt x="58" y="484"/>
                  </a:lnTo>
                  <a:lnTo>
                    <a:pt x="60" y="480"/>
                  </a:lnTo>
                  <a:lnTo>
                    <a:pt x="61" y="482"/>
                  </a:lnTo>
                  <a:close/>
                  <a:moveTo>
                    <a:pt x="33" y="304"/>
                  </a:moveTo>
                  <a:lnTo>
                    <a:pt x="35" y="304"/>
                  </a:lnTo>
                  <a:lnTo>
                    <a:pt x="37" y="305"/>
                  </a:lnTo>
                  <a:lnTo>
                    <a:pt x="37" y="311"/>
                  </a:lnTo>
                  <a:lnTo>
                    <a:pt x="40" y="313"/>
                  </a:lnTo>
                  <a:lnTo>
                    <a:pt x="38" y="319"/>
                  </a:lnTo>
                  <a:lnTo>
                    <a:pt x="40" y="325"/>
                  </a:lnTo>
                  <a:lnTo>
                    <a:pt x="38" y="327"/>
                  </a:lnTo>
                  <a:lnTo>
                    <a:pt x="35" y="332"/>
                  </a:lnTo>
                  <a:lnTo>
                    <a:pt x="38" y="336"/>
                  </a:lnTo>
                  <a:lnTo>
                    <a:pt x="33" y="342"/>
                  </a:lnTo>
                  <a:lnTo>
                    <a:pt x="31" y="344"/>
                  </a:lnTo>
                  <a:lnTo>
                    <a:pt x="23" y="340"/>
                  </a:lnTo>
                  <a:lnTo>
                    <a:pt x="17" y="342"/>
                  </a:lnTo>
                  <a:lnTo>
                    <a:pt x="21" y="332"/>
                  </a:lnTo>
                  <a:lnTo>
                    <a:pt x="19" y="327"/>
                  </a:lnTo>
                  <a:lnTo>
                    <a:pt x="17" y="327"/>
                  </a:lnTo>
                  <a:lnTo>
                    <a:pt x="17" y="319"/>
                  </a:lnTo>
                  <a:lnTo>
                    <a:pt x="17" y="317"/>
                  </a:lnTo>
                  <a:lnTo>
                    <a:pt x="17" y="313"/>
                  </a:lnTo>
                  <a:lnTo>
                    <a:pt x="19" y="317"/>
                  </a:lnTo>
                  <a:lnTo>
                    <a:pt x="23" y="309"/>
                  </a:lnTo>
                  <a:lnTo>
                    <a:pt x="25" y="307"/>
                  </a:lnTo>
                  <a:lnTo>
                    <a:pt x="25" y="305"/>
                  </a:lnTo>
                  <a:lnTo>
                    <a:pt x="29" y="302"/>
                  </a:lnTo>
                  <a:lnTo>
                    <a:pt x="31" y="302"/>
                  </a:lnTo>
                  <a:lnTo>
                    <a:pt x="31" y="305"/>
                  </a:lnTo>
                  <a:lnTo>
                    <a:pt x="31" y="302"/>
                  </a:lnTo>
                  <a:lnTo>
                    <a:pt x="33" y="302"/>
                  </a:lnTo>
                  <a:lnTo>
                    <a:pt x="33" y="304"/>
                  </a:lnTo>
                  <a:close/>
                  <a:moveTo>
                    <a:pt x="54" y="259"/>
                  </a:moveTo>
                  <a:lnTo>
                    <a:pt x="54" y="261"/>
                  </a:lnTo>
                  <a:lnTo>
                    <a:pt x="50" y="263"/>
                  </a:lnTo>
                  <a:lnTo>
                    <a:pt x="52" y="259"/>
                  </a:lnTo>
                  <a:lnTo>
                    <a:pt x="54" y="259"/>
                  </a:lnTo>
                  <a:close/>
                  <a:moveTo>
                    <a:pt x="46" y="234"/>
                  </a:moveTo>
                  <a:lnTo>
                    <a:pt x="48" y="236"/>
                  </a:lnTo>
                  <a:lnTo>
                    <a:pt x="50" y="242"/>
                  </a:lnTo>
                  <a:lnTo>
                    <a:pt x="46" y="246"/>
                  </a:lnTo>
                  <a:lnTo>
                    <a:pt x="52" y="248"/>
                  </a:lnTo>
                  <a:lnTo>
                    <a:pt x="52" y="250"/>
                  </a:lnTo>
                  <a:lnTo>
                    <a:pt x="48" y="252"/>
                  </a:lnTo>
                  <a:lnTo>
                    <a:pt x="42" y="252"/>
                  </a:lnTo>
                  <a:lnTo>
                    <a:pt x="40" y="250"/>
                  </a:lnTo>
                  <a:lnTo>
                    <a:pt x="40" y="246"/>
                  </a:lnTo>
                  <a:lnTo>
                    <a:pt x="44" y="246"/>
                  </a:lnTo>
                  <a:lnTo>
                    <a:pt x="42" y="238"/>
                  </a:lnTo>
                  <a:lnTo>
                    <a:pt x="44" y="234"/>
                  </a:lnTo>
                  <a:lnTo>
                    <a:pt x="46" y="234"/>
                  </a:lnTo>
                  <a:close/>
                  <a:moveTo>
                    <a:pt x="37" y="232"/>
                  </a:moveTo>
                  <a:lnTo>
                    <a:pt x="38" y="232"/>
                  </a:lnTo>
                  <a:lnTo>
                    <a:pt x="38" y="234"/>
                  </a:lnTo>
                  <a:lnTo>
                    <a:pt x="37" y="234"/>
                  </a:lnTo>
                  <a:lnTo>
                    <a:pt x="37" y="232"/>
                  </a:lnTo>
                  <a:close/>
                  <a:moveTo>
                    <a:pt x="42" y="229"/>
                  </a:moveTo>
                  <a:lnTo>
                    <a:pt x="44" y="229"/>
                  </a:lnTo>
                  <a:lnTo>
                    <a:pt x="44" y="232"/>
                  </a:lnTo>
                  <a:lnTo>
                    <a:pt x="42" y="232"/>
                  </a:lnTo>
                  <a:lnTo>
                    <a:pt x="42" y="229"/>
                  </a:lnTo>
                  <a:close/>
                  <a:moveTo>
                    <a:pt x="40" y="231"/>
                  </a:moveTo>
                  <a:lnTo>
                    <a:pt x="40" y="232"/>
                  </a:lnTo>
                  <a:lnTo>
                    <a:pt x="40" y="227"/>
                  </a:lnTo>
                  <a:lnTo>
                    <a:pt x="40" y="231"/>
                  </a:lnTo>
                  <a:close/>
                  <a:moveTo>
                    <a:pt x="42" y="227"/>
                  </a:moveTo>
                  <a:lnTo>
                    <a:pt x="44" y="227"/>
                  </a:lnTo>
                  <a:lnTo>
                    <a:pt x="44" y="229"/>
                  </a:lnTo>
                  <a:lnTo>
                    <a:pt x="42" y="229"/>
                  </a:lnTo>
                  <a:lnTo>
                    <a:pt x="42" y="227"/>
                  </a:lnTo>
                  <a:close/>
                  <a:moveTo>
                    <a:pt x="2" y="227"/>
                  </a:moveTo>
                  <a:lnTo>
                    <a:pt x="6" y="227"/>
                  </a:lnTo>
                  <a:lnTo>
                    <a:pt x="6" y="232"/>
                  </a:lnTo>
                  <a:lnTo>
                    <a:pt x="6" y="234"/>
                  </a:lnTo>
                  <a:lnTo>
                    <a:pt x="0" y="232"/>
                  </a:lnTo>
                  <a:lnTo>
                    <a:pt x="0" y="227"/>
                  </a:lnTo>
                  <a:lnTo>
                    <a:pt x="2" y="227"/>
                  </a:lnTo>
                  <a:close/>
                  <a:moveTo>
                    <a:pt x="37" y="227"/>
                  </a:moveTo>
                  <a:lnTo>
                    <a:pt x="38" y="227"/>
                  </a:lnTo>
                  <a:lnTo>
                    <a:pt x="38" y="229"/>
                  </a:lnTo>
                  <a:lnTo>
                    <a:pt x="35" y="231"/>
                  </a:lnTo>
                  <a:lnTo>
                    <a:pt x="35" y="225"/>
                  </a:lnTo>
                  <a:lnTo>
                    <a:pt x="37" y="227"/>
                  </a:lnTo>
                  <a:close/>
                  <a:moveTo>
                    <a:pt x="88" y="200"/>
                  </a:moveTo>
                  <a:lnTo>
                    <a:pt x="92" y="200"/>
                  </a:lnTo>
                  <a:lnTo>
                    <a:pt x="90" y="202"/>
                  </a:lnTo>
                  <a:lnTo>
                    <a:pt x="86" y="200"/>
                  </a:lnTo>
                  <a:lnTo>
                    <a:pt x="86" y="198"/>
                  </a:lnTo>
                  <a:lnTo>
                    <a:pt x="88" y="200"/>
                  </a:lnTo>
                  <a:close/>
                  <a:moveTo>
                    <a:pt x="56" y="184"/>
                  </a:moveTo>
                  <a:lnTo>
                    <a:pt x="60" y="184"/>
                  </a:lnTo>
                  <a:lnTo>
                    <a:pt x="60" y="186"/>
                  </a:lnTo>
                  <a:lnTo>
                    <a:pt x="56" y="186"/>
                  </a:lnTo>
                  <a:lnTo>
                    <a:pt x="56" y="184"/>
                  </a:lnTo>
                  <a:close/>
                  <a:moveTo>
                    <a:pt x="42" y="184"/>
                  </a:moveTo>
                  <a:lnTo>
                    <a:pt x="42" y="188"/>
                  </a:lnTo>
                  <a:lnTo>
                    <a:pt x="42" y="190"/>
                  </a:lnTo>
                  <a:lnTo>
                    <a:pt x="42" y="184"/>
                  </a:lnTo>
                  <a:close/>
                  <a:moveTo>
                    <a:pt x="83" y="179"/>
                  </a:moveTo>
                  <a:lnTo>
                    <a:pt x="83" y="177"/>
                  </a:lnTo>
                  <a:lnTo>
                    <a:pt x="86" y="179"/>
                  </a:lnTo>
                  <a:lnTo>
                    <a:pt x="86" y="183"/>
                  </a:lnTo>
                  <a:lnTo>
                    <a:pt x="88" y="188"/>
                  </a:lnTo>
                  <a:lnTo>
                    <a:pt x="90" y="192"/>
                  </a:lnTo>
                  <a:lnTo>
                    <a:pt x="90" y="194"/>
                  </a:lnTo>
                  <a:lnTo>
                    <a:pt x="88" y="194"/>
                  </a:lnTo>
                  <a:lnTo>
                    <a:pt x="84" y="186"/>
                  </a:lnTo>
                  <a:lnTo>
                    <a:pt x="83" y="186"/>
                  </a:lnTo>
                  <a:lnTo>
                    <a:pt x="81" y="184"/>
                  </a:lnTo>
                  <a:lnTo>
                    <a:pt x="77" y="183"/>
                  </a:lnTo>
                  <a:lnTo>
                    <a:pt x="81" y="181"/>
                  </a:lnTo>
                  <a:lnTo>
                    <a:pt x="81" y="177"/>
                  </a:lnTo>
                  <a:lnTo>
                    <a:pt x="83" y="179"/>
                  </a:lnTo>
                  <a:close/>
                  <a:moveTo>
                    <a:pt x="84" y="169"/>
                  </a:moveTo>
                  <a:lnTo>
                    <a:pt x="86" y="171"/>
                  </a:lnTo>
                  <a:lnTo>
                    <a:pt x="84" y="177"/>
                  </a:lnTo>
                  <a:lnTo>
                    <a:pt x="81" y="173"/>
                  </a:lnTo>
                  <a:lnTo>
                    <a:pt x="83" y="173"/>
                  </a:lnTo>
                  <a:lnTo>
                    <a:pt x="81" y="169"/>
                  </a:lnTo>
                  <a:lnTo>
                    <a:pt x="84" y="169"/>
                  </a:lnTo>
                  <a:close/>
                  <a:moveTo>
                    <a:pt x="79" y="169"/>
                  </a:moveTo>
                  <a:lnTo>
                    <a:pt x="81" y="169"/>
                  </a:lnTo>
                  <a:lnTo>
                    <a:pt x="81" y="173"/>
                  </a:lnTo>
                  <a:lnTo>
                    <a:pt x="79" y="173"/>
                  </a:lnTo>
                  <a:lnTo>
                    <a:pt x="79" y="169"/>
                  </a:lnTo>
                  <a:close/>
                  <a:moveTo>
                    <a:pt x="96" y="165"/>
                  </a:moveTo>
                  <a:lnTo>
                    <a:pt x="98" y="165"/>
                  </a:lnTo>
                  <a:lnTo>
                    <a:pt x="98" y="167"/>
                  </a:lnTo>
                  <a:lnTo>
                    <a:pt x="96" y="167"/>
                  </a:lnTo>
                  <a:lnTo>
                    <a:pt x="96" y="165"/>
                  </a:lnTo>
                  <a:close/>
                  <a:moveTo>
                    <a:pt x="88" y="169"/>
                  </a:moveTo>
                  <a:lnTo>
                    <a:pt x="90" y="173"/>
                  </a:lnTo>
                  <a:lnTo>
                    <a:pt x="90" y="177"/>
                  </a:lnTo>
                  <a:lnTo>
                    <a:pt x="86" y="173"/>
                  </a:lnTo>
                  <a:lnTo>
                    <a:pt x="86" y="169"/>
                  </a:lnTo>
                  <a:lnTo>
                    <a:pt x="84" y="169"/>
                  </a:lnTo>
                  <a:lnTo>
                    <a:pt x="81" y="169"/>
                  </a:lnTo>
                  <a:lnTo>
                    <a:pt x="81" y="165"/>
                  </a:lnTo>
                  <a:lnTo>
                    <a:pt x="84" y="165"/>
                  </a:lnTo>
                  <a:lnTo>
                    <a:pt x="86" y="169"/>
                  </a:lnTo>
                  <a:lnTo>
                    <a:pt x="86" y="165"/>
                  </a:lnTo>
                  <a:lnTo>
                    <a:pt x="88" y="163"/>
                  </a:lnTo>
                  <a:lnTo>
                    <a:pt x="88" y="169"/>
                  </a:lnTo>
                  <a:close/>
                  <a:moveTo>
                    <a:pt x="92" y="159"/>
                  </a:moveTo>
                  <a:lnTo>
                    <a:pt x="96" y="167"/>
                  </a:lnTo>
                  <a:lnTo>
                    <a:pt x="94" y="171"/>
                  </a:lnTo>
                  <a:lnTo>
                    <a:pt x="94" y="173"/>
                  </a:lnTo>
                  <a:lnTo>
                    <a:pt x="92" y="169"/>
                  </a:lnTo>
                  <a:lnTo>
                    <a:pt x="88" y="167"/>
                  </a:lnTo>
                  <a:lnTo>
                    <a:pt x="92" y="159"/>
                  </a:lnTo>
                  <a:close/>
                  <a:moveTo>
                    <a:pt x="77" y="158"/>
                  </a:moveTo>
                  <a:lnTo>
                    <a:pt x="79" y="158"/>
                  </a:lnTo>
                  <a:lnTo>
                    <a:pt x="79" y="159"/>
                  </a:lnTo>
                  <a:lnTo>
                    <a:pt x="77" y="159"/>
                  </a:lnTo>
                  <a:lnTo>
                    <a:pt x="77" y="158"/>
                  </a:lnTo>
                  <a:close/>
                  <a:moveTo>
                    <a:pt x="54" y="159"/>
                  </a:moveTo>
                  <a:lnTo>
                    <a:pt x="54" y="163"/>
                  </a:lnTo>
                  <a:lnTo>
                    <a:pt x="56" y="161"/>
                  </a:lnTo>
                  <a:lnTo>
                    <a:pt x="60" y="163"/>
                  </a:lnTo>
                  <a:lnTo>
                    <a:pt x="56" y="171"/>
                  </a:lnTo>
                  <a:lnTo>
                    <a:pt x="56" y="175"/>
                  </a:lnTo>
                  <a:lnTo>
                    <a:pt x="58" y="173"/>
                  </a:lnTo>
                  <a:lnTo>
                    <a:pt x="60" y="175"/>
                  </a:lnTo>
                  <a:lnTo>
                    <a:pt x="58" y="175"/>
                  </a:lnTo>
                  <a:lnTo>
                    <a:pt x="61" y="177"/>
                  </a:lnTo>
                  <a:lnTo>
                    <a:pt x="61" y="179"/>
                  </a:lnTo>
                  <a:lnTo>
                    <a:pt x="60" y="179"/>
                  </a:lnTo>
                  <a:lnTo>
                    <a:pt x="58" y="177"/>
                  </a:lnTo>
                  <a:lnTo>
                    <a:pt x="56" y="181"/>
                  </a:lnTo>
                  <a:lnTo>
                    <a:pt x="58" y="181"/>
                  </a:lnTo>
                  <a:lnTo>
                    <a:pt x="60" y="181"/>
                  </a:lnTo>
                  <a:lnTo>
                    <a:pt x="60" y="183"/>
                  </a:lnTo>
                  <a:lnTo>
                    <a:pt x="58" y="183"/>
                  </a:lnTo>
                  <a:lnTo>
                    <a:pt x="60" y="183"/>
                  </a:lnTo>
                  <a:lnTo>
                    <a:pt x="58" y="184"/>
                  </a:lnTo>
                  <a:lnTo>
                    <a:pt x="56" y="183"/>
                  </a:lnTo>
                  <a:lnTo>
                    <a:pt x="56" y="184"/>
                  </a:lnTo>
                  <a:lnTo>
                    <a:pt x="54" y="188"/>
                  </a:lnTo>
                  <a:lnTo>
                    <a:pt x="56" y="190"/>
                  </a:lnTo>
                  <a:lnTo>
                    <a:pt x="56" y="198"/>
                  </a:lnTo>
                  <a:lnTo>
                    <a:pt x="54" y="202"/>
                  </a:lnTo>
                  <a:lnTo>
                    <a:pt x="50" y="202"/>
                  </a:lnTo>
                  <a:lnTo>
                    <a:pt x="52" y="202"/>
                  </a:lnTo>
                  <a:lnTo>
                    <a:pt x="54" y="202"/>
                  </a:lnTo>
                  <a:lnTo>
                    <a:pt x="54" y="200"/>
                  </a:lnTo>
                  <a:lnTo>
                    <a:pt x="56" y="198"/>
                  </a:lnTo>
                  <a:lnTo>
                    <a:pt x="56" y="192"/>
                  </a:lnTo>
                  <a:lnTo>
                    <a:pt x="58" y="188"/>
                  </a:lnTo>
                  <a:lnTo>
                    <a:pt x="61" y="188"/>
                  </a:lnTo>
                  <a:lnTo>
                    <a:pt x="61" y="192"/>
                  </a:lnTo>
                  <a:lnTo>
                    <a:pt x="61" y="194"/>
                  </a:lnTo>
                  <a:lnTo>
                    <a:pt x="61" y="198"/>
                  </a:lnTo>
                  <a:lnTo>
                    <a:pt x="61" y="200"/>
                  </a:lnTo>
                  <a:lnTo>
                    <a:pt x="60" y="209"/>
                  </a:lnTo>
                  <a:lnTo>
                    <a:pt x="58" y="211"/>
                  </a:lnTo>
                  <a:lnTo>
                    <a:pt x="58" y="213"/>
                  </a:lnTo>
                  <a:lnTo>
                    <a:pt x="58" y="215"/>
                  </a:lnTo>
                  <a:lnTo>
                    <a:pt x="52" y="213"/>
                  </a:lnTo>
                  <a:lnTo>
                    <a:pt x="54" y="217"/>
                  </a:lnTo>
                  <a:lnTo>
                    <a:pt x="50" y="219"/>
                  </a:lnTo>
                  <a:lnTo>
                    <a:pt x="48" y="219"/>
                  </a:lnTo>
                  <a:lnTo>
                    <a:pt x="50" y="223"/>
                  </a:lnTo>
                  <a:lnTo>
                    <a:pt x="52" y="221"/>
                  </a:lnTo>
                  <a:lnTo>
                    <a:pt x="52" y="223"/>
                  </a:lnTo>
                  <a:lnTo>
                    <a:pt x="52" y="219"/>
                  </a:lnTo>
                  <a:lnTo>
                    <a:pt x="54" y="221"/>
                  </a:lnTo>
                  <a:lnTo>
                    <a:pt x="56" y="219"/>
                  </a:lnTo>
                  <a:lnTo>
                    <a:pt x="54" y="217"/>
                  </a:lnTo>
                  <a:lnTo>
                    <a:pt x="56" y="215"/>
                  </a:lnTo>
                  <a:lnTo>
                    <a:pt x="58" y="217"/>
                  </a:lnTo>
                  <a:lnTo>
                    <a:pt x="58" y="225"/>
                  </a:lnTo>
                  <a:lnTo>
                    <a:pt x="58" y="227"/>
                  </a:lnTo>
                  <a:lnTo>
                    <a:pt x="56" y="234"/>
                  </a:lnTo>
                  <a:lnTo>
                    <a:pt x="54" y="238"/>
                  </a:lnTo>
                  <a:lnTo>
                    <a:pt x="52" y="234"/>
                  </a:lnTo>
                  <a:lnTo>
                    <a:pt x="48" y="236"/>
                  </a:lnTo>
                  <a:lnTo>
                    <a:pt x="46" y="234"/>
                  </a:lnTo>
                  <a:lnTo>
                    <a:pt x="46" y="229"/>
                  </a:lnTo>
                  <a:lnTo>
                    <a:pt x="46" y="227"/>
                  </a:lnTo>
                  <a:lnTo>
                    <a:pt x="44" y="229"/>
                  </a:lnTo>
                  <a:lnTo>
                    <a:pt x="44" y="227"/>
                  </a:lnTo>
                  <a:lnTo>
                    <a:pt x="42" y="225"/>
                  </a:lnTo>
                  <a:lnTo>
                    <a:pt x="42" y="223"/>
                  </a:lnTo>
                  <a:lnTo>
                    <a:pt x="46" y="223"/>
                  </a:lnTo>
                  <a:lnTo>
                    <a:pt x="46" y="221"/>
                  </a:lnTo>
                  <a:lnTo>
                    <a:pt x="44" y="219"/>
                  </a:lnTo>
                  <a:lnTo>
                    <a:pt x="44" y="223"/>
                  </a:lnTo>
                  <a:lnTo>
                    <a:pt x="42" y="221"/>
                  </a:lnTo>
                  <a:lnTo>
                    <a:pt x="40" y="213"/>
                  </a:lnTo>
                  <a:lnTo>
                    <a:pt x="38" y="215"/>
                  </a:lnTo>
                  <a:lnTo>
                    <a:pt x="37" y="206"/>
                  </a:lnTo>
                  <a:lnTo>
                    <a:pt x="35" y="202"/>
                  </a:lnTo>
                  <a:lnTo>
                    <a:pt x="37" y="200"/>
                  </a:lnTo>
                  <a:lnTo>
                    <a:pt x="33" y="200"/>
                  </a:lnTo>
                  <a:lnTo>
                    <a:pt x="33" y="198"/>
                  </a:lnTo>
                  <a:lnTo>
                    <a:pt x="35" y="192"/>
                  </a:lnTo>
                  <a:lnTo>
                    <a:pt x="38" y="188"/>
                  </a:lnTo>
                  <a:lnTo>
                    <a:pt x="40" y="194"/>
                  </a:lnTo>
                  <a:lnTo>
                    <a:pt x="42" y="192"/>
                  </a:lnTo>
                  <a:lnTo>
                    <a:pt x="42" y="198"/>
                  </a:lnTo>
                  <a:lnTo>
                    <a:pt x="42" y="194"/>
                  </a:lnTo>
                  <a:lnTo>
                    <a:pt x="42" y="190"/>
                  </a:lnTo>
                  <a:lnTo>
                    <a:pt x="42" y="188"/>
                  </a:lnTo>
                  <a:lnTo>
                    <a:pt x="42" y="183"/>
                  </a:lnTo>
                  <a:lnTo>
                    <a:pt x="44" y="183"/>
                  </a:lnTo>
                  <a:lnTo>
                    <a:pt x="44" y="181"/>
                  </a:lnTo>
                  <a:lnTo>
                    <a:pt x="44" y="177"/>
                  </a:lnTo>
                  <a:lnTo>
                    <a:pt x="44" y="173"/>
                  </a:lnTo>
                  <a:lnTo>
                    <a:pt x="46" y="169"/>
                  </a:lnTo>
                  <a:lnTo>
                    <a:pt x="46" y="161"/>
                  </a:lnTo>
                  <a:lnTo>
                    <a:pt x="48" y="158"/>
                  </a:lnTo>
                  <a:lnTo>
                    <a:pt x="48" y="161"/>
                  </a:lnTo>
                  <a:lnTo>
                    <a:pt x="50" y="158"/>
                  </a:lnTo>
                  <a:lnTo>
                    <a:pt x="52" y="159"/>
                  </a:lnTo>
                  <a:lnTo>
                    <a:pt x="52" y="156"/>
                  </a:lnTo>
                  <a:lnTo>
                    <a:pt x="54" y="159"/>
                  </a:lnTo>
                  <a:close/>
                  <a:moveTo>
                    <a:pt x="56" y="156"/>
                  </a:moveTo>
                  <a:lnTo>
                    <a:pt x="56" y="159"/>
                  </a:lnTo>
                  <a:lnTo>
                    <a:pt x="58" y="158"/>
                  </a:lnTo>
                  <a:lnTo>
                    <a:pt x="58" y="159"/>
                  </a:lnTo>
                  <a:lnTo>
                    <a:pt x="58" y="156"/>
                  </a:lnTo>
                  <a:lnTo>
                    <a:pt x="60" y="158"/>
                  </a:lnTo>
                  <a:lnTo>
                    <a:pt x="60" y="161"/>
                  </a:lnTo>
                  <a:lnTo>
                    <a:pt x="56" y="161"/>
                  </a:lnTo>
                  <a:lnTo>
                    <a:pt x="56" y="156"/>
                  </a:lnTo>
                  <a:close/>
                  <a:moveTo>
                    <a:pt x="75" y="156"/>
                  </a:moveTo>
                  <a:lnTo>
                    <a:pt x="75" y="158"/>
                  </a:lnTo>
                  <a:lnTo>
                    <a:pt x="73" y="156"/>
                  </a:lnTo>
                  <a:lnTo>
                    <a:pt x="73" y="159"/>
                  </a:lnTo>
                  <a:lnTo>
                    <a:pt x="71" y="156"/>
                  </a:lnTo>
                  <a:lnTo>
                    <a:pt x="73" y="156"/>
                  </a:lnTo>
                  <a:lnTo>
                    <a:pt x="75" y="154"/>
                  </a:lnTo>
                  <a:lnTo>
                    <a:pt x="75" y="156"/>
                  </a:lnTo>
                  <a:close/>
                  <a:moveTo>
                    <a:pt x="94" y="154"/>
                  </a:moveTo>
                  <a:lnTo>
                    <a:pt x="94" y="156"/>
                  </a:lnTo>
                  <a:lnTo>
                    <a:pt x="96" y="154"/>
                  </a:lnTo>
                  <a:lnTo>
                    <a:pt x="96" y="159"/>
                  </a:lnTo>
                  <a:lnTo>
                    <a:pt x="96" y="158"/>
                  </a:lnTo>
                  <a:lnTo>
                    <a:pt x="92" y="158"/>
                  </a:lnTo>
                  <a:lnTo>
                    <a:pt x="94" y="154"/>
                  </a:lnTo>
                  <a:close/>
                  <a:moveTo>
                    <a:pt x="56" y="152"/>
                  </a:moveTo>
                  <a:lnTo>
                    <a:pt x="58" y="152"/>
                  </a:lnTo>
                  <a:lnTo>
                    <a:pt x="58" y="154"/>
                  </a:lnTo>
                  <a:lnTo>
                    <a:pt x="56" y="154"/>
                  </a:lnTo>
                  <a:lnTo>
                    <a:pt x="56" y="152"/>
                  </a:lnTo>
                  <a:close/>
                  <a:moveTo>
                    <a:pt x="58" y="150"/>
                  </a:moveTo>
                  <a:lnTo>
                    <a:pt x="60" y="150"/>
                  </a:lnTo>
                  <a:lnTo>
                    <a:pt x="60" y="152"/>
                  </a:lnTo>
                  <a:lnTo>
                    <a:pt x="58" y="152"/>
                  </a:lnTo>
                  <a:lnTo>
                    <a:pt x="58" y="150"/>
                  </a:lnTo>
                  <a:close/>
                  <a:moveTo>
                    <a:pt x="177" y="150"/>
                  </a:moveTo>
                  <a:lnTo>
                    <a:pt x="180" y="150"/>
                  </a:lnTo>
                  <a:lnTo>
                    <a:pt x="180" y="154"/>
                  </a:lnTo>
                  <a:lnTo>
                    <a:pt x="177" y="154"/>
                  </a:lnTo>
                  <a:lnTo>
                    <a:pt x="177" y="150"/>
                  </a:lnTo>
                  <a:close/>
                  <a:moveTo>
                    <a:pt x="54" y="150"/>
                  </a:moveTo>
                  <a:lnTo>
                    <a:pt x="56" y="150"/>
                  </a:lnTo>
                  <a:lnTo>
                    <a:pt x="54" y="158"/>
                  </a:lnTo>
                  <a:lnTo>
                    <a:pt x="54" y="150"/>
                  </a:lnTo>
                  <a:close/>
                  <a:moveTo>
                    <a:pt x="79" y="152"/>
                  </a:moveTo>
                  <a:lnTo>
                    <a:pt x="77" y="156"/>
                  </a:lnTo>
                  <a:lnTo>
                    <a:pt x="77" y="154"/>
                  </a:lnTo>
                  <a:lnTo>
                    <a:pt x="75" y="152"/>
                  </a:lnTo>
                  <a:lnTo>
                    <a:pt x="75" y="150"/>
                  </a:lnTo>
                  <a:lnTo>
                    <a:pt x="77" y="152"/>
                  </a:lnTo>
                  <a:lnTo>
                    <a:pt x="79" y="148"/>
                  </a:lnTo>
                  <a:lnTo>
                    <a:pt x="79" y="152"/>
                  </a:lnTo>
                  <a:close/>
                  <a:moveTo>
                    <a:pt x="61" y="148"/>
                  </a:moveTo>
                  <a:lnTo>
                    <a:pt x="67" y="150"/>
                  </a:lnTo>
                  <a:lnTo>
                    <a:pt x="71" y="148"/>
                  </a:lnTo>
                  <a:lnTo>
                    <a:pt x="73" y="152"/>
                  </a:lnTo>
                  <a:lnTo>
                    <a:pt x="69" y="156"/>
                  </a:lnTo>
                  <a:lnTo>
                    <a:pt x="73" y="161"/>
                  </a:lnTo>
                  <a:lnTo>
                    <a:pt x="69" y="159"/>
                  </a:lnTo>
                  <a:lnTo>
                    <a:pt x="69" y="165"/>
                  </a:lnTo>
                  <a:lnTo>
                    <a:pt x="65" y="163"/>
                  </a:lnTo>
                  <a:lnTo>
                    <a:pt x="65" y="167"/>
                  </a:lnTo>
                  <a:lnTo>
                    <a:pt x="63" y="167"/>
                  </a:lnTo>
                  <a:lnTo>
                    <a:pt x="65" y="171"/>
                  </a:lnTo>
                  <a:lnTo>
                    <a:pt x="61" y="171"/>
                  </a:lnTo>
                  <a:lnTo>
                    <a:pt x="63" y="173"/>
                  </a:lnTo>
                  <a:lnTo>
                    <a:pt x="60" y="175"/>
                  </a:lnTo>
                  <a:lnTo>
                    <a:pt x="58" y="171"/>
                  </a:lnTo>
                  <a:lnTo>
                    <a:pt x="60" y="163"/>
                  </a:lnTo>
                  <a:lnTo>
                    <a:pt x="60" y="161"/>
                  </a:lnTo>
                  <a:lnTo>
                    <a:pt x="60" y="156"/>
                  </a:lnTo>
                  <a:lnTo>
                    <a:pt x="58" y="156"/>
                  </a:lnTo>
                  <a:lnTo>
                    <a:pt x="58" y="152"/>
                  </a:lnTo>
                  <a:lnTo>
                    <a:pt x="60" y="154"/>
                  </a:lnTo>
                  <a:lnTo>
                    <a:pt x="61" y="150"/>
                  </a:lnTo>
                  <a:lnTo>
                    <a:pt x="60" y="150"/>
                  </a:lnTo>
                  <a:lnTo>
                    <a:pt x="61" y="148"/>
                  </a:lnTo>
                  <a:close/>
                  <a:moveTo>
                    <a:pt x="69" y="136"/>
                  </a:moveTo>
                  <a:lnTo>
                    <a:pt x="73" y="138"/>
                  </a:lnTo>
                  <a:lnTo>
                    <a:pt x="73" y="140"/>
                  </a:lnTo>
                  <a:lnTo>
                    <a:pt x="69" y="138"/>
                  </a:lnTo>
                  <a:lnTo>
                    <a:pt x="69" y="136"/>
                  </a:lnTo>
                  <a:close/>
                  <a:moveTo>
                    <a:pt x="67" y="134"/>
                  </a:moveTo>
                  <a:lnTo>
                    <a:pt x="69" y="134"/>
                  </a:lnTo>
                  <a:lnTo>
                    <a:pt x="69" y="136"/>
                  </a:lnTo>
                  <a:lnTo>
                    <a:pt x="67" y="136"/>
                  </a:lnTo>
                  <a:lnTo>
                    <a:pt x="67" y="134"/>
                  </a:lnTo>
                  <a:close/>
                  <a:moveTo>
                    <a:pt x="81" y="136"/>
                  </a:moveTo>
                  <a:lnTo>
                    <a:pt x="79" y="142"/>
                  </a:lnTo>
                  <a:lnTo>
                    <a:pt x="77" y="142"/>
                  </a:lnTo>
                  <a:lnTo>
                    <a:pt x="79" y="136"/>
                  </a:lnTo>
                  <a:lnTo>
                    <a:pt x="81" y="136"/>
                  </a:lnTo>
                  <a:lnTo>
                    <a:pt x="81" y="134"/>
                  </a:lnTo>
                  <a:lnTo>
                    <a:pt x="81" y="136"/>
                  </a:lnTo>
                  <a:close/>
                  <a:moveTo>
                    <a:pt x="50" y="123"/>
                  </a:moveTo>
                  <a:lnTo>
                    <a:pt x="52" y="123"/>
                  </a:lnTo>
                  <a:lnTo>
                    <a:pt x="52" y="125"/>
                  </a:lnTo>
                  <a:lnTo>
                    <a:pt x="50" y="125"/>
                  </a:lnTo>
                  <a:lnTo>
                    <a:pt x="50" y="123"/>
                  </a:lnTo>
                  <a:close/>
                  <a:moveTo>
                    <a:pt x="56" y="96"/>
                  </a:moveTo>
                  <a:lnTo>
                    <a:pt x="56" y="98"/>
                  </a:lnTo>
                  <a:lnTo>
                    <a:pt x="56" y="96"/>
                  </a:lnTo>
                  <a:close/>
                  <a:moveTo>
                    <a:pt x="54" y="92"/>
                  </a:moveTo>
                  <a:lnTo>
                    <a:pt x="54" y="98"/>
                  </a:lnTo>
                  <a:lnTo>
                    <a:pt x="56" y="100"/>
                  </a:lnTo>
                  <a:lnTo>
                    <a:pt x="56" y="104"/>
                  </a:lnTo>
                  <a:lnTo>
                    <a:pt x="54" y="104"/>
                  </a:lnTo>
                  <a:lnTo>
                    <a:pt x="54" y="98"/>
                  </a:lnTo>
                  <a:lnTo>
                    <a:pt x="52" y="94"/>
                  </a:lnTo>
                  <a:lnTo>
                    <a:pt x="54" y="92"/>
                  </a:lnTo>
                  <a:close/>
                  <a:moveTo>
                    <a:pt x="54" y="88"/>
                  </a:moveTo>
                  <a:lnTo>
                    <a:pt x="56" y="88"/>
                  </a:lnTo>
                  <a:lnTo>
                    <a:pt x="56" y="90"/>
                  </a:lnTo>
                  <a:lnTo>
                    <a:pt x="54" y="90"/>
                  </a:lnTo>
                  <a:lnTo>
                    <a:pt x="54" y="88"/>
                  </a:lnTo>
                  <a:close/>
                  <a:moveTo>
                    <a:pt x="61" y="83"/>
                  </a:moveTo>
                  <a:lnTo>
                    <a:pt x="63" y="83"/>
                  </a:lnTo>
                  <a:lnTo>
                    <a:pt x="63" y="85"/>
                  </a:lnTo>
                  <a:lnTo>
                    <a:pt x="61" y="85"/>
                  </a:lnTo>
                  <a:lnTo>
                    <a:pt x="61" y="83"/>
                  </a:lnTo>
                  <a:close/>
                  <a:moveTo>
                    <a:pt x="75" y="83"/>
                  </a:moveTo>
                  <a:lnTo>
                    <a:pt x="77" y="83"/>
                  </a:lnTo>
                  <a:lnTo>
                    <a:pt x="75" y="86"/>
                  </a:lnTo>
                  <a:lnTo>
                    <a:pt x="77" y="86"/>
                  </a:lnTo>
                  <a:lnTo>
                    <a:pt x="81" y="94"/>
                  </a:lnTo>
                  <a:lnTo>
                    <a:pt x="79" y="98"/>
                  </a:lnTo>
                  <a:lnTo>
                    <a:pt x="81" y="100"/>
                  </a:lnTo>
                  <a:lnTo>
                    <a:pt x="83" y="104"/>
                  </a:lnTo>
                  <a:lnTo>
                    <a:pt x="83" y="106"/>
                  </a:lnTo>
                  <a:lnTo>
                    <a:pt x="81" y="111"/>
                  </a:lnTo>
                  <a:lnTo>
                    <a:pt x="81" y="117"/>
                  </a:lnTo>
                  <a:lnTo>
                    <a:pt x="83" y="123"/>
                  </a:lnTo>
                  <a:lnTo>
                    <a:pt x="83" y="127"/>
                  </a:lnTo>
                  <a:lnTo>
                    <a:pt x="81" y="129"/>
                  </a:lnTo>
                  <a:lnTo>
                    <a:pt x="79" y="127"/>
                  </a:lnTo>
                  <a:lnTo>
                    <a:pt x="79" y="129"/>
                  </a:lnTo>
                  <a:lnTo>
                    <a:pt x="79" y="131"/>
                  </a:lnTo>
                  <a:lnTo>
                    <a:pt x="81" y="131"/>
                  </a:lnTo>
                  <a:lnTo>
                    <a:pt x="77" y="133"/>
                  </a:lnTo>
                  <a:lnTo>
                    <a:pt x="77" y="138"/>
                  </a:lnTo>
                  <a:lnTo>
                    <a:pt x="75" y="136"/>
                  </a:lnTo>
                  <a:lnTo>
                    <a:pt x="73" y="133"/>
                  </a:lnTo>
                  <a:lnTo>
                    <a:pt x="71" y="133"/>
                  </a:lnTo>
                  <a:lnTo>
                    <a:pt x="69" y="133"/>
                  </a:lnTo>
                  <a:lnTo>
                    <a:pt x="67" y="129"/>
                  </a:lnTo>
                  <a:lnTo>
                    <a:pt x="69" y="133"/>
                  </a:lnTo>
                  <a:lnTo>
                    <a:pt x="75" y="136"/>
                  </a:lnTo>
                  <a:lnTo>
                    <a:pt x="71" y="136"/>
                  </a:lnTo>
                  <a:lnTo>
                    <a:pt x="71" y="134"/>
                  </a:lnTo>
                  <a:lnTo>
                    <a:pt x="63" y="134"/>
                  </a:lnTo>
                  <a:lnTo>
                    <a:pt x="63" y="131"/>
                  </a:lnTo>
                  <a:lnTo>
                    <a:pt x="63" y="134"/>
                  </a:lnTo>
                  <a:lnTo>
                    <a:pt x="67" y="134"/>
                  </a:lnTo>
                  <a:lnTo>
                    <a:pt x="67" y="136"/>
                  </a:lnTo>
                  <a:lnTo>
                    <a:pt x="69" y="138"/>
                  </a:lnTo>
                  <a:lnTo>
                    <a:pt x="67" y="138"/>
                  </a:lnTo>
                  <a:lnTo>
                    <a:pt x="71" y="142"/>
                  </a:lnTo>
                  <a:lnTo>
                    <a:pt x="73" y="144"/>
                  </a:lnTo>
                  <a:lnTo>
                    <a:pt x="75" y="146"/>
                  </a:lnTo>
                  <a:lnTo>
                    <a:pt x="73" y="144"/>
                  </a:lnTo>
                  <a:lnTo>
                    <a:pt x="73" y="146"/>
                  </a:lnTo>
                  <a:lnTo>
                    <a:pt x="67" y="148"/>
                  </a:lnTo>
                  <a:lnTo>
                    <a:pt x="61" y="146"/>
                  </a:lnTo>
                  <a:lnTo>
                    <a:pt x="60" y="150"/>
                  </a:lnTo>
                  <a:lnTo>
                    <a:pt x="58" y="148"/>
                  </a:lnTo>
                  <a:lnTo>
                    <a:pt x="56" y="150"/>
                  </a:lnTo>
                  <a:lnTo>
                    <a:pt x="52" y="146"/>
                  </a:lnTo>
                  <a:lnTo>
                    <a:pt x="54" y="142"/>
                  </a:lnTo>
                  <a:lnTo>
                    <a:pt x="52" y="136"/>
                  </a:lnTo>
                  <a:lnTo>
                    <a:pt x="54" y="133"/>
                  </a:lnTo>
                  <a:lnTo>
                    <a:pt x="54" y="131"/>
                  </a:lnTo>
                  <a:lnTo>
                    <a:pt x="54" y="129"/>
                  </a:lnTo>
                  <a:lnTo>
                    <a:pt x="52" y="125"/>
                  </a:lnTo>
                  <a:lnTo>
                    <a:pt x="54" y="117"/>
                  </a:lnTo>
                  <a:lnTo>
                    <a:pt x="52" y="115"/>
                  </a:lnTo>
                  <a:lnTo>
                    <a:pt x="54" y="115"/>
                  </a:lnTo>
                  <a:lnTo>
                    <a:pt x="54" y="111"/>
                  </a:lnTo>
                  <a:lnTo>
                    <a:pt x="56" y="113"/>
                  </a:lnTo>
                  <a:lnTo>
                    <a:pt x="60" y="110"/>
                  </a:lnTo>
                  <a:lnTo>
                    <a:pt x="61" y="110"/>
                  </a:lnTo>
                  <a:lnTo>
                    <a:pt x="61" y="115"/>
                  </a:lnTo>
                  <a:lnTo>
                    <a:pt x="63" y="108"/>
                  </a:lnTo>
                  <a:lnTo>
                    <a:pt x="63" y="106"/>
                  </a:lnTo>
                  <a:lnTo>
                    <a:pt x="61" y="104"/>
                  </a:lnTo>
                  <a:lnTo>
                    <a:pt x="61" y="106"/>
                  </a:lnTo>
                  <a:lnTo>
                    <a:pt x="60" y="110"/>
                  </a:lnTo>
                  <a:lnTo>
                    <a:pt x="56" y="108"/>
                  </a:lnTo>
                  <a:lnTo>
                    <a:pt x="56" y="106"/>
                  </a:lnTo>
                  <a:lnTo>
                    <a:pt x="58" y="106"/>
                  </a:lnTo>
                  <a:lnTo>
                    <a:pt x="58" y="104"/>
                  </a:lnTo>
                  <a:lnTo>
                    <a:pt x="56" y="96"/>
                  </a:lnTo>
                  <a:lnTo>
                    <a:pt x="56" y="92"/>
                  </a:lnTo>
                  <a:lnTo>
                    <a:pt x="56" y="90"/>
                  </a:lnTo>
                  <a:lnTo>
                    <a:pt x="58" y="94"/>
                  </a:lnTo>
                  <a:lnTo>
                    <a:pt x="60" y="88"/>
                  </a:lnTo>
                  <a:lnTo>
                    <a:pt x="61" y="94"/>
                  </a:lnTo>
                  <a:lnTo>
                    <a:pt x="61" y="88"/>
                  </a:lnTo>
                  <a:lnTo>
                    <a:pt x="61" y="90"/>
                  </a:lnTo>
                  <a:lnTo>
                    <a:pt x="63" y="85"/>
                  </a:lnTo>
                  <a:lnTo>
                    <a:pt x="65" y="85"/>
                  </a:lnTo>
                  <a:lnTo>
                    <a:pt x="67" y="86"/>
                  </a:lnTo>
                  <a:lnTo>
                    <a:pt x="69" y="85"/>
                  </a:lnTo>
                  <a:lnTo>
                    <a:pt x="69" y="86"/>
                  </a:lnTo>
                  <a:lnTo>
                    <a:pt x="71" y="86"/>
                  </a:lnTo>
                  <a:lnTo>
                    <a:pt x="71" y="85"/>
                  </a:lnTo>
                  <a:lnTo>
                    <a:pt x="73" y="85"/>
                  </a:lnTo>
                  <a:lnTo>
                    <a:pt x="75" y="85"/>
                  </a:lnTo>
                  <a:lnTo>
                    <a:pt x="75" y="81"/>
                  </a:lnTo>
                  <a:lnTo>
                    <a:pt x="75" y="83"/>
                  </a:lnTo>
                  <a:close/>
                  <a:moveTo>
                    <a:pt x="71" y="81"/>
                  </a:moveTo>
                  <a:lnTo>
                    <a:pt x="73" y="81"/>
                  </a:lnTo>
                  <a:lnTo>
                    <a:pt x="73" y="83"/>
                  </a:lnTo>
                  <a:lnTo>
                    <a:pt x="71" y="83"/>
                  </a:lnTo>
                  <a:lnTo>
                    <a:pt x="71" y="81"/>
                  </a:lnTo>
                  <a:close/>
                  <a:moveTo>
                    <a:pt x="52" y="73"/>
                  </a:moveTo>
                  <a:lnTo>
                    <a:pt x="56" y="75"/>
                  </a:lnTo>
                  <a:lnTo>
                    <a:pt x="56" y="85"/>
                  </a:lnTo>
                  <a:lnTo>
                    <a:pt x="54" y="86"/>
                  </a:lnTo>
                  <a:lnTo>
                    <a:pt x="56" y="86"/>
                  </a:lnTo>
                  <a:lnTo>
                    <a:pt x="54" y="90"/>
                  </a:lnTo>
                  <a:lnTo>
                    <a:pt x="50" y="90"/>
                  </a:lnTo>
                  <a:lnTo>
                    <a:pt x="52" y="92"/>
                  </a:lnTo>
                  <a:lnTo>
                    <a:pt x="50" y="96"/>
                  </a:lnTo>
                  <a:lnTo>
                    <a:pt x="48" y="88"/>
                  </a:lnTo>
                  <a:lnTo>
                    <a:pt x="52" y="79"/>
                  </a:lnTo>
                  <a:lnTo>
                    <a:pt x="50" y="77"/>
                  </a:lnTo>
                  <a:lnTo>
                    <a:pt x="52" y="73"/>
                  </a:lnTo>
                  <a:close/>
                  <a:moveTo>
                    <a:pt x="86" y="73"/>
                  </a:moveTo>
                  <a:lnTo>
                    <a:pt x="83" y="77"/>
                  </a:lnTo>
                  <a:lnTo>
                    <a:pt x="84" y="81"/>
                  </a:lnTo>
                  <a:lnTo>
                    <a:pt x="81" y="79"/>
                  </a:lnTo>
                  <a:lnTo>
                    <a:pt x="83" y="79"/>
                  </a:lnTo>
                  <a:lnTo>
                    <a:pt x="81" y="77"/>
                  </a:lnTo>
                  <a:lnTo>
                    <a:pt x="81" y="75"/>
                  </a:lnTo>
                  <a:lnTo>
                    <a:pt x="83" y="77"/>
                  </a:lnTo>
                  <a:lnTo>
                    <a:pt x="84" y="73"/>
                  </a:lnTo>
                  <a:lnTo>
                    <a:pt x="86" y="73"/>
                  </a:lnTo>
                  <a:close/>
                  <a:moveTo>
                    <a:pt x="77" y="71"/>
                  </a:moveTo>
                  <a:lnTo>
                    <a:pt x="79" y="71"/>
                  </a:lnTo>
                  <a:lnTo>
                    <a:pt x="79" y="73"/>
                  </a:lnTo>
                  <a:lnTo>
                    <a:pt x="77" y="73"/>
                  </a:lnTo>
                  <a:lnTo>
                    <a:pt x="77" y="71"/>
                  </a:lnTo>
                  <a:close/>
                  <a:moveTo>
                    <a:pt x="54" y="63"/>
                  </a:moveTo>
                  <a:lnTo>
                    <a:pt x="56" y="63"/>
                  </a:lnTo>
                  <a:lnTo>
                    <a:pt x="56" y="65"/>
                  </a:lnTo>
                  <a:lnTo>
                    <a:pt x="54" y="65"/>
                  </a:lnTo>
                  <a:lnTo>
                    <a:pt x="54" y="63"/>
                  </a:lnTo>
                  <a:close/>
                  <a:moveTo>
                    <a:pt x="86" y="37"/>
                  </a:moveTo>
                  <a:lnTo>
                    <a:pt x="88" y="37"/>
                  </a:lnTo>
                  <a:lnTo>
                    <a:pt x="88" y="40"/>
                  </a:lnTo>
                  <a:lnTo>
                    <a:pt x="86" y="40"/>
                  </a:lnTo>
                  <a:lnTo>
                    <a:pt x="86" y="37"/>
                  </a:lnTo>
                  <a:close/>
                  <a:moveTo>
                    <a:pt x="67" y="25"/>
                  </a:moveTo>
                  <a:lnTo>
                    <a:pt x="69" y="25"/>
                  </a:lnTo>
                  <a:lnTo>
                    <a:pt x="69" y="27"/>
                  </a:lnTo>
                  <a:lnTo>
                    <a:pt x="67" y="27"/>
                  </a:lnTo>
                  <a:lnTo>
                    <a:pt x="67" y="25"/>
                  </a:lnTo>
                  <a:close/>
                  <a:moveTo>
                    <a:pt x="221" y="23"/>
                  </a:moveTo>
                  <a:lnTo>
                    <a:pt x="223" y="23"/>
                  </a:lnTo>
                  <a:lnTo>
                    <a:pt x="223" y="27"/>
                  </a:lnTo>
                  <a:lnTo>
                    <a:pt x="221" y="27"/>
                  </a:lnTo>
                  <a:lnTo>
                    <a:pt x="221" y="23"/>
                  </a:lnTo>
                  <a:close/>
                  <a:moveTo>
                    <a:pt x="88" y="12"/>
                  </a:moveTo>
                  <a:lnTo>
                    <a:pt x="90" y="15"/>
                  </a:lnTo>
                  <a:lnTo>
                    <a:pt x="90" y="23"/>
                  </a:lnTo>
                  <a:lnTo>
                    <a:pt x="88" y="23"/>
                  </a:lnTo>
                  <a:lnTo>
                    <a:pt x="90" y="23"/>
                  </a:lnTo>
                  <a:lnTo>
                    <a:pt x="90" y="25"/>
                  </a:lnTo>
                  <a:lnTo>
                    <a:pt x="88" y="27"/>
                  </a:lnTo>
                  <a:lnTo>
                    <a:pt x="90" y="27"/>
                  </a:lnTo>
                  <a:lnTo>
                    <a:pt x="90" y="29"/>
                  </a:lnTo>
                  <a:lnTo>
                    <a:pt x="92" y="27"/>
                  </a:lnTo>
                  <a:lnTo>
                    <a:pt x="92" y="29"/>
                  </a:lnTo>
                  <a:lnTo>
                    <a:pt x="94" y="29"/>
                  </a:lnTo>
                  <a:lnTo>
                    <a:pt x="90" y="33"/>
                  </a:lnTo>
                  <a:lnTo>
                    <a:pt x="88" y="33"/>
                  </a:lnTo>
                  <a:lnTo>
                    <a:pt x="90" y="33"/>
                  </a:lnTo>
                  <a:lnTo>
                    <a:pt x="92" y="31"/>
                  </a:lnTo>
                  <a:lnTo>
                    <a:pt x="96" y="37"/>
                  </a:lnTo>
                  <a:lnTo>
                    <a:pt x="92" y="40"/>
                  </a:lnTo>
                  <a:lnTo>
                    <a:pt x="92" y="37"/>
                  </a:lnTo>
                  <a:lnTo>
                    <a:pt x="90" y="38"/>
                  </a:lnTo>
                  <a:lnTo>
                    <a:pt x="90" y="33"/>
                  </a:lnTo>
                  <a:lnTo>
                    <a:pt x="90" y="35"/>
                  </a:lnTo>
                  <a:lnTo>
                    <a:pt x="86" y="35"/>
                  </a:lnTo>
                  <a:lnTo>
                    <a:pt x="84" y="37"/>
                  </a:lnTo>
                  <a:lnTo>
                    <a:pt x="83" y="35"/>
                  </a:lnTo>
                  <a:lnTo>
                    <a:pt x="81" y="37"/>
                  </a:lnTo>
                  <a:lnTo>
                    <a:pt x="86" y="38"/>
                  </a:lnTo>
                  <a:lnTo>
                    <a:pt x="84" y="40"/>
                  </a:lnTo>
                  <a:lnTo>
                    <a:pt x="86" y="38"/>
                  </a:lnTo>
                  <a:lnTo>
                    <a:pt x="86" y="40"/>
                  </a:lnTo>
                  <a:lnTo>
                    <a:pt x="88" y="40"/>
                  </a:lnTo>
                  <a:lnTo>
                    <a:pt x="86" y="42"/>
                  </a:lnTo>
                  <a:lnTo>
                    <a:pt x="90" y="42"/>
                  </a:lnTo>
                  <a:lnTo>
                    <a:pt x="90" y="44"/>
                  </a:lnTo>
                  <a:lnTo>
                    <a:pt x="92" y="44"/>
                  </a:lnTo>
                  <a:lnTo>
                    <a:pt x="90" y="48"/>
                  </a:lnTo>
                  <a:lnTo>
                    <a:pt x="88" y="54"/>
                  </a:lnTo>
                  <a:lnTo>
                    <a:pt x="90" y="54"/>
                  </a:lnTo>
                  <a:lnTo>
                    <a:pt x="90" y="63"/>
                  </a:lnTo>
                  <a:lnTo>
                    <a:pt x="86" y="69"/>
                  </a:lnTo>
                  <a:lnTo>
                    <a:pt x="83" y="69"/>
                  </a:lnTo>
                  <a:lnTo>
                    <a:pt x="83" y="71"/>
                  </a:lnTo>
                  <a:lnTo>
                    <a:pt x="79" y="69"/>
                  </a:lnTo>
                  <a:lnTo>
                    <a:pt x="79" y="63"/>
                  </a:lnTo>
                  <a:lnTo>
                    <a:pt x="77" y="67"/>
                  </a:lnTo>
                  <a:lnTo>
                    <a:pt x="75" y="63"/>
                  </a:lnTo>
                  <a:lnTo>
                    <a:pt x="77" y="65"/>
                  </a:lnTo>
                  <a:lnTo>
                    <a:pt x="73" y="67"/>
                  </a:lnTo>
                  <a:lnTo>
                    <a:pt x="77" y="67"/>
                  </a:lnTo>
                  <a:lnTo>
                    <a:pt x="75" y="71"/>
                  </a:lnTo>
                  <a:lnTo>
                    <a:pt x="75" y="73"/>
                  </a:lnTo>
                  <a:lnTo>
                    <a:pt x="79" y="75"/>
                  </a:lnTo>
                  <a:lnTo>
                    <a:pt x="79" y="77"/>
                  </a:lnTo>
                  <a:lnTo>
                    <a:pt x="77" y="79"/>
                  </a:lnTo>
                  <a:lnTo>
                    <a:pt x="75" y="75"/>
                  </a:lnTo>
                  <a:lnTo>
                    <a:pt x="75" y="73"/>
                  </a:lnTo>
                  <a:lnTo>
                    <a:pt x="73" y="75"/>
                  </a:lnTo>
                  <a:lnTo>
                    <a:pt x="73" y="79"/>
                  </a:lnTo>
                  <a:lnTo>
                    <a:pt x="71" y="81"/>
                  </a:lnTo>
                  <a:lnTo>
                    <a:pt x="69" y="81"/>
                  </a:lnTo>
                  <a:lnTo>
                    <a:pt x="71" y="83"/>
                  </a:lnTo>
                  <a:lnTo>
                    <a:pt x="73" y="83"/>
                  </a:lnTo>
                  <a:lnTo>
                    <a:pt x="71" y="85"/>
                  </a:lnTo>
                  <a:lnTo>
                    <a:pt x="71" y="86"/>
                  </a:lnTo>
                  <a:lnTo>
                    <a:pt x="69" y="86"/>
                  </a:lnTo>
                  <a:lnTo>
                    <a:pt x="69" y="85"/>
                  </a:lnTo>
                  <a:lnTo>
                    <a:pt x="67" y="85"/>
                  </a:lnTo>
                  <a:lnTo>
                    <a:pt x="63" y="83"/>
                  </a:lnTo>
                  <a:lnTo>
                    <a:pt x="63" y="75"/>
                  </a:lnTo>
                  <a:lnTo>
                    <a:pt x="65" y="75"/>
                  </a:lnTo>
                  <a:lnTo>
                    <a:pt x="65" y="73"/>
                  </a:lnTo>
                  <a:lnTo>
                    <a:pt x="67" y="71"/>
                  </a:lnTo>
                  <a:lnTo>
                    <a:pt x="63" y="71"/>
                  </a:lnTo>
                  <a:lnTo>
                    <a:pt x="63" y="63"/>
                  </a:lnTo>
                  <a:lnTo>
                    <a:pt x="65" y="65"/>
                  </a:lnTo>
                  <a:lnTo>
                    <a:pt x="65" y="62"/>
                  </a:lnTo>
                  <a:lnTo>
                    <a:pt x="67" y="63"/>
                  </a:lnTo>
                  <a:lnTo>
                    <a:pt x="67" y="62"/>
                  </a:lnTo>
                  <a:lnTo>
                    <a:pt x="65" y="60"/>
                  </a:lnTo>
                  <a:lnTo>
                    <a:pt x="69" y="60"/>
                  </a:lnTo>
                  <a:lnTo>
                    <a:pt x="69" y="58"/>
                  </a:lnTo>
                  <a:lnTo>
                    <a:pt x="65" y="56"/>
                  </a:lnTo>
                  <a:lnTo>
                    <a:pt x="65" y="54"/>
                  </a:lnTo>
                  <a:lnTo>
                    <a:pt x="67" y="54"/>
                  </a:lnTo>
                  <a:lnTo>
                    <a:pt x="65" y="54"/>
                  </a:lnTo>
                  <a:lnTo>
                    <a:pt x="67" y="48"/>
                  </a:lnTo>
                  <a:lnTo>
                    <a:pt x="69" y="46"/>
                  </a:lnTo>
                  <a:lnTo>
                    <a:pt x="69" y="44"/>
                  </a:lnTo>
                  <a:lnTo>
                    <a:pt x="67" y="42"/>
                  </a:lnTo>
                  <a:lnTo>
                    <a:pt x="69" y="40"/>
                  </a:lnTo>
                  <a:lnTo>
                    <a:pt x="67" y="38"/>
                  </a:lnTo>
                  <a:lnTo>
                    <a:pt x="69" y="33"/>
                  </a:lnTo>
                  <a:lnTo>
                    <a:pt x="71" y="31"/>
                  </a:lnTo>
                  <a:lnTo>
                    <a:pt x="69" y="29"/>
                  </a:lnTo>
                  <a:lnTo>
                    <a:pt x="71" y="29"/>
                  </a:lnTo>
                  <a:lnTo>
                    <a:pt x="71" y="27"/>
                  </a:lnTo>
                  <a:lnTo>
                    <a:pt x="73" y="27"/>
                  </a:lnTo>
                  <a:lnTo>
                    <a:pt x="73" y="21"/>
                  </a:lnTo>
                  <a:lnTo>
                    <a:pt x="79" y="19"/>
                  </a:lnTo>
                  <a:lnTo>
                    <a:pt x="77" y="15"/>
                  </a:lnTo>
                  <a:lnTo>
                    <a:pt x="83" y="13"/>
                  </a:lnTo>
                  <a:lnTo>
                    <a:pt x="84" y="15"/>
                  </a:lnTo>
                  <a:lnTo>
                    <a:pt x="84" y="12"/>
                  </a:lnTo>
                  <a:lnTo>
                    <a:pt x="86" y="13"/>
                  </a:lnTo>
                  <a:lnTo>
                    <a:pt x="88" y="12"/>
                  </a:lnTo>
                  <a:close/>
                  <a:moveTo>
                    <a:pt x="73" y="8"/>
                  </a:moveTo>
                  <a:lnTo>
                    <a:pt x="75" y="8"/>
                  </a:lnTo>
                  <a:lnTo>
                    <a:pt x="75" y="10"/>
                  </a:lnTo>
                  <a:lnTo>
                    <a:pt x="73" y="10"/>
                  </a:lnTo>
                  <a:lnTo>
                    <a:pt x="73" y="8"/>
                  </a:lnTo>
                  <a:close/>
                  <a:moveTo>
                    <a:pt x="90" y="2"/>
                  </a:moveTo>
                  <a:lnTo>
                    <a:pt x="94" y="2"/>
                  </a:lnTo>
                  <a:lnTo>
                    <a:pt x="94" y="6"/>
                  </a:lnTo>
                  <a:lnTo>
                    <a:pt x="90" y="6"/>
                  </a:lnTo>
                  <a:lnTo>
                    <a:pt x="90" y="2"/>
                  </a:lnTo>
                  <a:close/>
                  <a:moveTo>
                    <a:pt x="88" y="0"/>
                  </a:moveTo>
                  <a:lnTo>
                    <a:pt x="88" y="6"/>
                  </a:lnTo>
                  <a:lnTo>
                    <a:pt x="84" y="2"/>
                  </a:lnTo>
                  <a:lnTo>
                    <a:pt x="88"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2" name="Freeform 19">
              <a:extLst>
                <a:ext uri="{FF2B5EF4-FFF2-40B4-BE49-F238E27FC236}">
                  <a16:creationId xmlns:a16="http://schemas.microsoft.com/office/drawing/2014/main" id="{EA7283C6-D33E-42F3-82BD-A3CB84516260}"/>
                </a:ext>
              </a:extLst>
            </p:cNvPr>
            <p:cNvSpPr>
              <a:spLocks/>
            </p:cNvSpPr>
            <p:nvPr/>
          </p:nvSpPr>
          <p:spPr bwMode="gray">
            <a:xfrm>
              <a:off x="4976814" y="4162427"/>
              <a:ext cx="785813" cy="704851"/>
            </a:xfrm>
            <a:custGeom>
              <a:avLst/>
              <a:gdLst>
                <a:gd name="T0" fmla="*/ 30 w 495"/>
                <a:gd name="T1" fmla="*/ 401 h 444"/>
                <a:gd name="T2" fmla="*/ 30 w 495"/>
                <a:gd name="T3" fmla="*/ 384 h 444"/>
                <a:gd name="T4" fmla="*/ 7 w 495"/>
                <a:gd name="T5" fmla="*/ 371 h 444"/>
                <a:gd name="T6" fmla="*/ 27 w 495"/>
                <a:gd name="T7" fmla="*/ 355 h 444"/>
                <a:gd name="T8" fmla="*/ 25 w 495"/>
                <a:gd name="T9" fmla="*/ 336 h 444"/>
                <a:gd name="T10" fmla="*/ 19 w 495"/>
                <a:gd name="T11" fmla="*/ 296 h 444"/>
                <a:gd name="T12" fmla="*/ 27 w 495"/>
                <a:gd name="T13" fmla="*/ 277 h 444"/>
                <a:gd name="T14" fmla="*/ 40 w 495"/>
                <a:gd name="T15" fmla="*/ 267 h 444"/>
                <a:gd name="T16" fmla="*/ 48 w 495"/>
                <a:gd name="T17" fmla="*/ 259 h 444"/>
                <a:gd name="T18" fmla="*/ 27 w 495"/>
                <a:gd name="T19" fmla="*/ 248 h 444"/>
                <a:gd name="T20" fmla="*/ 38 w 495"/>
                <a:gd name="T21" fmla="*/ 229 h 444"/>
                <a:gd name="T22" fmla="*/ 48 w 495"/>
                <a:gd name="T23" fmla="*/ 207 h 444"/>
                <a:gd name="T24" fmla="*/ 44 w 495"/>
                <a:gd name="T25" fmla="*/ 192 h 444"/>
                <a:gd name="T26" fmla="*/ 40 w 495"/>
                <a:gd name="T27" fmla="*/ 163 h 444"/>
                <a:gd name="T28" fmla="*/ 44 w 495"/>
                <a:gd name="T29" fmla="*/ 156 h 444"/>
                <a:gd name="T30" fmla="*/ 59 w 495"/>
                <a:gd name="T31" fmla="*/ 136 h 444"/>
                <a:gd name="T32" fmla="*/ 76 w 495"/>
                <a:gd name="T33" fmla="*/ 109 h 444"/>
                <a:gd name="T34" fmla="*/ 67 w 495"/>
                <a:gd name="T35" fmla="*/ 94 h 444"/>
                <a:gd name="T36" fmla="*/ 76 w 495"/>
                <a:gd name="T37" fmla="*/ 69 h 444"/>
                <a:gd name="T38" fmla="*/ 109 w 495"/>
                <a:gd name="T39" fmla="*/ 73 h 444"/>
                <a:gd name="T40" fmla="*/ 121 w 495"/>
                <a:gd name="T41" fmla="*/ 38 h 444"/>
                <a:gd name="T42" fmla="*/ 128 w 495"/>
                <a:gd name="T43" fmla="*/ 8 h 444"/>
                <a:gd name="T44" fmla="*/ 142 w 495"/>
                <a:gd name="T45" fmla="*/ 12 h 444"/>
                <a:gd name="T46" fmla="*/ 174 w 495"/>
                <a:gd name="T47" fmla="*/ 15 h 444"/>
                <a:gd name="T48" fmla="*/ 195 w 495"/>
                <a:gd name="T49" fmla="*/ 36 h 444"/>
                <a:gd name="T50" fmla="*/ 220 w 495"/>
                <a:gd name="T51" fmla="*/ 48 h 444"/>
                <a:gd name="T52" fmla="*/ 242 w 495"/>
                <a:gd name="T53" fmla="*/ 40 h 444"/>
                <a:gd name="T54" fmla="*/ 265 w 495"/>
                <a:gd name="T55" fmla="*/ 36 h 444"/>
                <a:gd name="T56" fmla="*/ 299 w 495"/>
                <a:gd name="T57" fmla="*/ 63 h 444"/>
                <a:gd name="T58" fmla="*/ 295 w 495"/>
                <a:gd name="T59" fmla="*/ 94 h 444"/>
                <a:gd name="T60" fmla="*/ 297 w 495"/>
                <a:gd name="T61" fmla="*/ 123 h 444"/>
                <a:gd name="T62" fmla="*/ 332 w 495"/>
                <a:gd name="T63" fmla="*/ 129 h 444"/>
                <a:gd name="T64" fmla="*/ 361 w 495"/>
                <a:gd name="T65" fmla="*/ 144 h 444"/>
                <a:gd name="T66" fmla="*/ 380 w 495"/>
                <a:gd name="T67" fmla="*/ 169 h 444"/>
                <a:gd name="T68" fmla="*/ 395 w 495"/>
                <a:gd name="T69" fmla="*/ 186 h 444"/>
                <a:gd name="T70" fmla="*/ 405 w 495"/>
                <a:gd name="T71" fmla="*/ 204 h 444"/>
                <a:gd name="T72" fmla="*/ 426 w 495"/>
                <a:gd name="T73" fmla="*/ 223 h 444"/>
                <a:gd name="T74" fmla="*/ 470 w 495"/>
                <a:gd name="T75" fmla="*/ 227 h 444"/>
                <a:gd name="T76" fmla="*/ 487 w 495"/>
                <a:gd name="T77" fmla="*/ 227 h 444"/>
                <a:gd name="T78" fmla="*/ 464 w 495"/>
                <a:gd name="T79" fmla="*/ 254 h 444"/>
                <a:gd name="T80" fmla="*/ 443 w 495"/>
                <a:gd name="T81" fmla="*/ 275 h 444"/>
                <a:gd name="T82" fmla="*/ 412 w 495"/>
                <a:gd name="T83" fmla="*/ 292 h 444"/>
                <a:gd name="T84" fmla="*/ 389 w 495"/>
                <a:gd name="T85" fmla="*/ 313 h 444"/>
                <a:gd name="T86" fmla="*/ 368 w 495"/>
                <a:gd name="T87" fmla="*/ 303 h 444"/>
                <a:gd name="T88" fmla="*/ 343 w 495"/>
                <a:gd name="T89" fmla="*/ 315 h 444"/>
                <a:gd name="T90" fmla="*/ 361 w 495"/>
                <a:gd name="T91" fmla="*/ 327 h 444"/>
                <a:gd name="T92" fmla="*/ 347 w 495"/>
                <a:gd name="T93" fmla="*/ 336 h 444"/>
                <a:gd name="T94" fmla="*/ 330 w 495"/>
                <a:gd name="T95" fmla="*/ 317 h 444"/>
                <a:gd name="T96" fmla="*/ 305 w 495"/>
                <a:gd name="T97" fmla="*/ 321 h 444"/>
                <a:gd name="T98" fmla="*/ 293 w 495"/>
                <a:gd name="T99" fmla="*/ 355 h 444"/>
                <a:gd name="T100" fmla="*/ 261 w 495"/>
                <a:gd name="T101" fmla="*/ 350 h 444"/>
                <a:gd name="T102" fmla="*/ 218 w 495"/>
                <a:gd name="T103" fmla="*/ 363 h 444"/>
                <a:gd name="T104" fmla="*/ 205 w 495"/>
                <a:gd name="T105" fmla="*/ 403 h 444"/>
                <a:gd name="T106" fmla="*/ 178 w 495"/>
                <a:gd name="T107" fmla="*/ 415 h 444"/>
                <a:gd name="T108" fmla="*/ 147 w 495"/>
                <a:gd name="T109" fmla="*/ 415 h 444"/>
                <a:gd name="T110" fmla="*/ 109 w 495"/>
                <a:gd name="T111" fmla="*/ 426 h 444"/>
                <a:gd name="T112" fmla="*/ 86 w 495"/>
                <a:gd name="T113" fmla="*/ 436 h 444"/>
                <a:gd name="T114" fmla="*/ 51 w 495"/>
                <a:gd name="T115" fmla="*/ 436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 h="444">
                  <a:moveTo>
                    <a:pt x="28" y="434"/>
                  </a:moveTo>
                  <a:lnTo>
                    <a:pt x="28" y="428"/>
                  </a:lnTo>
                  <a:lnTo>
                    <a:pt x="27" y="421"/>
                  </a:lnTo>
                  <a:lnTo>
                    <a:pt x="28" y="413"/>
                  </a:lnTo>
                  <a:lnTo>
                    <a:pt x="27" y="413"/>
                  </a:lnTo>
                  <a:lnTo>
                    <a:pt x="27" y="407"/>
                  </a:lnTo>
                  <a:lnTo>
                    <a:pt x="28" y="401"/>
                  </a:lnTo>
                  <a:lnTo>
                    <a:pt x="30" y="401"/>
                  </a:lnTo>
                  <a:lnTo>
                    <a:pt x="27" y="400"/>
                  </a:lnTo>
                  <a:lnTo>
                    <a:pt x="27" y="398"/>
                  </a:lnTo>
                  <a:lnTo>
                    <a:pt x="28" y="396"/>
                  </a:lnTo>
                  <a:lnTo>
                    <a:pt x="32" y="396"/>
                  </a:lnTo>
                  <a:lnTo>
                    <a:pt x="34" y="392"/>
                  </a:lnTo>
                  <a:lnTo>
                    <a:pt x="38" y="394"/>
                  </a:lnTo>
                  <a:lnTo>
                    <a:pt x="38" y="390"/>
                  </a:lnTo>
                  <a:lnTo>
                    <a:pt x="30" y="384"/>
                  </a:lnTo>
                  <a:lnTo>
                    <a:pt x="25" y="384"/>
                  </a:lnTo>
                  <a:lnTo>
                    <a:pt x="19" y="386"/>
                  </a:lnTo>
                  <a:lnTo>
                    <a:pt x="15" y="384"/>
                  </a:lnTo>
                  <a:lnTo>
                    <a:pt x="7" y="382"/>
                  </a:lnTo>
                  <a:lnTo>
                    <a:pt x="5" y="380"/>
                  </a:lnTo>
                  <a:lnTo>
                    <a:pt x="0" y="375"/>
                  </a:lnTo>
                  <a:lnTo>
                    <a:pt x="5" y="375"/>
                  </a:lnTo>
                  <a:lnTo>
                    <a:pt x="7" y="371"/>
                  </a:lnTo>
                  <a:lnTo>
                    <a:pt x="15" y="373"/>
                  </a:lnTo>
                  <a:lnTo>
                    <a:pt x="15" y="371"/>
                  </a:lnTo>
                  <a:lnTo>
                    <a:pt x="19" y="369"/>
                  </a:lnTo>
                  <a:lnTo>
                    <a:pt x="21" y="365"/>
                  </a:lnTo>
                  <a:lnTo>
                    <a:pt x="17" y="363"/>
                  </a:lnTo>
                  <a:lnTo>
                    <a:pt x="25" y="361"/>
                  </a:lnTo>
                  <a:lnTo>
                    <a:pt x="25" y="357"/>
                  </a:lnTo>
                  <a:lnTo>
                    <a:pt x="27" y="355"/>
                  </a:lnTo>
                  <a:lnTo>
                    <a:pt x="23" y="355"/>
                  </a:lnTo>
                  <a:lnTo>
                    <a:pt x="21" y="353"/>
                  </a:lnTo>
                  <a:lnTo>
                    <a:pt x="25" y="351"/>
                  </a:lnTo>
                  <a:lnTo>
                    <a:pt x="27" y="348"/>
                  </a:lnTo>
                  <a:lnTo>
                    <a:pt x="21" y="348"/>
                  </a:lnTo>
                  <a:lnTo>
                    <a:pt x="23" y="340"/>
                  </a:lnTo>
                  <a:lnTo>
                    <a:pt x="27" y="340"/>
                  </a:lnTo>
                  <a:lnTo>
                    <a:pt x="25" y="336"/>
                  </a:lnTo>
                  <a:lnTo>
                    <a:pt x="25" y="327"/>
                  </a:lnTo>
                  <a:lnTo>
                    <a:pt x="27" y="317"/>
                  </a:lnTo>
                  <a:lnTo>
                    <a:pt x="30" y="315"/>
                  </a:lnTo>
                  <a:lnTo>
                    <a:pt x="27" y="305"/>
                  </a:lnTo>
                  <a:lnTo>
                    <a:pt x="21" y="303"/>
                  </a:lnTo>
                  <a:lnTo>
                    <a:pt x="17" y="300"/>
                  </a:lnTo>
                  <a:lnTo>
                    <a:pt x="17" y="296"/>
                  </a:lnTo>
                  <a:lnTo>
                    <a:pt x="19" y="296"/>
                  </a:lnTo>
                  <a:lnTo>
                    <a:pt x="19" y="294"/>
                  </a:lnTo>
                  <a:lnTo>
                    <a:pt x="17" y="292"/>
                  </a:lnTo>
                  <a:lnTo>
                    <a:pt x="21" y="290"/>
                  </a:lnTo>
                  <a:lnTo>
                    <a:pt x="21" y="292"/>
                  </a:lnTo>
                  <a:lnTo>
                    <a:pt x="23" y="288"/>
                  </a:lnTo>
                  <a:lnTo>
                    <a:pt x="27" y="286"/>
                  </a:lnTo>
                  <a:lnTo>
                    <a:pt x="25" y="284"/>
                  </a:lnTo>
                  <a:lnTo>
                    <a:pt x="27" y="277"/>
                  </a:lnTo>
                  <a:lnTo>
                    <a:pt x="30" y="279"/>
                  </a:lnTo>
                  <a:lnTo>
                    <a:pt x="34" y="277"/>
                  </a:lnTo>
                  <a:lnTo>
                    <a:pt x="34" y="275"/>
                  </a:lnTo>
                  <a:lnTo>
                    <a:pt x="34" y="273"/>
                  </a:lnTo>
                  <a:lnTo>
                    <a:pt x="32" y="271"/>
                  </a:lnTo>
                  <a:lnTo>
                    <a:pt x="34" y="269"/>
                  </a:lnTo>
                  <a:lnTo>
                    <a:pt x="38" y="269"/>
                  </a:lnTo>
                  <a:lnTo>
                    <a:pt x="40" y="267"/>
                  </a:lnTo>
                  <a:lnTo>
                    <a:pt x="44" y="269"/>
                  </a:lnTo>
                  <a:lnTo>
                    <a:pt x="44" y="265"/>
                  </a:lnTo>
                  <a:lnTo>
                    <a:pt x="46" y="265"/>
                  </a:lnTo>
                  <a:lnTo>
                    <a:pt x="48" y="261"/>
                  </a:lnTo>
                  <a:lnTo>
                    <a:pt x="48" y="263"/>
                  </a:lnTo>
                  <a:lnTo>
                    <a:pt x="51" y="265"/>
                  </a:lnTo>
                  <a:lnTo>
                    <a:pt x="51" y="261"/>
                  </a:lnTo>
                  <a:lnTo>
                    <a:pt x="48" y="259"/>
                  </a:lnTo>
                  <a:lnTo>
                    <a:pt x="42" y="259"/>
                  </a:lnTo>
                  <a:lnTo>
                    <a:pt x="42" y="255"/>
                  </a:lnTo>
                  <a:lnTo>
                    <a:pt x="36" y="257"/>
                  </a:lnTo>
                  <a:lnTo>
                    <a:pt x="34" y="254"/>
                  </a:lnTo>
                  <a:lnTo>
                    <a:pt x="32" y="257"/>
                  </a:lnTo>
                  <a:lnTo>
                    <a:pt x="30" y="255"/>
                  </a:lnTo>
                  <a:lnTo>
                    <a:pt x="25" y="254"/>
                  </a:lnTo>
                  <a:lnTo>
                    <a:pt x="27" y="248"/>
                  </a:lnTo>
                  <a:lnTo>
                    <a:pt x="27" y="242"/>
                  </a:lnTo>
                  <a:lnTo>
                    <a:pt x="27" y="240"/>
                  </a:lnTo>
                  <a:lnTo>
                    <a:pt x="36" y="238"/>
                  </a:lnTo>
                  <a:lnTo>
                    <a:pt x="38" y="236"/>
                  </a:lnTo>
                  <a:lnTo>
                    <a:pt x="38" y="234"/>
                  </a:lnTo>
                  <a:lnTo>
                    <a:pt x="32" y="230"/>
                  </a:lnTo>
                  <a:lnTo>
                    <a:pt x="34" y="227"/>
                  </a:lnTo>
                  <a:lnTo>
                    <a:pt x="38" y="229"/>
                  </a:lnTo>
                  <a:lnTo>
                    <a:pt x="40" y="223"/>
                  </a:lnTo>
                  <a:lnTo>
                    <a:pt x="42" y="223"/>
                  </a:lnTo>
                  <a:lnTo>
                    <a:pt x="42" y="219"/>
                  </a:lnTo>
                  <a:lnTo>
                    <a:pt x="46" y="219"/>
                  </a:lnTo>
                  <a:lnTo>
                    <a:pt x="46" y="215"/>
                  </a:lnTo>
                  <a:lnTo>
                    <a:pt x="48" y="213"/>
                  </a:lnTo>
                  <a:lnTo>
                    <a:pt x="50" y="211"/>
                  </a:lnTo>
                  <a:lnTo>
                    <a:pt x="48" y="207"/>
                  </a:lnTo>
                  <a:lnTo>
                    <a:pt x="46" y="207"/>
                  </a:lnTo>
                  <a:lnTo>
                    <a:pt x="44" y="206"/>
                  </a:lnTo>
                  <a:lnTo>
                    <a:pt x="42" y="207"/>
                  </a:lnTo>
                  <a:lnTo>
                    <a:pt x="40" y="204"/>
                  </a:lnTo>
                  <a:lnTo>
                    <a:pt x="38" y="204"/>
                  </a:lnTo>
                  <a:lnTo>
                    <a:pt x="38" y="202"/>
                  </a:lnTo>
                  <a:lnTo>
                    <a:pt x="44" y="198"/>
                  </a:lnTo>
                  <a:lnTo>
                    <a:pt x="44" y="192"/>
                  </a:lnTo>
                  <a:lnTo>
                    <a:pt x="40" y="186"/>
                  </a:lnTo>
                  <a:lnTo>
                    <a:pt x="42" y="184"/>
                  </a:lnTo>
                  <a:lnTo>
                    <a:pt x="42" y="181"/>
                  </a:lnTo>
                  <a:lnTo>
                    <a:pt x="44" y="177"/>
                  </a:lnTo>
                  <a:lnTo>
                    <a:pt x="38" y="177"/>
                  </a:lnTo>
                  <a:lnTo>
                    <a:pt x="40" y="173"/>
                  </a:lnTo>
                  <a:lnTo>
                    <a:pt x="36" y="169"/>
                  </a:lnTo>
                  <a:lnTo>
                    <a:pt x="40" y="163"/>
                  </a:lnTo>
                  <a:lnTo>
                    <a:pt x="36" y="161"/>
                  </a:lnTo>
                  <a:lnTo>
                    <a:pt x="36" y="159"/>
                  </a:lnTo>
                  <a:lnTo>
                    <a:pt x="40" y="161"/>
                  </a:lnTo>
                  <a:lnTo>
                    <a:pt x="44" y="159"/>
                  </a:lnTo>
                  <a:lnTo>
                    <a:pt x="38" y="157"/>
                  </a:lnTo>
                  <a:lnTo>
                    <a:pt x="42" y="157"/>
                  </a:lnTo>
                  <a:lnTo>
                    <a:pt x="42" y="156"/>
                  </a:lnTo>
                  <a:lnTo>
                    <a:pt x="44" y="156"/>
                  </a:lnTo>
                  <a:lnTo>
                    <a:pt x="44" y="154"/>
                  </a:lnTo>
                  <a:lnTo>
                    <a:pt x="46" y="152"/>
                  </a:lnTo>
                  <a:lnTo>
                    <a:pt x="44" y="148"/>
                  </a:lnTo>
                  <a:lnTo>
                    <a:pt x="50" y="148"/>
                  </a:lnTo>
                  <a:lnTo>
                    <a:pt x="50" y="150"/>
                  </a:lnTo>
                  <a:lnTo>
                    <a:pt x="59" y="148"/>
                  </a:lnTo>
                  <a:lnTo>
                    <a:pt x="61" y="142"/>
                  </a:lnTo>
                  <a:lnTo>
                    <a:pt x="59" y="136"/>
                  </a:lnTo>
                  <a:lnTo>
                    <a:pt x="61" y="133"/>
                  </a:lnTo>
                  <a:lnTo>
                    <a:pt x="67" y="133"/>
                  </a:lnTo>
                  <a:lnTo>
                    <a:pt x="69" y="127"/>
                  </a:lnTo>
                  <a:lnTo>
                    <a:pt x="71" y="121"/>
                  </a:lnTo>
                  <a:lnTo>
                    <a:pt x="76" y="119"/>
                  </a:lnTo>
                  <a:lnTo>
                    <a:pt x="82" y="117"/>
                  </a:lnTo>
                  <a:lnTo>
                    <a:pt x="78" y="113"/>
                  </a:lnTo>
                  <a:lnTo>
                    <a:pt x="76" y="109"/>
                  </a:lnTo>
                  <a:lnTo>
                    <a:pt x="71" y="109"/>
                  </a:lnTo>
                  <a:lnTo>
                    <a:pt x="73" y="106"/>
                  </a:lnTo>
                  <a:lnTo>
                    <a:pt x="69" y="106"/>
                  </a:lnTo>
                  <a:lnTo>
                    <a:pt x="69" y="102"/>
                  </a:lnTo>
                  <a:lnTo>
                    <a:pt x="65" y="102"/>
                  </a:lnTo>
                  <a:lnTo>
                    <a:pt x="65" y="100"/>
                  </a:lnTo>
                  <a:lnTo>
                    <a:pt x="63" y="92"/>
                  </a:lnTo>
                  <a:lnTo>
                    <a:pt x="67" y="94"/>
                  </a:lnTo>
                  <a:lnTo>
                    <a:pt x="69" y="88"/>
                  </a:lnTo>
                  <a:lnTo>
                    <a:pt x="73" y="88"/>
                  </a:lnTo>
                  <a:lnTo>
                    <a:pt x="75" y="88"/>
                  </a:lnTo>
                  <a:lnTo>
                    <a:pt x="73" y="84"/>
                  </a:lnTo>
                  <a:lnTo>
                    <a:pt x="75" y="83"/>
                  </a:lnTo>
                  <a:lnTo>
                    <a:pt x="75" y="75"/>
                  </a:lnTo>
                  <a:lnTo>
                    <a:pt x="80" y="71"/>
                  </a:lnTo>
                  <a:lnTo>
                    <a:pt x="76" y="69"/>
                  </a:lnTo>
                  <a:lnTo>
                    <a:pt x="76" y="67"/>
                  </a:lnTo>
                  <a:lnTo>
                    <a:pt x="84" y="63"/>
                  </a:lnTo>
                  <a:lnTo>
                    <a:pt x="90" y="67"/>
                  </a:lnTo>
                  <a:lnTo>
                    <a:pt x="96" y="73"/>
                  </a:lnTo>
                  <a:lnTo>
                    <a:pt x="101" y="73"/>
                  </a:lnTo>
                  <a:lnTo>
                    <a:pt x="105" y="75"/>
                  </a:lnTo>
                  <a:lnTo>
                    <a:pt x="107" y="73"/>
                  </a:lnTo>
                  <a:lnTo>
                    <a:pt x="109" y="73"/>
                  </a:lnTo>
                  <a:lnTo>
                    <a:pt x="111" y="63"/>
                  </a:lnTo>
                  <a:lnTo>
                    <a:pt x="109" y="61"/>
                  </a:lnTo>
                  <a:lnTo>
                    <a:pt x="111" y="56"/>
                  </a:lnTo>
                  <a:lnTo>
                    <a:pt x="113" y="54"/>
                  </a:lnTo>
                  <a:lnTo>
                    <a:pt x="117" y="52"/>
                  </a:lnTo>
                  <a:lnTo>
                    <a:pt x="123" y="48"/>
                  </a:lnTo>
                  <a:lnTo>
                    <a:pt x="123" y="40"/>
                  </a:lnTo>
                  <a:lnTo>
                    <a:pt x="121" y="38"/>
                  </a:lnTo>
                  <a:lnTo>
                    <a:pt x="124" y="36"/>
                  </a:lnTo>
                  <a:lnTo>
                    <a:pt x="124" y="33"/>
                  </a:lnTo>
                  <a:lnTo>
                    <a:pt x="121" y="27"/>
                  </a:lnTo>
                  <a:lnTo>
                    <a:pt x="121" y="25"/>
                  </a:lnTo>
                  <a:lnTo>
                    <a:pt x="124" y="25"/>
                  </a:lnTo>
                  <a:lnTo>
                    <a:pt x="128" y="21"/>
                  </a:lnTo>
                  <a:lnTo>
                    <a:pt x="130" y="15"/>
                  </a:lnTo>
                  <a:lnTo>
                    <a:pt x="128" y="8"/>
                  </a:lnTo>
                  <a:lnTo>
                    <a:pt x="123" y="6"/>
                  </a:lnTo>
                  <a:lnTo>
                    <a:pt x="126" y="0"/>
                  </a:lnTo>
                  <a:lnTo>
                    <a:pt x="126" y="4"/>
                  </a:lnTo>
                  <a:lnTo>
                    <a:pt x="132" y="4"/>
                  </a:lnTo>
                  <a:lnTo>
                    <a:pt x="132" y="8"/>
                  </a:lnTo>
                  <a:lnTo>
                    <a:pt x="136" y="10"/>
                  </a:lnTo>
                  <a:lnTo>
                    <a:pt x="138" y="12"/>
                  </a:lnTo>
                  <a:lnTo>
                    <a:pt x="142" y="12"/>
                  </a:lnTo>
                  <a:lnTo>
                    <a:pt x="144" y="13"/>
                  </a:lnTo>
                  <a:lnTo>
                    <a:pt x="146" y="12"/>
                  </a:lnTo>
                  <a:lnTo>
                    <a:pt x="149" y="10"/>
                  </a:lnTo>
                  <a:lnTo>
                    <a:pt x="157" y="12"/>
                  </a:lnTo>
                  <a:lnTo>
                    <a:pt x="165" y="13"/>
                  </a:lnTo>
                  <a:lnTo>
                    <a:pt x="169" y="15"/>
                  </a:lnTo>
                  <a:lnTo>
                    <a:pt x="170" y="15"/>
                  </a:lnTo>
                  <a:lnTo>
                    <a:pt x="174" y="15"/>
                  </a:lnTo>
                  <a:lnTo>
                    <a:pt x="176" y="17"/>
                  </a:lnTo>
                  <a:lnTo>
                    <a:pt x="180" y="17"/>
                  </a:lnTo>
                  <a:lnTo>
                    <a:pt x="182" y="21"/>
                  </a:lnTo>
                  <a:lnTo>
                    <a:pt x="182" y="27"/>
                  </a:lnTo>
                  <a:lnTo>
                    <a:pt x="190" y="27"/>
                  </a:lnTo>
                  <a:lnTo>
                    <a:pt x="194" y="29"/>
                  </a:lnTo>
                  <a:lnTo>
                    <a:pt x="194" y="35"/>
                  </a:lnTo>
                  <a:lnTo>
                    <a:pt x="195" y="36"/>
                  </a:lnTo>
                  <a:lnTo>
                    <a:pt x="195" y="38"/>
                  </a:lnTo>
                  <a:lnTo>
                    <a:pt x="197" y="38"/>
                  </a:lnTo>
                  <a:lnTo>
                    <a:pt x="195" y="40"/>
                  </a:lnTo>
                  <a:lnTo>
                    <a:pt x="203" y="40"/>
                  </a:lnTo>
                  <a:lnTo>
                    <a:pt x="209" y="42"/>
                  </a:lnTo>
                  <a:lnTo>
                    <a:pt x="215" y="46"/>
                  </a:lnTo>
                  <a:lnTo>
                    <a:pt x="218" y="50"/>
                  </a:lnTo>
                  <a:lnTo>
                    <a:pt x="220" y="48"/>
                  </a:lnTo>
                  <a:lnTo>
                    <a:pt x="218" y="46"/>
                  </a:lnTo>
                  <a:lnTo>
                    <a:pt x="222" y="42"/>
                  </a:lnTo>
                  <a:lnTo>
                    <a:pt x="224" y="36"/>
                  </a:lnTo>
                  <a:lnTo>
                    <a:pt x="224" y="33"/>
                  </a:lnTo>
                  <a:lnTo>
                    <a:pt x="230" y="35"/>
                  </a:lnTo>
                  <a:lnTo>
                    <a:pt x="232" y="38"/>
                  </a:lnTo>
                  <a:lnTo>
                    <a:pt x="238" y="36"/>
                  </a:lnTo>
                  <a:lnTo>
                    <a:pt x="242" y="40"/>
                  </a:lnTo>
                  <a:lnTo>
                    <a:pt x="245" y="40"/>
                  </a:lnTo>
                  <a:lnTo>
                    <a:pt x="247" y="44"/>
                  </a:lnTo>
                  <a:lnTo>
                    <a:pt x="253" y="42"/>
                  </a:lnTo>
                  <a:lnTo>
                    <a:pt x="253" y="40"/>
                  </a:lnTo>
                  <a:lnTo>
                    <a:pt x="255" y="38"/>
                  </a:lnTo>
                  <a:lnTo>
                    <a:pt x="257" y="42"/>
                  </a:lnTo>
                  <a:lnTo>
                    <a:pt x="261" y="44"/>
                  </a:lnTo>
                  <a:lnTo>
                    <a:pt x="265" y="36"/>
                  </a:lnTo>
                  <a:lnTo>
                    <a:pt x="274" y="36"/>
                  </a:lnTo>
                  <a:lnTo>
                    <a:pt x="278" y="33"/>
                  </a:lnTo>
                  <a:lnTo>
                    <a:pt x="282" y="35"/>
                  </a:lnTo>
                  <a:lnTo>
                    <a:pt x="286" y="36"/>
                  </a:lnTo>
                  <a:lnTo>
                    <a:pt x="291" y="44"/>
                  </a:lnTo>
                  <a:lnTo>
                    <a:pt x="299" y="48"/>
                  </a:lnTo>
                  <a:lnTo>
                    <a:pt x="301" y="56"/>
                  </a:lnTo>
                  <a:lnTo>
                    <a:pt x="299" y="63"/>
                  </a:lnTo>
                  <a:lnTo>
                    <a:pt x="301" y="67"/>
                  </a:lnTo>
                  <a:lnTo>
                    <a:pt x="299" y="67"/>
                  </a:lnTo>
                  <a:lnTo>
                    <a:pt x="295" y="75"/>
                  </a:lnTo>
                  <a:lnTo>
                    <a:pt x="297" y="81"/>
                  </a:lnTo>
                  <a:lnTo>
                    <a:pt x="289" y="86"/>
                  </a:lnTo>
                  <a:lnTo>
                    <a:pt x="288" y="88"/>
                  </a:lnTo>
                  <a:lnTo>
                    <a:pt x="289" y="96"/>
                  </a:lnTo>
                  <a:lnTo>
                    <a:pt x="295" y="94"/>
                  </a:lnTo>
                  <a:lnTo>
                    <a:pt x="297" y="96"/>
                  </a:lnTo>
                  <a:lnTo>
                    <a:pt x="297" y="100"/>
                  </a:lnTo>
                  <a:lnTo>
                    <a:pt x="299" y="104"/>
                  </a:lnTo>
                  <a:lnTo>
                    <a:pt x="299" y="111"/>
                  </a:lnTo>
                  <a:lnTo>
                    <a:pt x="299" y="113"/>
                  </a:lnTo>
                  <a:lnTo>
                    <a:pt x="293" y="117"/>
                  </a:lnTo>
                  <a:lnTo>
                    <a:pt x="293" y="119"/>
                  </a:lnTo>
                  <a:lnTo>
                    <a:pt x="297" y="123"/>
                  </a:lnTo>
                  <a:lnTo>
                    <a:pt x="305" y="125"/>
                  </a:lnTo>
                  <a:lnTo>
                    <a:pt x="309" y="131"/>
                  </a:lnTo>
                  <a:lnTo>
                    <a:pt x="314" y="133"/>
                  </a:lnTo>
                  <a:lnTo>
                    <a:pt x="318" y="133"/>
                  </a:lnTo>
                  <a:lnTo>
                    <a:pt x="322" y="131"/>
                  </a:lnTo>
                  <a:lnTo>
                    <a:pt x="324" y="133"/>
                  </a:lnTo>
                  <a:lnTo>
                    <a:pt x="326" y="133"/>
                  </a:lnTo>
                  <a:lnTo>
                    <a:pt x="332" y="129"/>
                  </a:lnTo>
                  <a:lnTo>
                    <a:pt x="336" y="133"/>
                  </a:lnTo>
                  <a:lnTo>
                    <a:pt x="337" y="138"/>
                  </a:lnTo>
                  <a:lnTo>
                    <a:pt x="339" y="144"/>
                  </a:lnTo>
                  <a:lnTo>
                    <a:pt x="341" y="142"/>
                  </a:lnTo>
                  <a:lnTo>
                    <a:pt x="343" y="144"/>
                  </a:lnTo>
                  <a:lnTo>
                    <a:pt x="351" y="140"/>
                  </a:lnTo>
                  <a:lnTo>
                    <a:pt x="355" y="140"/>
                  </a:lnTo>
                  <a:lnTo>
                    <a:pt x="361" y="144"/>
                  </a:lnTo>
                  <a:lnTo>
                    <a:pt x="366" y="148"/>
                  </a:lnTo>
                  <a:lnTo>
                    <a:pt x="370" y="152"/>
                  </a:lnTo>
                  <a:lnTo>
                    <a:pt x="372" y="156"/>
                  </a:lnTo>
                  <a:lnTo>
                    <a:pt x="378" y="159"/>
                  </a:lnTo>
                  <a:lnTo>
                    <a:pt x="378" y="163"/>
                  </a:lnTo>
                  <a:lnTo>
                    <a:pt x="382" y="163"/>
                  </a:lnTo>
                  <a:lnTo>
                    <a:pt x="380" y="165"/>
                  </a:lnTo>
                  <a:lnTo>
                    <a:pt x="380" y="169"/>
                  </a:lnTo>
                  <a:lnTo>
                    <a:pt x="384" y="177"/>
                  </a:lnTo>
                  <a:lnTo>
                    <a:pt x="387" y="181"/>
                  </a:lnTo>
                  <a:lnTo>
                    <a:pt x="382" y="184"/>
                  </a:lnTo>
                  <a:lnTo>
                    <a:pt x="382" y="190"/>
                  </a:lnTo>
                  <a:lnTo>
                    <a:pt x="389" y="190"/>
                  </a:lnTo>
                  <a:lnTo>
                    <a:pt x="391" y="182"/>
                  </a:lnTo>
                  <a:lnTo>
                    <a:pt x="395" y="184"/>
                  </a:lnTo>
                  <a:lnTo>
                    <a:pt x="395" y="186"/>
                  </a:lnTo>
                  <a:lnTo>
                    <a:pt x="393" y="186"/>
                  </a:lnTo>
                  <a:lnTo>
                    <a:pt x="395" y="194"/>
                  </a:lnTo>
                  <a:lnTo>
                    <a:pt x="401" y="192"/>
                  </a:lnTo>
                  <a:lnTo>
                    <a:pt x="407" y="188"/>
                  </a:lnTo>
                  <a:lnTo>
                    <a:pt x="407" y="190"/>
                  </a:lnTo>
                  <a:lnTo>
                    <a:pt x="405" y="194"/>
                  </a:lnTo>
                  <a:lnTo>
                    <a:pt x="403" y="198"/>
                  </a:lnTo>
                  <a:lnTo>
                    <a:pt x="405" y="204"/>
                  </a:lnTo>
                  <a:lnTo>
                    <a:pt x="407" y="207"/>
                  </a:lnTo>
                  <a:lnTo>
                    <a:pt x="407" y="211"/>
                  </a:lnTo>
                  <a:lnTo>
                    <a:pt x="408" y="217"/>
                  </a:lnTo>
                  <a:lnTo>
                    <a:pt x="407" y="225"/>
                  </a:lnTo>
                  <a:lnTo>
                    <a:pt x="408" y="230"/>
                  </a:lnTo>
                  <a:lnTo>
                    <a:pt x="416" y="230"/>
                  </a:lnTo>
                  <a:lnTo>
                    <a:pt x="418" y="229"/>
                  </a:lnTo>
                  <a:lnTo>
                    <a:pt x="426" y="223"/>
                  </a:lnTo>
                  <a:lnTo>
                    <a:pt x="433" y="227"/>
                  </a:lnTo>
                  <a:lnTo>
                    <a:pt x="435" y="229"/>
                  </a:lnTo>
                  <a:lnTo>
                    <a:pt x="445" y="229"/>
                  </a:lnTo>
                  <a:lnTo>
                    <a:pt x="449" y="230"/>
                  </a:lnTo>
                  <a:lnTo>
                    <a:pt x="451" y="229"/>
                  </a:lnTo>
                  <a:lnTo>
                    <a:pt x="458" y="225"/>
                  </a:lnTo>
                  <a:lnTo>
                    <a:pt x="460" y="229"/>
                  </a:lnTo>
                  <a:lnTo>
                    <a:pt x="470" y="227"/>
                  </a:lnTo>
                  <a:lnTo>
                    <a:pt x="474" y="227"/>
                  </a:lnTo>
                  <a:lnTo>
                    <a:pt x="479" y="221"/>
                  </a:lnTo>
                  <a:lnTo>
                    <a:pt x="483" y="219"/>
                  </a:lnTo>
                  <a:lnTo>
                    <a:pt x="483" y="223"/>
                  </a:lnTo>
                  <a:lnTo>
                    <a:pt x="489" y="219"/>
                  </a:lnTo>
                  <a:lnTo>
                    <a:pt x="495" y="223"/>
                  </a:lnTo>
                  <a:lnTo>
                    <a:pt x="495" y="225"/>
                  </a:lnTo>
                  <a:lnTo>
                    <a:pt x="487" y="227"/>
                  </a:lnTo>
                  <a:lnTo>
                    <a:pt x="483" y="232"/>
                  </a:lnTo>
                  <a:lnTo>
                    <a:pt x="476" y="232"/>
                  </a:lnTo>
                  <a:lnTo>
                    <a:pt x="474" y="236"/>
                  </a:lnTo>
                  <a:lnTo>
                    <a:pt x="472" y="236"/>
                  </a:lnTo>
                  <a:lnTo>
                    <a:pt x="470" y="238"/>
                  </a:lnTo>
                  <a:lnTo>
                    <a:pt x="468" y="244"/>
                  </a:lnTo>
                  <a:lnTo>
                    <a:pt x="464" y="250"/>
                  </a:lnTo>
                  <a:lnTo>
                    <a:pt x="464" y="254"/>
                  </a:lnTo>
                  <a:lnTo>
                    <a:pt x="460" y="255"/>
                  </a:lnTo>
                  <a:lnTo>
                    <a:pt x="464" y="261"/>
                  </a:lnTo>
                  <a:lnTo>
                    <a:pt x="460" y="265"/>
                  </a:lnTo>
                  <a:lnTo>
                    <a:pt x="460" y="267"/>
                  </a:lnTo>
                  <a:lnTo>
                    <a:pt x="458" y="269"/>
                  </a:lnTo>
                  <a:lnTo>
                    <a:pt x="453" y="277"/>
                  </a:lnTo>
                  <a:lnTo>
                    <a:pt x="447" y="277"/>
                  </a:lnTo>
                  <a:lnTo>
                    <a:pt x="443" y="275"/>
                  </a:lnTo>
                  <a:lnTo>
                    <a:pt x="435" y="282"/>
                  </a:lnTo>
                  <a:lnTo>
                    <a:pt x="428" y="282"/>
                  </a:lnTo>
                  <a:lnTo>
                    <a:pt x="426" y="284"/>
                  </a:lnTo>
                  <a:lnTo>
                    <a:pt x="426" y="290"/>
                  </a:lnTo>
                  <a:lnTo>
                    <a:pt x="426" y="292"/>
                  </a:lnTo>
                  <a:lnTo>
                    <a:pt x="422" y="292"/>
                  </a:lnTo>
                  <a:lnTo>
                    <a:pt x="414" y="294"/>
                  </a:lnTo>
                  <a:lnTo>
                    <a:pt x="412" y="292"/>
                  </a:lnTo>
                  <a:lnTo>
                    <a:pt x="410" y="296"/>
                  </a:lnTo>
                  <a:lnTo>
                    <a:pt x="407" y="296"/>
                  </a:lnTo>
                  <a:lnTo>
                    <a:pt x="399" y="294"/>
                  </a:lnTo>
                  <a:lnTo>
                    <a:pt x="399" y="300"/>
                  </a:lnTo>
                  <a:lnTo>
                    <a:pt x="393" y="300"/>
                  </a:lnTo>
                  <a:lnTo>
                    <a:pt x="393" y="303"/>
                  </a:lnTo>
                  <a:lnTo>
                    <a:pt x="393" y="309"/>
                  </a:lnTo>
                  <a:lnTo>
                    <a:pt x="389" y="313"/>
                  </a:lnTo>
                  <a:lnTo>
                    <a:pt x="387" y="311"/>
                  </a:lnTo>
                  <a:lnTo>
                    <a:pt x="385" y="311"/>
                  </a:lnTo>
                  <a:lnTo>
                    <a:pt x="384" y="309"/>
                  </a:lnTo>
                  <a:lnTo>
                    <a:pt x="376" y="307"/>
                  </a:lnTo>
                  <a:lnTo>
                    <a:pt x="370" y="309"/>
                  </a:lnTo>
                  <a:lnTo>
                    <a:pt x="368" y="307"/>
                  </a:lnTo>
                  <a:lnTo>
                    <a:pt x="370" y="305"/>
                  </a:lnTo>
                  <a:lnTo>
                    <a:pt x="368" y="303"/>
                  </a:lnTo>
                  <a:lnTo>
                    <a:pt x="362" y="300"/>
                  </a:lnTo>
                  <a:lnTo>
                    <a:pt x="355" y="303"/>
                  </a:lnTo>
                  <a:lnTo>
                    <a:pt x="353" y="309"/>
                  </a:lnTo>
                  <a:lnTo>
                    <a:pt x="349" y="313"/>
                  </a:lnTo>
                  <a:lnTo>
                    <a:pt x="345" y="313"/>
                  </a:lnTo>
                  <a:lnTo>
                    <a:pt x="343" y="307"/>
                  </a:lnTo>
                  <a:lnTo>
                    <a:pt x="341" y="309"/>
                  </a:lnTo>
                  <a:lnTo>
                    <a:pt x="343" y="315"/>
                  </a:lnTo>
                  <a:lnTo>
                    <a:pt x="337" y="319"/>
                  </a:lnTo>
                  <a:lnTo>
                    <a:pt x="347" y="323"/>
                  </a:lnTo>
                  <a:lnTo>
                    <a:pt x="351" y="325"/>
                  </a:lnTo>
                  <a:lnTo>
                    <a:pt x="351" y="321"/>
                  </a:lnTo>
                  <a:lnTo>
                    <a:pt x="355" y="323"/>
                  </a:lnTo>
                  <a:lnTo>
                    <a:pt x="357" y="321"/>
                  </a:lnTo>
                  <a:lnTo>
                    <a:pt x="362" y="327"/>
                  </a:lnTo>
                  <a:lnTo>
                    <a:pt x="361" y="327"/>
                  </a:lnTo>
                  <a:lnTo>
                    <a:pt x="362" y="330"/>
                  </a:lnTo>
                  <a:lnTo>
                    <a:pt x="361" y="330"/>
                  </a:lnTo>
                  <a:lnTo>
                    <a:pt x="359" y="334"/>
                  </a:lnTo>
                  <a:lnTo>
                    <a:pt x="362" y="340"/>
                  </a:lnTo>
                  <a:lnTo>
                    <a:pt x="359" y="342"/>
                  </a:lnTo>
                  <a:lnTo>
                    <a:pt x="353" y="342"/>
                  </a:lnTo>
                  <a:lnTo>
                    <a:pt x="349" y="338"/>
                  </a:lnTo>
                  <a:lnTo>
                    <a:pt x="347" y="336"/>
                  </a:lnTo>
                  <a:lnTo>
                    <a:pt x="343" y="332"/>
                  </a:lnTo>
                  <a:lnTo>
                    <a:pt x="339" y="332"/>
                  </a:lnTo>
                  <a:lnTo>
                    <a:pt x="341" y="334"/>
                  </a:lnTo>
                  <a:lnTo>
                    <a:pt x="339" y="336"/>
                  </a:lnTo>
                  <a:lnTo>
                    <a:pt x="339" y="334"/>
                  </a:lnTo>
                  <a:lnTo>
                    <a:pt x="332" y="330"/>
                  </a:lnTo>
                  <a:lnTo>
                    <a:pt x="332" y="323"/>
                  </a:lnTo>
                  <a:lnTo>
                    <a:pt x="330" y="317"/>
                  </a:lnTo>
                  <a:lnTo>
                    <a:pt x="326" y="317"/>
                  </a:lnTo>
                  <a:lnTo>
                    <a:pt x="320" y="315"/>
                  </a:lnTo>
                  <a:lnTo>
                    <a:pt x="320" y="311"/>
                  </a:lnTo>
                  <a:lnTo>
                    <a:pt x="318" y="315"/>
                  </a:lnTo>
                  <a:lnTo>
                    <a:pt x="314" y="319"/>
                  </a:lnTo>
                  <a:lnTo>
                    <a:pt x="309" y="317"/>
                  </a:lnTo>
                  <a:lnTo>
                    <a:pt x="309" y="321"/>
                  </a:lnTo>
                  <a:lnTo>
                    <a:pt x="305" y="321"/>
                  </a:lnTo>
                  <a:lnTo>
                    <a:pt x="303" y="327"/>
                  </a:lnTo>
                  <a:lnTo>
                    <a:pt x="301" y="327"/>
                  </a:lnTo>
                  <a:lnTo>
                    <a:pt x="299" y="332"/>
                  </a:lnTo>
                  <a:lnTo>
                    <a:pt x="303" y="332"/>
                  </a:lnTo>
                  <a:lnTo>
                    <a:pt x="305" y="338"/>
                  </a:lnTo>
                  <a:lnTo>
                    <a:pt x="303" y="344"/>
                  </a:lnTo>
                  <a:lnTo>
                    <a:pt x="297" y="348"/>
                  </a:lnTo>
                  <a:lnTo>
                    <a:pt x="293" y="355"/>
                  </a:lnTo>
                  <a:lnTo>
                    <a:pt x="288" y="357"/>
                  </a:lnTo>
                  <a:lnTo>
                    <a:pt x="284" y="350"/>
                  </a:lnTo>
                  <a:lnTo>
                    <a:pt x="282" y="348"/>
                  </a:lnTo>
                  <a:lnTo>
                    <a:pt x="278" y="350"/>
                  </a:lnTo>
                  <a:lnTo>
                    <a:pt x="274" y="346"/>
                  </a:lnTo>
                  <a:lnTo>
                    <a:pt x="270" y="348"/>
                  </a:lnTo>
                  <a:lnTo>
                    <a:pt x="268" y="350"/>
                  </a:lnTo>
                  <a:lnTo>
                    <a:pt x="261" y="350"/>
                  </a:lnTo>
                  <a:lnTo>
                    <a:pt x="259" y="353"/>
                  </a:lnTo>
                  <a:lnTo>
                    <a:pt x="255" y="351"/>
                  </a:lnTo>
                  <a:lnTo>
                    <a:pt x="249" y="357"/>
                  </a:lnTo>
                  <a:lnTo>
                    <a:pt x="243" y="355"/>
                  </a:lnTo>
                  <a:lnTo>
                    <a:pt x="238" y="357"/>
                  </a:lnTo>
                  <a:lnTo>
                    <a:pt x="236" y="363"/>
                  </a:lnTo>
                  <a:lnTo>
                    <a:pt x="226" y="361"/>
                  </a:lnTo>
                  <a:lnTo>
                    <a:pt x="218" y="363"/>
                  </a:lnTo>
                  <a:lnTo>
                    <a:pt x="213" y="371"/>
                  </a:lnTo>
                  <a:lnTo>
                    <a:pt x="215" y="375"/>
                  </a:lnTo>
                  <a:lnTo>
                    <a:pt x="213" y="376"/>
                  </a:lnTo>
                  <a:lnTo>
                    <a:pt x="213" y="386"/>
                  </a:lnTo>
                  <a:lnTo>
                    <a:pt x="215" y="388"/>
                  </a:lnTo>
                  <a:lnTo>
                    <a:pt x="215" y="394"/>
                  </a:lnTo>
                  <a:lnTo>
                    <a:pt x="213" y="400"/>
                  </a:lnTo>
                  <a:lnTo>
                    <a:pt x="205" y="403"/>
                  </a:lnTo>
                  <a:lnTo>
                    <a:pt x="203" y="400"/>
                  </a:lnTo>
                  <a:lnTo>
                    <a:pt x="199" y="401"/>
                  </a:lnTo>
                  <a:lnTo>
                    <a:pt x="190" y="400"/>
                  </a:lnTo>
                  <a:lnTo>
                    <a:pt x="188" y="401"/>
                  </a:lnTo>
                  <a:lnTo>
                    <a:pt x="178" y="405"/>
                  </a:lnTo>
                  <a:lnTo>
                    <a:pt x="180" y="411"/>
                  </a:lnTo>
                  <a:lnTo>
                    <a:pt x="180" y="415"/>
                  </a:lnTo>
                  <a:lnTo>
                    <a:pt x="178" y="415"/>
                  </a:lnTo>
                  <a:lnTo>
                    <a:pt x="176" y="411"/>
                  </a:lnTo>
                  <a:lnTo>
                    <a:pt x="170" y="409"/>
                  </a:lnTo>
                  <a:lnTo>
                    <a:pt x="172" y="417"/>
                  </a:lnTo>
                  <a:lnTo>
                    <a:pt x="167" y="423"/>
                  </a:lnTo>
                  <a:lnTo>
                    <a:pt x="161" y="424"/>
                  </a:lnTo>
                  <a:lnTo>
                    <a:pt x="155" y="423"/>
                  </a:lnTo>
                  <a:lnTo>
                    <a:pt x="151" y="417"/>
                  </a:lnTo>
                  <a:lnTo>
                    <a:pt x="147" y="415"/>
                  </a:lnTo>
                  <a:lnTo>
                    <a:pt x="140" y="421"/>
                  </a:lnTo>
                  <a:lnTo>
                    <a:pt x="136" y="419"/>
                  </a:lnTo>
                  <a:lnTo>
                    <a:pt x="130" y="417"/>
                  </a:lnTo>
                  <a:lnTo>
                    <a:pt x="124" y="417"/>
                  </a:lnTo>
                  <a:lnTo>
                    <a:pt x="117" y="421"/>
                  </a:lnTo>
                  <a:lnTo>
                    <a:pt x="115" y="424"/>
                  </a:lnTo>
                  <a:lnTo>
                    <a:pt x="109" y="423"/>
                  </a:lnTo>
                  <a:lnTo>
                    <a:pt x="109" y="426"/>
                  </a:lnTo>
                  <a:lnTo>
                    <a:pt x="107" y="432"/>
                  </a:lnTo>
                  <a:lnTo>
                    <a:pt x="99" y="436"/>
                  </a:lnTo>
                  <a:lnTo>
                    <a:pt x="101" y="438"/>
                  </a:lnTo>
                  <a:lnTo>
                    <a:pt x="99" y="442"/>
                  </a:lnTo>
                  <a:lnTo>
                    <a:pt x="96" y="442"/>
                  </a:lnTo>
                  <a:lnTo>
                    <a:pt x="94" y="444"/>
                  </a:lnTo>
                  <a:lnTo>
                    <a:pt x="88" y="442"/>
                  </a:lnTo>
                  <a:lnTo>
                    <a:pt x="86" y="436"/>
                  </a:lnTo>
                  <a:lnTo>
                    <a:pt x="84" y="436"/>
                  </a:lnTo>
                  <a:lnTo>
                    <a:pt x="82" y="440"/>
                  </a:lnTo>
                  <a:lnTo>
                    <a:pt x="78" y="438"/>
                  </a:lnTo>
                  <a:lnTo>
                    <a:pt x="75" y="438"/>
                  </a:lnTo>
                  <a:lnTo>
                    <a:pt x="69" y="436"/>
                  </a:lnTo>
                  <a:lnTo>
                    <a:pt x="65" y="438"/>
                  </a:lnTo>
                  <a:lnTo>
                    <a:pt x="61" y="440"/>
                  </a:lnTo>
                  <a:lnTo>
                    <a:pt x="51" y="436"/>
                  </a:lnTo>
                  <a:lnTo>
                    <a:pt x="44" y="438"/>
                  </a:lnTo>
                  <a:lnTo>
                    <a:pt x="40" y="434"/>
                  </a:lnTo>
                  <a:lnTo>
                    <a:pt x="36" y="434"/>
                  </a:lnTo>
                  <a:lnTo>
                    <a:pt x="28" y="434"/>
                  </a:lnTo>
                  <a:close/>
                </a:path>
              </a:pathLst>
            </a:custGeom>
            <a:solidFill>
              <a:schemeClr val="accent3"/>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3" name="Freeform 20">
              <a:extLst>
                <a:ext uri="{FF2B5EF4-FFF2-40B4-BE49-F238E27FC236}">
                  <a16:creationId xmlns:a16="http://schemas.microsoft.com/office/drawing/2014/main" id="{4A06039B-2FE2-454F-ADC4-BA88A530AC36}"/>
                </a:ext>
              </a:extLst>
            </p:cNvPr>
            <p:cNvSpPr>
              <a:spLocks/>
            </p:cNvSpPr>
            <p:nvPr/>
          </p:nvSpPr>
          <p:spPr bwMode="gray">
            <a:xfrm>
              <a:off x="5500689" y="3440114"/>
              <a:ext cx="722313" cy="1087438"/>
            </a:xfrm>
            <a:custGeom>
              <a:avLst/>
              <a:gdLst>
                <a:gd name="T0" fmla="*/ 391 w 455"/>
                <a:gd name="T1" fmla="*/ 194 h 685"/>
                <a:gd name="T2" fmla="*/ 361 w 455"/>
                <a:gd name="T3" fmla="*/ 223 h 685"/>
                <a:gd name="T4" fmla="*/ 361 w 455"/>
                <a:gd name="T5" fmla="*/ 246 h 685"/>
                <a:gd name="T6" fmla="*/ 353 w 455"/>
                <a:gd name="T7" fmla="*/ 269 h 685"/>
                <a:gd name="T8" fmla="*/ 341 w 455"/>
                <a:gd name="T9" fmla="*/ 299 h 685"/>
                <a:gd name="T10" fmla="*/ 322 w 455"/>
                <a:gd name="T11" fmla="*/ 321 h 685"/>
                <a:gd name="T12" fmla="*/ 295 w 455"/>
                <a:gd name="T13" fmla="*/ 319 h 685"/>
                <a:gd name="T14" fmla="*/ 261 w 455"/>
                <a:gd name="T15" fmla="*/ 324 h 685"/>
                <a:gd name="T16" fmla="*/ 236 w 455"/>
                <a:gd name="T17" fmla="*/ 351 h 685"/>
                <a:gd name="T18" fmla="*/ 230 w 455"/>
                <a:gd name="T19" fmla="*/ 388 h 685"/>
                <a:gd name="T20" fmla="*/ 236 w 455"/>
                <a:gd name="T21" fmla="*/ 424 h 685"/>
                <a:gd name="T22" fmla="*/ 267 w 455"/>
                <a:gd name="T23" fmla="*/ 451 h 685"/>
                <a:gd name="T24" fmla="*/ 251 w 455"/>
                <a:gd name="T25" fmla="*/ 459 h 685"/>
                <a:gd name="T26" fmla="*/ 211 w 455"/>
                <a:gd name="T27" fmla="*/ 447 h 685"/>
                <a:gd name="T28" fmla="*/ 176 w 455"/>
                <a:gd name="T29" fmla="*/ 445 h 685"/>
                <a:gd name="T30" fmla="*/ 196 w 455"/>
                <a:gd name="T31" fmla="*/ 495 h 685"/>
                <a:gd name="T32" fmla="*/ 205 w 455"/>
                <a:gd name="T33" fmla="*/ 516 h 685"/>
                <a:gd name="T34" fmla="*/ 209 w 455"/>
                <a:gd name="T35" fmla="*/ 547 h 685"/>
                <a:gd name="T36" fmla="*/ 196 w 455"/>
                <a:gd name="T37" fmla="*/ 586 h 685"/>
                <a:gd name="T38" fmla="*/ 173 w 455"/>
                <a:gd name="T39" fmla="*/ 607 h 685"/>
                <a:gd name="T40" fmla="*/ 132 w 455"/>
                <a:gd name="T41" fmla="*/ 643 h 685"/>
                <a:gd name="T42" fmla="*/ 115 w 455"/>
                <a:gd name="T43" fmla="*/ 684 h 685"/>
                <a:gd name="T44" fmla="*/ 77 w 455"/>
                <a:gd name="T45" fmla="*/ 662 h 685"/>
                <a:gd name="T46" fmla="*/ 65 w 455"/>
                <a:gd name="T47" fmla="*/ 639 h 685"/>
                <a:gd name="T48" fmla="*/ 48 w 455"/>
                <a:gd name="T49" fmla="*/ 618 h 685"/>
                <a:gd name="T50" fmla="*/ 9 w 455"/>
                <a:gd name="T51" fmla="*/ 599 h 685"/>
                <a:gd name="T52" fmla="*/ 2 w 455"/>
                <a:gd name="T53" fmla="*/ 555 h 685"/>
                <a:gd name="T54" fmla="*/ 36 w 455"/>
                <a:gd name="T55" fmla="*/ 511 h 685"/>
                <a:gd name="T56" fmla="*/ 65 w 455"/>
                <a:gd name="T57" fmla="*/ 515 h 685"/>
                <a:gd name="T58" fmla="*/ 52 w 455"/>
                <a:gd name="T59" fmla="*/ 488 h 685"/>
                <a:gd name="T60" fmla="*/ 19 w 455"/>
                <a:gd name="T61" fmla="*/ 468 h 685"/>
                <a:gd name="T62" fmla="*/ 34 w 455"/>
                <a:gd name="T63" fmla="*/ 447 h 685"/>
                <a:gd name="T64" fmla="*/ 19 w 455"/>
                <a:gd name="T65" fmla="*/ 420 h 685"/>
                <a:gd name="T66" fmla="*/ 44 w 455"/>
                <a:gd name="T67" fmla="*/ 392 h 685"/>
                <a:gd name="T68" fmla="*/ 38 w 455"/>
                <a:gd name="T69" fmla="*/ 369 h 685"/>
                <a:gd name="T70" fmla="*/ 27 w 455"/>
                <a:gd name="T71" fmla="*/ 324 h 685"/>
                <a:gd name="T72" fmla="*/ 59 w 455"/>
                <a:gd name="T73" fmla="*/ 286 h 685"/>
                <a:gd name="T74" fmla="*/ 69 w 455"/>
                <a:gd name="T75" fmla="*/ 255 h 685"/>
                <a:gd name="T76" fmla="*/ 80 w 455"/>
                <a:gd name="T77" fmla="*/ 217 h 685"/>
                <a:gd name="T78" fmla="*/ 100 w 455"/>
                <a:gd name="T79" fmla="*/ 201 h 685"/>
                <a:gd name="T80" fmla="*/ 117 w 455"/>
                <a:gd name="T81" fmla="*/ 178 h 685"/>
                <a:gd name="T82" fmla="*/ 138 w 455"/>
                <a:gd name="T83" fmla="*/ 178 h 685"/>
                <a:gd name="T84" fmla="*/ 161 w 455"/>
                <a:gd name="T85" fmla="*/ 167 h 685"/>
                <a:gd name="T86" fmla="*/ 174 w 455"/>
                <a:gd name="T87" fmla="*/ 134 h 685"/>
                <a:gd name="T88" fmla="*/ 217 w 455"/>
                <a:gd name="T89" fmla="*/ 103 h 685"/>
                <a:gd name="T90" fmla="*/ 201 w 455"/>
                <a:gd name="T91" fmla="*/ 78 h 685"/>
                <a:gd name="T92" fmla="*/ 174 w 455"/>
                <a:gd name="T93" fmla="*/ 61 h 685"/>
                <a:gd name="T94" fmla="*/ 159 w 455"/>
                <a:gd name="T95" fmla="*/ 48 h 685"/>
                <a:gd name="T96" fmla="*/ 161 w 455"/>
                <a:gd name="T97" fmla="*/ 25 h 685"/>
                <a:gd name="T98" fmla="*/ 182 w 455"/>
                <a:gd name="T99" fmla="*/ 32 h 685"/>
                <a:gd name="T100" fmla="*/ 228 w 455"/>
                <a:gd name="T101" fmla="*/ 30 h 685"/>
                <a:gd name="T102" fmla="*/ 270 w 455"/>
                <a:gd name="T103" fmla="*/ 27 h 685"/>
                <a:gd name="T104" fmla="*/ 324 w 455"/>
                <a:gd name="T105" fmla="*/ 23 h 685"/>
                <a:gd name="T106" fmla="*/ 355 w 455"/>
                <a:gd name="T107" fmla="*/ 2 h 685"/>
                <a:gd name="T108" fmla="*/ 382 w 455"/>
                <a:gd name="T109" fmla="*/ 30 h 685"/>
                <a:gd name="T110" fmla="*/ 407 w 455"/>
                <a:gd name="T111" fmla="*/ 52 h 685"/>
                <a:gd name="T112" fmla="*/ 416 w 455"/>
                <a:gd name="T113" fmla="*/ 78 h 685"/>
                <a:gd name="T114" fmla="*/ 426 w 455"/>
                <a:gd name="T115" fmla="*/ 123 h 685"/>
                <a:gd name="T116" fmla="*/ 449 w 455"/>
                <a:gd name="T117" fmla="*/ 123 h 685"/>
                <a:gd name="T118" fmla="*/ 426 w 455"/>
                <a:gd name="T119" fmla="*/ 159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5" h="685">
                  <a:moveTo>
                    <a:pt x="411" y="171"/>
                  </a:moveTo>
                  <a:lnTo>
                    <a:pt x="409" y="173"/>
                  </a:lnTo>
                  <a:lnTo>
                    <a:pt x="409" y="175"/>
                  </a:lnTo>
                  <a:lnTo>
                    <a:pt x="416" y="176"/>
                  </a:lnTo>
                  <a:lnTo>
                    <a:pt x="416" y="180"/>
                  </a:lnTo>
                  <a:lnTo>
                    <a:pt x="412" y="188"/>
                  </a:lnTo>
                  <a:lnTo>
                    <a:pt x="409" y="190"/>
                  </a:lnTo>
                  <a:lnTo>
                    <a:pt x="405" y="190"/>
                  </a:lnTo>
                  <a:lnTo>
                    <a:pt x="397" y="192"/>
                  </a:lnTo>
                  <a:lnTo>
                    <a:pt x="391" y="194"/>
                  </a:lnTo>
                  <a:lnTo>
                    <a:pt x="391" y="198"/>
                  </a:lnTo>
                  <a:lnTo>
                    <a:pt x="389" y="198"/>
                  </a:lnTo>
                  <a:lnTo>
                    <a:pt x="386" y="201"/>
                  </a:lnTo>
                  <a:lnTo>
                    <a:pt x="384" y="201"/>
                  </a:lnTo>
                  <a:lnTo>
                    <a:pt x="378" y="201"/>
                  </a:lnTo>
                  <a:lnTo>
                    <a:pt x="372" y="205"/>
                  </a:lnTo>
                  <a:lnTo>
                    <a:pt x="368" y="211"/>
                  </a:lnTo>
                  <a:lnTo>
                    <a:pt x="363" y="217"/>
                  </a:lnTo>
                  <a:lnTo>
                    <a:pt x="366" y="223"/>
                  </a:lnTo>
                  <a:lnTo>
                    <a:pt x="361" y="223"/>
                  </a:lnTo>
                  <a:lnTo>
                    <a:pt x="361" y="224"/>
                  </a:lnTo>
                  <a:lnTo>
                    <a:pt x="363" y="228"/>
                  </a:lnTo>
                  <a:lnTo>
                    <a:pt x="361" y="232"/>
                  </a:lnTo>
                  <a:lnTo>
                    <a:pt x="363" y="234"/>
                  </a:lnTo>
                  <a:lnTo>
                    <a:pt x="363" y="236"/>
                  </a:lnTo>
                  <a:lnTo>
                    <a:pt x="366" y="238"/>
                  </a:lnTo>
                  <a:lnTo>
                    <a:pt x="364" y="242"/>
                  </a:lnTo>
                  <a:lnTo>
                    <a:pt x="366" y="246"/>
                  </a:lnTo>
                  <a:lnTo>
                    <a:pt x="364" y="248"/>
                  </a:lnTo>
                  <a:lnTo>
                    <a:pt x="361" y="246"/>
                  </a:lnTo>
                  <a:lnTo>
                    <a:pt x="359" y="248"/>
                  </a:lnTo>
                  <a:lnTo>
                    <a:pt x="361" y="251"/>
                  </a:lnTo>
                  <a:lnTo>
                    <a:pt x="359" y="251"/>
                  </a:lnTo>
                  <a:lnTo>
                    <a:pt x="355" y="248"/>
                  </a:lnTo>
                  <a:lnTo>
                    <a:pt x="353" y="251"/>
                  </a:lnTo>
                  <a:lnTo>
                    <a:pt x="355" y="257"/>
                  </a:lnTo>
                  <a:lnTo>
                    <a:pt x="351" y="261"/>
                  </a:lnTo>
                  <a:lnTo>
                    <a:pt x="347" y="261"/>
                  </a:lnTo>
                  <a:lnTo>
                    <a:pt x="347" y="263"/>
                  </a:lnTo>
                  <a:lnTo>
                    <a:pt x="353" y="269"/>
                  </a:lnTo>
                  <a:lnTo>
                    <a:pt x="351" y="271"/>
                  </a:lnTo>
                  <a:lnTo>
                    <a:pt x="349" y="267"/>
                  </a:lnTo>
                  <a:lnTo>
                    <a:pt x="343" y="271"/>
                  </a:lnTo>
                  <a:lnTo>
                    <a:pt x="340" y="274"/>
                  </a:lnTo>
                  <a:lnTo>
                    <a:pt x="341" y="276"/>
                  </a:lnTo>
                  <a:lnTo>
                    <a:pt x="338" y="282"/>
                  </a:lnTo>
                  <a:lnTo>
                    <a:pt x="340" y="288"/>
                  </a:lnTo>
                  <a:lnTo>
                    <a:pt x="343" y="294"/>
                  </a:lnTo>
                  <a:lnTo>
                    <a:pt x="345" y="299"/>
                  </a:lnTo>
                  <a:lnTo>
                    <a:pt x="341" y="299"/>
                  </a:lnTo>
                  <a:lnTo>
                    <a:pt x="336" y="297"/>
                  </a:lnTo>
                  <a:lnTo>
                    <a:pt x="332" y="296"/>
                  </a:lnTo>
                  <a:lnTo>
                    <a:pt x="330" y="296"/>
                  </a:lnTo>
                  <a:lnTo>
                    <a:pt x="328" y="303"/>
                  </a:lnTo>
                  <a:lnTo>
                    <a:pt x="330" y="305"/>
                  </a:lnTo>
                  <a:lnTo>
                    <a:pt x="330" y="307"/>
                  </a:lnTo>
                  <a:lnTo>
                    <a:pt x="326" y="307"/>
                  </a:lnTo>
                  <a:lnTo>
                    <a:pt x="324" y="309"/>
                  </a:lnTo>
                  <a:lnTo>
                    <a:pt x="324" y="317"/>
                  </a:lnTo>
                  <a:lnTo>
                    <a:pt x="322" y="321"/>
                  </a:lnTo>
                  <a:lnTo>
                    <a:pt x="315" y="326"/>
                  </a:lnTo>
                  <a:lnTo>
                    <a:pt x="309" y="324"/>
                  </a:lnTo>
                  <a:lnTo>
                    <a:pt x="301" y="321"/>
                  </a:lnTo>
                  <a:lnTo>
                    <a:pt x="299" y="322"/>
                  </a:lnTo>
                  <a:lnTo>
                    <a:pt x="301" y="319"/>
                  </a:lnTo>
                  <a:lnTo>
                    <a:pt x="299" y="319"/>
                  </a:lnTo>
                  <a:lnTo>
                    <a:pt x="299" y="317"/>
                  </a:lnTo>
                  <a:lnTo>
                    <a:pt x="297" y="319"/>
                  </a:lnTo>
                  <a:lnTo>
                    <a:pt x="297" y="317"/>
                  </a:lnTo>
                  <a:lnTo>
                    <a:pt x="295" y="319"/>
                  </a:lnTo>
                  <a:lnTo>
                    <a:pt x="290" y="319"/>
                  </a:lnTo>
                  <a:lnTo>
                    <a:pt x="288" y="321"/>
                  </a:lnTo>
                  <a:lnTo>
                    <a:pt x="284" y="319"/>
                  </a:lnTo>
                  <a:lnTo>
                    <a:pt x="278" y="321"/>
                  </a:lnTo>
                  <a:lnTo>
                    <a:pt x="274" y="319"/>
                  </a:lnTo>
                  <a:lnTo>
                    <a:pt x="267" y="319"/>
                  </a:lnTo>
                  <a:lnTo>
                    <a:pt x="263" y="321"/>
                  </a:lnTo>
                  <a:lnTo>
                    <a:pt x="261" y="321"/>
                  </a:lnTo>
                  <a:lnTo>
                    <a:pt x="263" y="322"/>
                  </a:lnTo>
                  <a:lnTo>
                    <a:pt x="261" y="324"/>
                  </a:lnTo>
                  <a:lnTo>
                    <a:pt x="263" y="326"/>
                  </a:lnTo>
                  <a:lnTo>
                    <a:pt x="259" y="330"/>
                  </a:lnTo>
                  <a:lnTo>
                    <a:pt x="261" y="332"/>
                  </a:lnTo>
                  <a:lnTo>
                    <a:pt x="253" y="340"/>
                  </a:lnTo>
                  <a:lnTo>
                    <a:pt x="253" y="344"/>
                  </a:lnTo>
                  <a:lnTo>
                    <a:pt x="245" y="347"/>
                  </a:lnTo>
                  <a:lnTo>
                    <a:pt x="245" y="353"/>
                  </a:lnTo>
                  <a:lnTo>
                    <a:pt x="242" y="355"/>
                  </a:lnTo>
                  <a:lnTo>
                    <a:pt x="238" y="355"/>
                  </a:lnTo>
                  <a:lnTo>
                    <a:pt x="236" y="351"/>
                  </a:lnTo>
                  <a:lnTo>
                    <a:pt x="232" y="351"/>
                  </a:lnTo>
                  <a:lnTo>
                    <a:pt x="230" y="349"/>
                  </a:lnTo>
                  <a:lnTo>
                    <a:pt x="228" y="353"/>
                  </a:lnTo>
                  <a:lnTo>
                    <a:pt x="228" y="363"/>
                  </a:lnTo>
                  <a:lnTo>
                    <a:pt x="230" y="369"/>
                  </a:lnTo>
                  <a:lnTo>
                    <a:pt x="232" y="378"/>
                  </a:lnTo>
                  <a:lnTo>
                    <a:pt x="228" y="380"/>
                  </a:lnTo>
                  <a:lnTo>
                    <a:pt x="230" y="382"/>
                  </a:lnTo>
                  <a:lnTo>
                    <a:pt x="228" y="386"/>
                  </a:lnTo>
                  <a:lnTo>
                    <a:pt x="230" y="388"/>
                  </a:lnTo>
                  <a:lnTo>
                    <a:pt x="234" y="390"/>
                  </a:lnTo>
                  <a:lnTo>
                    <a:pt x="234" y="395"/>
                  </a:lnTo>
                  <a:lnTo>
                    <a:pt x="236" y="394"/>
                  </a:lnTo>
                  <a:lnTo>
                    <a:pt x="238" y="399"/>
                  </a:lnTo>
                  <a:lnTo>
                    <a:pt x="236" y="401"/>
                  </a:lnTo>
                  <a:lnTo>
                    <a:pt x="234" y="409"/>
                  </a:lnTo>
                  <a:lnTo>
                    <a:pt x="238" y="413"/>
                  </a:lnTo>
                  <a:lnTo>
                    <a:pt x="238" y="415"/>
                  </a:lnTo>
                  <a:lnTo>
                    <a:pt x="236" y="417"/>
                  </a:lnTo>
                  <a:lnTo>
                    <a:pt x="236" y="424"/>
                  </a:lnTo>
                  <a:lnTo>
                    <a:pt x="232" y="430"/>
                  </a:lnTo>
                  <a:lnTo>
                    <a:pt x="234" y="434"/>
                  </a:lnTo>
                  <a:lnTo>
                    <a:pt x="234" y="440"/>
                  </a:lnTo>
                  <a:lnTo>
                    <a:pt x="242" y="442"/>
                  </a:lnTo>
                  <a:lnTo>
                    <a:pt x="245" y="443"/>
                  </a:lnTo>
                  <a:lnTo>
                    <a:pt x="249" y="443"/>
                  </a:lnTo>
                  <a:lnTo>
                    <a:pt x="255" y="447"/>
                  </a:lnTo>
                  <a:lnTo>
                    <a:pt x="259" y="445"/>
                  </a:lnTo>
                  <a:lnTo>
                    <a:pt x="267" y="445"/>
                  </a:lnTo>
                  <a:lnTo>
                    <a:pt x="267" y="451"/>
                  </a:lnTo>
                  <a:lnTo>
                    <a:pt x="267" y="457"/>
                  </a:lnTo>
                  <a:lnTo>
                    <a:pt x="268" y="459"/>
                  </a:lnTo>
                  <a:lnTo>
                    <a:pt x="267" y="465"/>
                  </a:lnTo>
                  <a:lnTo>
                    <a:pt x="261" y="465"/>
                  </a:lnTo>
                  <a:lnTo>
                    <a:pt x="257" y="468"/>
                  </a:lnTo>
                  <a:lnTo>
                    <a:pt x="253" y="470"/>
                  </a:lnTo>
                  <a:lnTo>
                    <a:pt x="251" y="468"/>
                  </a:lnTo>
                  <a:lnTo>
                    <a:pt x="251" y="465"/>
                  </a:lnTo>
                  <a:lnTo>
                    <a:pt x="255" y="461"/>
                  </a:lnTo>
                  <a:lnTo>
                    <a:pt x="251" y="459"/>
                  </a:lnTo>
                  <a:lnTo>
                    <a:pt x="249" y="461"/>
                  </a:lnTo>
                  <a:lnTo>
                    <a:pt x="244" y="457"/>
                  </a:lnTo>
                  <a:lnTo>
                    <a:pt x="238" y="455"/>
                  </a:lnTo>
                  <a:lnTo>
                    <a:pt x="232" y="459"/>
                  </a:lnTo>
                  <a:lnTo>
                    <a:pt x="226" y="465"/>
                  </a:lnTo>
                  <a:lnTo>
                    <a:pt x="222" y="459"/>
                  </a:lnTo>
                  <a:lnTo>
                    <a:pt x="221" y="451"/>
                  </a:lnTo>
                  <a:lnTo>
                    <a:pt x="219" y="449"/>
                  </a:lnTo>
                  <a:lnTo>
                    <a:pt x="217" y="445"/>
                  </a:lnTo>
                  <a:lnTo>
                    <a:pt x="211" y="447"/>
                  </a:lnTo>
                  <a:lnTo>
                    <a:pt x="209" y="445"/>
                  </a:lnTo>
                  <a:lnTo>
                    <a:pt x="203" y="443"/>
                  </a:lnTo>
                  <a:lnTo>
                    <a:pt x="197" y="440"/>
                  </a:lnTo>
                  <a:lnTo>
                    <a:pt x="194" y="443"/>
                  </a:lnTo>
                  <a:lnTo>
                    <a:pt x="192" y="442"/>
                  </a:lnTo>
                  <a:lnTo>
                    <a:pt x="190" y="440"/>
                  </a:lnTo>
                  <a:lnTo>
                    <a:pt x="186" y="434"/>
                  </a:lnTo>
                  <a:lnTo>
                    <a:pt x="180" y="442"/>
                  </a:lnTo>
                  <a:lnTo>
                    <a:pt x="176" y="442"/>
                  </a:lnTo>
                  <a:lnTo>
                    <a:pt x="176" y="445"/>
                  </a:lnTo>
                  <a:lnTo>
                    <a:pt x="174" y="451"/>
                  </a:lnTo>
                  <a:lnTo>
                    <a:pt x="174" y="455"/>
                  </a:lnTo>
                  <a:lnTo>
                    <a:pt x="178" y="457"/>
                  </a:lnTo>
                  <a:lnTo>
                    <a:pt x="186" y="461"/>
                  </a:lnTo>
                  <a:lnTo>
                    <a:pt x="188" y="468"/>
                  </a:lnTo>
                  <a:lnTo>
                    <a:pt x="197" y="468"/>
                  </a:lnTo>
                  <a:lnTo>
                    <a:pt x="194" y="478"/>
                  </a:lnTo>
                  <a:lnTo>
                    <a:pt x="196" y="486"/>
                  </a:lnTo>
                  <a:lnTo>
                    <a:pt x="194" y="490"/>
                  </a:lnTo>
                  <a:lnTo>
                    <a:pt x="196" y="495"/>
                  </a:lnTo>
                  <a:lnTo>
                    <a:pt x="192" y="499"/>
                  </a:lnTo>
                  <a:lnTo>
                    <a:pt x="196" y="499"/>
                  </a:lnTo>
                  <a:lnTo>
                    <a:pt x="197" y="497"/>
                  </a:lnTo>
                  <a:lnTo>
                    <a:pt x="199" y="499"/>
                  </a:lnTo>
                  <a:lnTo>
                    <a:pt x="199" y="503"/>
                  </a:lnTo>
                  <a:lnTo>
                    <a:pt x="201" y="507"/>
                  </a:lnTo>
                  <a:lnTo>
                    <a:pt x="209" y="509"/>
                  </a:lnTo>
                  <a:lnTo>
                    <a:pt x="207" y="515"/>
                  </a:lnTo>
                  <a:lnTo>
                    <a:pt x="205" y="515"/>
                  </a:lnTo>
                  <a:lnTo>
                    <a:pt x="205" y="516"/>
                  </a:lnTo>
                  <a:lnTo>
                    <a:pt x="209" y="518"/>
                  </a:lnTo>
                  <a:lnTo>
                    <a:pt x="205" y="524"/>
                  </a:lnTo>
                  <a:lnTo>
                    <a:pt x="205" y="532"/>
                  </a:lnTo>
                  <a:lnTo>
                    <a:pt x="209" y="536"/>
                  </a:lnTo>
                  <a:lnTo>
                    <a:pt x="205" y="539"/>
                  </a:lnTo>
                  <a:lnTo>
                    <a:pt x="207" y="541"/>
                  </a:lnTo>
                  <a:lnTo>
                    <a:pt x="207" y="539"/>
                  </a:lnTo>
                  <a:lnTo>
                    <a:pt x="211" y="541"/>
                  </a:lnTo>
                  <a:lnTo>
                    <a:pt x="211" y="543"/>
                  </a:lnTo>
                  <a:lnTo>
                    <a:pt x="209" y="547"/>
                  </a:lnTo>
                  <a:lnTo>
                    <a:pt x="215" y="555"/>
                  </a:lnTo>
                  <a:lnTo>
                    <a:pt x="215" y="563"/>
                  </a:lnTo>
                  <a:lnTo>
                    <a:pt x="211" y="563"/>
                  </a:lnTo>
                  <a:lnTo>
                    <a:pt x="207" y="564"/>
                  </a:lnTo>
                  <a:lnTo>
                    <a:pt x="205" y="568"/>
                  </a:lnTo>
                  <a:lnTo>
                    <a:pt x="205" y="576"/>
                  </a:lnTo>
                  <a:lnTo>
                    <a:pt x="201" y="578"/>
                  </a:lnTo>
                  <a:lnTo>
                    <a:pt x="201" y="580"/>
                  </a:lnTo>
                  <a:lnTo>
                    <a:pt x="197" y="580"/>
                  </a:lnTo>
                  <a:lnTo>
                    <a:pt x="196" y="586"/>
                  </a:lnTo>
                  <a:lnTo>
                    <a:pt x="190" y="584"/>
                  </a:lnTo>
                  <a:lnTo>
                    <a:pt x="182" y="588"/>
                  </a:lnTo>
                  <a:lnTo>
                    <a:pt x="182" y="593"/>
                  </a:lnTo>
                  <a:lnTo>
                    <a:pt x="176" y="591"/>
                  </a:lnTo>
                  <a:lnTo>
                    <a:pt x="176" y="595"/>
                  </a:lnTo>
                  <a:lnTo>
                    <a:pt x="182" y="599"/>
                  </a:lnTo>
                  <a:lnTo>
                    <a:pt x="182" y="601"/>
                  </a:lnTo>
                  <a:lnTo>
                    <a:pt x="178" y="601"/>
                  </a:lnTo>
                  <a:lnTo>
                    <a:pt x="176" y="605"/>
                  </a:lnTo>
                  <a:lnTo>
                    <a:pt x="173" y="607"/>
                  </a:lnTo>
                  <a:lnTo>
                    <a:pt x="171" y="611"/>
                  </a:lnTo>
                  <a:lnTo>
                    <a:pt x="167" y="612"/>
                  </a:lnTo>
                  <a:lnTo>
                    <a:pt x="161" y="618"/>
                  </a:lnTo>
                  <a:lnTo>
                    <a:pt x="159" y="624"/>
                  </a:lnTo>
                  <a:lnTo>
                    <a:pt x="149" y="626"/>
                  </a:lnTo>
                  <a:lnTo>
                    <a:pt x="149" y="628"/>
                  </a:lnTo>
                  <a:lnTo>
                    <a:pt x="144" y="630"/>
                  </a:lnTo>
                  <a:lnTo>
                    <a:pt x="140" y="634"/>
                  </a:lnTo>
                  <a:lnTo>
                    <a:pt x="136" y="634"/>
                  </a:lnTo>
                  <a:lnTo>
                    <a:pt x="132" y="643"/>
                  </a:lnTo>
                  <a:lnTo>
                    <a:pt x="134" y="647"/>
                  </a:lnTo>
                  <a:lnTo>
                    <a:pt x="134" y="653"/>
                  </a:lnTo>
                  <a:lnTo>
                    <a:pt x="130" y="657"/>
                  </a:lnTo>
                  <a:lnTo>
                    <a:pt x="130" y="666"/>
                  </a:lnTo>
                  <a:lnTo>
                    <a:pt x="126" y="670"/>
                  </a:lnTo>
                  <a:lnTo>
                    <a:pt x="126" y="676"/>
                  </a:lnTo>
                  <a:lnTo>
                    <a:pt x="121" y="674"/>
                  </a:lnTo>
                  <a:lnTo>
                    <a:pt x="121" y="684"/>
                  </a:lnTo>
                  <a:lnTo>
                    <a:pt x="119" y="685"/>
                  </a:lnTo>
                  <a:lnTo>
                    <a:pt x="115" y="684"/>
                  </a:lnTo>
                  <a:lnTo>
                    <a:pt x="105" y="684"/>
                  </a:lnTo>
                  <a:lnTo>
                    <a:pt x="103" y="682"/>
                  </a:lnTo>
                  <a:lnTo>
                    <a:pt x="96" y="678"/>
                  </a:lnTo>
                  <a:lnTo>
                    <a:pt x="88" y="684"/>
                  </a:lnTo>
                  <a:lnTo>
                    <a:pt x="86" y="685"/>
                  </a:lnTo>
                  <a:lnTo>
                    <a:pt x="78" y="685"/>
                  </a:lnTo>
                  <a:lnTo>
                    <a:pt x="77" y="680"/>
                  </a:lnTo>
                  <a:lnTo>
                    <a:pt x="78" y="672"/>
                  </a:lnTo>
                  <a:lnTo>
                    <a:pt x="77" y="666"/>
                  </a:lnTo>
                  <a:lnTo>
                    <a:pt x="77" y="662"/>
                  </a:lnTo>
                  <a:lnTo>
                    <a:pt x="75" y="659"/>
                  </a:lnTo>
                  <a:lnTo>
                    <a:pt x="73" y="653"/>
                  </a:lnTo>
                  <a:lnTo>
                    <a:pt x="75" y="649"/>
                  </a:lnTo>
                  <a:lnTo>
                    <a:pt x="77" y="645"/>
                  </a:lnTo>
                  <a:lnTo>
                    <a:pt x="77" y="643"/>
                  </a:lnTo>
                  <a:lnTo>
                    <a:pt x="71" y="647"/>
                  </a:lnTo>
                  <a:lnTo>
                    <a:pt x="65" y="649"/>
                  </a:lnTo>
                  <a:lnTo>
                    <a:pt x="63" y="641"/>
                  </a:lnTo>
                  <a:lnTo>
                    <a:pt x="65" y="641"/>
                  </a:lnTo>
                  <a:lnTo>
                    <a:pt x="65" y="639"/>
                  </a:lnTo>
                  <a:lnTo>
                    <a:pt x="61" y="637"/>
                  </a:lnTo>
                  <a:lnTo>
                    <a:pt x="59" y="645"/>
                  </a:lnTo>
                  <a:lnTo>
                    <a:pt x="52" y="645"/>
                  </a:lnTo>
                  <a:lnTo>
                    <a:pt x="52" y="639"/>
                  </a:lnTo>
                  <a:lnTo>
                    <a:pt x="57" y="636"/>
                  </a:lnTo>
                  <a:lnTo>
                    <a:pt x="54" y="632"/>
                  </a:lnTo>
                  <a:lnTo>
                    <a:pt x="50" y="624"/>
                  </a:lnTo>
                  <a:lnTo>
                    <a:pt x="50" y="620"/>
                  </a:lnTo>
                  <a:lnTo>
                    <a:pt x="52" y="618"/>
                  </a:lnTo>
                  <a:lnTo>
                    <a:pt x="48" y="618"/>
                  </a:lnTo>
                  <a:lnTo>
                    <a:pt x="48" y="614"/>
                  </a:lnTo>
                  <a:lnTo>
                    <a:pt x="42" y="611"/>
                  </a:lnTo>
                  <a:lnTo>
                    <a:pt x="40" y="607"/>
                  </a:lnTo>
                  <a:lnTo>
                    <a:pt x="36" y="603"/>
                  </a:lnTo>
                  <a:lnTo>
                    <a:pt x="31" y="599"/>
                  </a:lnTo>
                  <a:lnTo>
                    <a:pt x="25" y="595"/>
                  </a:lnTo>
                  <a:lnTo>
                    <a:pt x="21" y="595"/>
                  </a:lnTo>
                  <a:lnTo>
                    <a:pt x="13" y="599"/>
                  </a:lnTo>
                  <a:lnTo>
                    <a:pt x="11" y="597"/>
                  </a:lnTo>
                  <a:lnTo>
                    <a:pt x="9" y="599"/>
                  </a:lnTo>
                  <a:lnTo>
                    <a:pt x="7" y="593"/>
                  </a:lnTo>
                  <a:lnTo>
                    <a:pt x="6" y="588"/>
                  </a:lnTo>
                  <a:lnTo>
                    <a:pt x="2" y="584"/>
                  </a:lnTo>
                  <a:lnTo>
                    <a:pt x="0" y="580"/>
                  </a:lnTo>
                  <a:lnTo>
                    <a:pt x="4" y="580"/>
                  </a:lnTo>
                  <a:lnTo>
                    <a:pt x="6" y="578"/>
                  </a:lnTo>
                  <a:lnTo>
                    <a:pt x="11" y="574"/>
                  </a:lnTo>
                  <a:lnTo>
                    <a:pt x="9" y="568"/>
                  </a:lnTo>
                  <a:lnTo>
                    <a:pt x="2" y="561"/>
                  </a:lnTo>
                  <a:lnTo>
                    <a:pt x="2" y="555"/>
                  </a:lnTo>
                  <a:lnTo>
                    <a:pt x="6" y="551"/>
                  </a:lnTo>
                  <a:lnTo>
                    <a:pt x="6" y="549"/>
                  </a:lnTo>
                  <a:lnTo>
                    <a:pt x="9" y="547"/>
                  </a:lnTo>
                  <a:lnTo>
                    <a:pt x="9" y="539"/>
                  </a:lnTo>
                  <a:lnTo>
                    <a:pt x="15" y="534"/>
                  </a:lnTo>
                  <a:lnTo>
                    <a:pt x="15" y="528"/>
                  </a:lnTo>
                  <a:lnTo>
                    <a:pt x="21" y="526"/>
                  </a:lnTo>
                  <a:lnTo>
                    <a:pt x="27" y="518"/>
                  </a:lnTo>
                  <a:lnTo>
                    <a:pt x="31" y="518"/>
                  </a:lnTo>
                  <a:lnTo>
                    <a:pt x="36" y="511"/>
                  </a:lnTo>
                  <a:lnTo>
                    <a:pt x="38" y="513"/>
                  </a:lnTo>
                  <a:lnTo>
                    <a:pt x="36" y="516"/>
                  </a:lnTo>
                  <a:lnTo>
                    <a:pt x="40" y="520"/>
                  </a:lnTo>
                  <a:lnTo>
                    <a:pt x="48" y="518"/>
                  </a:lnTo>
                  <a:lnTo>
                    <a:pt x="48" y="520"/>
                  </a:lnTo>
                  <a:lnTo>
                    <a:pt x="48" y="524"/>
                  </a:lnTo>
                  <a:lnTo>
                    <a:pt x="55" y="522"/>
                  </a:lnTo>
                  <a:lnTo>
                    <a:pt x="57" y="520"/>
                  </a:lnTo>
                  <a:lnTo>
                    <a:pt x="61" y="518"/>
                  </a:lnTo>
                  <a:lnTo>
                    <a:pt x="65" y="515"/>
                  </a:lnTo>
                  <a:lnTo>
                    <a:pt x="63" y="513"/>
                  </a:lnTo>
                  <a:lnTo>
                    <a:pt x="61" y="507"/>
                  </a:lnTo>
                  <a:lnTo>
                    <a:pt x="69" y="507"/>
                  </a:lnTo>
                  <a:lnTo>
                    <a:pt x="71" y="503"/>
                  </a:lnTo>
                  <a:lnTo>
                    <a:pt x="71" y="497"/>
                  </a:lnTo>
                  <a:lnTo>
                    <a:pt x="67" y="497"/>
                  </a:lnTo>
                  <a:lnTo>
                    <a:pt x="65" y="493"/>
                  </a:lnTo>
                  <a:lnTo>
                    <a:pt x="57" y="493"/>
                  </a:lnTo>
                  <a:lnTo>
                    <a:pt x="57" y="491"/>
                  </a:lnTo>
                  <a:lnTo>
                    <a:pt x="52" y="488"/>
                  </a:lnTo>
                  <a:lnTo>
                    <a:pt x="46" y="488"/>
                  </a:lnTo>
                  <a:lnTo>
                    <a:pt x="48" y="478"/>
                  </a:lnTo>
                  <a:lnTo>
                    <a:pt x="44" y="476"/>
                  </a:lnTo>
                  <a:lnTo>
                    <a:pt x="38" y="474"/>
                  </a:lnTo>
                  <a:lnTo>
                    <a:pt x="34" y="472"/>
                  </a:lnTo>
                  <a:lnTo>
                    <a:pt x="34" y="465"/>
                  </a:lnTo>
                  <a:lnTo>
                    <a:pt x="27" y="465"/>
                  </a:lnTo>
                  <a:lnTo>
                    <a:pt x="29" y="470"/>
                  </a:lnTo>
                  <a:lnTo>
                    <a:pt x="25" y="468"/>
                  </a:lnTo>
                  <a:lnTo>
                    <a:pt x="19" y="468"/>
                  </a:lnTo>
                  <a:lnTo>
                    <a:pt x="19" y="467"/>
                  </a:lnTo>
                  <a:lnTo>
                    <a:pt x="23" y="467"/>
                  </a:lnTo>
                  <a:lnTo>
                    <a:pt x="31" y="461"/>
                  </a:lnTo>
                  <a:lnTo>
                    <a:pt x="29" y="457"/>
                  </a:lnTo>
                  <a:lnTo>
                    <a:pt x="21" y="457"/>
                  </a:lnTo>
                  <a:lnTo>
                    <a:pt x="21" y="453"/>
                  </a:lnTo>
                  <a:lnTo>
                    <a:pt x="25" y="451"/>
                  </a:lnTo>
                  <a:lnTo>
                    <a:pt x="29" y="453"/>
                  </a:lnTo>
                  <a:lnTo>
                    <a:pt x="32" y="453"/>
                  </a:lnTo>
                  <a:lnTo>
                    <a:pt x="34" y="447"/>
                  </a:lnTo>
                  <a:lnTo>
                    <a:pt x="36" y="438"/>
                  </a:lnTo>
                  <a:lnTo>
                    <a:pt x="34" y="436"/>
                  </a:lnTo>
                  <a:lnTo>
                    <a:pt x="36" y="434"/>
                  </a:lnTo>
                  <a:lnTo>
                    <a:pt x="34" y="432"/>
                  </a:lnTo>
                  <a:lnTo>
                    <a:pt x="27" y="430"/>
                  </a:lnTo>
                  <a:lnTo>
                    <a:pt x="23" y="432"/>
                  </a:lnTo>
                  <a:lnTo>
                    <a:pt x="19" y="430"/>
                  </a:lnTo>
                  <a:lnTo>
                    <a:pt x="19" y="428"/>
                  </a:lnTo>
                  <a:lnTo>
                    <a:pt x="23" y="424"/>
                  </a:lnTo>
                  <a:lnTo>
                    <a:pt x="19" y="420"/>
                  </a:lnTo>
                  <a:lnTo>
                    <a:pt x="25" y="418"/>
                  </a:lnTo>
                  <a:lnTo>
                    <a:pt x="29" y="417"/>
                  </a:lnTo>
                  <a:lnTo>
                    <a:pt x="32" y="417"/>
                  </a:lnTo>
                  <a:lnTo>
                    <a:pt x="36" y="413"/>
                  </a:lnTo>
                  <a:lnTo>
                    <a:pt x="44" y="411"/>
                  </a:lnTo>
                  <a:lnTo>
                    <a:pt x="44" y="409"/>
                  </a:lnTo>
                  <a:lnTo>
                    <a:pt x="40" y="403"/>
                  </a:lnTo>
                  <a:lnTo>
                    <a:pt x="44" y="399"/>
                  </a:lnTo>
                  <a:lnTo>
                    <a:pt x="42" y="397"/>
                  </a:lnTo>
                  <a:lnTo>
                    <a:pt x="44" y="392"/>
                  </a:lnTo>
                  <a:lnTo>
                    <a:pt x="44" y="386"/>
                  </a:lnTo>
                  <a:lnTo>
                    <a:pt x="44" y="384"/>
                  </a:lnTo>
                  <a:lnTo>
                    <a:pt x="44" y="382"/>
                  </a:lnTo>
                  <a:lnTo>
                    <a:pt x="46" y="380"/>
                  </a:lnTo>
                  <a:lnTo>
                    <a:pt x="40" y="380"/>
                  </a:lnTo>
                  <a:lnTo>
                    <a:pt x="32" y="382"/>
                  </a:lnTo>
                  <a:lnTo>
                    <a:pt x="31" y="378"/>
                  </a:lnTo>
                  <a:lnTo>
                    <a:pt x="34" y="374"/>
                  </a:lnTo>
                  <a:lnTo>
                    <a:pt x="40" y="370"/>
                  </a:lnTo>
                  <a:lnTo>
                    <a:pt x="38" y="369"/>
                  </a:lnTo>
                  <a:lnTo>
                    <a:pt x="38" y="363"/>
                  </a:lnTo>
                  <a:lnTo>
                    <a:pt x="38" y="357"/>
                  </a:lnTo>
                  <a:lnTo>
                    <a:pt x="38" y="349"/>
                  </a:lnTo>
                  <a:lnTo>
                    <a:pt x="36" y="345"/>
                  </a:lnTo>
                  <a:lnTo>
                    <a:pt x="29" y="345"/>
                  </a:lnTo>
                  <a:lnTo>
                    <a:pt x="25" y="336"/>
                  </a:lnTo>
                  <a:lnTo>
                    <a:pt x="29" y="334"/>
                  </a:lnTo>
                  <a:lnTo>
                    <a:pt x="27" y="326"/>
                  </a:lnTo>
                  <a:lnTo>
                    <a:pt x="29" y="324"/>
                  </a:lnTo>
                  <a:lnTo>
                    <a:pt x="27" y="324"/>
                  </a:lnTo>
                  <a:lnTo>
                    <a:pt x="29" y="319"/>
                  </a:lnTo>
                  <a:lnTo>
                    <a:pt x="34" y="317"/>
                  </a:lnTo>
                  <a:lnTo>
                    <a:pt x="36" y="315"/>
                  </a:lnTo>
                  <a:lnTo>
                    <a:pt x="40" y="315"/>
                  </a:lnTo>
                  <a:lnTo>
                    <a:pt x="48" y="311"/>
                  </a:lnTo>
                  <a:lnTo>
                    <a:pt x="54" y="305"/>
                  </a:lnTo>
                  <a:lnTo>
                    <a:pt x="52" y="301"/>
                  </a:lnTo>
                  <a:lnTo>
                    <a:pt x="55" y="296"/>
                  </a:lnTo>
                  <a:lnTo>
                    <a:pt x="55" y="290"/>
                  </a:lnTo>
                  <a:lnTo>
                    <a:pt x="59" y="286"/>
                  </a:lnTo>
                  <a:lnTo>
                    <a:pt x="59" y="278"/>
                  </a:lnTo>
                  <a:lnTo>
                    <a:pt x="57" y="276"/>
                  </a:lnTo>
                  <a:lnTo>
                    <a:pt x="59" y="274"/>
                  </a:lnTo>
                  <a:lnTo>
                    <a:pt x="57" y="273"/>
                  </a:lnTo>
                  <a:lnTo>
                    <a:pt x="59" y="271"/>
                  </a:lnTo>
                  <a:lnTo>
                    <a:pt x="57" y="265"/>
                  </a:lnTo>
                  <a:lnTo>
                    <a:pt x="59" y="261"/>
                  </a:lnTo>
                  <a:lnTo>
                    <a:pt x="59" y="259"/>
                  </a:lnTo>
                  <a:lnTo>
                    <a:pt x="61" y="255"/>
                  </a:lnTo>
                  <a:lnTo>
                    <a:pt x="69" y="255"/>
                  </a:lnTo>
                  <a:lnTo>
                    <a:pt x="71" y="249"/>
                  </a:lnTo>
                  <a:lnTo>
                    <a:pt x="71" y="246"/>
                  </a:lnTo>
                  <a:lnTo>
                    <a:pt x="73" y="246"/>
                  </a:lnTo>
                  <a:lnTo>
                    <a:pt x="71" y="238"/>
                  </a:lnTo>
                  <a:lnTo>
                    <a:pt x="73" y="236"/>
                  </a:lnTo>
                  <a:lnTo>
                    <a:pt x="71" y="234"/>
                  </a:lnTo>
                  <a:lnTo>
                    <a:pt x="73" y="232"/>
                  </a:lnTo>
                  <a:lnTo>
                    <a:pt x="75" y="230"/>
                  </a:lnTo>
                  <a:lnTo>
                    <a:pt x="77" y="224"/>
                  </a:lnTo>
                  <a:lnTo>
                    <a:pt x="80" y="217"/>
                  </a:lnTo>
                  <a:lnTo>
                    <a:pt x="84" y="217"/>
                  </a:lnTo>
                  <a:lnTo>
                    <a:pt x="86" y="223"/>
                  </a:lnTo>
                  <a:lnTo>
                    <a:pt x="90" y="223"/>
                  </a:lnTo>
                  <a:lnTo>
                    <a:pt x="90" y="219"/>
                  </a:lnTo>
                  <a:lnTo>
                    <a:pt x="86" y="215"/>
                  </a:lnTo>
                  <a:lnTo>
                    <a:pt x="92" y="213"/>
                  </a:lnTo>
                  <a:lnTo>
                    <a:pt x="92" y="209"/>
                  </a:lnTo>
                  <a:lnTo>
                    <a:pt x="92" y="207"/>
                  </a:lnTo>
                  <a:lnTo>
                    <a:pt x="92" y="205"/>
                  </a:lnTo>
                  <a:lnTo>
                    <a:pt x="100" y="201"/>
                  </a:lnTo>
                  <a:lnTo>
                    <a:pt x="103" y="196"/>
                  </a:lnTo>
                  <a:lnTo>
                    <a:pt x="102" y="196"/>
                  </a:lnTo>
                  <a:lnTo>
                    <a:pt x="103" y="192"/>
                  </a:lnTo>
                  <a:lnTo>
                    <a:pt x="102" y="188"/>
                  </a:lnTo>
                  <a:lnTo>
                    <a:pt x="102" y="180"/>
                  </a:lnTo>
                  <a:lnTo>
                    <a:pt x="107" y="178"/>
                  </a:lnTo>
                  <a:lnTo>
                    <a:pt x="109" y="176"/>
                  </a:lnTo>
                  <a:lnTo>
                    <a:pt x="111" y="176"/>
                  </a:lnTo>
                  <a:lnTo>
                    <a:pt x="111" y="180"/>
                  </a:lnTo>
                  <a:lnTo>
                    <a:pt x="117" y="178"/>
                  </a:lnTo>
                  <a:lnTo>
                    <a:pt x="119" y="175"/>
                  </a:lnTo>
                  <a:lnTo>
                    <a:pt x="121" y="175"/>
                  </a:lnTo>
                  <a:lnTo>
                    <a:pt x="123" y="176"/>
                  </a:lnTo>
                  <a:lnTo>
                    <a:pt x="125" y="171"/>
                  </a:lnTo>
                  <a:lnTo>
                    <a:pt x="130" y="173"/>
                  </a:lnTo>
                  <a:lnTo>
                    <a:pt x="132" y="178"/>
                  </a:lnTo>
                  <a:lnTo>
                    <a:pt x="134" y="180"/>
                  </a:lnTo>
                  <a:lnTo>
                    <a:pt x="136" y="180"/>
                  </a:lnTo>
                  <a:lnTo>
                    <a:pt x="136" y="176"/>
                  </a:lnTo>
                  <a:lnTo>
                    <a:pt x="138" y="178"/>
                  </a:lnTo>
                  <a:lnTo>
                    <a:pt x="138" y="175"/>
                  </a:lnTo>
                  <a:lnTo>
                    <a:pt x="142" y="176"/>
                  </a:lnTo>
                  <a:lnTo>
                    <a:pt x="144" y="173"/>
                  </a:lnTo>
                  <a:lnTo>
                    <a:pt x="148" y="171"/>
                  </a:lnTo>
                  <a:lnTo>
                    <a:pt x="149" y="171"/>
                  </a:lnTo>
                  <a:lnTo>
                    <a:pt x="151" y="169"/>
                  </a:lnTo>
                  <a:lnTo>
                    <a:pt x="155" y="171"/>
                  </a:lnTo>
                  <a:lnTo>
                    <a:pt x="157" y="171"/>
                  </a:lnTo>
                  <a:lnTo>
                    <a:pt x="157" y="167"/>
                  </a:lnTo>
                  <a:lnTo>
                    <a:pt x="161" y="167"/>
                  </a:lnTo>
                  <a:lnTo>
                    <a:pt x="159" y="161"/>
                  </a:lnTo>
                  <a:lnTo>
                    <a:pt x="163" y="157"/>
                  </a:lnTo>
                  <a:lnTo>
                    <a:pt x="167" y="157"/>
                  </a:lnTo>
                  <a:lnTo>
                    <a:pt x="169" y="155"/>
                  </a:lnTo>
                  <a:lnTo>
                    <a:pt x="171" y="159"/>
                  </a:lnTo>
                  <a:lnTo>
                    <a:pt x="173" y="155"/>
                  </a:lnTo>
                  <a:lnTo>
                    <a:pt x="171" y="150"/>
                  </a:lnTo>
                  <a:lnTo>
                    <a:pt x="176" y="146"/>
                  </a:lnTo>
                  <a:lnTo>
                    <a:pt x="173" y="138"/>
                  </a:lnTo>
                  <a:lnTo>
                    <a:pt x="174" y="134"/>
                  </a:lnTo>
                  <a:lnTo>
                    <a:pt x="184" y="132"/>
                  </a:lnTo>
                  <a:lnTo>
                    <a:pt x="184" y="128"/>
                  </a:lnTo>
                  <a:lnTo>
                    <a:pt x="194" y="125"/>
                  </a:lnTo>
                  <a:lnTo>
                    <a:pt x="190" y="115"/>
                  </a:lnTo>
                  <a:lnTo>
                    <a:pt x="192" y="113"/>
                  </a:lnTo>
                  <a:lnTo>
                    <a:pt x="197" y="111"/>
                  </a:lnTo>
                  <a:lnTo>
                    <a:pt x="203" y="111"/>
                  </a:lnTo>
                  <a:lnTo>
                    <a:pt x="205" y="107"/>
                  </a:lnTo>
                  <a:lnTo>
                    <a:pt x="213" y="109"/>
                  </a:lnTo>
                  <a:lnTo>
                    <a:pt x="217" y="103"/>
                  </a:lnTo>
                  <a:lnTo>
                    <a:pt x="215" y="102"/>
                  </a:lnTo>
                  <a:lnTo>
                    <a:pt x="215" y="96"/>
                  </a:lnTo>
                  <a:lnTo>
                    <a:pt x="221" y="90"/>
                  </a:lnTo>
                  <a:lnTo>
                    <a:pt x="221" y="84"/>
                  </a:lnTo>
                  <a:lnTo>
                    <a:pt x="215" y="80"/>
                  </a:lnTo>
                  <a:lnTo>
                    <a:pt x="211" y="82"/>
                  </a:lnTo>
                  <a:lnTo>
                    <a:pt x="211" y="77"/>
                  </a:lnTo>
                  <a:lnTo>
                    <a:pt x="207" y="77"/>
                  </a:lnTo>
                  <a:lnTo>
                    <a:pt x="205" y="78"/>
                  </a:lnTo>
                  <a:lnTo>
                    <a:pt x="201" y="78"/>
                  </a:lnTo>
                  <a:lnTo>
                    <a:pt x="203" y="75"/>
                  </a:lnTo>
                  <a:lnTo>
                    <a:pt x="201" y="75"/>
                  </a:lnTo>
                  <a:lnTo>
                    <a:pt x="197" y="75"/>
                  </a:lnTo>
                  <a:lnTo>
                    <a:pt x="197" y="71"/>
                  </a:lnTo>
                  <a:lnTo>
                    <a:pt x="196" y="69"/>
                  </a:lnTo>
                  <a:lnTo>
                    <a:pt x="196" y="67"/>
                  </a:lnTo>
                  <a:lnTo>
                    <a:pt x="192" y="63"/>
                  </a:lnTo>
                  <a:lnTo>
                    <a:pt x="182" y="65"/>
                  </a:lnTo>
                  <a:lnTo>
                    <a:pt x="180" y="61"/>
                  </a:lnTo>
                  <a:lnTo>
                    <a:pt x="174" y="61"/>
                  </a:lnTo>
                  <a:lnTo>
                    <a:pt x="173" y="57"/>
                  </a:lnTo>
                  <a:lnTo>
                    <a:pt x="169" y="63"/>
                  </a:lnTo>
                  <a:lnTo>
                    <a:pt x="165" y="63"/>
                  </a:lnTo>
                  <a:lnTo>
                    <a:pt x="163" y="65"/>
                  </a:lnTo>
                  <a:lnTo>
                    <a:pt x="159" y="67"/>
                  </a:lnTo>
                  <a:lnTo>
                    <a:pt x="159" y="61"/>
                  </a:lnTo>
                  <a:lnTo>
                    <a:pt x="155" y="59"/>
                  </a:lnTo>
                  <a:lnTo>
                    <a:pt x="155" y="55"/>
                  </a:lnTo>
                  <a:lnTo>
                    <a:pt x="159" y="55"/>
                  </a:lnTo>
                  <a:lnTo>
                    <a:pt x="159" y="48"/>
                  </a:lnTo>
                  <a:lnTo>
                    <a:pt x="163" y="48"/>
                  </a:lnTo>
                  <a:lnTo>
                    <a:pt x="169" y="42"/>
                  </a:lnTo>
                  <a:lnTo>
                    <a:pt x="167" y="40"/>
                  </a:lnTo>
                  <a:lnTo>
                    <a:pt x="167" y="38"/>
                  </a:lnTo>
                  <a:lnTo>
                    <a:pt x="163" y="36"/>
                  </a:lnTo>
                  <a:lnTo>
                    <a:pt x="163" y="32"/>
                  </a:lnTo>
                  <a:lnTo>
                    <a:pt x="163" y="29"/>
                  </a:lnTo>
                  <a:lnTo>
                    <a:pt x="159" y="29"/>
                  </a:lnTo>
                  <a:lnTo>
                    <a:pt x="159" y="27"/>
                  </a:lnTo>
                  <a:lnTo>
                    <a:pt x="161" y="25"/>
                  </a:lnTo>
                  <a:lnTo>
                    <a:pt x="159" y="25"/>
                  </a:lnTo>
                  <a:lnTo>
                    <a:pt x="159" y="23"/>
                  </a:lnTo>
                  <a:lnTo>
                    <a:pt x="167" y="19"/>
                  </a:lnTo>
                  <a:lnTo>
                    <a:pt x="169" y="25"/>
                  </a:lnTo>
                  <a:lnTo>
                    <a:pt x="171" y="25"/>
                  </a:lnTo>
                  <a:lnTo>
                    <a:pt x="171" y="27"/>
                  </a:lnTo>
                  <a:lnTo>
                    <a:pt x="173" y="27"/>
                  </a:lnTo>
                  <a:lnTo>
                    <a:pt x="173" y="29"/>
                  </a:lnTo>
                  <a:lnTo>
                    <a:pt x="178" y="32"/>
                  </a:lnTo>
                  <a:lnTo>
                    <a:pt x="182" y="32"/>
                  </a:lnTo>
                  <a:lnTo>
                    <a:pt x="190" y="29"/>
                  </a:lnTo>
                  <a:lnTo>
                    <a:pt x="194" y="25"/>
                  </a:lnTo>
                  <a:lnTo>
                    <a:pt x="196" y="27"/>
                  </a:lnTo>
                  <a:lnTo>
                    <a:pt x="201" y="27"/>
                  </a:lnTo>
                  <a:lnTo>
                    <a:pt x="207" y="30"/>
                  </a:lnTo>
                  <a:lnTo>
                    <a:pt x="219" y="30"/>
                  </a:lnTo>
                  <a:lnTo>
                    <a:pt x="222" y="27"/>
                  </a:lnTo>
                  <a:lnTo>
                    <a:pt x="222" y="30"/>
                  </a:lnTo>
                  <a:lnTo>
                    <a:pt x="226" y="32"/>
                  </a:lnTo>
                  <a:lnTo>
                    <a:pt x="228" y="30"/>
                  </a:lnTo>
                  <a:lnTo>
                    <a:pt x="234" y="32"/>
                  </a:lnTo>
                  <a:lnTo>
                    <a:pt x="244" y="32"/>
                  </a:lnTo>
                  <a:lnTo>
                    <a:pt x="251" y="32"/>
                  </a:lnTo>
                  <a:lnTo>
                    <a:pt x="253" y="34"/>
                  </a:lnTo>
                  <a:lnTo>
                    <a:pt x="257" y="34"/>
                  </a:lnTo>
                  <a:lnTo>
                    <a:pt x="259" y="34"/>
                  </a:lnTo>
                  <a:lnTo>
                    <a:pt x="259" y="30"/>
                  </a:lnTo>
                  <a:lnTo>
                    <a:pt x="261" y="30"/>
                  </a:lnTo>
                  <a:lnTo>
                    <a:pt x="265" y="30"/>
                  </a:lnTo>
                  <a:lnTo>
                    <a:pt x="270" y="27"/>
                  </a:lnTo>
                  <a:lnTo>
                    <a:pt x="272" y="21"/>
                  </a:lnTo>
                  <a:lnTo>
                    <a:pt x="276" y="19"/>
                  </a:lnTo>
                  <a:lnTo>
                    <a:pt x="282" y="21"/>
                  </a:lnTo>
                  <a:lnTo>
                    <a:pt x="288" y="15"/>
                  </a:lnTo>
                  <a:lnTo>
                    <a:pt x="290" y="17"/>
                  </a:lnTo>
                  <a:lnTo>
                    <a:pt x="295" y="21"/>
                  </a:lnTo>
                  <a:lnTo>
                    <a:pt x="303" y="25"/>
                  </a:lnTo>
                  <a:lnTo>
                    <a:pt x="311" y="25"/>
                  </a:lnTo>
                  <a:lnTo>
                    <a:pt x="318" y="25"/>
                  </a:lnTo>
                  <a:lnTo>
                    <a:pt x="324" y="23"/>
                  </a:lnTo>
                  <a:lnTo>
                    <a:pt x="324" y="21"/>
                  </a:lnTo>
                  <a:lnTo>
                    <a:pt x="330" y="21"/>
                  </a:lnTo>
                  <a:lnTo>
                    <a:pt x="332" y="13"/>
                  </a:lnTo>
                  <a:lnTo>
                    <a:pt x="334" y="9"/>
                  </a:lnTo>
                  <a:lnTo>
                    <a:pt x="338" y="9"/>
                  </a:lnTo>
                  <a:lnTo>
                    <a:pt x="340" y="4"/>
                  </a:lnTo>
                  <a:lnTo>
                    <a:pt x="343" y="0"/>
                  </a:lnTo>
                  <a:lnTo>
                    <a:pt x="349" y="2"/>
                  </a:lnTo>
                  <a:lnTo>
                    <a:pt x="351" y="2"/>
                  </a:lnTo>
                  <a:lnTo>
                    <a:pt x="355" y="2"/>
                  </a:lnTo>
                  <a:lnTo>
                    <a:pt x="357" y="7"/>
                  </a:lnTo>
                  <a:lnTo>
                    <a:pt x="363" y="9"/>
                  </a:lnTo>
                  <a:lnTo>
                    <a:pt x="363" y="13"/>
                  </a:lnTo>
                  <a:lnTo>
                    <a:pt x="366" y="19"/>
                  </a:lnTo>
                  <a:lnTo>
                    <a:pt x="366" y="23"/>
                  </a:lnTo>
                  <a:lnTo>
                    <a:pt x="370" y="23"/>
                  </a:lnTo>
                  <a:lnTo>
                    <a:pt x="368" y="27"/>
                  </a:lnTo>
                  <a:lnTo>
                    <a:pt x="378" y="29"/>
                  </a:lnTo>
                  <a:lnTo>
                    <a:pt x="378" y="30"/>
                  </a:lnTo>
                  <a:lnTo>
                    <a:pt x="382" y="30"/>
                  </a:lnTo>
                  <a:lnTo>
                    <a:pt x="382" y="32"/>
                  </a:lnTo>
                  <a:lnTo>
                    <a:pt x="386" y="38"/>
                  </a:lnTo>
                  <a:lnTo>
                    <a:pt x="387" y="42"/>
                  </a:lnTo>
                  <a:lnTo>
                    <a:pt x="384" y="46"/>
                  </a:lnTo>
                  <a:lnTo>
                    <a:pt x="387" y="50"/>
                  </a:lnTo>
                  <a:lnTo>
                    <a:pt x="389" y="54"/>
                  </a:lnTo>
                  <a:lnTo>
                    <a:pt x="395" y="55"/>
                  </a:lnTo>
                  <a:lnTo>
                    <a:pt x="401" y="57"/>
                  </a:lnTo>
                  <a:lnTo>
                    <a:pt x="407" y="57"/>
                  </a:lnTo>
                  <a:lnTo>
                    <a:pt x="407" y="52"/>
                  </a:lnTo>
                  <a:lnTo>
                    <a:pt x="414" y="52"/>
                  </a:lnTo>
                  <a:lnTo>
                    <a:pt x="416" y="54"/>
                  </a:lnTo>
                  <a:lnTo>
                    <a:pt x="416" y="61"/>
                  </a:lnTo>
                  <a:lnTo>
                    <a:pt x="414" y="63"/>
                  </a:lnTo>
                  <a:lnTo>
                    <a:pt x="416" y="65"/>
                  </a:lnTo>
                  <a:lnTo>
                    <a:pt x="411" y="71"/>
                  </a:lnTo>
                  <a:lnTo>
                    <a:pt x="411" y="75"/>
                  </a:lnTo>
                  <a:lnTo>
                    <a:pt x="409" y="78"/>
                  </a:lnTo>
                  <a:lnTo>
                    <a:pt x="414" y="82"/>
                  </a:lnTo>
                  <a:lnTo>
                    <a:pt x="416" y="78"/>
                  </a:lnTo>
                  <a:lnTo>
                    <a:pt x="420" y="84"/>
                  </a:lnTo>
                  <a:lnTo>
                    <a:pt x="420" y="86"/>
                  </a:lnTo>
                  <a:lnTo>
                    <a:pt x="418" y="94"/>
                  </a:lnTo>
                  <a:lnTo>
                    <a:pt x="418" y="98"/>
                  </a:lnTo>
                  <a:lnTo>
                    <a:pt x="416" y="103"/>
                  </a:lnTo>
                  <a:lnTo>
                    <a:pt x="416" y="105"/>
                  </a:lnTo>
                  <a:lnTo>
                    <a:pt x="422" y="109"/>
                  </a:lnTo>
                  <a:lnTo>
                    <a:pt x="426" y="111"/>
                  </a:lnTo>
                  <a:lnTo>
                    <a:pt x="426" y="119"/>
                  </a:lnTo>
                  <a:lnTo>
                    <a:pt x="426" y="123"/>
                  </a:lnTo>
                  <a:lnTo>
                    <a:pt x="430" y="123"/>
                  </a:lnTo>
                  <a:lnTo>
                    <a:pt x="432" y="117"/>
                  </a:lnTo>
                  <a:lnTo>
                    <a:pt x="434" y="117"/>
                  </a:lnTo>
                  <a:lnTo>
                    <a:pt x="434" y="119"/>
                  </a:lnTo>
                  <a:lnTo>
                    <a:pt x="435" y="123"/>
                  </a:lnTo>
                  <a:lnTo>
                    <a:pt x="434" y="123"/>
                  </a:lnTo>
                  <a:lnTo>
                    <a:pt x="439" y="123"/>
                  </a:lnTo>
                  <a:lnTo>
                    <a:pt x="441" y="121"/>
                  </a:lnTo>
                  <a:lnTo>
                    <a:pt x="441" y="125"/>
                  </a:lnTo>
                  <a:lnTo>
                    <a:pt x="449" y="123"/>
                  </a:lnTo>
                  <a:lnTo>
                    <a:pt x="455" y="127"/>
                  </a:lnTo>
                  <a:lnTo>
                    <a:pt x="453" y="128"/>
                  </a:lnTo>
                  <a:lnTo>
                    <a:pt x="451" y="130"/>
                  </a:lnTo>
                  <a:lnTo>
                    <a:pt x="451" y="134"/>
                  </a:lnTo>
                  <a:lnTo>
                    <a:pt x="447" y="134"/>
                  </a:lnTo>
                  <a:lnTo>
                    <a:pt x="447" y="140"/>
                  </a:lnTo>
                  <a:lnTo>
                    <a:pt x="443" y="144"/>
                  </a:lnTo>
                  <a:lnTo>
                    <a:pt x="435" y="148"/>
                  </a:lnTo>
                  <a:lnTo>
                    <a:pt x="435" y="155"/>
                  </a:lnTo>
                  <a:lnTo>
                    <a:pt x="426" y="159"/>
                  </a:lnTo>
                  <a:lnTo>
                    <a:pt x="420" y="159"/>
                  </a:lnTo>
                  <a:lnTo>
                    <a:pt x="418" y="161"/>
                  </a:lnTo>
                  <a:lnTo>
                    <a:pt x="412" y="167"/>
                  </a:lnTo>
                  <a:lnTo>
                    <a:pt x="411" y="17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4" name="Freeform 21">
              <a:extLst>
                <a:ext uri="{FF2B5EF4-FFF2-40B4-BE49-F238E27FC236}">
                  <a16:creationId xmlns:a16="http://schemas.microsoft.com/office/drawing/2014/main" id="{B9B486D3-3428-4712-9F7A-B749E07207FA}"/>
                </a:ext>
              </a:extLst>
            </p:cNvPr>
            <p:cNvSpPr>
              <a:spLocks noEditPoints="1"/>
            </p:cNvSpPr>
            <p:nvPr/>
          </p:nvSpPr>
          <p:spPr bwMode="gray">
            <a:xfrm>
              <a:off x="4257676" y="4086226"/>
              <a:ext cx="50800" cy="52387"/>
            </a:xfrm>
            <a:custGeom>
              <a:avLst/>
              <a:gdLst>
                <a:gd name="T0" fmla="*/ 32 w 32"/>
                <a:gd name="T1" fmla="*/ 25 h 33"/>
                <a:gd name="T2" fmla="*/ 32 w 32"/>
                <a:gd name="T3" fmla="*/ 29 h 33"/>
                <a:gd name="T4" fmla="*/ 30 w 32"/>
                <a:gd name="T5" fmla="*/ 31 h 33"/>
                <a:gd name="T6" fmla="*/ 30 w 32"/>
                <a:gd name="T7" fmla="*/ 33 h 33"/>
                <a:gd name="T8" fmla="*/ 27 w 32"/>
                <a:gd name="T9" fmla="*/ 33 h 33"/>
                <a:gd name="T10" fmla="*/ 25 w 32"/>
                <a:gd name="T11" fmla="*/ 29 h 33"/>
                <a:gd name="T12" fmla="*/ 21 w 32"/>
                <a:gd name="T13" fmla="*/ 31 h 33"/>
                <a:gd name="T14" fmla="*/ 21 w 32"/>
                <a:gd name="T15" fmla="*/ 29 h 33"/>
                <a:gd name="T16" fmla="*/ 17 w 32"/>
                <a:gd name="T17" fmla="*/ 29 h 33"/>
                <a:gd name="T18" fmla="*/ 13 w 32"/>
                <a:gd name="T19" fmla="*/ 31 h 33"/>
                <a:gd name="T20" fmla="*/ 9 w 32"/>
                <a:gd name="T21" fmla="*/ 27 h 33"/>
                <a:gd name="T22" fmla="*/ 9 w 32"/>
                <a:gd name="T23" fmla="*/ 23 h 33"/>
                <a:gd name="T24" fmla="*/ 9 w 32"/>
                <a:gd name="T25" fmla="*/ 27 h 33"/>
                <a:gd name="T26" fmla="*/ 5 w 32"/>
                <a:gd name="T27" fmla="*/ 27 h 33"/>
                <a:gd name="T28" fmla="*/ 5 w 32"/>
                <a:gd name="T29" fmla="*/ 23 h 33"/>
                <a:gd name="T30" fmla="*/ 7 w 32"/>
                <a:gd name="T31" fmla="*/ 19 h 33"/>
                <a:gd name="T32" fmla="*/ 5 w 32"/>
                <a:gd name="T33" fmla="*/ 19 h 33"/>
                <a:gd name="T34" fmla="*/ 5 w 32"/>
                <a:gd name="T35" fmla="*/ 15 h 33"/>
                <a:gd name="T36" fmla="*/ 2 w 32"/>
                <a:gd name="T37" fmla="*/ 11 h 33"/>
                <a:gd name="T38" fmla="*/ 0 w 32"/>
                <a:gd name="T39" fmla="*/ 10 h 33"/>
                <a:gd name="T40" fmla="*/ 4 w 32"/>
                <a:gd name="T41" fmla="*/ 8 h 33"/>
                <a:gd name="T42" fmla="*/ 7 w 32"/>
                <a:gd name="T43" fmla="*/ 10 h 33"/>
                <a:gd name="T44" fmla="*/ 7 w 32"/>
                <a:gd name="T45" fmla="*/ 8 h 33"/>
                <a:gd name="T46" fmla="*/ 11 w 32"/>
                <a:gd name="T47" fmla="*/ 8 h 33"/>
                <a:gd name="T48" fmla="*/ 11 w 32"/>
                <a:gd name="T49" fmla="*/ 6 h 33"/>
                <a:gd name="T50" fmla="*/ 11 w 32"/>
                <a:gd name="T51" fmla="*/ 8 h 33"/>
                <a:gd name="T52" fmla="*/ 13 w 32"/>
                <a:gd name="T53" fmla="*/ 8 h 33"/>
                <a:gd name="T54" fmla="*/ 15 w 32"/>
                <a:gd name="T55" fmla="*/ 4 h 33"/>
                <a:gd name="T56" fmla="*/ 19 w 32"/>
                <a:gd name="T57" fmla="*/ 4 h 33"/>
                <a:gd name="T58" fmla="*/ 21 w 32"/>
                <a:gd name="T59" fmla="*/ 0 h 33"/>
                <a:gd name="T60" fmla="*/ 23 w 32"/>
                <a:gd name="T61" fmla="*/ 2 h 33"/>
                <a:gd name="T62" fmla="*/ 21 w 32"/>
                <a:gd name="T63" fmla="*/ 6 h 33"/>
                <a:gd name="T64" fmla="*/ 27 w 32"/>
                <a:gd name="T65" fmla="*/ 4 h 33"/>
                <a:gd name="T66" fmla="*/ 29 w 32"/>
                <a:gd name="T67" fmla="*/ 6 h 33"/>
                <a:gd name="T68" fmla="*/ 29 w 32"/>
                <a:gd name="T69" fmla="*/ 8 h 33"/>
                <a:gd name="T70" fmla="*/ 27 w 32"/>
                <a:gd name="T71" fmla="*/ 8 h 33"/>
                <a:gd name="T72" fmla="*/ 21 w 32"/>
                <a:gd name="T73" fmla="*/ 13 h 33"/>
                <a:gd name="T74" fmla="*/ 17 w 32"/>
                <a:gd name="T75" fmla="*/ 15 h 33"/>
                <a:gd name="T76" fmla="*/ 15 w 32"/>
                <a:gd name="T77" fmla="*/ 17 h 33"/>
                <a:gd name="T78" fmla="*/ 17 w 32"/>
                <a:gd name="T79" fmla="*/ 21 h 33"/>
                <a:gd name="T80" fmla="*/ 19 w 32"/>
                <a:gd name="T81" fmla="*/ 19 h 33"/>
                <a:gd name="T82" fmla="*/ 23 w 32"/>
                <a:gd name="T83" fmla="*/ 23 h 33"/>
                <a:gd name="T84" fmla="*/ 25 w 32"/>
                <a:gd name="T85" fmla="*/ 19 h 33"/>
                <a:gd name="T86" fmla="*/ 25 w 32"/>
                <a:gd name="T87" fmla="*/ 17 h 33"/>
                <a:gd name="T88" fmla="*/ 29 w 32"/>
                <a:gd name="T89" fmla="*/ 15 h 33"/>
                <a:gd name="T90" fmla="*/ 29 w 32"/>
                <a:gd name="T91" fmla="*/ 17 h 33"/>
                <a:gd name="T92" fmla="*/ 32 w 32"/>
                <a:gd name="T93" fmla="*/ 19 h 33"/>
                <a:gd name="T94" fmla="*/ 29 w 32"/>
                <a:gd name="T95" fmla="*/ 23 h 33"/>
                <a:gd name="T96" fmla="*/ 30 w 32"/>
                <a:gd name="T97" fmla="*/ 25 h 33"/>
                <a:gd name="T98" fmla="*/ 32 w 32"/>
                <a:gd name="T99" fmla="*/ 25 h 33"/>
                <a:gd name="T100" fmla="*/ 7 w 32"/>
                <a:gd name="T101" fmla="*/ 13 h 33"/>
                <a:gd name="T102" fmla="*/ 11 w 32"/>
                <a:gd name="T103" fmla="*/ 13 h 33"/>
                <a:gd name="T104" fmla="*/ 11 w 32"/>
                <a:gd name="T105" fmla="*/ 15 h 33"/>
                <a:gd name="T106" fmla="*/ 7 w 32"/>
                <a:gd name="T107" fmla="*/ 15 h 33"/>
                <a:gd name="T108" fmla="*/ 7 w 32"/>
                <a:gd name="T109" fmla="*/ 13 h 33"/>
                <a:gd name="T110" fmla="*/ 7 w 32"/>
                <a:gd name="T111" fmla="*/ 2 h 33"/>
                <a:gd name="T112" fmla="*/ 9 w 32"/>
                <a:gd name="T113" fmla="*/ 4 h 33"/>
                <a:gd name="T114" fmla="*/ 7 w 32"/>
                <a:gd name="T115" fmla="*/ 6 h 33"/>
                <a:gd name="T116" fmla="*/ 5 w 32"/>
                <a:gd name="T117" fmla="*/ 4 h 33"/>
                <a:gd name="T118" fmla="*/ 7 w 32"/>
                <a:gd name="T119" fmla="*/ 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 h="33">
                  <a:moveTo>
                    <a:pt x="32" y="25"/>
                  </a:moveTo>
                  <a:lnTo>
                    <a:pt x="32" y="29"/>
                  </a:lnTo>
                  <a:lnTo>
                    <a:pt x="30" y="31"/>
                  </a:lnTo>
                  <a:lnTo>
                    <a:pt x="30" y="33"/>
                  </a:lnTo>
                  <a:lnTo>
                    <a:pt x="27" y="33"/>
                  </a:lnTo>
                  <a:lnTo>
                    <a:pt x="25" y="29"/>
                  </a:lnTo>
                  <a:lnTo>
                    <a:pt x="21" y="31"/>
                  </a:lnTo>
                  <a:lnTo>
                    <a:pt x="21" y="29"/>
                  </a:lnTo>
                  <a:lnTo>
                    <a:pt x="17" y="29"/>
                  </a:lnTo>
                  <a:lnTo>
                    <a:pt x="13" y="31"/>
                  </a:lnTo>
                  <a:lnTo>
                    <a:pt x="9" y="27"/>
                  </a:lnTo>
                  <a:lnTo>
                    <a:pt x="9" y="23"/>
                  </a:lnTo>
                  <a:lnTo>
                    <a:pt x="9" y="27"/>
                  </a:lnTo>
                  <a:lnTo>
                    <a:pt x="5" y="27"/>
                  </a:lnTo>
                  <a:lnTo>
                    <a:pt x="5" y="23"/>
                  </a:lnTo>
                  <a:lnTo>
                    <a:pt x="7" y="19"/>
                  </a:lnTo>
                  <a:lnTo>
                    <a:pt x="5" y="19"/>
                  </a:lnTo>
                  <a:lnTo>
                    <a:pt x="5" y="15"/>
                  </a:lnTo>
                  <a:lnTo>
                    <a:pt x="2" y="11"/>
                  </a:lnTo>
                  <a:lnTo>
                    <a:pt x="0" y="10"/>
                  </a:lnTo>
                  <a:lnTo>
                    <a:pt x="4" y="8"/>
                  </a:lnTo>
                  <a:lnTo>
                    <a:pt x="7" y="10"/>
                  </a:lnTo>
                  <a:lnTo>
                    <a:pt x="7" y="8"/>
                  </a:lnTo>
                  <a:lnTo>
                    <a:pt x="11" y="8"/>
                  </a:lnTo>
                  <a:lnTo>
                    <a:pt x="11" y="6"/>
                  </a:lnTo>
                  <a:lnTo>
                    <a:pt x="11" y="8"/>
                  </a:lnTo>
                  <a:lnTo>
                    <a:pt x="13" y="8"/>
                  </a:lnTo>
                  <a:lnTo>
                    <a:pt x="15" y="4"/>
                  </a:lnTo>
                  <a:lnTo>
                    <a:pt x="19" y="4"/>
                  </a:lnTo>
                  <a:lnTo>
                    <a:pt x="21" y="0"/>
                  </a:lnTo>
                  <a:lnTo>
                    <a:pt x="23" y="2"/>
                  </a:lnTo>
                  <a:lnTo>
                    <a:pt x="21" y="6"/>
                  </a:lnTo>
                  <a:lnTo>
                    <a:pt x="27" y="4"/>
                  </a:lnTo>
                  <a:lnTo>
                    <a:pt x="29" y="6"/>
                  </a:lnTo>
                  <a:lnTo>
                    <a:pt x="29" y="8"/>
                  </a:lnTo>
                  <a:lnTo>
                    <a:pt x="27" y="8"/>
                  </a:lnTo>
                  <a:lnTo>
                    <a:pt x="21" y="13"/>
                  </a:lnTo>
                  <a:lnTo>
                    <a:pt x="17" y="15"/>
                  </a:lnTo>
                  <a:lnTo>
                    <a:pt x="15" y="17"/>
                  </a:lnTo>
                  <a:lnTo>
                    <a:pt x="17" y="21"/>
                  </a:lnTo>
                  <a:lnTo>
                    <a:pt x="19" y="19"/>
                  </a:lnTo>
                  <a:lnTo>
                    <a:pt x="23" y="23"/>
                  </a:lnTo>
                  <a:lnTo>
                    <a:pt x="25" y="19"/>
                  </a:lnTo>
                  <a:lnTo>
                    <a:pt x="25" y="17"/>
                  </a:lnTo>
                  <a:lnTo>
                    <a:pt x="29" y="15"/>
                  </a:lnTo>
                  <a:lnTo>
                    <a:pt x="29" y="17"/>
                  </a:lnTo>
                  <a:lnTo>
                    <a:pt x="32" y="19"/>
                  </a:lnTo>
                  <a:lnTo>
                    <a:pt x="29" y="23"/>
                  </a:lnTo>
                  <a:lnTo>
                    <a:pt x="30" y="25"/>
                  </a:lnTo>
                  <a:lnTo>
                    <a:pt x="32" y="25"/>
                  </a:lnTo>
                  <a:close/>
                  <a:moveTo>
                    <a:pt x="7" y="13"/>
                  </a:moveTo>
                  <a:lnTo>
                    <a:pt x="11" y="13"/>
                  </a:lnTo>
                  <a:lnTo>
                    <a:pt x="11" y="15"/>
                  </a:lnTo>
                  <a:lnTo>
                    <a:pt x="7" y="15"/>
                  </a:lnTo>
                  <a:lnTo>
                    <a:pt x="7" y="13"/>
                  </a:lnTo>
                  <a:close/>
                  <a:moveTo>
                    <a:pt x="7" y="2"/>
                  </a:moveTo>
                  <a:lnTo>
                    <a:pt x="9" y="4"/>
                  </a:lnTo>
                  <a:lnTo>
                    <a:pt x="7" y="6"/>
                  </a:lnTo>
                  <a:lnTo>
                    <a:pt x="5" y="4"/>
                  </a:lnTo>
                  <a:lnTo>
                    <a:pt x="7" y="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5" name="Freeform 22">
              <a:extLst>
                <a:ext uri="{FF2B5EF4-FFF2-40B4-BE49-F238E27FC236}">
                  <a16:creationId xmlns:a16="http://schemas.microsoft.com/office/drawing/2014/main" id="{96B168A5-CC28-4EF9-B48C-6E39F08BB2CB}"/>
                </a:ext>
              </a:extLst>
            </p:cNvPr>
            <p:cNvSpPr>
              <a:spLocks noEditPoints="1"/>
            </p:cNvSpPr>
            <p:nvPr/>
          </p:nvSpPr>
          <p:spPr bwMode="gray">
            <a:xfrm>
              <a:off x="3916364" y="4019550"/>
              <a:ext cx="341313" cy="63499"/>
            </a:xfrm>
            <a:custGeom>
              <a:avLst/>
              <a:gdLst>
                <a:gd name="T0" fmla="*/ 207 w 215"/>
                <a:gd name="T1" fmla="*/ 40 h 40"/>
                <a:gd name="T2" fmla="*/ 207 w 215"/>
                <a:gd name="T3" fmla="*/ 32 h 40"/>
                <a:gd name="T4" fmla="*/ 211 w 215"/>
                <a:gd name="T5" fmla="*/ 30 h 40"/>
                <a:gd name="T6" fmla="*/ 215 w 215"/>
                <a:gd name="T7" fmla="*/ 30 h 40"/>
                <a:gd name="T8" fmla="*/ 215 w 215"/>
                <a:gd name="T9" fmla="*/ 32 h 40"/>
                <a:gd name="T10" fmla="*/ 211 w 215"/>
                <a:gd name="T11" fmla="*/ 34 h 40"/>
                <a:gd name="T12" fmla="*/ 215 w 215"/>
                <a:gd name="T13" fmla="*/ 36 h 40"/>
                <a:gd name="T14" fmla="*/ 213 w 215"/>
                <a:gd name="T15" fmla="*/ 38 h 40"/>
                <a:gd name="T16" fmla="*/ 215 w 215"/>
                <a:gd name="T17" fmla="*/ 40 h 40"/>
                <a:gd name="T18" fmla="*/ 213 w 215"/>
                <a:gd name="T19" fmla="*/ 40 h 40"/>
                <a:gd name="T20" fmla="*/ 207 w 215"/>
                <a:gd name="T21" fmla="*/ 40 h 40"/>
                <a:gd name="T22" fmla="*/ 13 w 215"/>
                <a:gd name="T23" fmla="*/ 0 h 40"/>
                <a:gd name="T24" fmla="*/ 9 w 215"/>
                <a:gd name="T25" fmla="*/ 5 h 40"/>
                <a:gd name="T26" fmla="*/ 6 w 215"/>
                <a:gd name="T27" fmla="*/ 4 h 40"/>
                <a:gd name="T28" fmla="*/ 2 w 215"/>
                <a:gd name="T29" fmla="*/ 5 h 40"/>
                <a:gd name="T30" fmla="*/ 0 w 215"/>
                <a:gd name="T31" fmla="*/ 4 h 40"/>
                <a:gd name="T32" fmla="*/ 0 w 215"/>
                <a:gd name="T33" fmla="*/ 2 h 40"/>
                <a:gd name="T34" fmla="*/ 4 w 215"/>
                <a:gd name="T35" fmla="*/ 0 h 40"/>
                <a:gd name="T36" fmla="*/ 13 w 215"/>
                <a:gd name="T3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5" h="40">
                  <a:moveTo>
                    <a:pt x="207" y="40"/>
                  </a:moveTo>
                  <a:lnTo>
                    <a:pt x="207" y="32"/>
                  </a:lnTo>
                  <a:lnTo>
                    <a:pt x="211" y="30"/>
                  </a:lnTo>
                  <a:lnTo>
                    <a:pt x="215" y="30"/>
                  </a:lnTo>
                  <a:lnTo>
                    <a:pt x="215" y="32"/>
                  </a:lnTo>
                  <a:lnTo>
                    <a:pt x="211" y="34"/>
                  </a:lnTo>
                  <a:lnTo>
                    <a:pt x="215" y="36"/>
                  </a:lnTo>
                  <a:lnTo>
                    <a:pt x="213" y="38"/>
                  </a:lnTo>
                  <a:lnTo>
                    <a:pt x="215" y="40"/>
                  </a:lnTo>
                  <a:lnTo>
                    <a:pt x="213" y="40"/>
                  </a:lnTo>
                  <a:lnTo>
                    <a:pt x="207" y="40"/>
                  </a:lnTo>
                  <a:close/>
                  <a:moveTo>
                    <a:pt x="13" y="0"/>
                  </a:moveTo>
                  <a:lnTo>
                    <a:pt x="9" y="5"/>
                  </a:lnTo>
                  <a:lnTo>
                    <a:pt x="6" y="4"/>
                  </a:lnTo>
                  <a:lnTo>
                    <a:pt x="2" y="5"/>
                  </a:lnTo>
                  <a:lnTo>
                    <a:pt x="0" y="4"/>
                  </a:lnTo>
                  <a:lnTo>
                    <a:pt x="0" y="2"/>
                  </a:lnTo>
                  <a:lnTo>
                    <a:pt x="4" y="0"/>
                  </a:lnTo>
                  <a:lnTo>
                    <a:pt x="13"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6" name="Freeform 23">
              <a:extLst>
                <a:ext uri="{FF2B5EF4-FFF2-40B4-BE49-F238E27FC236}">
                  <a16:creationId xmlns:a16="http://schemas.microsoft.com/office/drawing/2014/main" id="{89E75D48-2B89-4FB0-B4F8-4ABA162DF661}"/>
                </a:ext>
              </a:extLst>
            </p:cNvPr>
            <p:cNvSpPr>
              <a:spLocks/>
            </p:cNvSpPr>
            <p:nvPr/>
          </p:nvSpPr>
          <p:spPr bwMode="gray">
            <a:xfrm>
              <a:off x="3727451" y="2390775"/>
              <a:ext cx="1481138" cy="1228725"/>
            </a:xfrm>
            <a:custGeom>
              <a:avLst/>
              <a:gdLst>
                <a:gd name="T0" fmla="*/ 554 w 933"/>
                <a:gd name="T1" fmla="*/ 69 h 774"/>
                <a:gd name="T2" fmla="*/ 591 w 933"/>
                <a:gd name="T3" fmla="*/ 90 h 774"/>
                <a:gd name="T4" fmla="*/ 635 w 933"/>
                <a:gd name="T5" fmla="*/ 106 h 774"/>
                <a:gd name="T6" fmla="*/ 648 w 933"/>
                <a:gd name="T7" fmla="*/ 146 h 774"/>
                <a:gd name="T8" fmla="*/ 679 w 933"/>
                <a:gd name="T9" fmla="*/ 194 h 774"/>
                <a:gd name="T10" fmla="*/ 691 w 933"/>
                <a:gd name="T11" fmla="*/ 227 h 774"/>
                <a:gd name="T12" fmla="*/ 689 w 933"/>
                <a:gd name="T13" fmla="*/ 246 h 774"/>
                <a:gd name="T14" fmla="*/ 719 w 933"/>
                <a:gd name="T15" fmla="*/ 234 h 774"/>
                <a:gd name="T16" fmla="*/ 737 w 933"/>
                <a:gd name="T17" fmla="*/ 223 h 774"/>
                <a:gd name="T18" fmla="*/ 769 w 933"/>
                <a:gd name="T19" fmla="*/ 229 h 774"/>
                <a:gd name="T20" fmla="*/ 792 w 933"/>
                <a:gd name="T21" fmla="*/ 255 h 774"/>
                <a:gd name="T22" fmla="*/ 806 w 933"/>
                <a:gd name="T23" fmla="*/ 257 h 774"/>
                <a:gd name="T24" fmla="*/ 838 w 933"/>
                <a:gd name="T25" fmla="*/ 277 h 774"/>
                <a:gd name="T26" fmla="*/ 865 w 933"/>
                <a:gd name="T27" fmla="*/ 319 h 774"/>
                <a:gd name="T28" fmla="*/ 869 w 933"/>
                <a:gd name="T29" fmla="*/ 344 h 774"/>
                <a:gd name="T30" fmla="*/ 842 w 933"/>
                <a:gd name="T31" fmla="*/ 371 h 774"/>
                <a:gd name="T32" fmla="*/ 894 w 933"/>
                <a:gd name="T33" fmla="*/ 355 h 774"/>
                <a:gd name="T34" fmla="*/ 933 w 933"/>
                <a:gd name="T35" fmla="*/ 355 h 774"/>
                <a:gd name="T36" fmla="*/ 890 w 933"/>
                <a:gd name="T37" fmla="*/ 388 h 774"/>
                <a:gd name="T38" fmla="*/ 817 w 933"/>
                <a:gd name="T39" fmla="*/ 430 h 774"/>
                <a:gd name="T40" fmla="*/ 748 w 933"/>
                <a:gd name="T41" fmla="*/ 469 h 774"/>
                <a:gd name="T42" fmla="*/ 756 w 933"/>
                <a:gd name="T43" fmla="*/ 526 h 774"/>
                <a:gd name="T44" fmla="*/ 815 w 933"/>
                <a:gd name="T45" fmla="*/ 528 h 774"/>
                <a:gd name="T46" fmla="*/ 823 w 933"/>
                <a:gd name="T47" fmla="*/ 555 h 774"/>
                <a:gd name="T48" fmla="*/ 783 w 933"/>
                <a:gd name="T49" fmla="*/ 578 h 774"/>
                <a:gd name="T50" fmla="*/ 779 w 933"/>
                <a:gd name="T51" fmla="*/ 613 h 774"/>
                <a:gd name="T52" fmla="*/ 762 w 933"/>
                <a:gd name="T53" fmla="*/ 655 h 774"/>
                <a:gd name="T54" fmla="*/ 729 w 933"/>
                <a:gd name="T55" fmla="*/ 647 h 774"/>
                <a:gd name="T56" fmla="*/ 693 w 933"/>
                <a:gd name="T57" fmla="*/ 659 h 774"/>
                <a:gd name="T58" fmla="*/ 647 w 933"/>
                <a:gd name="T59" fmla="*/ 695 h 774"/>
                <a:gd name="T60" fmla="*/ 654 w 933"/>
                <a:gd name="T61" fmla="*/ 672 h 774"/>
                <a:gd name="T62" fmla="*/ 660 w 933"/>
                <a:gd name="T63" fmla="*/ 622 h 774"/>
                <a:gd name="T64" fmla="*/ 664 w 933"/>
                <a:gd name="T65" fmla="*/ 599 h 774"/>
                <a:gd name="T66" fmla="*/ 597 w 933"/>
                <a:gd name="T67" fmla="*/ 588 h 774"/>
                <a:gd name="T68" fmla="*/ 610 w 933"/>
                <a:gd name="T69" fmla="*/ 578 h 774"/>
                <a:gd name="T70" fmla="*/ 589 w 933"/>
                <a:gd name="T71" fmla="*/ 567 h 774"/>
                <a:gd name="T72" fmla="*/ 560 w 933"/>
                <a:gd name="T73" fmla="*/ 584 h 774"/>
                <a:gd name="T74" fmla="*/ 556 w 933"/>
                <a:gd name="T75" fmla="*/ 586 h 774"/>
                <a:gd name="T76" fmla="*/ 556 w 933"/>
                <a:gd name="T77" fmla="*/ 628 h 774"/>
                <a:gd name="T78" fmla="*/ 564 w 933"/>
                <a:gd name="T79" fmla="*/ 680 h 774"/>
                <a:gd name="T80" fmla="*/ 529 w 933"/>
                <a:gd name="T81" fmla="*/ 732 h 774"/>
                <a:gd name="T82" fmla="*/ 533 w 933"/>
                <a:gd name="T83" fmla="*/ 759 h 774"/>
                <a:gd name="T84" fmla="*/ 478 w 933"/>
                <a:gd name="T85" fmla="*/ 753 h 774"/>
                <a:gd name="T86" fmla="*/ 434 w 933"/>
                <a:gd name="T87" fmla="*/ 736 h 774"/>
                <a:gd name="T88" fmla="*/ 403 w 933"/>
                <a:gd name="T89" fmla="*/ 697 h 774"/>
                <a:gd name="T90" fmla="*/ 386 w 933"/>
                <a:gd name="T91" fmla="*/ 672 h 774"/>
                <a:gd name="T92" fmla="*/ 370 w 933"/>
                <a:gd name="T93" fmla="*/ 618 h 774"/>
                <a:gd name="T94" fmla="*/ 324 w 933"/>
                <a:gd name="T95" fmla="*/ 622 h 774"/>
                <a:gd name="T96" fmla="*/ 291 w 933"/>
                <a:gd name="T97" fmla="*/ 607 h 774"/>
                <a:gd name="T98" fmla="*/ 247 w 933"/>
                <a:gd name="T99" fmla="*/ 601 h 774"/>
                <a:gd name="T100" fmla="*/ 176 w 933"/>
                <a:gd name="T101" fmla="*/ 605 h 774"/>
                <a:gd name="T102" fmla="*/ 126 w 933"/>
                <a:gd name="T103" fmla="*/ 534 h 774"/>
                <a:gd name="T104" fmla="*/ 75 w 933"/>
                <a:gd name="T105" fmla="*/ 480 h 774"/>
                <a:gd name="T106" fmla="*/ 67 w 933"/>
                <a:gd name="T107" fmla="*/ 392 h 774"/>
                <a:gd name="T108" fmla="*/ 19 w 933"/>
                <a:gd name="T109" fmla="*/ 323 h 774"/>
                <a:gd name="T110" fmla="*/ 109 w 933"/>
                <a:gd name="T111" fmla="*/ 236 h 774"/>
                <a:gd name="T112" fmla="*/ 176 w 933"/>
                <a:gd name="T113" fmla="*/ 259 h 774"/>
                <a:gd name="T114" fmla="*/ 265 w 933"/>
                <a:gd name="T115" fmla="*/ 236 h 774"/>
                <a:gd name="T116" fmla="*/ 318 w 933"/>
                <a:gd name="T117" fmla="*/ 154 h 774"/>
                <a:gd name="T118" fmla="*/ 386 w 933"/>
                <a:gd name="T119" fmla="*/ 113 h 774"/>
                <a:gd name="T120" fmla="*/ 430 w 933"/>
                <a:gd name="T121" fmla="*/ 31 h 774"/>
                <a:gd name="T122" fmla="*/ 485 w 933"/>
                <a:gd name="T123" fmla="*/ 15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3" h="774">
                  <a:moveTo>
                    <a:pt x="551" y="27"/>
                  </a:moveTo>
                  <a:lnTo>
                    <a:pt x="549" y="31"/>
                  </a:lnTo>
                  <a:lnTo>
                    <a:pt x="553" y="31"/>
                  </a:lnTo>
                  <a:lnTo>
                    <a:pt x="554" y="35"/>
                  </a:lnTo>
                  <a:lnTo>
                    <a:pt x="551" y="38"/>
                  </a:lnTo>
                  <a:lnTo>
                    <a:pt x="547" y="38"/>
                  </a:lnTo>
                  <a:lnTo>
                    <a:pt x="545" y="46"/>
                  </a:lnTo>
                  <a:lnTo>
                    <a:pt x="545" y="48"/>
                  </a:lnTo>
                  <a:lnTo>
                    <a:pt x="549" y="48"/>
                  </a:lnTo>
                  <a:lnTo>
                    <a:pt x="554" y="48"/>
                  </a:lnTo>
                  <a:lnTo>
                    <a:pt x="556" y="46"/>
                  </a:lnTo>
                  <a:lnTo>
                    <a:pt x="558" y="48"/>
                  </a:lnTo>
                  <a:lnTo>
                    <a:pt x="558" y="50"/>
                  </a:lnTo>
                  <a:lnTo>
                    <a:pt x="556" y="58"/>
                  </a:lnTo>
                  <a:lnTo>
                    <a:pt x="556" y="61"/>
                  </a:lnTo>
                  <a:lnTo>
                    <a:pt x="554" y="69"/>
                  </a:lnTo>
                  <a:lnTo>
                    <a:pt x="558" y="73"/>
                  </a:lnTo>
                  <a:lnTo>
                    <a:pt x="554" y="79"/>
                  </a:lnTo>
                  <a:lnTo>
                    <a:pt x="551" y="79"/>
                  </a:lnTo>
                  <a:lnTo>
                    <a:pt x="549" y="81"/>
                  </a:lnTo>
                  <a:lnTo>
                    <a:pt x="549" y="83"/>
                  </a:lnTo>
                  <a:lnTo>
                    <a:pt x="553" y="84"/>
                  </a:lnTo>
                  <a:lnTo>
                    <a:pt x="554" y="88"/>
                  </a:lnTo>
                  <a:lnTo>
                    <a:pt x="556" y="94"/>
                  </a:lnTo>
                  <a:lnTo>
                    <a:pt x="560" y="94"/>
                  </a:lnTo>
                  <a:lnTo>
                    <a:pt x="562" y="88"/>
                  </a:lnTo>
                  <a:lnTo>
                    <a:pt x="566" y="88"/>
                  </a:lnTo>
                  <a:lnTo>
                    <a:pt x="570" y="90"/>
                  </a:lnTo>
                  <a:lnTo>
                    <a:pt x="576" y="90"/>
                  </a:lnTo>
                  <a:lnTo>
                    <a:pt x="577" y="86"/>
                  </a:lnTo>
                  <a:lnTo>
                    <a:pt x="581" y="86"/>
                  </a:lnTo>
                  <a:lnTo>
                    <a:pt x="591" y="90"/>
                  </a:lnTo>
                  <a:lnTo>
                    <a:pt x="593" y="94"/>
                  </a:lnTo>
                  <a:lnTo>
                    <a:pt x="593" y="98"/>
                  </a:lnTo>
                  <a:lnTo>
                    <a:pt x="597" y="100"/>
                  </a:lnTo>
                  <a:lnTo>
                    <a:pt x="599" y="98"/>
                  </a:lnTo>
                  <a:lnTo>
                    <a:pt x="602" y="98"/>
                  </a:lnTo>
                  <a:lnTo>
                    <a:pt x="604" y="104"/>
                  </a:lnTo>
                  <a:lnTo>
                    <a:pt x="610" y="106"/>
                  </a:lnTo>
                  <a:lnTo>
                    <a:pt x="618" y="100"/>
                  </a:lnTo>
                  <a:lnTo>
                    <a:pt x="618" y="104"/>
                  </a:lnTo>
                  <a:lnTo>
                    <a:pt x="622" y="104"/>
                  </a:lnTo>
                  <a:lnTo>
                    <a:pt x="624" y="102"/>
                  </a:lnTo>
                  <a:lnTo>
                    <a:pt x="627" y="102"/>
                  </a:lnTo>
                  <a:lnTo>
                    <a:pt x="627" y="100"/>
                  </a:lnTo>
                  <a:lnTo>
                    <a:pt x="631" y="98"/>
                  </a:lnTo>
                  <a:lnTo>
                    <a:pt x="631" y="104"/>
                  </a:lnTo>
                  <a:lnTo>
                    <a:pt x="635" y="106"/>
                  </a:lnTo>
                  <a:lnTo>
                    <a:pt x="637" y="102"/>
                  </a:lnTo>
                  <a:lnTo>
                    <a:pt x="641" y="102"/>
                  </a:lnTo>
                  <a:lnTo>
                    <a:pt x="639" y="106"/>
                  </a:lnTo>
                  <a:lnTo>
                    <a:pt x="639" y="109"/>
                  </a:lnTo>
                  <a:lnTo>
                    <a:pt x="637" y="111"/>
                  </a:lnTo>
                  <a:lnTo>
                    <a:pt x="635" y="115"/>
                  </a:lnTo>
                  <a:lnTo>
                    <a:pt x="639" y="115"/>
                  </a:lnTo>
                  <a:lnTo>
                    <a:pt x="637" y="117"/>
                  </a:lnTo>
                  <a:lnTo>
                    <a:pt x="637" y="121"/>
                  </a:lnTo>
                  <a:lnTo>
                    <a:pt x="643" y="123"/>
                  </a:lnTo>
                  <a:lnTo>
                    <a:pt x="643" y="129"/>
                  </a:lnTo>
                  <a:lnTo>
                    <a:pt x="650" y="129"/>
                  </a:lnTo>
                  <a:lnTo>
                    <a:pt x="650" y="133"/>
                  </a:lnTo>
                  <a:lnTo>
                    <a:pt x="648" y="136"/>
                  </a:lnTo>
                  <a:lnTo>
                    <a:pt x="645" y="138"/>
                  </a:lnTo>
                  <a:lnTo>
                    <a:pt x="648" y="146"/>
                  </a:lnTo>
                  <a:lnTo>
                    <a:pt x="650" y="148"/>
                  </a:lnTo>
                  <a:lnTo>
                    <a:pt x="648" y="152"/>
                  </a:lnTo>
                  <a:lnTo>
                    <a:pt x="652" y="159"/>
                  </a:lnTo>
                  <a:lnTo>
                    <a:pt x="652" y="167"/>
                  </a:lnTo>
                  <a:lnTo>
                    <a:pt x="654" y="171"/>
                  </a:lnTo>
                  <a:lnTo>
                    <a:pt x="660" y="173"/>
                  </a:lnTo>
                  <a:lnTo>
                    <a:pt x="660" y="179"/>
                  </a:lnTo>
                  <a:lnTo>
                    <a:pt x="664" y="181"/>
                  </a:lnTo>
                  <a:lnTo>
                    <a:pt x="668" y="184"/>
                  </a:lnTo>
                  <a:lnTo>
                    <a:pt x="672" y="184"/>
                  </a:lnTo>
                  <a:lnTo>
                    <a:pt x="672" y="186"/>
                  </a:lnTo>
                  <a:lnTo>
                    <a:pt x="675" y="188"/>
                  </a:lnTo>
                  <a:lnTo>
                    <a:pt x="677" y="190"/>
                  </a:lnTo>
                  <a:lnTo>
                    <a:pt x="673" y="192"/>
                  </a:lnTo>
                  <a:lnTo>
                    <a:pt x="675" y="194"/>
                  </a:lnTo>
                  <a:lnTo>
                    <a:pt x="679" y="194"/>
                  </a:lnTo>
                  <a:lnTo>
                    <a:pt x="683" y="196"/>
                  </a:lnTo>
                  <a:lnTo>
                    <a:pt x="687" y="196"/>
                  </a:lnTo>
                  <a:lnTo>
                    <a:pt x="691" y="202"/>
                  </a:lnTo>
                  <a:lnTo>
                    <a:pt x="693" y="202"/>
                  </a:lnTo>
                  <a:lnTo>
                    <a:pt x="695" y="204"/>
                  </a:lnTo>
                  <a:lnTo>
                    <a:pt x="700" y="207"/>
                  </a:lnTo>
                  <a:lnTo>
                    <a:pt x="698" y="211"/>
                  </a:lnTo>
                  <a:lnTo>
                    <a:pt x="704" y="213"/>
                  </a:lnTo>
                  <a:lnTo>
                    <a:pt x="702" y="217"/>
                  </a:lnTo>
                  <a:lnTo>
                    <a:pt x="708" y="221"/>
                  </a:lnTo>
                  <a:lnTo>
                    <a:pt x="708" y="223"/>
                  </a:lnTo>
                  <a:lnTo>
                    <a:pt x="704" y="223"/>
                  </a:lnTo>
                  <a:lnTo>
                    <a:pt x="704" y="221"/>
                  </a:lnTo>
                  <a:lnTo>
                    <a:pt x="700" y="219"/>
                  </a:lnTo>
                  <a:lnTo>
                    <a:pt x="696" y="225"/>
                  </a:lnTo>
                  <a:lnTo>
                    <a:pt x="691" y="227"/>
                  </a:lnTo>
                  <a:lnTo>
                    <a:pt x="691" y="229"/>
                  </a:lnTo>
                  <a:lnTo>
                    <a:pt x="695" y="229"/>
                  </a:lnTo>
                  <a:lnTo>
                    <a:pt x="695" y="232"/>
                  </a:lnTo>
                  <a:lnTo>
                    <a:pt x="698" y="229"/>
                  </a:lnTo>
                  <a:lnTo>
                    <a:pt x="700" y="230"/>
                  </a:lnTo>
                  <a:lnTo>
                    <a:pt x="700" y="232"/>
                  </a:lnTo>
                  <a:lnTo>
                    <a:pt x="698" y="232"/>
                  </a:lnTo>
                  <a:lnTo>
                    <a:pt x="698" y="234"/>
                  </a:lnTo>
                  <a:lnTo>
                    <a:pt x="695" y="234"/>
                  </a:lnTo>
                  <a:lnTo>
                    <a:pt x="696" y="238"/>
                  </a:lnTo>
                  <a:lnTo>
                    <a:pt x="693" y="238"/>
                  </a:lnTo>
                  <a:lnTo>
                    <a:pt x="693" y="240"/>
                  </a:lnTo>
                  <a:lnTo>
                    <a:pt x="696" y="240"/>
                  </a:lnTo>
                  <a:lnTo>
                    <a:pt x="695" y="246"/>
                  </a:lnTo>
                  <a:lnTo>
                    <a:pt x="691" y="244"/>
                  </a:lnTo>
                  <a:lnTo>
                    <a:pt x="689" y="246"/>
                  </a:lnTo>
                  <a:lnTo>
                    <a:pt x="689" y="248"/>
                  </a:lnTo>
                  <a:lnTo>
                    <a:pt x="695" y="250"/>
                  </a:lnTo>
                  <a:lnTo>
                    <a:pt x="695" y="254"/>
                  </a:lnTo>
                  <a:lnTo>
                    <a:pt x="702" y="255"/>
                  </a:lnTo>
                  <a:lnTo>
                    <a:pt x="708" y="254"/>
                  </a:lnTo>
                  <a:lnTo>
                    <a:pt x="714" y="259"/>
                  </a:lnTo>
                  <a:lnTo>
                    <a:pt x="718" y="257"/>
                  </a:lnTo>
                  <a:lnTo>
                    <a:pt x="719" y="257"/>
                  </a:lnTo>
                  <a:lnTo>
                    <a:pt x="719" y="255"/>
                  </a:lnTo>
                  <a:lnTo>
                    <a:pt x="716" y="254"/>
                  </a:lnTo>
                  <a:lnTo>
                    <a:pt x="718" y="250"/>
                  </a:lnTo>
                  <a:lnTo>
                    <a:pt x="714" y="248"/>
                  </a:lnTo>
                  <a:lnTo>
                    <a:pt x="716" y="242"/>
                  </a:lnTo>
                  <a:lnTo>
                    <a:pt x="714" y="240"/>
                  </a:lnTo>
                  <a:lnTo>
                    <a:pt x="716" y="236"/>
                  </a:lnTo>
                  <a:lnTo>
                    <a:pt x="719" y="234"/>
                  </a:lnTo>
                  <a:lnTo>
                    <a:pt x="718" y="234"/>
                  </a:lnTo>
                  <a:lnTo>
                    <a:pt x="716" y="232"/>
                  </a:lnTo>
                  <a:lnTo>
                    <a:pt x="721" y="232"/>
                  </a:lnTo>
                  <a:lnTo>
                    <a:pt x="723" y="230"/>
                  </a:lnTo>
                  <a:lnTo>
                    <a:pt x="727" y="232"/>
                  </a:lnTo>
                  <a:lnTo>
                    <a:pt x="727" y="236"/>
                  </a:lnTo>
                  <a:lnTo>
                    <a:pt x="731" y="236"/>
                  </a:lnTo>
                  <a:lnTo>
                    <a:pt x="733" y="234"/>
                  </a:lnTo>
                  <a:lnTo>
                    <a:pt x="735" y="230"/>
                  </a:lnTo>
                  <a:lnTo>
                    <a:pt x="729" y="227"/>
                  </a:lnTo>
                  <a:lnTo>
                    <a:pt x="733" y="227"/>
                  </a:lnTo>
                  <a:lnTo>
                    <a:pt x="735" y="225"/>
                  </a:lnTo>
                  <a:lnTo>
                    <a:pt x="727" y="219"/>
                  </a:lnTo>
                  <a:lnTo>
                    <a:pt x="729" y="219"/>
                  </a:lnTo>
                  <a:lnTo>
                    <a:pt x="733" y="219"/>
                  </a:lnTo>
                  <a:lnTo>
                    <a:pt x="737" y="223"/>
                  </a:lnTo>
                  <a:lnTo>
                    <a:pt x="743" y="223"/>
                  </a:lnTo>
                  <a:lnTo>
                    <a:pt x="743" y="227"/>
                  </a:lnTo>
                  <a:lnTo>
                    <a:pt x="744" y="221"/>
                  </a:lnTo>
                  <a:lnTo>
                    <a:pt x="748" y="221"/>
                  </a:lnTo>
                  <a:lnTo>
                    <a:pt x="750" y="227"/>
                  </a:lnTo>
                  <a:lnTo>
                    <a:pt x="746" y="227"/>
                  </a:lnTo>
                  <a:lnTo>
                    <a:pt x="744" y="229"/>
                  </a:lnTo>
                  <a:lnTo>
                    <a:pt x="750" y="232"/>
                  </a:lnTo>
                  <a:lnTo>
                    <a:pt x="746" y="232"/>
                  </a:lnTo>
                  <a:lnTo>
                    <a:pt x="744" y="234"/>
                  </a:lnTo>
                  <a:lnTo>
                    <a:pt x="754" y="234"/>
                  </a:lnTo>
                  <a:lnTo>
                    <a:pt x="754" y="242"/>
                  </a:lnTo>
                  <a:lnTo>
                    <a:pt x="758" y="238"/>
                  </a:lnTo>
                  <a:lnTo>
                    <a:pt x="767" y="236"/>
                  </a:lnTo>
                  <a:lnTo>
                    <a:pt x="767" y="229"/>
                  </a:lnTo>
                  <a:lnTo>
                    <a:pt x="769" y="229"/>
                  </a:lnTo>
                  <a:lnTo>
                    <a:pt x="773" y="225"/>
                  </a:lnTo>
                  <a:lnTo>
                    <a:pt x="775" y="225"/>
                  </a:lnTo>
                  <a:lnTo>
                    <a:pt x="779" y="223"/>
                  </a:lnTo>
                  <a:lnTo>
                    <a:pt x="781" y="221"/>
                  </a:lnTo>
                  <a:lnTo>
                    <a:pt x="781" y="217"/>
                  </a:lnTo>
                  <a:lnTo>
                    <a:pt x="785" y="217"/>
                  </a:lnTo>
                  <a:lnTo>
                    <a:pt x="783" y="215"/>
                  </a:lnTo>
                  <a:lnTo>
                    <a:pt x="789" y="213"/>
                  </a:lnTo>
                  <a:lnTo>
                    <a:pt x="794" y="219"/>
                  </a:lnTo>
                  <a:lnTo>
                    <a:pt x="800" y="223"/>
                  </a:lnTo>
                  <a:lnTo>
                    <a:pt x="798" y="230"/>
                  </a:lnTo>
                  <a:lnTo>
                    <a:pt x="794" y="238"/>
                  </a:lnTo>
                  <a:lnTo>
                    <a:pt x="794" y="246"/>
                  </a:lnTo>
                  <a:lnTo>
                    <a:pt x="794" y="248"/>
                  </a:lnTo>
                  <a:lnTo>
                    <a:pt x="794" y="255"/>
                  </a:lnTo>
                  <a:lnTo>
                    <a:pt x="792" y="255"/>
                  </a:lnTo>
                  <a:lnTo>
                    <a:pt x="791" y="265"/>
                  </a:lnTo>
                  <a:lnTo>
                    <a:pt x="789" y="267"/>
                  </a:lnTo>
                  <a:lnTo>
                    <a:pt x="792" y="271"/>
                  </a:lnTo>
                  <a:lnTo>
                    <a:pt x="789" y="271"/>
                  </a:lnTo>
                  <a:lnTo>
                    <a:pt x="791" y="273"/>
                  </a:lnTo>
                  <a:lnTo>
                    <a:pt x="791" y="275"/>
                  </a:lnTo>
                  <a:lnTo>
                    <a:pt x="794" y="275"/>
                  </a:lnTo>
                  <a:lnTo>
                    <a:pt x="794" y="273"/>
                  </a:lnTo>
                  <a:lnTo>
                    <a:pt x="798" y="277"/>
                  </a:lnTo>
                  <a:lnTo>
                    <a:pt x="802" y="267"/>
                  </a:lnTo>
                  <a:lnTo>
                    <a:pt x="806" y="265"/>
                  </a:lnTo>
                  <a:lnTo>
                    <a:pt x="808" y="267"/>
                  </a:lnTo>
                  <a:lnTo>
                    <a:pt x="810" y="267"/>
                  </a:lnTo>
                  <a:lnTo>
                    <a:pt x="810" y="263"/>
                  </a:lnTo>
                  <a:lnTo>
                    <a:pt x="804" y="261"/>
                  </a:lnTo>
                  <a:lnTo>
                    <a:pt x="806" y="257"/>
                  </a:lnTo>
                  <a:lnTo>
                    <a:pt x="814" y="261"/>
                  </a:lnTo>
                  <a:lnTo>
                    <a:pt x="815" y="261"/>
                  </a:lnTo>
                  <a:lnTo>
                    <a:pt x="815" y="263"/>
                  </a:lnTo>
                  <a:lnTo>
                    <a:pt x="819" y="261"/>
                  </a:lnTo>
                  <a:lnTo>
                    <a:pt x="819" y="257"/>
                  </a:lnTo>
                  <a:lnTo>
                    <a:pt x="821" y="259"/>
                  </a:lnTo>
                  <a:lnTo>
                    <a:pt x="819" y="261"/>
                  </a:lnTo>
                  <a:lnTo>
                    <a:pt x="823" y="257"/>
                  </a:lnTo>
                  <a:lnTo>
                    <a:pt x="827" y="261"/>
                  </a:lnTo>
                  <a:lnTo>
                    <a:pt x="831" y="257"/>
                  </a:lnTo>
                  <a:lnTo>
                    <a:pt x="831" y="259"/>
                  </a:lnTo>
                  <a:lnTo>
                    <a:pt x="835" y="261"/>
                  </a:lnTo>
                  <a:lnTo>
                    <a:pt x="835" y="267"/>
                  </a:lnTo>
                  <a:lnTo>
                    <a:pt x="833" y="271"/>
                  </a:lnTo>
                  <a:lnTo>
                    <a:pt x="837" y="271"/>
                  </a:lnTo>
                  <a:lnTo>
                    <a:pt x="838" y="277"/>
                  </a:lnTo>
                  <a:lnTo>
                    <a:pt x="835" y="280"/>
                  </a:lnTo>
                  <a:lnTo>
                    <a:pt x="838" y="282"/>
                  </a:lnTo>
                  <a:lnTo>
                    <a:pt x="837" y="284"/>
                  </a:lnTo>
                  <a:lnTo>
                    <a:pt x="837" y="290"/>
                  </a:lnTo>
                  <a:lnTo>
                    <a:pt x="840" y="292"/>
                  </a:lnTo>
                  <a:lnTo>
                    <a:pt x="842" y="296"/>
                  </a:lnTo>
                  <a:lnTo>
                    <a:pt x="846" y="298"/>
                  </a:lnTo>
                  <a:lnTo>
                    <a:pt x="844" y="302"/>
                  </a:lnTo>
                  <a:lnTo>
                    <a:pt x="846" y="303"/>
                  </a:lnTo>
                  <a:lnTo>
                    <a:pt x="854" y="305"/>
                  </a:lnTo>
                  <a:lnTo>
                    <a:pt x="862" y="311"/>
                  </a:lnTo>
                  <a:lnTo>
                    <a:pt x="865" y="309"/>
                  </a:lnTo>
                  <a:lnTo>
                    <a:pt x="865" y="313"/>
                  </a:lnTo>
                  <a:lnTo>
                    <a:pt x="863" y="315"/>
                  </a:lnTo>
                  <a:lnTo>
                    <a:pt x="865" y="317"/>
                  </a:lnTo>
                  <a:lnTo>
                    <a:pt x="865" y="319"/>
                  </a:lnTo>
                  <a:lnTo>
                    <a:pt x="867" y="321"/>
                  </a:lnTo>
                  <a:lnTo>
                    <a:pt x="867" y="325"/>
                  </a:lnTo>
                  <a:lnTo>
                    <a:pt x="871" y="325"/>
                  </a:lnTo>
                  <a:lnTo>
                    <a:pt x="869" y="328"/>
                  </a:lnTo>
                  <a:lnTo>
                    <a:pt x="863" y="328"/>
                  </a:lnTo>
                  <a:lnTo>
                    <a:pt x="863" y="334"/>
                  </a:lnTo>
                  <a:lnTo>
                    <a:pt x="856" y="336"/>
                  </a:lnTo>
                  <a:lnTo>
                    <a:pt x="854" y="336"/>
                  </a:lnTo>
                  <a:lnTo>
                    <a:pt x="852" y="336"/>
                  </a:lnTo>
                  <a:lnTo>
                    <a:pt x="854" y="336"/>
                  </a:lnTo>
                  <a:lnTo>
                    <a:pt x="854" y="340"/>
                  </a:lnTo>
                  <a:lnTo>
                    <a:pt x="860" y="340"/>
                  </a:lnTo>
                  <a:lnTo>
                    <a:pt x="858" y="344"/>
                  </a:lnTo>
                  <a:lnTo>
                    <a:pt x="860" y="342"/>
                  </a:lnTo>
                  <a:lnTo>
                    <a:pt x="862" y="344"/>
                  </a:lnTo>
                  <a:lnTo>
                    <a:pt x="869" y="344"/>
                  </a:lnTo>
                  <a:lnTo>
                    <a:pt x="871" y="342"/>
                  </a:lnTo>
                  <a:lnTo>
                    <a:pt x="873" y="348"/>
                  </a:lnTo>
                  <a:lnTo>
                    <a:pt x="875" y="348"/>
                  </a:lnTo>
                  <a:lnTo>
                    <a:pt x="877" y="344"/>
                  </a:lnTo>
                  <a:lnTo>
                    <a:pt x="879" y="346"/>
                  </a:lnTo>
                  <a:lnTo>
                    <a:pt x="877" y="348"/>
                  </a:lnTo>
                  <a:lnTo>
                    <a:pt x="875" y="348"/>
                  </a:lnTo>
                  <a:lnTo>
                    <a:pt x="869" y="351"/>
                  </a:lnTo>
                  <a:lnTo>
                    <a:pt x="867" y="350"/>
                  </a:lnTo>
                  <a:lnTo>
                    <a:pt x="860" y="355"/>
                  </a:lnTo>
                  <a:lnTo>
                    <a:pt x="856" y="355"/>
                  </a:lnTo>
                  <a:lnTo>
                    <a:pt x="848" y="357"/>
                  </a:lnTo>
                  <a:lnTo>
                    <a:pt x="842" y="361"/>
                  </a:lnTo>
                  <a:lnTo>
                    <a:pt x="842" y="365"/>
                  </a:lnTo>
                  <a:lnTo>
                    <a:pt x="844" y="367"/>
                  </a:lnTo>
                  <a:lnTo>
                    <a:pt x="842" y="371"/>
                  </a:lnTo>
                  <a:lnTo>
                    <a:pt x="846" y="371"/>
                  </a:lnTo>
                  <a:lnTo>
                    <a:pt x="846" y="375"/>
                  </a:lnTo>
                  <a:lnTo>
                    <a:pt x="848" y="375"/>
                  </a:lnTo>
                  <a:lnTo>
                    <a:pt x="850" y="373"/>
                  </a:lnTo>
                  <a:lnTo>
                    <a:pt x="848" y="371"/>
                  </a:lnTo>
                  <a:lnTo>
                    <a:pt x="850" y="363"/>
                  </a:lnTo>
                  <a:lnTo>
                    <a:pt x="852" y="363"/>
                  </a:lnTo>
                  <a:lnTo>
                    <a:pt x="852" y="367"/>
                  </a:lnTo>
                  <a:lnTo>
                    <a:pt x="863" y="365"/>
                  </a:lnTo>
                  <a:lnTo>
                    <a:pt x="871" y="361"/>
                  </a:lnTo>
                  <a:lnTo>
                    <a:pt x="873" y="361"/>
                  </a:lnTo>
                  <a:lnTo>
                    <a:pt x="875" y="355"/>
                  </a:lnTo>
                  <a:lnTo>
                    <a:pt x="879" y="353"/>
                  </a:lnTo>
                  <a:lnTo>
                    <a:pt x="888" y="355"/>
                  </a:lnTo>
                  <a:lnTo>
                    <a:pt x="892" y="359"/>
                  </a:lnTo>
                  <a:lnTo>
                    <a:pt x="894" y="355"/>
                  </a:lnTo>
                  <a:lnTo>
                    <a:pt x="898" y="357"/>
                  </a:lnTo>
                  <a:lnTo>
                    <a:pt x="900" y="357"/>
                  </a:lnTo>
                  <a:lnTo>
                    <a:pt x="902" y="359"/>
                  </a:lnTo>
                  <a:lnTo>
                    <a:pt x="906" y="357"/>
                  </a:lnTo>
                  <a:lnTo>
                    <a:pt x="908" y="361"/>
                  </a:lnTo>
                  <a:lnTo>
                    <a:pt x="906" y="363"/>
                  </a:lnTo>
                  <a:lnTo>
                    <a:pt x="910" y="361"/>
                  </a:lnTo>
                  <a:lnTo>
                    <a:pt x="910" y="357"/>
                  </a:lnTo>
                  <a:lnTo>
                    <a:pt x="915" y="357"/>
                  </a:lnTo>
                  <a:lnTo>
                    <a:pt x="915" y="355"/>
                  </a:lnTo>
                  <a:lnTo>
                    <a:pt x="917" y="355"/>
                  </a:lnTo>
                  <a:lnTo>
                    <a:pt x="915" y="351"/>
                  </a:lnTo>
                  <a:lnTo>
                    <a:pt x="921" y="351"/>
                  </a:lnTo>
                  <a:lnTo>
                    <a:pt x="927" y="353"/>
                  </a:lnTo>
                  <a:lnTo>
                    <a:pt x="927" y="351"/>
                  </a:lnTo>
                  <a:lnTo>
                    <a:pt x="933" y="355"/>
                  </a:lnTo>
                  <a:lnTo>
                    <a:pt x="929" y="359"/>
                  </a:lnTo>
                  <a:lnTo>
                    <a:pt x="925" y="359"/>
                  </a:lnTo>
                  <a:lnTo>
                    <a:pt x="927" y="365"/>
                  </a:lnTo>
                  <a:lnTo>
                    <a:pt x="921" y="365"/>
                  </a:lnTo>
                  <a:lnTo>
                    <a:pt x="923" y="371"/>
                  </a:lnTo>
                  <a:lnTo>
                    <a:pt x="915" y="369"/>
                  </a:lnTo>
                  <a:lnTo>
                    <a:pt x="913" y="369"/>
                  </a:lnTo>
                  <a:lnTo>
                    <a:pt x="913" y="373"/>
                  </a:lnTo>
                  <a:lnTo>
                    <a:pt x="915" y="375"/>
                  </a:lnTo>
                  <a:lnTo>
                    <a:pt x="913" y="376"/>
                  </a:lnTo>
                  <a:lnTo>
                    <a:pt x="913" y="382"/>
                  </a:lnTo>
                  <a:lnTo>
                    <a:pt x="910" y="382"/>
                  </a:lnTo>
                  <a:lnTo>
                    <a:pt x="902" y="380"/>
                  </a:lnTo>
                  <a:lnTo>
                    <a:pt x="900" y="382"/>
                  </a:lnTo>
                  <a:lnTo>
                    <a:pt x="892" y="384"/>
                  </a:lnTo>
                  <a:lnTo>
                    <a:pt x="890" y="388"/>
                  </a:lnTo>
                  <a:lnTo>
                    <a:pt x="886" y="388"/>
                  </a:lnTo>
                  <a:lnTo>
                    <a:pt x="885" y="390"/>
                  </a:lnTo>
                  <a:lnTo>
                    <a:pt x="885" y="394"/>
                  </a:lnTo>
                  <a:lnTo>
                    <a:pt x="883" y="396"/>
                  </a:lnTo>
                  <a:lnTo>
                    <a:pt x="875" y="398"/>
                  </a:lnTo>
                  <a:lnTo>
                    <a:pt x="873" y="401"/>
                  </a:lnTo>
                  <a:lnTo>
                    <a:pt x="867" y="401"/>
                  </a:lnTo>
                  <a:lnTo>
                    <a:pt x="862" y="405"/>
                  </a:lnTo>
                  <a:lnTo>
                    <a:pt x="854" y="407"/>
                  </a:lnTo>
                  <a:lnTo>
                    <a:pt x="852" y="411"/>
                  </a:lnTo>
                  <a:lnTo>
                    <a:pt x="842" y="411"/>
                  </a:lnTo>
                  <a:lnTo>
                    <a:pt x="842" y="415"/>
                  </a:lnTo>
                  <a:lnTo>
                    <a:pt x="835" y="415"/>
                  </a:lnTo>
                  <a:lnTo>
                    <a:pt x="829" y="419"/>
                  </a:lnTo>
                  <a:lnTo>
                    <a:pt x="825" y="424"/>
                  </a:lnTo>
                  <a:lnTo>
                    <a:pt x="817" y="430"/>
                  </a:lnTo>
                  <a:lnTo>
                    <a:pt x="810" y="430"/>
                  </a:lnTo>
                  <a:lnTo>
                    <a:pt x="806" y="436"/>
                  </a:lnTo>
                  <a:lnTo>
                    <a:pt x="798" y="436"/>
                  </a:lnTo>
                  <a:lnTo>
                    <a:pt x="794" y="442"/>
                  </a:lnTo>
                  <a:lnTo>
                    <a:pt x="785" y="446"/>
                  </a:lnTo>
                  <a:lnTo>
                    <a:pt x="783" y="449"/>
                  </a:lnTo>
                  <a:lnTo>
                    <a:pt x="777" y="451"/>
                  </a:lnTo>
                  <a:lnTo>
                    <a:pt x="773" y="457"/>
                  </a:lnTo>
                  <a:lnTo>
                    <a:pt x="773" y="459"/>
                  </a:lnTo>
                  <a:lnTo>
                    <a:pt x="771" y="461"/>
                  </a:lnTo>
                  <a:lnTo>
                    <a:pt x="767" y="461"/>
                  </a:lnTo>
                  <a:lnTo>
                    <a:pt x="767" y="465"/>
                  </a:lnTo>
                  <a:lnTo>
                    <a:pt x="764" y="467"/>
                  </a:lnTo>
                  <a:lnTo>
                    <a:pt x="754" y="465"/>
                  </a:lnTo>
                  <a:lnTo>
                    <a:pt x="752" y="469"/>
                  </a:lnTo>
                  <a:lnTo>
                    <a:pt x="748" y="469"/>
                  </a:lnTo>
                  <a:lnTo>
                    <a:pt x="744" y="474"/>
                  </a:lnTo>
                  <a:lnTo>
                    <a:pt x="743" y="478"/>
                  </a:lnTo>
                  <a:lnTo>
                    <a:pt x="743" y="484"/>
                  </a:lnTo>
                  <a:lnTo>
                    <a:pt x="737" y="486"/>
                  </a:lnTo>
                  <a:lnTo>
                    <a:pt x="737" y="490"/>
                  </a:lnTo>
                  <a:lnTo>
                    <a:pt x="739" y="490"/>
                  </a:lnTo>
                  <a:lnTo>
                    <a:pt x="739" y="494"/>
                  </a:lnTo>
                  <a:lnTo>
                    <a:pt x="741" y="497"/>
                  </a:lnTo>
                  <a:lnTo>
                    <a:pt x="739" y="501"/>
                  </a:lnTo>
                  <a:lnTo>
                    <a:pt x="741" y="507"/>
                  </a:lnTo>
                  <a:lnTo>
                    <a:pt x="744" y="511"/>
                  </a:lnTo>
                  <a:lnTo>
                    <a:pt x="744" y="515"/>
                  </a:lnTo>
                  <a:lnTo>
                    <a:pt x="746" y="517"/>
                  </a:lnTo>
                  <a:lnTo>
                    <a:pt x="750" y="522"/>
                  </a:lnTo>
                  <a:lnTo>
                    <a:pt x="752" y="522"/>
                  </a:lnTo>
                  <a:lnTo>
                    <a:pt x="756" y="526"/>
                  </a:lnTo>
                  <a:lnTo>
                    <a:pt x="760" y="526"/>
                  </a:lnTo>
                  <a:lnTo>
                    <a:pt x="762" y="528"/>
                  </a:lnTo>
                  <a:lnTo>
                    <a:pt x="767" y="530"/>
                  </a:lnTo>
                  <a:lnTo>
                    <a:pt x="773" y="528"/>
                  </a:lnTo>
                  <a:lnTo>
                    <a:pt x="777" y="526"/>
                  </a:lnTo>
                  <a:lnTo>
                    <a:pt x="783" y="530"/>
                  </a:lnTo>
                  <a:lnTo>
                    <a:pt x="785" y="534"/>
                  </a:lnTo>
                  <a:lnTo>
                    <a:pt x="787" y="532"/>
                  </a:lnTo>
                  <a:lnTo>
                    <a:pt x="794" y="532"/>
                  </a:lnTo>
                  <a:lnTo>
                    <a:pt x="796" y="528"/>
                  </a:lnTo>
                  <a:lnTo>
                    <a:pt x="798" y="530"/>
                  </a:lnTo>
                  <a:lnTo>
                    <a:pt x="800" y="526"/>
                  </a:lnTo>
                  <a:lnTo>
                    <a:pt x="808" y="530"/>
                  </a:lnTo>
                  <a:lnTo>
                    <a:pt x="814" y="530"/>
                  </a:lnTo>
                  <a:lnTo>
                    <a:pt x="814" y="528"/>
                  </a:lnTo>
                  <a:lnTo>
                    <a:pt x="815" y="528"/>
                  </a:lnTo>
                  <a:lnTo>
                    <a:pt x="815" y="522"/>
                  </a:lnTo>
                  <a:lnTo>
                    <a:pt x="823" y="519"/>
                  </a:lnTo>
                  <a:lnTo>
                    <a:pt x="825" y="517"/>
                  </a:lnTo>
                  <a:lnTo>
                    <a:pt x="831" y="519"/>
                  </a:lnTo>
                  <a:lnTo>
                    <a:pt x="829" y="528"/>
                  </a:lnTo>
                  <a:lnTo>
                    <a:pt x="831" y="528"/>
                  </a:lnTo>
                  <a:lnTo>
                    <a:pt x="831" y="532"/>
                  </a:lnTo>
                  <a:lnTo>
                    <a:pt x="829" y="536"/>
                  </a:lnTo>
                  <a:lnTo>
                    <a:pt x="835" y="540"/>
                  </a:lnTo>
                  <a:lnTo>
                    <a:pt x="835" y="544"/>
                  </a:lnTo>
                  <a:lnTo>
                    <a:pt x="833" y="544"/>
                  </a:lnTo>
                  <a:lnTo>
                    <a:pt x="831" y="551"/>
                  </a:lnTo>
                  <a:lnTo>
                    <a:pt x="833" y="551"/>
                  </a:lnTo>
                  <a:lnTo>
                    <a:pt x="831" y="551"/>
                  </a:lnTo>
                  <a:lnTo>
                    <a:pt x="829" y="553"/>
                  </a:lnTo>
                  <a:lnTo>
                    <a:pt x="823" y="555"/>
                  </a:lnTo>
                  <a:lnTo>
                    <a:pt x="819" y="551"/>
                  </a:lnTo>
                  <a:lnTo>
                    <a:pt x="808" y="551"/>
                  </a:lnTo>
                  <a:lnTo>
                    <a:pt x="808" y="555"/>
                  </a:lnTo>
                  <a:lnTo>
                    <a:pt x="806" y="553"/>
                  </a:lnTo>
                  <a:lnTo>
                    <a:pt x="802" y="557"/>
                  </a:lnTo>
                  <a:lnTo>
                    <a:pt x="798" y="557"/>
                  </a:lnTo>
                  <a:lnTo>
                    <a:pt x="789" y="555"/>
                  </a:lnTo>
                  <a:lnTo>
                    <a:pt x="787" y="559"/>
                  </a:lnTo>
                  <a:lnTo>
                    <a:pt x="777" y="559"/>
                  </a:lnTo>
                  <a:lnTo>
                    <a:pt x="777" y="563"/>
                  </a:lnTo>
                  <a:lnTo>
                    <a:pt x="775" y="563"/>
                  </a:lnTo>
                  <a:lnTo>
                    <a:pt x="775" y="569"/>
                  </a:lnTo>
                  <a:lnTo>
                    <a:pt x="777" y="572"/>
                  </a:lnTo>
                  <a:lnTo>
                    <a:pt x="781" y="572"/>
                  </a:lnTo>
                  <a:lnTo>
                    <a:pt x="779" y="576"/>
                  </a:lnTo>
                  <a:lnTo>
                    <a:pt x="783" y="578"/>
                  </a:lnTo>
                  <a:lnTo>
                    <a:pt x="779" y="582"/>
                  </a:lnTo>
                  <a:lnTo>
                    <a:pt x="769" y="582"/>
                  </a:lnTo>
                  <a:lnTo>
                    <a:pt x="767" y="584"/>
                  </a:lnTo>
                  <a:lnTo>
                    <a:pt x="773" y="590"/>
                  </a:lnTo>
                  <a:lnTo>
                    <a:pt x="773" y="592"/>
                  </a:lnTo>
                  <a:lnTo>
                    <a:pt x="777" y="592"/>
                  </a:lnTo>
                  <a:lnTo>
                    <a:pt x="779" y="594"/>
                  </a:lnTo>
                  <a:lnTo>
                    <a:pt x="783" y="590"/>
                  </a:lnTo>
                  <a:lnTo>
                    <a:pt x="789" y="595"/>
                  </a:lnTo>
                  <a:lnTo>
                    <a:pt x="792" y="595"/>
                  </a:lnTo>
                  <a:lnTo>
                    <a:pt x="794" y="603"/>
                  </a:lnTo>
                  <a:lnTo>
                    <a:pt x="796" y="611"/>
                  </a:lnTo>
                  <a:lnTo>
                    <a:pt x="791" y="618"/>
                  </a:lnTo>
                  <a:lnTo>
                    <a:pt x="785" y="622"/>
                  </a:lnTo>
                  <a:lnTo>
                    <a:pt x="779" y="620"/>
                  </a:lnTo>
                  <a:lnTo>
                    <a:pt x="779" y="613"/>
                  </a:lnTo>
                  <a:lnTo>
                    <a:pt x="775" y="617"/>
                  </a:lnTo>
                  <a:lnTo>
                    <a:pt x="773" y="613"/>
                  </a:lnTo>
                  <a:lnTo>
                    <a:pt x="767" y="615"/>
                  </a:lnTo>
                  <a:lnTo>
                    <a:pt x="771" y="622"/>
                  </a:lnTo>
                  <a:lnTo>
                    <a:pt x="769" y="628"/>
                  </a:lnTo>
                  <a:lnTo>
                    <a:pt x="771" y="630"/>
                  </a:lnTo>
                  <a:lnTo>
                    <a:pt x="769" y="636"/>
                  </a:lnTo>
                  <a:lnTo>
                    <a:pt x="773" y="643"/>
                  </a:lnTo>
                  <a:lnTo>
                    <a:pt x="779" y="649"/>
                  </a:lnTo>
                  <a:lnTo>
                    <a:pt x="781" y="651"/>
                  </a:lnTo>
                  <a:lnTo>
                    <a:pt x="779" y="653"/>
                  </a:lnTo>
                  <a:lnTo>
                    <a:pt x="777" y="651"/>
                  </a:lnTo>
                  <a:lnTo>
                    <a:pt x="775" y="659"/>
                  </a:lnTo>
                  <a:lnTo>
                    <a:pt x="771" y="657"/>
                  </a:lnTo>
                  <a:lnTo>
                    <a:pt x="766" y="659"/>
                  </a:lnTo>
                  <a:lnTo>
                    <a:pt x="762" y="655"/>
                  </a:lnTo>
                  <a:lnTo>
                    <a:pt x="756" y="655"/>
                  </a:lnTo>
                  <a:lnTo>
                    <a:pt x="754" y="655"/>
                  </a:lnTo>
                  <a:lnTo>
                    <a:pt x="752" y="651"/>
                  </a:lnTo>
                  <a:lnTo>
                    <a:pt x="754" y="645"/>
                  </a:lnTo>
                  <a:lnTo>
                    <a:pt x="754" y="642"/>
                  </a:lnTo>
                  <a:lnTo>
                    <a:pt x="750" y="643"/>
                  </a:lnTo>
                  <a:lnTo>
                    <a:pt x="746" y="643"/>
                  </a:lnTo>
                  <a:lnTo>
                    <a:pt x="744" y="647"/>
                  </a:lnTo>
                  <a:lnTo>
                    <a:pt x="743" y="645"/>
                  </a:lnTo>
                  <a:lnTo>
                    <a:pt x="743" y="649"/>
                  </a:lnTo>
                  <a:lnTo>
                    <a:pt x="741" y="651"/>
                  </a:lnTo>
                  <a:lnTo>
                    <a:pt x="741" y="653"/>
                  </a:lnTo>
                  <a:lnTo>
                    <a:pt x="737" y="655"/>
                  </a:lnTo>
                  <a:lnTo>
                    <a:pt x="735" y="655"/>
                  </a:lnTo>
                  <a:lnTo>
                    <a:pt x="733" y="649"/>
                  </a:lnTo>
                  <a:lnTo>
                    <a:pt x="729" y="647"/>
                  </a:lnTo>
                  <a:lnTo>
                    <a:pt x="727" y="649"/>
                  </a:lnTo>
                  <a:lnTo>
                    <a:pt x="725" y="649"/>
                  </a:lnTo>
                  <a:lnTo>
                    <a:pt x="723" y="651"/>
                  </a:lnTo>
                  <a:lnTo>
                    <a:pt x="718" y="645"/>
                  </a:lnTo>
                  <a:lnTo>
                    <a:pt x="714" y="645"/>
                  </a:lnTo>
                  <a:lnTo>
                    <a:pt x="712" y="647"/>
                  </a:lnTo>
                  <a:lnTo>
                    <a:pt x="710" y="649"/>
                  </a:lnTo>
                  <a:lnTo>
                    <a:pt x="702" y="649"/>
                  </a:lnTo>
                  <a:lnTo>
                    <a:pt x="700" y="643"/>
                  </a:lnTo>
                  <a:lnTo>
                    <a:pt x="702" y="640"/>
                  </a:lnTo>
                  <a:lnTo>
                    <a:pt x="700" y="638"/>
                  </a:lnTo>
                  <a:lnTo>
                    <a:pt x="696" y="642"/>
                  </a:lnTo>
                  <a:lnTo>
                    <a:pt x="695" y="642"/>
                  </a:lnTo>
                  <a:lnTo>
                    <a:pt x="696" y="647"/>
                  </a:lnTo>
                  <a:lnTo>
                    <a:pt x="693" y="651"/>
                  </a:lnTo>
                  <a:lnTo>
                    <a:pt x="693" y="659"/>
                  </a:lnTo>
                  <a:lnTo>
                    <a:pt x="693" y="663"/>
                  </a:lnTo>
                  <a:lnTo>
                    <a:pt x="683" y="665"/>
                  </a:lnTo>
                  <a:lnTo>
                    <a:pt x="679" y="670"/>
                  </a:lnTo>
                  <a:lnTo>
                    <a:pt x="677" y="670"/>
                  </a:lnTo>
                  <a:lnTo>
                    <a:pt x="677" y="680"/>
                  </a:lnTo>
                  <a:lnTo>
                    <a:pt x="672" y="684"/>
                  </a:lnTo>
                  <a:lnTo>
                    <a:pt x="666" y="686"/>
                  </a:lnTo>
                  <a:lnTo>
                    <a:pt x="664" y="684"/>
                  </a:lnTo>
                  <a:lnTo>
                    <a:pt x="654" y="690"/>
                  </a:lnTo>
                  <a:lnTo>
                    <a:pt x="652" y="686"/>
                  </a:lnTo>
                  <a:lnTo>
                    <a:pt x="648" y="684"/>
                  </a:lnTo>
                  <a:lnTo>
                    <a:pt x="647" y="686"/>
                  </a:lnTo>
                  <a:lnTo>
                    <a:pt x="650" y="688"/>
                  </a:lnTo>
                  <a:lnTo>
                    <a:pt x="648" y="693"/>
                  </a:lnTo>
                  <a:lnTo>
                    <a:pt x="645" y="693"/>
                  </a:lnTo>
                  <a:lnTo>
                    <a:pt x="647" y="695"/>
                  </a:lnTo>
                  <a:lnTo>
                    <a:pt x="645" y="699"/>
                  </a:lnTo>
                  <a:lnTo>
                    <a:pt x="641" y="695"/>
                  </a:lnTo>
                  <a:lnTo>
                    <a:pt x="633" y="695"/>
                  </a:lnTo>
                  <a:lnTo>
                    <a:pt x="631" y="691"/>
                  </a:lnTo>
                  <a:lnTo>
                    <a:pt x="633" y="690"/>
                  </a:lnTo>
                  <a:lnTo>
                    <a:pt x="631" y="688"/>
                  </a:lnTo>
                  <a:lnTo>
                    <a:pt x="625" y="682"/>
                  </a:lnTo>
                  <a:lnTo>
                    <a:pt x="622" y="682"/>
                  </a:lnTo>
                  <a:lnTo>
                    <a:pt x="624" y="674"/>
                  </a:lnTo>
                  <a:lnTo>
                    <a:pt x="627" y="670"/>
                  </a:lnTo>
                  <a:lnTo>
                    <a:pt x="635" y="674"/>
                  </a:lnTo>
                  <a:lnTo>
                    <a:pt x="645" y="670"/>
                  </a:lnTo>
                  <a:lnTo>
                    <a:pt x="647" y="676"/>
                  </a:lnTo>
                  <a:lnTo>
                    <a:pt x="648" y="676"/>
                  </a:lnTo>
                  <a:lnTo>
                    <a:pt x="652" y="672"/>
                  </a:lnTo>
                  <a:lnTo>
                    <a:pt x="654" y="672"/>
                  </a:lnTo>
                  <a:lnTo>
                    <a:pt x="656" y="668"/>
                  </a:lnTo>
                  <a:lnTo>
                    <a:pt x="662" y="667"/>
                  </a:lnTo>
                  <a:lnTo>
                    <a:pt x="662" y="663"/>
                  </a:lnTo>
                  <a:lnTo>
                    <a:pt x="658" y="663"/>
                  </a:lnTo>
                  <a:lnTo>
                    <a:pt x="654" y="657"/>
                  </a:lnTo>
                  <a:lnTo>
                    <a:pt x="656" y="649"/>
                  </a:lnTo>
                  <a:lnTo>
                    <a:pt x="662" y="647"/>
                  </a:lnTo>
                  <a:lnTo>
                    <a:pt x="660" y="645"/>
                  </a:lnTo>
                  <a:lnTo>
                    <a:pt x="660" y="640"/>
                  </a:lnTo>
                  <a:lnTo>
                    <a:pt x="656" y="640"/>
                  </a:lnTo>
                  <a:lnTo>
                    <a:pt x="652" y="636"/>
                  </a:lnTo>
                  <a:lnTo>
                    <a:pt x="652" y="630"/>
                  </a:lnTo>
                  <a:lnTo>
                    <a:pt x="654" y="628"/>
                  </a:lnTo>
                  <a:lnTo>
                    <a:pt x="654" y="626"/>
                  </a:lnTo>
                  <a:lnTo>
                    <a:pt x="658" y="620"/>
                  </a:lnTo>
                  <a:lnTo>
                    <a:pt x="660" y="622"/>
                  </a:lnTo>
                  <a:lnTo>
                    <a:pt x="660" y="626"/>
                  </a:lnTo>
                  <a:lnTo>
                    <a:pt x="662" y="628"/>
                  </a:lnTo>
                  <a:lnTo>
                    <a:pt x="672" y="622"/>
                  </a:lnTo>
                  <a:lnTo>
                    <a:pt x="672" y="620"/>
                  </a:lnTo>
                  <a:lnTo>
                    <a:pt x="670" y="617"/>
                  </a:lnTo>
                  <a:lnTo>
                    <a:pt x="673" y="617"/>
                  </a:lnTo>
                  <a:lnTo>
                    <a:pt x="672" y="613"/>
                  </a:lnTo>
                  <a:lnTo>
                    <a:pt x="672" y="611"/>
                  </a:lnTo>
                  <a:lnTo>
                    <a:pt x="668" y="609"/>
                  </a:lnTo>
                  <a:lnTo>
                    <a:pt x="668" y="607"/>
                  </a:lnTo>
                  <a:lnTo>
                    <a:pt x="666" y="607"/>
                  </a:lnTo>
                  <a:lnTo>
                    <a:pt x="664" y="609"/>
                  </a:lnTo>
                  <a:lnTo>
                    <a:pt x="664" y="607"/>
                  </a:lnTo>
                  <a:lnTo>
                    <a:pt x="666" y="603"/>
                  </a:lnTo>
                  <a:lnTo>
                    <a:pt x="666" y="601"/>
                  </a:lnTo>
                  <a:lnTo>
                    <a:pt x="664" y="599"/>
                  </a:lnTo>
                  <a:lnTo>
                    <a:pt x="664" y="594"/>
                  </a:lnTo>
                  <a:lnTo>
                    <a:pt x="660" y="590"/>
                  </a:lnTo>
                  <a:lnTo>
                    <a:pt x="656" y="590"/>
                  </a:lnTo>
                  <a:lnTo>
                    <a:pt x="648" y="594"/>
                  </a:lnTo>
                  <a:lnTo>
                    <a:pt x="647" y="597"/>
                  </a:lnTo>
                  <a:lnTo>
                    <a:pt x="641" y="597"/>
                  </a:lnTo>
                  <a:lnTo>
                    <a:pt x="637" y="594"/>
                  </a:lnTo>
                  <a:lnTo>
                    <a:pt x="633" y="595"/>
                  </a:lnTo>
                  <a:lnTo>
                    <a:pt x="624" y="597"/>
                  </a:lnTo>
                  <a:lnTo>
                    <a:pt x="614" y="595"/>
                  </a:lnTo>
                  <a:lnTo>
                    <a:pt x="612" y="595"/>
                  </a:lnTo>
                  <a:lnTo>
                    <a:pt x="608" y="594"/>
                  </a:lnTo>
                  <a:lnTo>
                    <a:pt x="604" y="594"/>
                  </a:lnTo>
                  <a:lnTo>
                    <a:pt x="599" y="594"/>
                  </a:lnTo>
                  <a:lnTo>
                    <a:pt x="595" y="590"/>
                  </a:lnTo>
                  <a:lnTo>
                    <a:pt x="597" y="588"/>
                  </a:lnTo>
                  <a:lnTo>
                    <a:pt x="599" y="584"/>
                  </a:lnTo>
                  <a:lnTo>
                    <a:pt x="602" y="582"/>
                  </a:lnTo>
                  <a:lnTo>
                    <a:pt x="599" y="576"/>
                  </a:lnTo>
                  <a:lnTo>
                    <a:pt x="599" y="574"/>
                  </a:lnTo>
                  <a:lnTo>
                    <a:pt x="601" y="576"/>
                  </a:lnTo>
                  <a:lnTo>
                    <a:pt x="602" y="576"/>
                  </a:lnTo>
                  <a:lnTo>
                    <a:pt x="601" y="580"/>
                  </a:lnTo>
                  <a:lnTo>
                    <a:pt x="606" y="580"/>
                  </a:lnTo>
                  <a:lnTo>
                    <a:pt x="608" y="584"/>
                  </a:lnTo>
                  <a:lnTo>
                    <a:pt x="610" y="582"/>
                  </a:lnTo>
                  <a:lnTo>
                    <a:pt x="618" y="580"/>
                  </a:lnTo>
                  <a:lnTo>
                    <a:pt x="622" y="578"/>
                  </a:lnTo>
                  <a:lnTo>
                    <a:pt x="622" y="576"/>
                  </a:lnTo>
                  <a:lnTo>
                    <a:pt x="616" y="578"/>
                  </a:lnTo>
                  <a:lnTo>
                    <a:pt x="612" y="576"/>
                  </a:lnTo>
                  <a:lnTo>
                    <a:pt x="610" y="578"/>
                  </a:lnTo>
                  <a:lnTo>
                    <a:pt x="604" y="576"/>
                  </a:lnTo>
                  <a:lnTo>
                    <a:pt x="604" y="572"/>
                  </a:lnTo>
                  <a:lnTo>
                    <a:pt x="608" y="572"/>
                  </a:lnTo>
                  <a:lnTo>
                    <a:pt x="604" y="569"/>
                  </a:lnTo>
                  <a:lnTo>
                    <a:pt x="606" y="567"/>
                  </a:lnTo>
                  <a:lnTo>
                    <a:pt x="610" y="574"/>
                  </a:lnTo>
                  <a:lnTo>
                    <a:pt x="612" y="569"/>
                  </a:lnTo>
                  <a:lnTo>
                    <a:pt x="610" y="563"/>
                  </a:lnTo>
                  <a:lnTo>
                    <a:pt x="614" y="561"/>
                  </a:lnTo>
                  <a:lnTo>
                    <a:pt x="614" y="559"/>
                  </a:lnTo>
                  <a:lnTo>
                    <a:pt x="602" y="561"/>
                  </a:lnTo>
                  <a:lnTo>
                    <a:pt x="599" y="559"/>
                  </a:lnTo>
                  <a:lnTo>
                    <a:pt x="599" y="561"/>
                  </a:lnTo>
                  <a:lnTo>
                    <a:pt x="595" y="559"/>
                  </a:lnTo>
                  <a:lnTo>
                    <a:pt x="595" y="565"/>
                  </a:lnTo>
                  <a:lnTo>
                    <a:pt x="589" y="567"/>
                  </a:lnTo>
                  <a:lnTo>
                    <a:pt x="589" y="569"/>
                  </a:lnTo>
                  <a:lnTo>
                    <a:pt x="589" y="576"/>
                  </a:lnTo>
                  <a:lnTo>
                    <a:pt x="583" y="576"/>
                  </a:lnTo>
                  <a:lnTo>
                    <a:pt x="581" y="580"/>
                  </a:lnTo>
                  <a:lnTo>
                    <a:pt x="576" y="578"/>
                  </a:lnTo>
                  <a:lnTo>
                    <a:pt x="570" y="578"/>
                  </a:lnTo>
                  <a:lnTo>
                    <a:pt x="572" y="576"/>
                  </a:lnTo>
                  <a:lnTo>
                    <a:pt x="566" y="574"/>
                  </a:lnTo>
                  <a:lnTo>
                    <a:pt x="566" y="570"/>
                  </a:lnTo>
                  <a:lnTo>
                    <a:pt x="564" y="570"/>
                  </a:lnTo>
                  <a:lnTo>
                    <a:pt x="562" y="570"/>
                  </a:lnTo>
                  <a:lnTo>
                    <a:pt x="560" y="567"/>
                  </a:lnTo>
                  <a:lnTo>
                    <a:pt x="558" y="567"/>
                  </a:lnTo>
                  <a:lnTo>
                    <a:pt x="558" y="572"/>
                  </a:lnTo>
                  <a:lnTo>
                    <a:pt x="560" y="580"/>
                  </a:lnTo>
                  <a:lnTo>
                    <a:pt x="560" y="584"/>
                  </a:lnTo>
                  <a:lnTo>
                    <a:pt x="558" y="586"/>
                  </a:lnTo>
                  <a:lnTo>
                    <a:pt x="560" y="586"/>
                  </a:lnTo>
                  <a:lnTo>
                    <a:pt x="562" y="584"/>
                  </a:lnTo>
                  <a:lnTo>
                    <a:pt x="566" y="588"/>
                  </a:lnTo>
                  <a:lnTo>
                    <a:pt x="576" y="586"/>
                  </a:lnTo>
                  <a:lnTo>
                    <a:pt x="577" y="590"/>
                  </a:lnTo>
                  <a:lnTo>
                    <a:pt x="577" y="592"/>
                  </a:lnTo>
                  <a:lnTo>
                    <a:pt x="576" y="592"/>
                  </a:lnTo>
                  <a:lnTo>
                    <a:pt x="576" y="595"/>
                  </a:lnTo>
                  <a:lnTo>
                    <a:pt x="572" y="597"/>
                  </a:lnTo>
                  <a:lnTo>
                    <a:pt x="570" y="601"/>
                  </a:lnTo>
                  <a:lnTo>
                    <a:pt x="564" y="601"/>
                  </a:lnTo>
                  <a:lnTo>
                    <a:pt x="560" y="595"/>
                  </a:lnTo>
                  <a:lnTo>
                    <a:pt x="560" y="597"/>
                  </a:lnTo>
                  <a:lnTo>
                    <a:pt x="560" y="595"/>
                  </a:lnTo>
                  <a:lnTo>
                    <a:pt x="556" y="586"/>
                  </a:lnTo>
                  <a:lnTo>
                    <a:pt x="554" y="586"/>
                  </a:lnTo>
                  <a:lnTo>
                    <a:pt x="554" y="590"/>
                  </a:lnTo>
                  <a:lnTo>
                    <a:pt x="553" y="592"/>
                  </a:lnTo>
                  <a:lnTo>
                    <a:pt x="553" y="597"/>
                  </a:lnTo>
                  <a:lnTo>
                    <a:pt x="556" y="597"/>
                  </a:lnTo>
                  <a:lnTo>
                    <a:pt x="556" y="599"/>
                  </a:lnTo>
                  <a:lnTo>
                    <a:pt x="553" y="603"/>
                  </a:lnTo>
                  <a:lnTo>
                    <a:pt x="553" y="607"/>
                  </a:lnTo>
                  <a:lnTo>
                    <a:pt x="549" y="607"/>
                  </a:lnTo>
                  <a:lnTo>
                    <a:pt x="549" y="613"/>
                  </a:lnTo>
                  <a:lnTo>
                    <a:pt x="543" y="617"/>
                  </a:lnTo>
                  <a:lnTo>
                    <a:pt x="551" y="620"/>
                  </a:lnTo>
                  <a:lnTo>
                    <a:pt x="554" y="618"/>
                  </a:lnTo>
                  <a:lnTo>
                    <a:pt x="554" y="622"/>
                  </a:lnTo>
                  <a:lnTo>
                    <a:pt x="560" y="620"/>
                  </a:lnTo>
                  <a:lnTo>
                    <a:pt x="556" y="628"/>
                  </a:lnTo>
                  <a:lnTo>
                    <a:pt x="554" y="628"/>
                  </a:lnTo>
                  <a:lnTo>
                    <a:pt x="551" y="632"/>
                  </a:lnTo>
                  <a:lnTo>
                    <a:pt x="551" y="638"/>
                  </a:lnTo>
                  <a:lnTo>
                    <a:pt x="547" y="642"/>
                  </a:lnTo>
                  <a:lnTo>
                    <a:pt x="549" y="643"/>
                  </a:lnTo>
                  <a:lnTo>
                    <a:pt x="560" y="643"/>
                  </a:lnTo>
                  <a:lnTo>
                    <a:pt x="562" y="643"/>
                  </a:lnTo>
                  <a:lnTo>
                    <a:pt x="564" y="647"/>
                  </a:lnTo>
                  <a:lnTo>
                    <a:pt x="560" y="649"/>
                  </a:lnTo>
                  <a:lnTo>
                    <a:pt x="562" y="653"/>
                  </a:lnTo>
                  <a:lnTo>
                    <a:pt x="566" y="655"/>
                  </a:lnTo>
                  <a:lnTo>
                    <a:pt x="566" y="659"/>
                  </a:lnTo>
                  <a:lnTo>
                    <a:pt x="568" y="661"/>
                  </a:lnTo>
                  <a:lnTo>
                    <a:pt x="572" y="668"/>
                  </a:lnTo>
                  <a:lnTo>
                    <a:pt x="570" y="674"/>
                  </a:lnTo>
                  <a:lnTo>
                    <a:pt x="564" y="680"/>
                  </a:lnTo>
                  <a:lnTo>
                    <a:pt x="562" y="688"/>
                  </a:lnTo>
                  <a:lnTo>
                    <a:pt x="562" y="693"/>
                  </a:lnTo>
                  <a:lnTo>
                    <a:pt x="564" y="695"/>
                  </a:lnTo>
                  <a:lnTo>
                    <a:pt x="566" y="697"/>
                  </a:lnTo>
                  <a:lnTo>
                    <a:pt x="564" y="701"/>
                  </a:lnTo>
                  <a:lnTo>
                    <a:pt x="562" y="707"/>
                  </a:lnTo>
                  <a:lnTo>
                    <a:pt x="564" y="713"/>
                  </a:lnTo>
                  <a:lnTo>
                    <a:pt x="558" y="715"/>
                  </a:lnTo>
                  <a:lnTo>
                    <a:pt x="554" y="720"/>
                  </a:lnTo>
                  <a:lnTo>
                    <a:pt x="549" y="724"/>
                  </a:lnTo>
                  <a:lnTo>
                    <a:pt x="549" y="722"/>
                  </a:lnTo>
                  <a:lnTo>
                    <a:pt x="547" y="722"/>
                  </a:lnTo>
                  <a:lnTo>
                    <a:pt x="543" y="726"/>
                  </a:lnTo>
                  <a:lnTo>
                    <a:pt x="539" y="726"/>
                  </a:lnTo>
                  <a:lnTo>
                    <a:pt x="533" y="732"/>
                  </a:lnTo>
                  <a:lnTo>
                    <a:pt x="529" y="732"/>
                  </a:lnTo>
                  <a:lnTo>
                    <a:pt x="528" y="734"/>
                  </a:lnTo>
                  <a:lnTo>
                    <a:pt x="524" y="736"/>
                  </a:lnTo>
                  <a:lnTo>
                    <a:pt x="524" y="739"/>
                  </a:lnTo>
                  <a:lnTo>
                    <a:pt x="522" y="741"/>
                  </a:lnTo>
                  <a:lnTo>
                    <a:pt x="520" y="745"/>
                  </a:lnTo>
                  <a:lnTo>
                    <a:pt x="518" y="745"/>
                  </a:lnTo>
                  <a:lnTo>
                    <a:pt x="522" y="751"/>
                  </a:lnTo>
                  <a:lnTo>
                    <a:pt x="524" y="749"/>
                  </a:lnTo>
                  <a:lnTo>
                    <a:pt x="531" y="753"/>
                  </a:lnTo>
                  <a:lnTo>
                    <a:pt x="537" y="751"/>
                  </a:lnTo>
                  <a:lnTo>
                    <a:pt x="539" y="755"/>
                  </a:lnTo>
                  <a:lnTo>
                    <a:pt x="537" y="757"/>
                  </a:lnTo>
                  <a:lnTo>
                    <a:pt x="541" y="757"/>
                  </a:lnTo>
                  <a:lnTo>
                    <a:pt x="543" y="759"/>
                  </a:lnTo>
                  <a:lnTo>
                    <a:pt x="539" y="761"/>
                  </a:lnTo>
                  <a:lnTo>
                    <a:pt x="533" y="759"/>
                  </a:lnTo>
                  <a:lnTo>
                    <a:pt x="528" y="766"/>
                  </a:lnTo>
                  <a:lnTo>
                    <a:pt x="520" y="766"/>
                  </a:lnTo>
                  <a:lnTo>
                    <a:pt x="520" y="770"/>
                  </a:lnTo>
                  <a:lnTo>
                    <a:pt x="516" y="772"/>
                  </a:lnTo>
                  <a:lnTo>
                    <a:pt x="510" y="772"/>
                  </a:lnTo>
                  <a:lnTo>
                    <a:pt x="505" y="768"/>
                  </a:lnTo>
                  <a:lnTo>
                    <a:pt x="497" y="774"/>
                  </a:lnTo>
                  <a:lnTo>
                    <a:pt x="491" y="770"/>
                  </a:lnTo>
                  <a:lnTo>
                    <a:pt x="493" y="768"/>
                  </a:lnTo>
                  <a:lnTo>
                    <a:pt x="489" y="763"/>
                  </a:lnTo>
                  <a:lnTo>
                    <a:pt x="487" y="759"/>
                  </a:lnTo>
                  <a:lnTo>
                    <a:pt x="483" y="759"/>
                  </a:lnTo>
                  <a:lnTo>
                    <a:pt x="482" y="764"/>
                  </a:lnTo>
                  <a:lnTo>
                    <a:pt x="478" y="764"/>
                  </a:lnTo>
                  <a:lnTo>
                    <a:pt x="476" y="761"/>
                  </a:lnTo>
                  <a:lnTo>
                    <a:pt x="478" y="753"/>
                  </a:lnTo>
                  <a:lnTo>
                    <a:pt x="472" y="749"/>
                  </a:lnTo>
                  <a:lnTo>
                    <a:pt x="468" y="749"/>
                  </a:lnTo>
                  <a:lnTo>
                    <a:pt x="468" y="747"/>
                  </a:lnTo>
                  <a:lnTo>
                    <a:pt x="466" y="747"/>
                  </a:lnTo>
                  <a:lnTo>
                    <a:pt x="466" y="745"/>
                  </a:lnTo>
                  <a:lnTo>
                    <a:pt x="462" y="745"/>
                  </a:lnTo>
                  <a:lnTo>
                    <a:pt x="460" y="739"/>
                  </a:lnTo>
                  <a:lnTo>
                    <a:pt x="457" y="741"/>
                  </a:lnTo>
                  <a:lnTo>
                    <a:pt x="457" y="743"/>
                  </a:lnTo>
                  <a:lnTo>
                    <a:pt x="451" y="745"/>
                  </a:lnTo>
                  <a:lnTo>
                    <a:pt x="451" y="741"/>
                  </a:lnTo>
                  <a:lnTo>
                    <a:pt x="449" y="738"/>
                  </a:lnTo>
                  <a:lnTo>
                    <a:pt x="445" y="732"/>
                  </a:lnTo>
                  <a:lnTo>
                    <a:pt x="439" y="734"/>
                  </a:lnTo>
                  <a:lnTo>
                    <a:pt x="437" y="732"/>
                  </a:lnTo>
                  <a:lnTo>
                    <a:pt x="434" y="736"/>
                  </a:lnTo>
                  <a:lnTo>
                    <a:pt x="432" y="732"/>
                  </a:lnTo>
                  <a:lnTo>
                    <a:pt x="426" y="734"/>
                  </a:lnTo>
                  <a:lnTo>
                    <a:pt x="424" y="732"/>
                  </a:lnTo>
                  <a:lnTo>
                    <a:pt x="428" y="726"/>
                  </a:lnTo>
                  <a:lnTo>
                    <a:pt x="424" y="724"/>
                  </a:lnTo>
                  <a:lnTo>
                    <a:pt x="426" y="720"/>
                  </a:lnTo>
                  <a:lnTo>
                    <a:pt x="428" y="713"/>
                  </a:lnTo>
                  <a:lnTo>
                    <a:pt x="424" y="711"/>
                  </a:lnTo>
                  <a:lnTo>
                    <a:pt x="418" y="711"/>
                  </a:lnTo>
                  <a:lnTo>
                    <a:pt x="412" y="715"/>
                  </a:lnTo>
                  <a:lnTo>
                    <a:pt x="410" y="713"/>
                  </a:lnTo>
                  <a:lnTo>
                    <a:pt x="412" y="711"/>
                  </a:lnTo>
                  <a:lnTo>
                    <a:pt x="412" y="705"/>
                  </a:lnTo>
                  <a:lnTo>
                    <a:pt x="409" y="705"/>
                  </a:lnTo>
                  <a:lnTo>
                    <a:pt x="407" y="699"/>
                  </a:lnTo>
                  <a:lnTo>
                    <a:pt x="403" y="697"/>
                  </a:lnTo>
                  <a:lnTo>
                    <a:pt x="401" y="695"/>
                  </a:lnTo>
                  <a:lnTo>
                    <a:pt x="399" y="697"/>
                  </a:lnTo>
                  <a:lnTo>
                    <a:pt x="397" y="695"/>
                  </a:lnTo>
                  <a:lnTo>
                    <a:pt x="397" y="691"/>
                  </a:lnTo>
                  <a:lnTo>
                    <a:pt x="397" y="688"/>
                  </a:lnTo>
                  <a:lnTo>
                    <a:pt x="399" y="682"/>
                  </a:lnTo>
                  <a:lnTo>
                    <a:pt x="405" y="680"/>
                  </a:lnTo>
                  <a:lnTo>
                    <a:pt x="403" y="674"/>
                  </a:lnTo>
                  <a:lnTo>
                    <a:pt x="403" y="667"/>
                  </a:lnTo>
                  <a:lnTo>
                    <a:pt x="399" y="663"/>
                  </a:lnTo>
                  <a:lnTo>
                    <a:pt x="399" y="659"/>
                  </a:lnTo>
                  <a:lnTo>
                    <a:pt x="395" y="661"/>
                  </a:lnTo>
                  <a:lnTo>
                    <a:pt x="393" y="667"/>
                  </a:lnTo>
                  <a:lnTo>
                    <a:pt x="389" y="668"/>
                  </a:lnTo>
                  <a:lnTo>
                    <a:pt x="389" y="672"/>
                  </a:lnTo>
                  <a:lnTo>
                    <a:pt x="386" y="672"/>
                  </a:lnTo>
                  <a:lnTo>
                    <a:pt x="380" y="668"/>
                  </a:lnTo>
                  <a:lnTo>
                    <a:pt x="382" y="665"/>
                  </a:lnTo>
                  <a:lnTo>
                    <a:pt x="374" y="659"/>
                  </a:lnTo>
                  <a:lnTo>
                    <a:pt x="368" y="651"/>
                  </a:lnTo>
                  <a:lnTo>
                    <a:pt x="370" y="645"/>
                  </a:lnTo>
                  <a:lnTo>
                    <a:pt x="374" y="642"/>
                  </a:lnTo>
                  <a:lnTo>
                    <a:pt x="374" y="640"/>
                  </a:lnTo>
                  <a:lnTo>
                    <a:pt x="378" y="640"/>
                  </a:lnTo>
                  <a:lnTo>
                    <a:pt x="380" y="636"/>
                  </a:lnTo>
                  <a:lnTo>
                    <a:pt x="382" y="636"/>
                  </a:lnTo>
                  <a:lnTo>
                    <a:pt x="384" y="632"/>
                  </a:lnTo>
                  <a:lnTo>
                    <a:pt x="382" y="632"/>
                  </a:lnTo>
                  <a:lnTo>
                    <a:pt x="378" y="634"/>
                  </a:lnTo>
                  <a:lnTo>
                    <a:pt x="370" y="630"/>
                  </a:lnTo>
                  <a:lnTo>
                    <a:pt x="372" y="626"/>
                  </a:lnTo>
                  <a:lnTo>
                    <a:pt x="370" y="618"/>
                  </a:lnTo>
                  <a:lnTo>
                    <a:pt x="364" y="622"/>
                  </a:lnTo>
                  <a:lnTo>
                    <a:pt x="363" y="622"/>
                  </a:lnTo>
                  <a:lnTo>
                    <a:pt x="363" y="620"/>
                  </a:lnTo>
                  <a:lnTo>
                    <a:pt x="361" y="620"/>
                  </a:lnTo>
                  <a:lnTo>
                    <a:pt x="359" y="622"/>
                  </a:lnTo>
                  <a:lnTo>
                    <a:pt x="361" y="624"/>
                  </a:lnTo>
                  <a:lnTo>
                    <a:pt x="359" y="626"/>
                  </a:lnTo>
                  <a:lnTo>
                    <a:pt x="357" y="630"/>
                  </a:lnTo>
                  <a:lnTo>
                    <a:pt x="359" y="632"/>
                  </a:lnTo>
                  <a:lnTo>
                    <a:pt x="351" y="636"/>
                  </a:lnTo>
                  <a:lnTo>
                    <a:pt x="345" y="632"/>
                  </a:lnTo>
                  <a:lnTo>
                    <a:pt x="339" y="634"/>
                  </a:lnTo>
                  <a:lnTo>
                    <a:pt x="332" y="634"/>
                  </a:lnTo>
                  <a:lnTo>
                    <a:pt x="328" y="628"/>
                  </a:lnTo>
                  <a:lnTo>
                    <a:pt x="328" y="622"/>
                  </a:lnTo>
                  <a:lnTo>
                    <a:pt x="324" y="622"/>
                  </a:lnTo>
                  <a:lnTo>
                    <a:pt x="316" y="620"/>
                  </a:lnTo>
                  <a:lnTo>
                    <a:pt x="313" y="617"/>
                  </a:lnTo>
                  <a:lnTo>
                    <a:pt x="309" y="620"/>
                  </a:lnTo>
                  <a:lnTo>
                    <a:pt x="309" y="622"/>
                  </a:lnTo>
                  <a:lnTo>
                    <a:pt x="307" y="622"/>
                  </a:lnTo>
                  <a:lnTo>
                    <a:pt x="309" y="628"/>
                  </a:lnTo>
                  <a:lnTo>
                    <a:pt x="305" y="628"/>
                  </a:lnTo>
                  <a:lnTo>
                    <a:pt x="301" y="622"/>
                  </a:lnTo>
                  <a:lnTo>
                    <a:pt x="301" y="617"/>
                  </a:lnTo>
                  <a:lnTo>
                    <a:pt x="295" y="618"/>
                  </a:lnTo>
                  <a:lnTo>
                    <a:pt x="291" y="611"/>
                  </a:lnTo>
                  <a:lnTo>
                    <a:pt x="290" y="613"/>
                  </a:lnTo>
                  <a:lnTo>
                    <a:pt x="286" y="613"/>
                  </a:lnTo>
                  <a:lnTo>
                    <a:pt x="282" y="609"/>
                  </a:lnTo>
                  <a:lnTo>
                    <a:pt x="286" y="607"/>
                  </a:lnTo>
                  <a:lnTo>
                    <a:pt x="291" y="607"/>
                  </a:lnTo>
                  <a:lnTo>
                    <a:pt x="293" y="605"/>
                  </a:lnTo>
                  <a:lnTo>
                    <a:pt x="291" y="603"/>
                  </a:lnTo>
                  <a:lnTo>
                    <a:pt x="290" y="605"/>
                  </a:lnTo>
                  <a:lnTo>
                    <a:pt x="282" y="605"/>
                  </a:lnTo>
                  <a:lnTo>
                    <a:pt x="280" y="603"/>
                  </a:lnTo>
                  <a:lnTo>
                    <a:pt x="276" y="607"/>
                  </a:lnTo>
                  <a:lnTo>
                    <a:pt x="272" y="605"/>
                  </a:lnTo>
                  <a:lnTo>
                    <a:pt x="270" y="603"/>
                  </a:lnTo>
                  <a:lnTo>
                    <a:pt x="268" y="603"/>
                  </a:lnTo>
                  <a:lnTo>
                    <a:pt x="265" y="601"/>
                  </a:lnTo>
                  <a:lnTo>
                    <a:pt x="265" y="597"/>
                  </a:lnTo>
                  <a:lnTo>
                    <a:pt x="263" y="595"/>
                  </a:lnTo>
                  <a:lnTo>
                    <a:pt x="255" y="597"/>
                  </a:lnTo>
                  <a:lnTo>
                    <a:pt x="255" y="601"/>
                  </a:lnTo>
                  <a:lnTo>
                    <a:pt x="249" y="603"/>
                  </a:lnTo>
                  <a:lnTo>
                    <a:pt x="247" y="601"/>
                  </a:lnTo>
                  <a:lnTo>
                    <a:pt x="247" y="599"/>
                  </a:lnTo>
                  <a:lnTo>
                    <a:pt x="242" y="599"/>
                  </a:lnTo>
                  <a:lnTo>
                    <a:pt x="240" y="607"/>
                  </a:lnTo>
                  <a:lnTo>
                    <a:pt x="236" y="605"/>
                  </a:lnTo>
                  <a:lnTo>
                    <a:pt x="234" y="599"/>
                  </a:lnTo>
                  <a:lnTo>
                    <a:pt x="224" y="601"/>
                  </a:lnTo>
                  <a:lnTo>
                    <a:pt x="219" y="603"/>
                  </a:lnTo>
                  <a:lnTo>
                    <a:pt x="213" y="599"/>
                  </a:lnTo>
                  <a:lnTo>
                    <a:pt x="205" y="597"/>
                  </a:lnTo>
                  <a:lnTo>
                    <a:pt x="201" y="599"/>
                  </a:lnTo>
                  <a:lnTo>
                    <a:pt x="194" y="603"/>
                  </a:lnTo>
                  <a:lnTo>
                    <a:pt x="190" y="605"/>
                  </a:lnTo>
                  <a:lnTo>
                    <a:pt x="188" y="603"/>
                  </a:lnTo>
                  <a:lnTo>
                    <a:pt x="186" y="601"/>
                  </a:lnTo>
                  <a:lnTo>
                    <a:pt x="180" y="605"/>
                  </a:lnTo>
                  <a:lnTo>
                    <a:pt x="176" y="605"/>
                  </a:lnTo>
                  <a:lnTo>
                    <a:pt x="172" y="603"/>
                  </a:lnTo>
                  <a:lnTo>
                    <a:pt x="167" y="601"/>
                  </a:lnTo>
                  <a:lnTo>
                    <a:pt x="161" y="597"/>
                  </a:lnTo>
                  <a:lnTo>
                    <a:pt x="157" y="594"/>
                  </a:lnTo>
                  <a:lnTo>
                    <a:pt x="153" y="588"/>
                  </a:lnTo>
                  <a:lnTo>
                    <a:pt x="153" y="584"/>
                  </a:lnTo>
                  <a:lnTo>
                    <a:pt x="151" y="580"/>
                  </a:lnTo>
                  <a:lnTo>
                    <a:pt x="146" y="574"/>
                  </a:lnTo>
                  <a:lnTo>
                    <a:pt x="144" y="570"/>
                  </a:lnTo>
                  <a:lnTo>
                    <a:pt x="142" y="565"/>
                  </a:lnTo>
                  <a:lnTo>
                    <a:pt x="142" y="559"/>
                  </a:lnTo>
                  <a:lnTo>
                    <a:pt x="140" y="555"/>
                  </a:lnTo>
                  <a:lnTo>
                    <a:pt x="140" y="549"/>
                  </a:lnTo>
                  <a:lnTo>
                    <a:pt x="140" y="547"/>
                  </a:lnTo>
                  <a:lnTo>
                    <a:pt x="132" y="540"/>
                  </a:lnTo>
                  <a:lnTo>
                    <a:pt x="126" y="534"/>
                  </a:lnTo>
                  <a:lnTo>
                    <a:pt x="125" y="528"/>
                  </a:lnTo>
                  <a:lnTo>
                    <a:pt x="119" y="522"/>
                  </a:lnTo>
                  <a:lnTo>
                    <a:pt x="117" y="521"/>
                  </a:lnTo>
                  <a:lnTo>
                    <a:pt x="119" y="519"/>
                  </a:lnTo>
                  <a:lnTo>
                    <a:pt x="119" y="513"/>
                  </a:lnTo>
                  <a:lnTo>
                    <a:pt x="119" y="507"/>
                  </a:lnTo>
                  <a:lnTo>
                    <a:pt x="119" y="497"/>
                  </a:lnTo>
                  <a:lnTo>
                    <a:pt x="121" y="492"/>
                  </a:lnTo>
                  <a:lnTo>
                    <a:pt x="119" y="488"/>
                  </a:lnTo>
                  <a:lnTo>
                    <a:pt x="113" y="486"/>
                  </a:lnTo>
                  <a:lnTo>
                    <a:pt x="105" y="490"/>
                  </a:lnTo>
                  <a:lnTo>
                    <a:pt x="96" y="490"/>
                  </a:lnTo>
                  <a:lnTo>
                    <a:pt x="90" y="492"/>
                  </a:lnTo>
                  <a:lnTo>
                    <a:pt x="88" y="490"/>
                  </a:lnTo>
                  <a:lnTo>
                    <a:pt x="78" y="488"/>
                  </a:lnTo>
                  <a:lnTo>
                    <a:pt x="75" y="480"/>
                  </a:lnTo>
                  <a:lnTo>
                    <a:pt x="67" y="474"/>
                  </a:lnTo>
                  <a:lnTo>
                    <a:pt x="65" y="469"/>
                  </a:lnTo>
                  <a:lnTo>
                    <a:pt x="61" y="463"/>
                  </a:lnTo>
                  <a:lnTo>
                    <a:pt x="59" y="461"/>
                  </a:lnTo>
                  <a:lnTo>
                    <a:pt x="59" y="453"/>
                  </a:lnTo>
                  <a:lnTo>
                    <a:pt x="59" y="448"/>
                  </a:lnTo>
                  <a:lnTo>
                    <a:pt x="65" y="442"/>
                  </a:lnTo>
                  <a:lnTo>
                    <a:pt x="67" y="438"/>
                  </a:lnTo>
                  <a:lnTo>
                    <a:pt x="69" y="432"/>
                  </a:lnTo>
                  <a:lnTo>
                    <a:pt x="71" y="428"/>
                  </a:lnTo>
                  <a:lnTo>
                    <a:pt x="69" y="423"/>
                  </a:lnTo>
                  <a:lnTo>
                    <a:pt x="73" y="413"/>
                  </a:lnTo>
                  <a:lnTo>
                    <a:pt x="71" y="409"/>
                  </a:lnTo>
                  <a:lnTo>
                    <a:pt x="73" y="401"/>
                  </a:lnTo>
                  <a:lnTo>
                    <a:pt x="71" y="396"/>
                  </a:lnTo>
                  <a:lnTo>
                    <a:pt x="67" y="392"/>
                  </a:lnTo>
                  <a:lnTo>
                    <a:pt x="59" y="390"/>
                  </a:lnTo>
                  <a:lnTo>
                    <a:pt x="50" y="392"/>
                  </a:lnTo>
                  <a:lnTo>
                    <a:pt x="42" y="392"/>
                  </a:lnTo>
                  <a:lnTo>
                    <a:pt x="32" y="390"/>
                  </a:lnTo>
                  <a:lnTo>
                    <a:pt x="25" y="384"/>
                  </a:lnTo>
                  <a:lnTo>
                    <a:pt x="17" y="380"/>
                  </a:lnTo>
                  <a:lnTo>
                    <a:pt x="7" y="376"/>
                  </a:lnTo>
                  <a:lnTo>
                    <a:pt x="2" y="375"/>
                  </a:lnTo>
                  <a:lnTo>
                    <a:pt x="0" y="365"/>
                  </a:lnTo>
                  <a:lnTo>
                    <a:pt x="2" y="357"/>
                  </a:lnTo>
                  <a:lnTo>
                    <a:pt x="4" y="348"/>
                  </a:lnTo>
                  <a:lnTo>
                    <a:pt x="6" y="344"/>
                  </a:lnTo>
                  <a:lnTo>
                    <a:pt x="7" y="338"/>
                  </a:lnTo>
                  <a:lnTo>
                    <a:pt x="11" y="334"/>
                  </a:lnTo>
                  <a:lnTo>
                    <a:pt x="13" y="327"/>
                  </a:lnTo>
                  <a:lnTo>
                    <a:pt x="19" y="323"/>
                  </a:lnTo>
                  <a:lnTo>
                    <a:pt x="23" y="319"/>
                  </a:lnTo>
                  <a:lnTo>
                    <a:pt x="27" y="315"/>
                  </a:lnTo>
                  <a:lnTo>
                    <a:pt x="32" y="313"/>
                  </a:lnTo>
                  <a:lnTo>
                    <a:pt x="36" y="309"/>
                  </a:lnTo>
                  <a:lnTo>
                    <a:pt x="44" y="303"/>
                  </a:lnTo>
                  <a:lnTo>
                    <a:pt x="48" y="300"/>
                  </a:lnTo>
                  <a:lnTo>
                    <a:pt x="52" y="292"/>
                  </a:lnTo>
                  <a:lnTo>
                    <a:pt x="61" y="286"/>
                  </a:lnTo>
                  <a:lnTo>
                    <a:pt x="75" y="259"/>
                  </a:lnTo>
                  <a:lnTo>
                    <a:pt x="82" y="252"/>
                  </a:lnTo>
                  <a:lnTo>
                    <a:pt x="86" y="250"/>
                  </a:lnTo>
                  <a:lnTo>
                    <a:pt x="92" y="246"/>
                  </a:lnTo>
                  <a:lnTo>
                    <a:pt x="98" y="240"/>
                  </a:lnTo>
                  <a:lnTo>
                    <a:pt x="101" y="238"/>
                  </a:lnTo>
                  <a:lnTo>
                    <a:pt x="103" y="236"/>
                  </a:lnTo>
                  <a:lnTo>
                    <a:pt x="109" y="236"/>
                  </a:lnTo>
                  <a:lnTo>
                    <a:pt x="115" y="234"/>
                  </a:lnTo>
                  <a:lnTo>
                    <a:pt x="125" y="236"/>
                  </a:lnTo>
                  <a:lnTo>
                    <a:pt x="125" y="240"/>
                  </a:lnTo>
                  <a:lnTo>
                    <a:pt x="128" y="242"/>
                  </a:lnTo>
                  <a:lnTo>
                    <a:pt x="132" y="246"/>
                  </a:lnTo>
                  <a:lnTo>
                    <a:pt x="132" y="248"/>
                  </a:lnTo>
                  <a:lnTo>
                    <a:pt x="132" y="257"/>
                  </a:lnTo>
                  <a:lnTo>
                    <a:pt x="136" y="263"/>
                  </a:lnTo>
                  <a:lnTo>
                    <a:pt x="138" y="267"/>
                  </a:lnTo>
                  <a:lnTo>
                    <a:pt x="140" y="269"/>
                  </a:lnTo>
                  <a:lnTo>
                    <a:pt x="149" y="269"/>
                  </a:lnTo>
                  <a:lnTo>
                    <a:pt x="151" y="271"/>
                  </a:lnTo>
                  <a:lnTo>
                    <a:pt x="161" y="267"/>
                  </a:lnTo>
                  <a:lnTo>
                    <a:pt x="169" y="265"/>
                  </a:lnTo>
                  <a:lnTo>
                    <a:pt x="172" y="263"/>
                  </a:lnTo>
                  <a:lnTo>
                    <a:pt x="176" y="259"/>
                  </a:lnTo>
                  <a:lnTo>
                    <a:pt x="182" y="259"/>
                  </a:lnTo>
                  <a:lnTo>
                    <a:pt x="190" y="255"/>
                  </a:lnTo>
                  <a:lnTo>
                    <a:pt x="197" y="254"/>
                  </a:lnTo>
                  <a:lnTo>
                    <a:pt x="207" y="252"/>
                  </a:lnTo>
                  <a:lnTo>
                    <a:pt x="215" y="252"/>
                  </a:lnTo>
                  <a:lnTo>
                    <a:pt x="219" y="252"/>
                  </a:lnTo>
                  <a:lnTo>
                    <a:pt x="224" y="252"/>
                  </a:lnTo>
                  <a:lnTo>
                    <a:pt x="230" y="252"/>
                  </a:lnTo>
                  <a:lnTo>
                    <a:pt x="238" y="252"/>
                  </a:lnTo>
                  <a:lnTo>
                    <a:pt x="244" y="250"/>
                  </a:lnTo>
                  <a:lnTo>
                    <a:pt x="249" y="246"/>
                  </a:lnTo>
                  <a:lnTo>
                    <a:pt x="255" y="244"/>
                  </a:lnTo>
                  <a:lnTo>
                    <a:pt x="261" y="242"/>
                  </a:lnTo>
                  <a:lnTo>
                    <a:pt x="263" y="242"/>
                  </a:lnTo>
                  <a:lnTo>
                    <a:pt x="263" y="240"/>
                  </a:lnTo>
                  <a:lnTo>
                    <a:pt x="265" y="236"/>
                  </a:lnTo>
                  <a:lnTo>
                    <a:pt x="267" y="225"/>
                  </a:lnTo>
                  <a:lnTo>
                    <a:pt x="276" y="215"/>
                  </a:lnTo>
                  <a:lnTo>
                    <a:pt x="282" y="211"/>
                  </a:lnTo>
                  <a:lnTo>
                    <a:pt x="288" y="206"/>
                  </a:lnTo>
                  <a:lnTo>
                    <a:pt x="290" y="204"/>
                  </a:lnTo>
                  <a:lnTo>
                    <a:pt x="291" y="202"/>
                  </a:lnTo>
                  <a:lnTo>
                    <a:pt x="297" y="196"/>
                  </a:lnTo>
                  <a:lnTo>
                    <a:pt x="299" y="190"/>
                  </a:lnTo>
                  <a:lnTo>
                    <a:pt x="301" y="184"/>
                  </a:lnTo>
                  <a:lnTo>
                    <a:pt x="301" y="182"/>
                  </a:lnTo>
                  <a:lnTo>
                    <a:pt x="303" y="179"/>
                  </a:lnTo>
                  <a:lnTo>
                    <a:pt x="307" y="173"/>
                  </a:lnTo>
                  <a:lnTo>
                    <a:pt x="309" y="165"/>
                  </a:lnTo>
                  <a:lnTo>
                    <a:pt x="311" y="163"/>
                  </a:lnTo>
                  <a:lnTo>
                    <a:pt x="315" y="159"/>
                  </a:lnTo>
                  <a:lnTo>
                    <a:pt x="318" y="154"/>
                  </a:lnTo>
                  <a:lnTo>
                    <a:pt x="320" y="154"/>
                  </a:lnTo>
                  <a:lnTo>
                    <a:pt x="326" y="152"/>
                  </a:lnTo>
                  <a:lnTo>
                    <a:pt x="332" y="148"/>
                  </a:lnTo>
                  <a:lnTo>
                    <a:pt x="336" y="146"/>
                  </a:lnTo>
                  <a:lnTo>
                    <a:pt x="341" y="142"/>
                  </a:lnTo>
                  <a:lnTo>
                    <a:pt x="347" y="140"/>
                  </a:lnTo>
                  <a:lnTo>
                    <a:pt x="351" y="138"/>
                  </a:lnTo>
                  <a:lnTo>
                    <a:pt x="355" y="136"/>
                  </a:lnTo>
                  <a:lnTo>
                    <a:pt x="357" y="134"/>
                  </a:lnTo>
                  <a:lnTo>
                    <a:pt x="359" y="134"/>
                  </a:lnTo>
                  <a:lnTo>
                    <a:pt x="368" y="131"/>
                  </a:lnTo>
                  <a:lnTo>
                    <a:pt x="378" y="127"/>
                  </a:lnTo>
                  <a:lnTo>
                    <a:pt x="380" y="127"/>
                  </a:lnTo>
                  <a:lnTo>
                    <a:pt x="382" y="121"/>
                  </a:lnTo>
                  <a:lnTo>
                    <a:pt x="384" y="119"/>
                  </a:lnTo>
                  <a:lnTo>
                    <a:pt x="386" y="113"/>
                  </a:lnTo>
                  <a:lnTo>
                    <a:pt x="387" y="111"/>
                  </a:lnTo>
                  <a:lnTo>
                    <a:pt x="395" y="104"/>
                  </a:lnTo>
                  <a:lnTo>
                    <a:pt x="395" y="102"/>
                  </a:lnTo>
                  <a:lnTo>
                    <a:pt x="397" y="100"/>
                  </a:lnTo>
                  <a:lnTo>
                    <a:pt x="403" y="92"/>
                  </a:lnTo>
                  <a:lnTo>
                    <a:pt x="405" y="88"/>
                  </a:lnTo>
                  <a:lnTo>
                    <a:pt x="409" y="83"/>
                  </a:lnTo>
                  <a:lnTo>
                    <a:pt x="409" y="81"/>
                  </a:lnTo>
                  <a:lnTo>
                    <a:pt x="412" y="77"/>
                  </a:lnTo>
                  <a:lnTo>
                    <a:pt x="416" y="69"/>
                  </a:lnTo>
                  <a:lnTo>
                    <a:pt x="418" y="67"/>
                  </a:lnTo>
                  <a:lnTo>
                    <a:pt x="420" y="60"/>
                  </a:lnTo>
                  <a:lnTo>
                    <a:pt x="422" y="56"/>
                  </a:lnTo>
                  <a:lnTo>
                    <a:pt x="424" y="50"/>
                  </a:lnTo>
                  <a:lnTo>
                    <a:pt x="426" y="42"/>
                  </a:lnTo>
                  <a:lnTo>
                    <a:pt x="430" y="31"/>
                  </a:lnTo>
                  <a:lnTo>
                    <a:pt x="432" y="29"/>
                  </a:lnTo>
                  <a:lnTo>
                    <a:pt x="432" y="27"/>
                  </a:lnTo>
                  <a:lnTo>
                    <a:pt x="434" y="25"/>
                  </a:lnTo>
                  <a:lnTo>
                    <a:pt x="437" y="25"/>
                  </a:lnTo>
                  <a:lnTo>
                    <a:pt x="447" y="21"/>
                  </a:lnTo>
                  <a:lnTo>
                    <a:pt x="449" y="21"/>
                  </a:lnTo>
                  <a:lnTo>
                    <a:pt x="451" y="19"/>
                  </a:lnTo>
                  <a:lnTo>
                    <a:pt x="457" y="17"/>
                  </a:lnTo>
                  <a:lnTo>
                    <a:pt x="466" y="15"/>
                  </a:lnTo>
                  <a:lnTo>
                    <a:pt x="476" y="13"/>
                  </a:lnTo>
                  <a:lnTo>
                    <a:pt x="478" y="11"/>
                  </a:lnTo>
                  <a:lnTo>
                    <a:pt x="483" y="8"/>
                  </a:lnTo>
                  <a:lnTo>
                    <a:pt x="487" y="4"/>
                  </a:lnTo>
                  <a:lnTo>
                    <a:pt x="493" y="0"/>
                  </a:lnTo>
                  <a:lnTo>
                    <a:pt x="493" y="8"/>
                  </a:lnTo>
                  <a:lnTo>
                    <a:pt x="485" y="15"/>
                  </a:lnTo>
                  <a:lnTo>
                    <a:pt x="483" y="19"/>
                  </a:lnTo>
                  <a:lnTo>
                    <a:pt x="483" y="23"/>
                  </a:lnTo>
                  <a:lnTo>
                    <a:pt x="495" y="23"/>
                  </a:lnTo>
                  <a:lnTo>
                    <a:pt x="495" y="25"/>
                  </a:lnTo>
                  <a:lnTo>
                    <a:pt x="505" y="25"/>
                  </a:lnTo>
                  <a:lnTo>
                    <a:pt x="512" y="25"/>
                  </a:lnTo>
                  <a:lnTo>
                    <a:pt x="518" y="25"/>
                  </a:lnTo>
                  <a:lnTo>
                    <a:pt x="526" y="25"/>
                  </a:lnTo>
                  <a:lnTo>
                    <a:pt x="537" y="27"/>
                  </a:lnTo>
                  <a:lnTo>
                    <a:pt x="543" y="27"/>
                  </a:lnTo>
                  <a:lnTo>
                    <a:pt x="551" y="2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7" name="Freeform 24">
              <a:extLst>
                <a:ext uri="{FF2B5EF4-FFF2-40B4-BE49-F238E27FC236}">
                  <a16:creationId xmlns:a16="http://schemas.microsoft.com/office/drawing/2014/main" id="{1F9F6E21-B02A-4A43-8BDD-379103939B2C}"/>
                </a:ext>
              </a:extLst>
            </p:cNvPr>
            <p:cNvSpPr>
              <a:spLocks/>
            </p:cNvSpPr>
            <p:nvPr/>
          </p:nvSpPr>
          <p:spPr bwMode="gray">
            <a:xfrm>
              <a:off x="4460876" y="2963863"/>
              <a:ext cx="1500188" cy="1000125"/>
            </a:xfrm>
            <a:custGeom>
              <a:avLst/>
              <a:gdLst>
                <a:gd name="T0" fmla="*/ 851 w 945"/>
                <a:gd name="T1" fmla="*/ 327 h 630"/>
                <a:gd name="T2" fmla="*/ 818 w 945"/>
                <a:gd name="T3" fmla="*/ 348 h 630"/>
                <a:gd name="T4" fmla="*/ 860 w 945"/>
                <a:gd name="T5" fmla="*/ 378 h 630"/>
                <a:gd name="T6" fmla="*/ 826 w 945"/>
                <a:gd name="T7" fmla="*/ 450 h 630"/>
                <a:gd name="T8" fmla="*/ 785 w 945"/>
                <a:gd name="T9" fmla="*/ 473 h 630"/>
                <a:gd name="T10" fmla="*/ 745 w 945"/>
                <a:gd name="T11" fmla="*/ 523 h 630"/>
                <a:gd name="T12" fmla="*/ 714 w 945"/>
                <a:gd name="T13" fmla="*/ 578 h 630"/>
                <a:gd name="T14" fmla="*/ 668 w 945"/>
                <a:gd name="T15" fmla="*/ 574 h 630"/>
                <a:gd name="T16" fmla="*/ 582 w 945"/>
                <a:gd name="T17" fmla="*/ 571 h 630"/>
                <a:gd name="T18" fmla="*/ 522 w 945"/>
                <a:gd name="T19" fmla="*/ 584 h 630"/>
                <a:gd name="T20" fmla="*/ 449 w 945"/>
                <a:gd name="T21" fmla="*/ 574 h 630"/>
                <a:gd name="T22" fmla="*/ 375 w 945"/>
                <a:gd name="T23" fmla="*/ 597 h 630"/>
                <a:gd name="T24" fmla="*/ 340 w 945"/>
                <a:gd name="T25" fmla="*/ 561 h 630"/>
                <a:gd name="T26" fmla="*/ 286 w 945"/>
                <a:gd name="T27" fmla="*/ 592 h 630"/>
                <a:gd name="T28" fmla="*/ 221 w 945"/>
                <a:gd name="T29" fmla="*/ 622 h 630"/>
                <a:gd name="T30" fmla="*/ 139 w 945"/>
                <a:gd name="T31" fmla="*/ 594 h 630"/>
                <a:gd name="T32" fmla="*/ 48 w 945"/>
                <a:gd name="T33" fmla="*/ 559 h 630"/>
                <a:gd name="T34" fmla="*/ 10 w 945"/>
                <a:gd name="T35" fmla="*/ 505 h 630"/>
                <a:gd name="T36" fmla="*/ 8 w 945"/>
                <a:gd name="T37" fmla="*/ 482 h 630"/>
                <a:gd name="T38" fmla="*/ 46 w 945"/>
                <a:gd name="T39" fmla="*/ 442 h 630"/>
                <a:gd name="T40" fmla="*/ 75 w 945"/>
                <a:gd name="T41" fmla="*/ 390 h 630"/>
                <a:gd name="T42" fmla="*/ 104 w 945"/>
                <a:gd name="T43" fmla="*/ 336 h 630"/>
                <a:gd name="T44" fmla="*/ 92 w 945"/>
                <a:gd name="T45" fmla="*/ 261 h 630"/>
                <a:gd name="T46" fmla="*/ 114 w 945"/>
                <a:gd name="T47" fmla="*/ 231 h 630"/>
                <a:gd name="T48" fmla="*/ 127 w 945"/>
                <a:gd name="T49" fmla="*/ 215 h 630"/>
                <a:gd name="T50" fmla="*/ 160 w 945"/>
                <a:gd name="T51" fmla="*/ 217 h 630"/>
                <a:gd name="T52" fmla="*/ 179 w 945"/>
                <a:gd name="T53" fmla="*/ 236 h 630"/>
                <a:gd name="T54" fmla="*/ 198 w 945"/>
                <a:gd name="T55" fmla="*/ 261 h 630"/>
                <a:gd name="T56" fmla="*/ 165 w 945"/>
                <a:gd name="T57" fmla="*/ 309 h 630"/>
                <a:gd name="T58" fmla="*/ 215 w 945"/>
                <a:gd name="T59" fmla="*/ 309 h 630"/>
                <a:gd name="T60" fmla="*/ 273 w 945"/>
                <a:gd name="T61" fmla="*/ 294 h 630"/>
                <a:gd name="T62" fmla="*/ 311 w 945"/>
                <a:gd name="T63" fmla="*/ 282 h 630"/>
                <a:gd name="T64" fmla="*/ 307 w 945"/>
                <a:gd name="T65" fmla="*/ 221 h 630"/>
                <a:gd name="T66" fmla="*/ 369 w 945"/>
                <a:gd name="T67" fmla="*/ 190 h 630"/>
                <a:gd name="T68" fmla="*/ 321 w 945"/>
                <a:gd name="T69" fmla="*/ 169 h 630"/>
                <a:gd name="T70" fmla="*/ 286 w 945"/>
                <a:gd name="T71" fmla="*/ 108 h 630"/>
                <a:gd name="T72" fmla="*/ 390 w 945"/>
                <a:gd name="T73" fmla="*/ 50 h 630"/>
                <a:gd name="T74" fmla="*/ 459 w 945"/>
                <a:gd name="T75" fmla="*/ 4 h 630"/>
                <a:gd name="T76" fmla="*/ 542 w 945"/>
                <a:gd name="T77" fmla="*/ 23 h 630"/>
                <a:gd name="T78" fmla="*/ 557 w 945"/>
                <a:gd name="T79" fmla="*/ 60 h 630"/>
                <a:gd name="T80" fmla="*/ 528 w 945"/>
                <a:gd name="T81" fmla="*/ 117 h 630"/>
                <a:gd name="T82" fmla="*/ 482 w 945"/>
                <a:gd name="T83" fmla="*/ 152 h 630"/>
                <a:gd name="T84" fmla="*/ 471 w 945"/>
                <a:gd name="T85" fmla="*/ 202 h 630"/>
                <a:gd name="T86" fmla="*/ 478 w 945"/>
                <a:gd name="T87" fmla="*/ 277 h 630"/>
                <a:gd name="T88" fmla="*/ 536 w 945"/>
                <a:gd name="T89" fmla="*/ 273 h 630"/>
                <a:gd name="T90" fmla="*/ 509 w 945"/>
                <a:gd name="T91" fmla="*/ 215 h 630"/>
                <a:gd name="T92" fmla="*/ 492 w 945"/>
                <a:gd name="T93" fmla="*/ 163 h 630"/>
                <a:gd name="T94" fmla="*/ 515 w 945"/>
                <a:gd name="T95" fmla="*/ 150 h 630"/>
                <a:gd name="T96" fmla="*/ 530 w 945"/>
                <a:gd name="T97" fmla="*/ 161 h 630"/>
                <a:gd name="T98" fmla="*/ 528 w 945"/>
                <a:gd name="T99" fmla="*/ 183 h 630"/>
                <a:gd name="T100" fmla="*/ 559 w 945"/>
                <a:gd name="T101" fmla="*/ 188 h 630"/>
                <a:gd name="T102" fmla="*/ 578 w 945"/>
                <a:gd name="T103" fmla="*/ 171 h 630"/>
                <a:gd name="T104" fmla="*/ 597 w 945"/>
                <a:gd name="T105" fmla="*/ 192 h 630"/>
                <a:gd name="T106" fmla="*/ 657 w 945"/>
                <a:gd name="T107" fmla="*/ 165 h 630"/>
                <a:gd name="T108" fmla="*/ 686 w 945"/>
                <a:gd name="T109" fmla="*/ 200 h 630"/>
                <a:gd name="T110" fmla="*/ 712 w 945"/>
                <a:gd name="T111" fmla="*/ 196 h 630"/>
                <a:gd name="T112" fmla="*/ 745 w 945"/>
                <a:gd name="T113" fmla="*/ 184 h 630"/>
                <a:gd name="T114" fmla="*/ 781 w 945"/>
                <a:gd name="T115" fmla="*/ 196 h 630"/>
                <a:gd name="T116" fmla="*/ 816 w 945"/>
                <a:gd name="T117" fmla="*/ 184 h 630"/>
                <a:gd name="T118" fmla="*/ 872 w 945"/>
                <a:gd name="T119" fmla="*/ 227 h 630"/>
                <a:gd name="T120" fmla="*/ 891 w 945"/>
                <a:gd name="T121" fmla="*/ 238 h 630"/>
                <a:gd name="T122" fmla="*/ 937 w 945"/>
                <a:gd name="T123" fmla="*/ 257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5" h="630">
                  <a:moveTo>
                    <a:pt x="943" y="315"/>
                  </a:moveTo>
                  <a:lnTo>
                    <a:pt x="937" y="321"/>
                  </a:lnTo>
                  <a:lnTo>
                    <a:pt x="931" y="319"/>
                  </a:lnTo>
                  <a:lnTo>
                    <a:pt x="927" y="321"/>
                  </a:lnTo>
                  <a:lnTo>
                    <a:pt x="925" y="327"/>
                  </a:lnTo>
                  <a:lnTo>
                    <a:pt x="920" y="330"/>
                  </a:lnTo>
                  <a:lnTo>
                    <a:pt x="916" y="330"/>
                  </a:lnTo>
                  <a:lnTo>
                    <a:pt x="914" y="330"/>
                  </a:lnTo>
                  <a:lnTo>
                    <a:pt x="914" y="334"/>
                  </a:lnTo>
                  <a:lnTo>
                    <a:pt x="912" y="334"/>
                  </a:lnTo>
                  <a:lnTo>
                    <a:pt x="908" y="334"/>
                  </a:lnTo>
                  <a:lnTo>
                    <a:pt x="906" y="332"/>
                  </a:lnTo>
                  <a:lnTo>
                    <a:pt x="899" y="332"/>
                  </a:lnTo>
                  <a:lnTo>
                    <a:pt x="889" y="332"/>
                  </a:lnTo>
                  <a:lnTo>
                    <a:pt x="883" y="330"/>
                  </a:lnTo>
                  <a:lnTo>
                    <a:pt x="881" y="332"/>
                  </a:lnTo>
                  <a:lnTo>
                    <a:pt x="877" y="330"/>
                  </a:lnTo>
                  <a:lnTo>
                    <a:pt x="877" y="327"/>
                  </a:lnTo>
                  <a:lnTo>
                    <a:pt x="874" y="330"/>
                  </a:lnTo>
                  <a:lnTo>
                    <a:pt x="862" y="330"/>
                  </a:lnTo>
                  <a:lnTo>
                    <a:pt x="856" y="327"/>
                  </a:lnTo>
                  <a:lnTo>
                    <a:pt x="851" y="327"/>
                  </a:lnTo>
                  <a:lnTo>
                    <a:pt x="849" y="325"/>
                  </a:lnTo>
                  <a:lnTo>
                    <a:pt x="845" y="329"/>
                  </a:lnTo>
                  <a:lnTo>
                    <a:pt x="837" y="332"/>
                  </a:lnTo>
                  <a:lnTo>
                    <a:pt x="833" y="332"/>
                  </a:lnTo>
                  <a:lnTo>
                    <a:pt x="828" y="329"/>
                  </a:lnTo>
                  <a:lnTo>
                    <a:pt x="828" y="327"/>
                  </a:lnTo>
                  <a:lnTo>
                    <a:pt x="826" y="327"/>
                  </a:lnTo>
                  <a:lnTo>
                    <a:pt x="826" y="325"/>
                  </a:lnTo>
                  <a:lnTo>
                    <a:pt x="824" y="325"/>
                  </a:lnTo>
                  <a:lnTo>
                    <a:pt x="822" y="319"/>
                  </a:lnTo>
                  <a:lnTo>
                    <a:pt x="814" y="323"/>
                  </a:lnTo>
                  <a:lnTo>
                    <a:pt x="814" y="325"/>
                  </a:lnTo>
                  <a:lnTo>
                    <a:pt x="816" y="325"/>
                  </a:lnTo>
                  <a:lnTo>
                    <a:pt x="814" y="327"/>
                  </a:lnTo>
                  <a:lnTo>
                    <a:pt x="814" y="329"/>
                  </a:lnTo>
                  <a:lnTo>
                    <a:pt x="818" y="329"/>
                  </a:lnTo>
                  <a:lnTo>
                    <a:pt x="818" y="332"/>
                  </a:lnTo>
                  <a:lnTo>
                    <a:pt x="818" y="336"/>
                  </a:lnTo>
                  <a:lnTo>
                    <a:pt x="822" y="338"/>
                  </a:lnTo>
                  <a:lnTo>
                    <a:pt x="822" y="340"/>
                  </a:lnTo>
                  <a:lnTo>
                    <a:pt x="824" y="342"/>
                  </a:lnTo>
                  <a:lnTo>
                    <a:pt x="818" y="348"/>
                  </a:lnTo>
                  <a:lnTo>
                    <a:pt x="814" y="348"/>
                  </a:lnTo>
                  <a:lnTo>
                    <a:pt x="814" y="355"/>
                  </a:lnTo>
                  <a:lnTo>
                    <a:pt x="810" y="355"/>
                  </a:lnTo>
                  <a:lnTo>
                    <a:pt x="810" y="359"/>
                  </a:lnTo>
                  <a:lnTo>
                    <a:pt x="814" y="361"/>
                  </a:lnTo>
                  <a:lnTo>
                    <a:pt x="814" y="367"/>
                  </a:lnTo>
                  <a:lnTo>
                    <a:pt x="818" y="365"/>
                  </a:lnTo>
                  <a:lnTo>
                    <a:pt x="820" y="363"/>
                  </a:lnTo>
                  <a:lnTo>
                    <a:pt x="824" y="363"/>
                  </a:lnTo>
                  <a:lnTo>
                    <a:pt x="828" y="357"/>
                  </a:lnTo>
                  <a:lnTo>
                    <a:pt x="829" y="361"/>
                  </a:lnTo>
                  <a:lnTo>
                    <a:pt x="835" y="361"/>
                  </a:lnTo>
                  <a:lnTo>
                    <a:pt x="837" y="365"/>
                  </a:lnTo>
                  <a:lnTo>
                    <a:pt x="847" y="363"/>
                  </a:lnTo>
                  <a:lnTo>
                    <a:pt x="851" y="367"/>
                  </a:lnTo>
                  <a:lnTo>
                    <a:pt x="851" y="369"/>
                  </a:lnTo>
                  <a:lnTo>
                    <a:pt x="852" y="371"/>
                  </a:lnTo>
                  <a:lnTo>
                    <a:pt x="852" y="375"/>
                  </a:lnTo>
                  <a:lnTo>
                    <a:pt x="856" y="375"/>
                  </a:lnTo>
                  <a:lnTo>
                    <a:pt x="858" y="375"/>
                  </a:lnTo>
                  <a:lnTo>
                    <a:pt x="856" y="378"/>
                  </a:lnTo>
                  <a:lnTo>
                    <a:pt x="860" y="378"/>
                  </a:lnTo>
                  <a:lnTo>
                    <a:pt x="862" y="377"/>
                  </a:lnTo>
                  <a:lnTo>
                    <a:pt x="866" y="377"/>
                  </a:lnTo>
                  <a:lnTo>
                    <a:pt x="866" y="382"/>
                  </a:lnTo>
                  <a:lnTo>
                    <a:pt x="870" y="380"/>
                  </a:lnTo>
                  <a:lnTo>
                    <a:pt x="876" y="384"/>
                  </a:lnTo>
                  <a:lnTo>
                    <a:pt x="876" y="390"/>
                  </a:lnTo>
                  <a:lnTo>
                    <a:pt x="870" y="396"/>
                  </a:lnTo>
                  <a:lnTo>
                    <a:pt x="870" y="402"/>
                  </a:lnTo>
                  <a:lnTo>
                    <a:pt x="872" y="403"/>
                  </a:lnTo>
                  <a:lnTo>
                    <a:pt x="868" y="409"/>
                  </a:lnTo>
                  <a:lnTo>
                    <a:pt x="860" y="407"/>
                  </a:lnTo>
                  <a:lnTo>
                    <a:pt x="858" y="411"/>
                  </a:lnTo>
                  <a:lnTo>
                    <a:pt x="852" y="411"/>
                  </a:lnTo>
                  <a:lnTo>
                    <a:pt x="847" y="413"/>
                  </a:lnTo>
                  <a:lnTo>
                    <a:pt x="845" y="415"/>
                  </a:lnTo>
                  <a:lnTo>
                    <a:pt x="849" y="425"/>
                  </a:lnTo>
                  <a:lnTo>
                    <a:pt x="839" y="428"/>
                  </a:lnTo>
                  <a:lnTo>
                    <a:pt x="839" y="432"/>
                  </a:lnTo>
                  <a:lnTo>
                    <a:pt x="829" y="434"/>
                  </a:lnTo>
                  <a:lnTo>
                    <a:pt x="828" y="438"/>
                  </a:lnTo>
                  <a:lnTo>
                    <a:pt x="831" y="446"/>
                  </a:lnTo>
                  <a:lnTo>
                    <a:pt x="826" y="450"/>
                  </a:lnTo>
                  <a:lnTo>
                    <a:pt x="828" y="455"/>
                  </a:lnTo>
                  <a:lnTo>
                    <a:pt x="826" y="459"/>
                  </a:lnTo>
                  <a:lnTo>
                    <a:pt x="824" y="455"/>
                  </a:lnTo>
                  <a:lnTo>
                    <a:pt x="822" y="457"/>
                  </a:lnTo>
                  <a:lnTo>
                    <a:pt x="818" y="457"/>
                  </a:lnTo>
                  <a:lnTo>
                    <a:pt x="814" y="461"/>
                  </a:lnTo>
                  <a:lnTo>
                    <a:pt x="816" y="467"/>
                  </a:lnTo>
                  <a:lnTo>
                    <a:pt x="812" y="467"/>
                  </a:lnTo>
                  <a:lnTo>
                    <a:pt x="812" y="471"/>
                  </a:lnTo>
                  <a:lnTo>
                    <a:pt x="810" y="471"/>
                  </a:lnTo>
                  <a:lnTo>
                    <a:pt x="806" y="469"/>
                  </a:lnTo>
                  <a:lnTo>
                    <a:pt x="804" y="471"/>
                  </a:lnTo>
                  <a:lnTo>
                    <a:pt x="803" y="471"/>
                  </a:lnTo>
                  <a:lnTo>
                    <a:pt x="799" y="473"/>
                  </a:lnTo>
                  <a:lnTo>
                    <a:pt x="797" y="476"/>
                  </a:lnTo>
                  <a:lnTo>
                    <a:pt x="793" y="475"/>
                  </a:lnTo>
                  <a:lnTo>
                    <a:pt x="793" y="478"/>
                  </a:lnTo>
                  <a:lnTo>
                    <a:pt x="791" y="476"/>
                  </a:lnTo>
                  <a:lnTo>
                    <a:pt x="791" y="480"/>
                  </a:lnTo>
                  <a:lnTo>
                    <a:pt x="789" y="480"/>
                  </a:lnTo>
                  <a:lnTo>
                    <a:pt x="787" y="478"/>
                  </a:lnTo>
                  <a:lnTo>
                    <a:pt x="785" y="473"/>
                  </a:lnTo>
                  <a:lnTo>
                    <a:pt x="780" y="471"/>
                  </a:lnTo>
                  <a:lnTo>
                    <a:pt x="778" y="476"/>
                  </a:lnTo>
                  <a:lnTo>
                    <a:pt x="776" y="475"/>
                  </a:lnTo>
                  <a:lnTo>
                    <a:pt x="774" y="475"/>
                  </a:lnTo>
                  <a:lnTo>
                    <a:pt x="772" y="478"/>
                  </a:lnTo>
                  <a:lnTo>
                    <a:pt x="766" y="480"/>
                  </a:lnTo>
                  <a:lnTo>
                    <a:pt x="766" y="476"/>
                  </a:lnTo>
                  <a:lnTo>
                    <a:pt x="764" y="476"/>
                  </a:lnTo>
                  <a:lnTo>
                    <a:pt x="762" y="478"/>
                  </a:lnTo>
                  <a:lnTo>
                    <a:pt x="757" y="480"/>
                  </a:lnTo>
                  <a:lnTo>
                    <a:pt x="757" y="488"/>
                  </a:lnTo>
                  <a:lnTo>
                    <a:pt x="758" y="492"/>
                  </a:lnTo>
                  <a:lnTo>
                    <a:pt x="757" y="496"/>
                  </a:lnTo>
                  <a:lnTo>
                    <a:pt x="758" y="496"/>
                  </a:lnTo>
                  <a:lnTo>
                    <a:pt x="755" y="501"/>
                  </a:lnTo>
                  <a:lnTo>
                    <a:pt x="747" y="505"/>
                  </a:lnTo>
                  <a:lnTo>
                    <a:pt x="747" y="507"/>
                  </a:lnTo>
                  <a:lnTo>
                    <a:pt x="747" y="509"/>
                  </a:lnTo>
                  <a:lnTo>
                    <a:pt x="747" y="513"/>
                  </a:lnTo>
                  <a:lnTo>
                    <a:pt x="741" y="515"/>
                  </a:lnTo>
                  <a:lnTo>
                    <a:pt x="745" y="519"/>
                  </a:lnTo>
                  <a:lnTo>
                    <a:pt x="745" y="523"/>
                  </a:lnTo>
                  <a:lnTo>
                    <a:pt x="741" y="523"/>
                  </a:lnTo>
                  <a:lnTo>
                    <a:pt x="739" y="517"/>
                  </a:lnTo>
                  <a:lnTo>
                    <a:pt x="735" y="517"/>
                  </a:lnTo>
                  <a:lnTo>
                    <a:pt x="732" y="524"/>
                  </a:lnTo>
                  <a:lnTo>
                    <a:pt x="730" y="530"/>
                  </a:lnTo>
                  <a:lnTo>
                    <a:pt x="728" y="532"/>
                  </a:lnTo>
                  <a:lnTo>
                    <a:pt x="726" y="534"/>
                  </a:lnTo>
                  <a:lnTo>
                    <a:pt x="728" y="536"/>
                  </a:lnTo>
                  <a:lnTo>
                    <a:pt x="726" y="538"/>
                  </a:lnTo>
                  <a:lnTo>
                    <a:pt x="728" y="546"/>
                  </a:lnTo>
                  <a:lnTo>
                    <a:pt x="726" y="546"/>
                  </a:lnTo>
                  <a:lnTo>
                    <a:pt x="726" y="549"/>
                  </a:lnTo>
                  <a:lnTo>
                    <a:pt x="724" y="555"/>
                  </a:lnTo>
                  <a:lnTo>
                    <a:pt x="716" y="555"/>
                  </a:lnTo>
                  <a:lnTo>
                    <a:pt x="714" y="559"/>
                  </a:lnTo>
                  <a:lnTo>
                    <a:pt x="714" y="561"/>
                  </a:lnTo>
                  <a:lnTo>
                    <a:pt x="712" y="565"/>
                  </a:lnTo>
                  <a:lnTo>
                    <a:pt x="714" y="571"/>
                  </a:lnTo>
                  <a:lnTo>
                    <a:pt x="712" y="573"/>
                  </a:lnTo>
                  <a:lnTo>
                    <a:pt x="714" y="574"/>
                  </a:lnTo>
                  <a:lnTo>
                    <a:pt x="712" y="576"/>
                  </a:lnTo>
                  <a:lnTo>
                    <a:pt x="714" y="578"/>
                  </a:lnTo>
                  <a:lnTo>
                    <a:pt x="714" y="586"/>
                  </a:lnTo>
                  <a:lnTo>
                    <a:pt x="710" y="590"/>
                  </a:lnTo>
                  <a:lnTo>
                    <a:pt x="710" y="596"/>
                  </a:lnTo>
                  <a:lnTo>
                    <a:pt x="707" y="601"/>
                  </a:lnTo>
                  <a:lnTo>
                    <a:pt x="699" y="601"/>
                  </a:lnTo>
                  <a:lnTo>
                    <a:pt x="699" y="599"/>
                  </a:lnTo>
                  <a:lnTo>
                    <a:pt x="695" y="599"/>
                  </a:lnTo>
                  <a:lnTo>
                    <a:pt x="695" y="597"/>
                  </a:lnTo>
                  <a:lnTo>
                    <a:pt x="693" y="597"/>
                  </a:lnTo>
                  <a:lnTo>
                    <a:pt x="691" y="594"/>
                  </a:lnTo>
                  <a:lnTo>
                    <a:pt x="686" y="594"/>
                  </a:lnTo>
                  <a:lnTo>
                    <a:pt x="684" y="597"/>
                  </a:lnTo>
                  <a:lnTo>
                    <a:pt x="680" y="597"/>
                  </a:lnTo>
                  <a:lnTo>
                    <a:pt x="678" y="594"/>
                  </a:lnTo>
                  <a:lnTo>
                    <a:pt x="680" y="590"/>
                  </a:lnTo>
                  <a:lnTo>
                    <a:pt x="676" y="584"/>
                  </a:lnTo>
                  <a:lnTo>
                    <a:pt x="676" y="580"/>
                  </a:lnTo>
                  <a:lnTo>
                    <a:pt x="670" y="578"/>
                  </a:lnTo>
                  <a:lnTo>
                    <a:pt x="672" y="574"/>
                  </a:lnTo>
                  <a:lnTo>
                    <a:pt x="670" y="576"/>
                  </a:lnTo>
                  <a:lnTo>
                    <a:pt x="670" y="574"/>
                  </a:lnTo>
                  <a:lnTo>
                    <a:pt x="668" y="574"/>
                  </a:lnTo>
                  <a:lnTo>
                    <a:pt x="664" y="571"/>
                  </a:lnTo>
                  <a:lnTo>
                    <a:pt x="659" y="571"/>
                  </a:lnTo>
                  <a:lnTo>
                    <a:pt x="659" y="569"/>
                  </a:lnTo>
                  <a:lnTo>
                    <a:pt x="653" y="571"/>
                  </a:lnTo>
                  <a:lnTo>
                    <a:pt x="649" y="571"/>
                  </a:lnTo>
                  <a:lnTo>
                    <a:pt x="649" y="573"/>
                  </a:lnTo>
                  <a:lnTo>
                    <a:pt x="641" y="576"/>
                  </a:lnTo>
                  <a:lnTo>
                    <a:pt x="639" y="576"/>
                  </a:lnTo>
                  <a:lnTo>
                    <a:pt x="636" y="580"/>
                  </a:lnTo>
                  <a:lnTo>
                    <a:pt x="632" y="576"/>
                  </a:lnTo>
                  <a:lnTo>
                    <a:pt x="628" y="576"/>
                  </a:lnTo>
                  <a:lnTo>
                    <a:pt x="626" y="580"/>
                  </a:lnTo>
                  <a:lnTo>
                    <a:pt x="620" y="580"/>
                  </a:lnTo>
                  <a:lnTo>
                    <a:pt x="613" y="574"/>
                  </a:lnTo>
                  <a:lnTo>
                    <a:pt x="607" y="573"/>
                  </a:lnTo>
                  <a:lnTo>
                    <a:pt x="599" y="574"/>
                  </a:lnTo>
                  <a:lnTo>
                    <a:pt x="599" y="576"/>
                  </a:lnTo>
                  <a:lnTo>
                    <a:pt x="590" y="578"/>
                  </a:lnTo>
                  <a:lnTo>
                    <a:pt x="586" y="578"/>
                  </a:lnTo>
                  <a:lnTo>
                    <a:pt x="588" y="576"/>
                  </a:lnTo>
                  <a:lnTo>
                    <a:pt x="584" y="574"/>
                  </a:lnTo>
                  <a:lnTo>
                    <a:pt x="582" y="571"/>
                  </a:lnTo>
                  <a:lnTo>
                    <a:pt x="584" y="569"/>
                  </a:lnTo>
                  <a:lnTo>
                    <a:pt x="582" y="565"/>
                  </a:lnTo>
                  <a:lnTo>
                    <a:pt x="574" y="563"/>
                  </a:lnTo>
                  <a:lnTo>
                    <a:pt x="570" y="565"/>
                  </a:lnTo>
                  <a:lnTo>
                    <a:pt x="567" y="563"/>
                  </a:lnTo>
                  <a:lnTo>
                    <a:pt x="561" y="563"/>
                  </a:lnTo>
                  <a:lnTo>
                    <a:pt x="557" y="559"/>
                  </a:lnTo>
                  <a:lnTo>
                    <a:pt x="553" y="561"/>
                  </a:lnTo>
                  <a:lnTo>
                    <a:pt x="553" y="567"/>
                  </a:lnTo>
                  <a:lnTo>
                    <a:pt x="545" y="565"/>
                  </a:lnTo>
                  <a:lnTo>
                    <a:pt x="543" y="569"/>
                  </a:lnTo>
                  <a:lnTo>
                    <a:pt x="540" y="569"/>
                  </a:lnTo>
                  <a:lnTo>
                    <a:pt x="540" y="573"/>
                  </a:lnTo>
                  <a:lnTo>
                    <a:pt x="530" y="573"/>
                  </a:lnTo>
                  <a:lnTo>
                    <a:pt x="526" y="571"/>
                  </a:lnTo>
                  <a:lnTo>
                    <a:pt x="522" y="573"/>
                  </a:lnTo>
                  <a:lnTo>
                    <a:pt x="520" y="573"/>
                  </a:lnTo>
                  <a:lnTo>
                    <a:pt x="520" y="574"/>
                  </a:lnTo>
                  <a:lnTo>
                    <a:pt x="520" y="576"/>
                  </a:lnTo>
                  <a:lnTo>
                    <a:pt x="519" y="578"/>
                  </a:lnTo>
                  <a:lnTo>
                    <a:pt x="522" y="582"/>
                  </a:lnTo>
                  <a:lnTo>
                    <a:pt x="522" y="584"/>
                  </a:lnTo>
                  <a:lnTo>
                    <a:pt x="517" y="582"/>
                  </a:lnTo>
                  <a:lnTo>
                    <a:pt x="517" y="584"/>
                  </a:lnTo>
                  <a:lnTo>
                    <a:pt x="509" y="584"/>
                  </a:lnTo>
                  <a:lnTo>
                    <a:pt x="505" y="586"/>
                  </a:lnTo>
                  <a:lnTo>
                    <a:pt x="501" y="584"/>
                  </a:lnTo>
                  <a:lnTo>
                    <a:pt x="501" y="586"/>
                  </a:lnTo>
                  <a:lnTo>
                    <a:pt x="499" y="586"/>
                  </a:lnTo>
                  <a:lnTo>
                    <a:pt x="495" y="586"/>
                  </a:lnTo>
                  <a:lnTo>
                    <a:pt x="490" y="586"/>
                  </a:lnTo>
                  <a:lnTo>
                    <a:pt x="484" y="584"/>
                  </a:lnTo>
                  <a:lnTo>
                    <a:pt x="482" y="582"/>
                  </a:lnTo>
                  <a:lnTo>
                    <a:pt x="476" y="580"/>
                  </a:lnTo>
                  <a:lnTo>
                    <a:pt x="471" y="584"/>
                  </a:lnTo>
                  <a:lnTo>
                    <a:pt x="469" y="582"/>
                  </a:lnTo>
                  <a:lnTo>
                    <a:pt x="467" y="578"/>
                  </a:lnTo>
                  <a:lnTo>
                    <a:pt x="467" y="573"/>
                  </a:lnTo>
                  <a:lnTo>
                    <a:pt x="463" y="571"/>
                  </a:lnTo>
                  <a:lnTo>
                    <a:pt x="461" y="574"/>
                  </a:lnTo>
                  <a:lnTo>
                    <a:pt x="457" y="574"/>
                  </a:lnTo>
                  <a:lnTo>
                    <a:pt x="455" y="574"/>
                  </a:lnTo>
                  <a:lnTo>
                    <a:pt x="451" y="573"/>
                  </a:lnTo>
                  <a:lnTo>
                    <a:pt x="449" y="574"/>
                  </a:lnTo>
                  <a:lnTo>
                    <a:pt x="451" y="576"/>
                  </a:lnTo>
                  <a:lnTo>
                    <a:pt x="442" y="576"/>
                  </a:lnTo>
                  <a:lnTo>
                    <a:pt x="440" y="584"/>
                  </a:lnTo>
                  <a:lnTo>
                    <a:pt x="432" y="588"/>
                  </a:lnTo>
                  <a:lnTo>
                    <a:pt x="430" y="590"/>
                  </a:lnTo>
                  <a:lnTo>
                    <a:pt x="423" y="592"/>
                  </a:lnTo>
                  <a:lnTo>
                    <a:pt x="419" y="594"/>
                  </a:lnTo>
                  <a:lnTo>
                    <a:pt x="415" y="594"/>
                  </a:lnTo>
                  <a:lnTo>
                    <a:pt x="415" y="596"/>
                  </a:lnTo>
                  <a:lnTo>
                    <a:pt x="409" y="596"/>
                  </a:lnTo>
                  <a:lnTo>
                    <a:pt x="400" y="592"/>
                  </a:lnTo>
                  <a:lnTo>
                    <a:pt x="400" y="596"/>
                  </a:lnTo>
                  <a:lnTo>
                    <a:pt x="394" y="596"/>
                  </a:lnTo>
                  <a:lnTo>
                    <a:pt x="392" y="597"/>
                  </a:lnTo>
                  <a:lnTo>
                    <a:pt x="390" y="597"/>
                  </a:lnTo>
                  <a:lnTo>
                    <a:pt x="388" y="594"/>
                  </a:lnTo>
                  <a:lnTo>
                    <a:pt x="386" y="597"/>
                  </a:lnTo>
                  <a:lnTo>
                    <a:pt x="384" y="596"/>
                  </a:lnTo>
                  <a:lnTo>
                    <a:pt x="378" y="596"/>
                  </a:lnTo>
                  <a:lnTo>
                    <a:pt x="378" y="597"/>
                  </a:lnTo>
                  <a:lnTo>
                    <a:pt x="376" y="597"/>
                  </a:lnTo>
                  <a:lnTo>
                    <a:pt x="375" y="597"/>
                  </a:lnTo>
                  <a:lnTo>
                    <a:pt x="375" y="594"/>
                  </a:lnTo>
                  <a:lnTo>
                    <a:pt x="371" y="592"/>
                  </a:lnTo>
                  <a:lnTo>
                    <a:pt x="369" y="596"/>
                  </a:lnTo>
                  <a:lnTo>
                    <a:pt x="367" y="596"/>
                  </a:lnTo>
                  <a:lnTo>
                    <a:pt x="365" y="588"/>
                  </a:lnTo>
                  <a:lnTo>
                    <a:pt x="361" y="586"/>
                  </a:lnTo>
                  <a:lnTo>
                    <a:pt x="359" y="578"/>
                  </a:lnTo>
                  <a:lnTo>
                    <a:pt x="363" y="576"/>
                  </a:lnTo>
                  <a:lnTo>
                    <a:pt x="369" y="576"/>
                  </a:lnTo>
                  <a:lnTo>
                    <a:pt x="376" y="580"/>
                  </a:lnTo>
                  <a:lnTo>
                    <a:pt x="380" y="578"/>
                  </a:lnTo>
                  <a:lnTo>
                    <a:pt x="376" y="576"/>
                  </a:lnTo>
                  <a:lnTo>
                    <a:pt x="376" y="569"/>
                  </a:lnTo>
                  <a:lnTo>
                    <a:pt x="375" y="565"/>
                  </a:lnTo>
                  <a:lnTo>
                    <a:pt x="373" y="561"/>
                  </a:lnTo>
                  <a:lnTo>
                    <a:pt x="367" y="553"/>
                  </a:lnTo>
                  <a:lnTo>
                    <a:pt x="359" y="555"/>
                  </a:lnTo>
                  <a:lnTo>
                    <a:pt x="350" y="555"/>
                  </a:lnTo>
                  <a:lnTo>
                    <a:pt x="346" y="555"/>
                  </a:lnTo>
                  <a:lnTo>
                    <a:pt x="346" y="559"/>
                  </a:lnTo>
                  <a:lnTo>
                    <a:pt x="340" y="559"/>
                  </a:lnTo>
                  <a:lnTo>
                    <a:pt x="340" y="561"/>
                  </a:lnTo>
                  <a:lnTo>
                    <a:pt x="338" y="563"/>
                  </a:lnTo>
                  <a:lnTo>
                    <a:pt x="336" y="561"/>
                  </a:lnTo>
                  <a:lnTo>
                    <a:pt x="336" y="559"/>
                  </a:lnTo>
                  <a:lnTo>
                    <a:pt x="334" y="559"/>
                  </a:lnTo>
                  <a:lnTo>
                    <a:pt x="332" y="559"/>
                  </a:lnTo>
                  <a:lnTo>
                    <a:pt x="329" y="559"/>
                  </a:lnTo>
                  <a:lnTo>
                    <a:pt x="325" y="559"/>
                  </a:lnTo>
                  <a:lnTo>
                    <a:pt x="319" y="555"/>
                  </a:lnTo>
                  <a:lnTo>
                    <a:pt x="321" y="561"/>
                  </a:lnTo>
                  <a:lnTo>
                    <a:pt x="315" y="565"/>
                  </a:lnTo>
                  <a:lnTo>
                    <a:pt x="307" y="569"/>
                  </a:lnTo>
                  <a:lnTo>
                    <a:pt x="305" y="573"/>
                  </a:lnTo>
                  <a:lnTo>
                    <a:pt x="300" y="571"/>
                  </a:lnTo>
                  <a:lnTo>
                    <a:pt x="298" y="573"/>
                  </a:lnTo>
                  <a:lnTo>
                    <a:pt x="292" y="573"/>
                  </a:lnTo>
                  <a:lnTo>
                    <a:pt x="292" y="574"/>
                  </a:lnTo>
                  <a:lnTo>
                    <a:pt x="292" y="578"/>
                  </a:lnTo>
                  <a:lnTo>
                    <a:pt x="290" y="580"/>
                  </a:lnTo>
                  <a:lnTo>
                    <a:pt x="292" y="584"/>
                  </a:lnTo>
                  <a:lnTo>
                    <a:pt x="292" y="586"/>
                  </a:lnTo>
                  <a:lnTo>
                    <a:pt x="286" y="590"/>
                  </a:lnTo>
                  <a:lnTo>
                    <a:pt x="286" y="592"/>
                  </a:lnTo>
                  <a:lnTo>
                    <a:pt x="282" y="596"/>
                  </a:lnTo>
                  <a:lnTo>
                    <a:pt x="273" y="601"/>
                  </a:lnTo>
                  <a:lnTo>
                    <a:pt x="279" y="607"/>
                  </a:lnTo>
                  <a:lnTo>
                    <a:pt x="279" y="611"/>
                  </a:lnTo>
                  <a:lnTo>
                    <a:pt x="275" y="611"/>
                  </a:lnTo>
                  <a:lnTo>
                    <a:pt x="275" y="617"/>
                  </a:lnTo>
                  <a:lnTo>
                    <a:pt x="267" y="617"/>
                  </a:lnTo>
                  <a:lnTo>
                    <a:pt x="263" y="617"/>
                  </a:lnTo>
                  <a:lnTo>
                    <a:pt x="259" y="617"/>
                  </a:lnTo>
                  <a:lnTo>
                    <a:pt x="257" y="621"/>
                  </a:lnTo>
                  <a:lnTo>
                    <a:pt x="256" y="626"/>
                  </a:lnTo>
                  <a:lnTo>
                    <a:pt x="250" y="626"/>
                  </a:lnTo>
                  <a:lnTo>
                    <a:pt x="250" y="628"/>
                  </a:lnTo>
                  <a:lnTo>
                    <a:pt x="246" y="630"/>
                  </a:lnTo>
                  <a:lnTo>
                    <a:pt x="244" y="628"/>
                  </a:lnTo>
                  <a:lnTo>
                    <a:pt x="236" y="630"/>
                  </a:lnTo>
                  <a:lnTo>
                    <a:pt x="234" y="628"/>
                  </a:lnTo>
                  <a:lnTo>
                    <a:pt x="233" y="628"/>
                  </a:lnTo>
                  <a:lnTo>
                    <a:pt x="225" y="628"/>
                  </a:lnTo>
                  <a:lnTo>
                    <a:pt x="225" y="626"/>
                  </a:lnTo>
                  <a:lnTo>
                    <a:pt x="221" y="624"/>
                  </a:lnTo>
                  <a:lnTo>
                    <a:pt x="221" y="622"/>
                  </a:lnTo>
                  <a:lnTo>
                    <a:pt x="219" y="621"/>
                  </a:lnTo>
                  <a:lnTo>
                    <a:pt x="221" y="619"/>
                  </a:lnTo>
                  <a:lnTo>
                    <a:pt x="225" y="619"/>
                  </a:lnTo>
                  <a:lnTo>
                    <a:pt x="225" y="617"/>
                  </a:lnTo>
                  <a:lnTo>
                    <a:pt x="225" y="613"/>
                  </a:lnTo>
                  <a:lnTo>
                    <a:pt x="221" y="611"/>
                  </a:lnTo>
                  <a:lnTo>
                    <a:pt x="223" y="609"/>
                  </a:lnTo>
                  <a:lnTo>
                    <a:pt x="221" y="605"/>
                  </a:lnTo>
                  <a:lnTo>
                    <a:pt x="217" y="597"/>
                  </a:lnTo>
                  <a:lnTo>
                    <a:pt x="213" y="599"/>
                  </a:lnTo>
                  <a:lnTo>
                    <a:pt x="204" y="596"/>
                  </a:lnTo>
                  <a:lnTo>
                    <a:pt x="194" y="594"/>
                  </a:lnTo>
                  <a:lnTo>
                    <a:pt x="188" y="596"/>
                  </a:lnTo>
                  <a:lnTo>
                    <a:pt x="179" y="596"/>
                  </a:lnTo>
                  <a:lnTo>
                    <a:pt x="171" y="596"/>
                  </a:lnTo>
                  <a:lnTo>
                    <a:pt x="169" y="597"/>
                  </a:lnTo>
                  <a:lnTo>
                    <a:pt x="165" y="596"/>
                  </a:lnTo>
                  <a:lnTo>
                    <a:pt x="158" y="597"/>
                  </a:lnTo>
                  <a:lnTo>
                    <a:pt x="156" y="596"/>
                  </a:lnTo>
                  <a:lnTo>
                    <a:pt x="146" y="596"/>
                  </a:lnTo>
                  <a:lnTo>
                    <a:pt x="140" y="596"/>
                  </a:lnTo>
                  <a:lnTo>
                    <a:pt x="139" y="594"/>
                  </a:lnTo>
                  <a:lnTo>
                    <a:pt x="133" y="596"/>
                  </a:lnTo>
                  <a:lnTo>
                    <a:pt x="131" y="592"/>
                  </a:lnTo>
                  <a:lnTo>
                    <a:pt x="127" y="594"/>
                  </a:lnTo>
                  <a:lnTo>
                    <a:pt x="123" y="594"/>
                  </a:lnTo>
                  <a:lnTo>
                    <a:pt x="121" y="592"/>
                  </a:lnTo>
                  <a:lnTo>
                    <a:pt x="112" y="588"/>
                  </a:lnTo>
                  <a:lnTo>
                    <a:pt x="110" y="580"/>
                  </a:lnTo>
                  <a:lnTo>
                    <a:pt x="106" y="576"/>
                  </a:lnTo>
                  <a:lnTo>
                    <a:pt x="98" y="573"/>
                  </a:lnTo>
                  <a:lnTo>
                    <a:pt x="92" y="571"/>
                  </a:lnTo>
                  <a:lnTo>
                    <a:pt x="91" y="569"/>
                  </a:lnTo>
                  <a:lnTo>
                    <a:pt x="87" y="569"/>
                  </a:lnTo>
                  <a:lnTo>
                    <a:pt x="83" y="571"/>
                  </a:lnTo>
                  <a:lnTo>
                    <a:pt x="77" y="571"/>
                  </a:lnTo>
                  <a:lnTo>
                    <a:pt x="71" y="571"/>
                  </a:lnTo>
                  <a:lnTo>
                    <a:pt x="67" y="569"/>
                  </a:lnTo>
                  <a:lnTo>
                    <a:pt x="66" y="567"/>
                  </a:lnTo>
                  <a:lnTo>
                    <a:pt x="56" y="565"/>
                  </a:lnTo>
                  <a:lnTo>
                    <a:pt x="56" y="563"/>
                  </a:lnTo>
                  <a:lnTo>
                    <a:pt x="54" y="563"/>
                  </a:lnTo>
                  <a:lnTo>
                    <a:pt x="52" y="559"/>
                  </a:lnTo>
                  <a:lnTo>
                    <a:pt x="48" y="559"/>
                  </a:lnTo>
                  <a:lnTo>
                    <a:pt x="48" y="549"/>
                  </a:lnTo>
                  <a:lnTo>
                    <a:pt x="50" y="542"/>
                  </a:lnTo>
                  <a:lnTo>
                    <a:pt x="52" y="540"/>
                  </a:lnTo>
                  <a:lnTo>
                    <a:pt x="48" y="534"/>
                  </a:lnTo>
                  <a:lnTo>
                    <a:pt x="43" y="530"/>
                  </a:lnTo>
                  <a:lnTo>
                    <a:pt x="43" y="528"/>
                  </a:lnTo>
                  <a:lnTo>
                    <a:pt x="44" y="528"/>
                  </a:lnTo>
                  <a:lnTo>
                    <a:pt x="43" y="524"/>
                  </a:lnTo>
                  <a:lnTo>
                    <a:pt x="37" y="526"/>
                  </a:lnTo>
                  <a:lnTo>
                    <a:pt x="33" y="530"/>
                  </a:lnTo>
                  <a:lnTo>
                    <a:pt x="27" y="532"/>
                  </a:lnTo>
                  <a:lnTo>
                    <a:pt x="25" y="536"/>
                  </a:lnTo>
                  <a:lnTo>
                    <a:pt x="16" y="536"/>
                  </a:lnTo>
                  <a:lnTo>
                    <a:pt x="10" y="534"/>
                  </a:lnTo>
                  <a:lnTo>
                    <a:pt x="12" y="530"/>
                  </a:lnTo>
                  <a:lnTo>
                    <a:pt x="6" y="528"/>
                  </a:lnTo>
                  <a:lnTo>
                    <a:pt x="6" y="526"/>
                  </a:lnTo>
                  <a:lnTo>
                    <a:pt x="12" y="523"/>
                  </a:lnTo>
                  <a:lnTo>
                    <a:pt x="16" y="519"/>
                  </a:lnTo>
                  <a:lnTo>
                    <a:pt x="10" y="519"/>
                  </a:lnTo>
                  <a:lnTo>
                    <a:pt x="10" y="511"/>
                  </a:lnTo>
                  <a:lnTo>
                    <a:pt x="10" y="505"/>
                  </a:lnTo>
                  <a:lnTo>
                    <a:pt x="4" y="505"/>
                  </a:lnTo>
                  <a:lnTo>
                    <a:pt x="6" y="501"/>
                  </a:lnTo>
                  <a:lnTo>
                    <a:pt x="2" y="496"/>
                  </a:lnTo>
                  <a:lnTo>
                    <a:pt x="4" y="490"/>
                  </a:lnTo>
                  <a:lnTo>
                    <a:pt x="8" y="488"/>
                  </a:lnTo>
                  <a:lnTo>
                    <a:pt x="10" y="492"/>
                  </a:lnTo>
                  <a:lnTo>
                    <a:pt x="18" y="494"/>
                  </a:lnTo>
                  <a:lnTo>
                    <a:pt x="20" y="488"/>
                  </a:lnTo>
                  <a:lnTo>
                    <a:pt x="21" y="490"/>
                  </a:lnTo>
                  <a:lnTo>
                    <a:pt x="21" y="488"/>
                  </a:lnTo>
                  <a:lnTo>
                    <a:pt x="23" y="488"/>
                  </a:lnTo>
                  <a:lnTo>
                    <a:pt x="25" y="486"/>
                  </a:lnTo>
                  <a:lnTo>
                    <a:pt x="29" y="486"/>
                  </a:lnTo>
                  <a:lnTo>
                    <a:pt x="23" y="482"/>
                  </a:lnTo>
                  <a:lnTo>
                    <a:pt x="20" y="480"/>
                  </a:lnTo>
                  <a:lnTo>
                    <a:pt x="18" y="476"/>
                  </a:lnTo>
                  <a:lnTo>
                    <a:pt x="18" y="480"/>
                  </a:lnTo>
                  <a:lnTo>
                    <a:pt x="14" y="482"/>
                  </a:lnTo>
                  <a:lnTo>
                    <a:pt x="14" y="478"/>
                  </a:lnTo>
                  <a:lnTo>
                    <a:pt x="12" y="478"/>
                  </a:lnTo>
                  <a:lnTo>
                    <a:pt x="10" y="482"/>
                  </a:lnTo>
                  <a:lnTo>
                    <a:pt x="8" y="482"/>
                  </a:lnTo>
                  <a:lnTo>
                    <a:pt x="8" y="478"/>
                  </a:lnTo>
                  <a:lnTo>
                    <a:pt x="6" y="478"/>
                  </a:lnTo>
                  <a:lnTo>
                    <a:pt x="6" y="476"/>
                  </a:lnTo>
                  <a:lnTo>
                    <a:pt x="6" y="473"/>
                  </a:lnTo>
                  <a:lnTo>
                    <a:pt x="4" y="473"/>
                  </a:lnTo>
                  <a:lnTo>
                    <a:pt x="2" y="475"/>
                  </a:lnTo>
                  <a:lnTo>
                    <a:pt x="0" y="473"/>
                  </a:lnTo>
                  <a:lnTo>
                    <a:pt x="2" y="471"/>
                  </a:lnTo>
                  <a:lnTo>
                    <a:pt x="6" y="469"/>
                  </a:lnTo>
                  <a:lnTo>
                    <a:pt x="14" y="473"/>
                  </a:lnTo>
                  <a:lnTo>
                    <a:pt x="16" y="471"/>
                  </a:lnTo>
                  <a:lnTo>
                    <a:pt x="18" y="469"/>
                  </a:lnTo>
                  <a:lnTo>
                    <a:pt x="18" y="467"/>
                  </a:lnTo>
                  <a:lnTo>
                    <a:pt x="20" y="467"/>
                  </a:lnTo>
                  <a:lnTo>
                    <a:pt x="25" y="459"/>
                  </a:lnTo>
                  <a:lnTo>
                    <a:pt x="29" y="459"/>
                  </a:lnTo>
                  <a:lnTo>
                    <a:pt x="37" y="459"/>
                  </a:lnTo>
                  <a:lnTo>
                    <a:pt x="39" y="459"/>
                  </a:lnTo>
                  <a:lnTo>
                    <a:pt x="39" y="455"/>
                  </a:lnTo>
                  <a:lnTo>
                    <a:pt x="41" y="450"/>
                  </a:lnTo>
                  <a:lnTo>
                    <a:pt x="44" y="444"/>
                  </a:lnTo>
                  <a:lnTo>
                    <a:pt x="46" y="442"/>
                  </a:lnTo>
                  <a:lnTo>
                    <a:pt x="48" y="440"/>
                  </a:lnTo>
                  <a:lnTo>
                    <a:pt x="50" y="436"/>
                  </a:lnTo>
                  <a:lnTo>
                    <a:pt x="46" y="428"/>
                  </a:lnTo>
                  <a:lnTo>
                    <a:pt x="43" y="430"/>
                  </a:lnTo>
                  <a:lnTo>
                    <a:pt x="39" y="427"/>
                  </a:lnTo>
                  <a:lnTo>
                    <a:pt x="35" y="425"/>
                  </a:lnTo>
                  <a:lnTo>
                    <a:pt x="39" y="423"/>
                  </a:lnTo>
                  <a:lnTo>
                    <a:pt x="37" y="417"/>
                  </a:lnTo>
                  <a:lnTo>
                    <a:pt x="35" y="413"/>
                  </a:lnTo>
                  <a:lnTo>
                    <a:pt x="43" y="407"/>
                  </a:lnTo>
                  <a:lnTo>
                    <a:pt x="48" y="411"/>
                  </a:lnTo>
                  <a:lnTo>
                    <a:pt x="54" y="411"/>
                  </a:lnTo>
                  <a:lnTo>
                    <a:pt x="58" y="409"/>
                  </a:lnTo>
                  <a:lnTo>
                    <a:pt x="58" y="405"/>
                  </a:lnTo>
                  <a:lnTo>
                    <a:pt x="66" y="405"/>
                  </a:lnTo>
                  <a:lnTo>
                    <a:pt x="71" y="398"/>
                  </a:lnTo>
                  <a:lnTo>
                    <a:pt x="77" y="400"/>
                  </a:lnTo>
                  <a:lnTo>
                    <a:pt x="81" y="398"/>
                  </a:lnTo>
                  <a:lnTo>
                    <a:pt x="79" y="396"/>
                  </a:lnTo>
                  <a:lnTo>
                    <a:pt x="75" y="396"/>
                  </a:lnTo>
                  <a:lnTo>
                    <a:pt x="77" y="394"/>
                  </a:lnTo>
                  <a:lnTo>
                    <a:pt x="75" y="390"/>
                  </a:lnTo>
                  <a:lnTo>
                    <a:pt x="69" y="392"/>
                  </a:lnTo>
                  <a:lnTo>
                    <a:pt x="62" y="388"/>
                  </a:lnTo>
                  <a:lnTo>
                    <a:pt x="60" y="390"/>
                  </a:lnTo>
                  <a:lnTo>
                    <a:pt x="56" y="384"/>
                  </a:lnTo>
                  <a:lnTo>
                    <a:pt x="58" y="384"/>
                  </a:lnTo>
                  <a:lnTo>
                    <a:pt x="60" y="380"/>
                  </a:lnTo>
                  <a:lnTo>
                    <a:pt x="62" y="378"/>
                  </a:lnTo>
                  <a:lnTo>
                    <a:pt x="62" y="375"/>
                  </a:lnTo>
                  <a:lnTo>
                    <a:pt x="66" y="373"/>
                  </a:lnTo>
                  <a:lnTo>
                    <a:pt x="67" y="371"/>
                  </a:lnTo>
                  <a:lnTo>
                    <a:pt x="71" y="371"/>
                  </a:lnTo>
                  <a:lnTo>
                    <a:pt x="77" y="365"/>
                  </a:lnTo>
                  <a:lnTo>
                    <a:pt x="81" y="365"/>
                  </a:lnTo>
                  <a:lnTo>
                    <a:pt x="85" y="361"/>
                  </a:lnTo>
                  <a:lnTo>
                    <a:pt x="87" y="361"/>
                  </a:lnTo>
                  <a:lnTo>
                    <a:pt x="87" y="363"/>
                  </a:lnTo>
                  <a:lnTo>
                    <a:pt x="92" y="359"/>
                  </a:lnTo>
                  <a:lnTo>
                    <a:pt x="96" y="354"/>
                  </a:lnTo>
                  <a:lnTo>
                    <a:pt x="102" y="352"/>
                  </a:lnTo>
                  <a:lnTo>
                    <a:pt x="100" y="346"/>
                  </a:lnTo>
                  <a:lnTo>
                    <a:pt x="102" y="340"/>
                  </a:lnTo>
                  <a:lnTo>
                    <a:pt x="104" y="336"/>
                  </a:lnTo>
                  <a:lnTo>
                    <a:pt x="102" y="334"/>
                  </a:lnTo>
                  <a:lnTo>
                    <a:pt x="100" y="332"/>
                  </a:lnTo>
                  <a:lnTo>
                    <a:pt x="100" y="327"/>
                  </a:lnTo>
                  <a:lnTo>
                    <a:pt x="102" y="319"/>
                  </a:lnTo>
                  <a:lnTo>
                    <a:pt x="108" y="313"/>
                  </a:lnTo>
                  <a:lnTo>
                    <a:pt x="110" y="307"/>
                  </a:lnTo>
                  <a:lnTo>
                    <a:pt x="106" y="300"/>
                  </a:lnTo>
                  <a:lnTo>
                    <a:pt x="104" y="298"/>
                  </a:lnTo>
                  <a:lnTo>
                    <a:pt x="104" y="294"/>
                  </a:lnTo>
                  <a:lnTo>
                    <a:pt x="100" y="292"/>
                  </a:lnTo>
                  <a:lnTo>
                    <a:pt x="98" y="288"/>
                  </a:lnTo>
                  <a:lnTo>
                    <a:pt x="102" y="286"/>
                  </a:lnTo>
                  <a:lnTo>
                    <a:pt x="100" y="282"/>
                  </a:lnTo>
                  <a:lnTo>
                    <a:pt x="98" y="282"/>
                  </a:lnTo>
                  <a:lnTo>
                    <a:pt x="87" y="282"/>
                  </a:lnTo>
                  <a:lnTo>
                    <a:pt x="85" y="281"/>
                  </a:lnTo>
                  <a:lnTo>
                    <a:pt x="89" y="277"/>
                  </a:lnTo>
                  <a:lnTo>
                    <a:pt x="89" y="271"/>
                  </a:lnTo>
                  <a:lnTo>
                    <a:pt x="92" y="267"/>
                  </a:lnTo>
                  <a:lnTo>
                    <a:pt x="94" y="267"/>
                  </a:lnTo>
                  <a:lnTo>
                    <a:pt x="98" y="259"/>
                  </a:lnTo>
                  <a:lnTo>
                    <a:pt x="92" y="261"/>
                  </a:lnTo>
                  <a:lnTo>
                    <a:pt x="92" y="257"/>
                  </a:lnTo>
                  <a:lnTo>
                    <a:pt x="89" y="259"/>
                  </a:lnTo>
                  <a:lnTo>
                    <a:pt x="81" y="256"/>
                  </a:lnTo>
                  <a:lnTo>
                    <a:pt x="87" y="252"/>
                  </a:lnTo>
                  <a:lnTo>
                    <a:pt x="87" y="246"/>
                  </a:lnTo>
                  <a:lnTo>
                    <a:pt x="91" y="246"/>
                  </a:lnTo>
                  <a:lnTo>
                    <a:pt x="91" y="242"/>
                  </a:lnTo>
                  <a:lnTo>
                    <a:pt x="94" y="238"/>
                  </a:lnTo>
                  <a:lnTo>
                    <a:pt x="94" y="236"/>
                  </a:lnTo>
                  <a:lnTo>
                    <a:pt x="91" y="236"/>
                  </a:lnTo>
                  <a:lnTo>
                    <a:pt x="91" y="231"/>
                  </a:lnTo>
                  <a:lnTo>
                    <a:pt x="92" y="229"/>
                  </a:lnTo>
                  <a:lnTo>
                    <a:pt x="92" y="225"/>
                  </a:lnTo>
                  <a:lnTo>
                    <a:pt x="94" y="225"/>
                  </a:lnTo>
                  <a:lnTo>
                    <a:pt x="98" y="234"/>
                  </a:lnTo>
                  <a:lnTo>
                    <a:pt x="98" y="236"/>
                  </a:lnTo>
                  <a:lnTo>
                    <a:pt x="98" y="234"/>
                  </a:lnTo>
                  <a:lnTo>
                    <a:pt x="102" y="240"/>
                  </a:lnTo>
                  <a:lnTo>
                    <a:pt x="108" y="240"/>
                  </a:lnTo>
                  <a:lnTo>
                    <a:pt x="110" y="236"/>
                  </a:lnTo>
                  <a:lnTo>
                    <a:pt x="114" y="234"/>
                  </a:lnTo>
                  <a:lnTo>
                    <a:pt x="114" y="231"/>
                  </a:lnTo>
                  <a:lnTo>
                    <a:pt x="115" y="231"/>
                  </a:lnTo>
                  <a:lnTo>
                    <a:pt x="115" y="229"/>
                  </a:lnTo>
                  <a:lnTo>
                    <a:pt x="114" y="225"/>
                  </a:lnTo>
                  <a:lnTo>
                    <a:pt x="104" y="227"/>
                  </a:lnTo>
                  <a:lnTo>
                    <a:pt x="100" y="223"/>
                  </a:lnTo>
                  <a:lnTo>
                    <a:pt x="98" y="225"/>
                  </a:lnTo>
                  <a:lnTo>
                    <a:pt x="96" y="225"/>
                  </a:lnTo>
                  <a:lnTo>
                    <a:pt x="98" y="223"/>
                  </a:lnTo>
                  <a:lnTo>
                    <a:pt x="98" y="219"/>
                  </a:lnTo>
                  <a:lnTo>
                    <a:pt x="96" y="211"/>
                  </a:lnTo>
                  <a:lnTo>
                    <a:pt x="96" y="206"/>
                  </a:lnTo>
                  <a:lnTo>
                    <a:pt x="98" y="206"/>
                  </a:lnTo>
                  <a:lnTo>
                    <a:pt x="100" y="209"/>
                  </a:lnTo>
                  <a:lnTo>
                    <a:pt x="102" y="209"/>
                  </a:lnTo>
                  <a:lnTo>
                    <a:pt x="104" y="209"/>
                  </a:lnTo>
                  <a:lnTo>
                    <a:pt x="104" y="213"/>
                  </a:lnTo>
                  <a:lnTo>
                    <a:pt x="110" y="215"/>
                  </a:lnTo>
                  <a:lnTo>
                    <a:pt x="108" y="217"/>
                  </a:lnTo>
                  <a:lnTo>
                    <a:pt x="114" y="217"/>
                  </a:lnTo>
                  <a:lnTo>
                    <a:pt x="119" y="219"/>
                  </a:lnTo>
                  <a:lnTo>
                    <a:pt x="121" y="215"/>
                  </a:lnTo>
                  <a:lnTo>
                    <a:pt x="127" y="215"/>
                  </a:lnTo>
                  <a:lnTo>
                    <a:pt x="127" y="208"/>
                  </a:lnTo>
                  <a:lnTo>
                    <a:pt x="127" y="206"/>
                  </a:lnTo>
                  <a:lnTo>
                    <a:pt x="133" y="204"/>
                  </a:lnTo>
                  <a:lnTo>
                    <a:pt x="133" y="198"/>
                  </a:lnTo>
                  <a:lnTo>
                    <a:pt x="137" y="200"/>
                  </a:lnTo>
                  <a:lnTo>
                    <a:pt x="137" y="198"/>
                  </a:lnTo>
                  <a:lnTo>
                    <a:pt x="140" y="200"/>
                  </a:lnTo>
                  <a:lnTo>
                    <a:pt x="152" y="198"/>
                  </a:lnTo>
                  <a:lnTo>
                    <a:pt x="152" y="200"/>
                  </a:lnTo>
                  <a:lnTo>
                    <a:pt x="148" y="202"/>
                  </a:lnTo>
                  <a:lnTo>
                    <a:pt x="150" y="208"/>
                  </a:lnTo>
                  <a:lnTo>
                    <a:pt x="148" y="213"/>
                  </a:lnTo>
                  <a:lnTo>
                    <a:pt x="144" y="206"/>
                  </a:lnTo>
                  <a:lnTo>
                    <a:pt x="142" y="208"/>
                  </a:lnTo>
                  <a:lnTo>
                    <a:pt x="146" y="211"/>
                  </a:lnTo>
                  <a:lnTo>
                    <a:pt x="142" y="211"/>
                  </a:lnTo>
                  <a:lnTo>
                    <a:pt x="142" y="215"/>
                  </a:lnTo>
                  <a:lnTo>
                    <a:pt x="148" y="217"/>
                  </a:lnTo>
                  <a:lnTo>
                    <a:pt x="150" y="215"/>
                  </a:lnTo>
                  <a:lnTo>
                    <a:pt x="154" y="217"/>
                  </a:lnTo>
                  <a:lnTo>
                    <a:pt x="160" y="215"/>
                  </a:lnTo>
                  <a:lnTo>
                    <a:pt x="160" y="217"/>
                  </a:lnTo>
                  <a:lnTo>
                    <a:pt x="156" y="219"/>
                  </a:lnTo>
                  <a:lnTo>
                    <a:pt x="148" y="221"/>
                  </a:lnTo>
                  <a:lnTo>
                    <a:pt x="146" y="223"/>
                  </a:lnTo>
                  <a:lnTo>
                    <a:pt x="144" y="219"/>
                  </a:lnTo>
                  <a:lnTo>
                    <a:pt x="139" y="219"/>
                  </a:lnTo>
                  <a:lnTo>
                    <a:pt x="140" y="215"/>
                  </a:lnTo>
                  <a:lnTo>
                    <a:pt x="139" y="215"/>
                  </a:lnTo>
                  <a:lnTo>
                    <a:pt x="137" y="213"/>
                  </a:lnTo>
                  <a:lnTo>
                    <a:pt x="137" y="215"/>
                  </a:lnTo>
                  <a:lnTo>
                    <a:pt x="140" y="221"/>
                  </a:lnTo>
                  <a:lnTo>
                    <a:pt x="137" y="223"/>
                  </a:lnTo>
                  <a:lnTo>
                    <a:pt x="135" y="227"/>
                  </a:lnTo>
                  <a:lnTo>
                    <a:pt x="133" y="229"/>
                  </a:lnTo>
                  <a:lnTo>
                    <a:pt x="137" y="233"/>
                  </a:lnTo>
                  <a:lnTo>
                    <a:pt x="142" y="233"/>
                  </a:lnTo>
                  <a:lnTo>
                    <a:pt x="146" y="233"/>
                  </a:lnTo>
                  <a:lnTo>
                    <a:pt x="150" y="234"/>
                  </a:lnTo>
                  <a:lnTo>
                    <a:pt x="152" y="234"/>
                  </a:lnTo>
                  <a:lnTo>
                    <a:pt x="162" y="236"/>
                  </a:lnTo>
                  <a:lnTo>
                    <a:pt x="171" y="234"/>
                  </a:lnTo>
                  <a:lnTo>
                    <a:pt x="175" y="233"/>
                  </a:lnTo>
                  <a:lnTo>
                    <a:pt x="179" y="236"/>
                  </a:lnTo>
                  <a:lnTo>
                    <a:pt x="185" y="236"/>
                  </a:lnTo>
                  <a:lnTo>
                    <a:pt x="186" y="233"/>
                  </a:lnTo>
                  <a:lnTo>
                    <a:pt x="194" y="229"/>
                  </a:lnTo>
                  <a:lnTo>
                    <a:pt x="198" y="229"/>
                  </a:lnTo>
                  <a:lnTo>
                    <a:pt x="202" y="233"/>
                  </a:lnTo>
                  <a:lnTo>
                    <a:pt x="202" y="238"/>
                  </a:lnTo>
                  <a:lnTo>
                    <a:pt x="204" y="240"/>
                  </a:lnTo>
                  <a:lnTo>
                    <a:pt x="204" y="242"/>
                  </a:lnTo>
                  <a:lnTo>
                    <a:pt x="202" y="246"/>
                  </a:lnTo>
                  <a:lnTo>
                    <a:pt x="202" y="248"/>
                  </a:lnTo>
                  <a:lnTo>
                    <a:pt x="204" y="246"/>
                  </a:lnTo>
                  <a:lnTo>
                    <a:pt x="206" y="246"/>
                  </a:lnTo>
                  <a:lnTo>
                    <a:pt x="206" y="248"/>
                  </a:lnTo>
                  <a:lnTo>
                    <a:pt x="210" y="250"/>
                  </a:lnTo>
                  <a:lnTo>
                    <a:pt x="210" y="252"/>
                  </a:lnTo>
                  <a:lnTo>
                    <a:pt x="211" y="256"/>
                  </a:lnTo>
                  <a:lnTo>
                    <a:pt x="208" y="256"/>
                  </a:lnTo>
                  <a:lnTo>
                    <a:pt x="210" y="259"/>
                  </a:lnTo>
                  <a:lnTo>
                    <a:pt x="210" y="261"/>
                  </a:lnTo>
                  <a:lnTo>
                    <a:pt x="200" y="267"/>
                  </a:lnTo>
                  <a:lnTo>
                    <a:pt x="198" y="265"/>
                  </a:lnTo>
                  <a:lnTo>
                    <a:pt x="198" y="261"/>
                  </a:lnTo>
                  <a:lnTo>
                    <a:pt x="196" y="259"/>
                  </a:lnTo>
                  <a:lnTo>
                    <a:pt x="192" y="265"/>
                  </a:lnTo>
                  <a:lnTo>
                    <a:pt x="192" y="267"/>
                  </a:lnTo>
                  <a:lnTo>
                    <a:pt x="190" y="269"/>
                  </a:lnTo>
                  <a:lnTo>
                    <a:pt x="190" y="275"/>
                  </a:lnTo>
                  <a:lnTo>
                    <a:pt x="194" y="279"/>
                  </a:lnTo>
                  <a:lnTo>
                    <a:pt x="198" y="279"/>
                  </a:lnTo>
                  <a:lnTo>
                    <a:pt x="198" y="284"/>
                  </a:lnTo>
                  <a:lnTo>
                    <a:pt x="200" y="286"/>
                  </a:lnTo>
                  <a:lnTo>
                    <a:pt x="194" y="288"/>
                  </a:lnTo>
                  <a:lnTo>
                    <a:pt x="192" y="296"/>
                  </a:lnTo>
                  <a:lnTo>
                    <a:pt x="196" y="302"/>
                  </a:lnTo>
                  <a:lnTo>
                    <a:pt x="200" y="302"/>
                  </a:lnTo>
                  <a:lnTo>
                    <a:pt x="200" y="306"/>
                  </a:lnTo>
                  <a:lnTo>
                    <a:pt x="194" y="307"/>
                  </a:lnTo>
                  <a:lnTo>
                    <a:pt x="192" y="311"/>
                  </a:lnTo>
                  <a:lnTo>
                    <a:pt x="190" y="311"/>
                  </a:lnTo>
                  <a:lnTo>
                    <a:pt x="186" y="315"/>
                  </a:lnTo>
                  <a:lnTo>
                    <a:pt x="185" y="315"/>
                  </a:lnTo>
                  <a:lnTo>
                    <a:pt x="183" y="309"/>
                  </a:lnTo>
                  <a:lnTo>
                    <a:pt x="173" y="313"/>
                  </a:lnTo>
                  <a:lnTo>
                    <a:pt x="165" y="309"/>
                  </a:lnTo>
                  <a:lnTo>
                    <a:pt x="162" y="313"/>
                  </a:lnTo>
                  <a:lnTo>
                    <a:pt x="160" y="321"/>
                  </a:lnTo>
                  <a:lnTo>
                    <a:pt x="163" y="321"/>
                  </a:lnTo>
                  <a:lnTo>
                    <a:pt x="169" y="327"/>
                  </a:lnTo>
                  <a:lnTo>
                    <a:pt x="171" y="329"/>
                  </a:lnTo>
                  <a:lnTo>
                    <a:pt x="169" y="330"/>
                  </a:lnTo>
                  <a:lnTo>
                    <a:pt x="171" y="334"/>
                  </a:lnTo>
                  <a:lnTo>
                    <a:pt x="179" y="334"/>
                  </a:lnTo>
                  <a:lnTo>
                    <a:pt x="183" y="338"/>
                  </a:lnTo>
                  <a:lnTo>
                    <a:pt x="185" y="334"/>
                  </a:lnTo>
                  <a:lnTo>
                    <a:pt x="183" y="332"/>
                  </a:lnTo>
                  <a:lnTo>
                    <a:pt x="186" y="332"/>
                  </a:lnTo>
                  <a:lnTo>
                    <a:pt x="188" y="327"/>
                  </a:lnTo>
                  <a:lnTo>
                    <a:pt x="185" y="325"/>
                  </a:lnTo>
                  <a:lnTo>
                    <a:pt x="186" y="323"/>
                  </a:lnTo>
                  <a:lnTo>
                    <a:pt x="190" y="325"/>
                  </a:lnTo>
                  <a:lnTo>
                    <a:pt x="192" y="329"/>
                  </a:lnTo>
                  <a:lnTo>
                    <a:pt x="202" y="323"/>
                  </a:lnTo>
                  <a:lnTo>
                    <a:pt x="204" y="325"/>
                  </a:lnTo>
                  <a:lnTo>
                    <a:pt x="210" y="323"/>
                  </a:lnTo>
                  <a:lnTo>
                    <a:pt x="215" y="319"/>
                  </a:lnTo>
                  <a:lnTo>
                    <a:pt x="215" y="309"/>
                  </a:lnTo>
                  <a:lnTo>
                    <a:pt x="217" y="309"/>
                  </a:lnTo>
                  <a:lnTo>
                    <a:pt x="221" y="304"/>
                  </a:lnTo>
                  <a:lnTo>
                    <a:pt x="231" y="302"/>
                  </a:lnTo>
                  <a:lnTo>
                    <a:pt x="231" y="298"/>
                  </a:lnTo>
                  <a:lnTo>
                    <a:pt x="231" y="290"/>
                  </a:lnTo>
                  <a:lnTo>
                    <a:pt x="234" y="286"/>
                  </a:lnTo>
                  <a:lnTo>
                    <a:pt x="233" y="281"/>
                  </a:lnTo>
                  <a:lnTo>
                    <a:pt x="234" y="281"/>
                  </a:lnTo>
                  <a:lnTo>
                    <a:pt x="238" y="277"/>
                  </a:lnTo>
                  <a:lnTo>
                    <a:pt x="240" y="279"/>
                  </a:lnTo>
                  <a:lnTo>
                    <a:pt x="238" y="282"/>
                  </a:lnTo>
                  <a:lnTo>
                    <a:pt x="240" y="288"/>
                  </a:lnTo>
                  <a:lnTo>
                    <a:pt x="248" y="288"/>
                  </a:lnTo>
                  <a:lnTo>
                    <a:pt x="250" y="286"/>
                  </a:lnTo>
                  <a:lnTo>
                    <a:pt x="252" y="284"/>
                  </a:lnTo>
                  <a:lnTo>
                    <a:pt x="256" y="284"/>
                  </a:lnTo>
                  <a:lnTo>
                    <a:pt x="261" y="290"/>
                  </a:lnTo>
                  <a:lnTo>
                    <a:pt x="263" y="288"/>
                  </a:lnTo>
                  <a:lnTo>
                    <a:pt x="265" y="288"/>
                  </a:lnTo>
                  <a:lnTo>
                    <a:pt x="267" y="286"/>
                  </a:lnTo>
                  <a:lnTo>
                    <a:pt x="271" y="288"/>
                  </a:lnTo>
                  <a:lnTo>
                    <a:pt x="273" y="294"/>
                  </a:lnTo>
                  <a:lnTo>
                    <a:pt x="275" y="294"/>
                  </a:lnTo>
                  <a:lnTo>
                    <a:pt x="279" y="292"/>
                  </a:lnTo>
                  <a:lnTo>
                    <a:pt x="279" y="290"/>
                  </a:lnTo>
                  <a:lnTo>
                    <a:pt x="281" y="288"/>
                  </a:lnTo>
                  <a:lnTo>
                    <a:pt x="281" y="284"/>
                  </a:lnTo>
                  <a:lnTo>
                    <a:pt x="282" y="286"/>
                  </a:lnTo>
                  <a:lnTo>
                    <a:pt x="284" y="282"/>
                  </a:lnTo>
                  <a:lnTo>
                    <a:pt x="288" y="282"/>
                  </a:lnTo>
                  <a:lnTo>
                    <a:pt x="292" y="281"/>
                  </a:lnTo>
                  <a:lnTo>
                    <a:pt x="292" y="284"/>
                  </a:lnTo>
                  <a:lnTo>
                    <a:pt x="290" y="290"/>
                  </a:lnTo>
                  <a:lnTo>
                    <a:pt x="292" y="294"/>
                  </a:lnTo>
                  <a:lnTo>
                    <a:pt x="294" y="294"/>
                  </a:lnTo>
                  <a:lnTo>
                    <a:pt x="300" y="294"/>
                  </a:lnTo>
                  <a:lnTo>
                    <a:pt x="304" y="298"/>
                  </a:lnTo>
                  <a:lnTo>
                    <a:pt x="309" y="296"/>
                  </a:lnTo>
                  <a:lnTo>
                    <a:pt x="313" y="298"/>
                  </a:lnTo>
                  <a:lnTo>
                    <a:pt x="315" y="290"/>
                  </a:lnTo>
                  <a:lnTo>
                    <a:pt x="317" y="292"/>
                  </a:lnTo>
                  <a:lnTo>
                    <a:pt x="319" y="290"/>
                  </a:lnTo>
                  <a:lnTo>
                    <a:pt x="317" y="288"/>
                  </a:lnTo>
                  <a:lnTo>
                    <a:pt x="311" y="282"/>
                  </a:lnTo>
                  <a:lnTo>
                    <a:pt x="307" y="275"/>
                  </a:lnTo>
                  <a:lnTo>
                    <a:pt x="309" y="269"/>
                  </a:lnTo>
                  <a:lnTo>
                    <a:pt x="307" y="267"/>
                  </a:lnTo>
                  <a:lnTo>
                    <a:pt x="309" y="261"/>
                  </a:lnTo>
                  <a:lnTo>
                    <a:pt x="305" y="254"/>
                  </a:lnTo>
                  <a:lnTo>
                    <a:pt x="311" y="252"/>
                  </a:lnTo>
                  <a:lnTo>
                    <a:pt x="313" y="256"/>
                  </a:lnTo>
                  <a:lnTo>
                    <a:pt x="317" y="252"/>
                  </a:lnTo>
                  <a:lnTo>
                    <a:pt x="317" y="259"/>
                  </a:lnTo>
                  <a:lnTo>
                    <a:pt x="323" y="261"/>
                  </a:lnTo>
                  <a:lnTo>
                    <a:pt x="329" y="257"/>
                  </a:lnTo>
                  <a:lnTo>
                    <a:pt x="334" y="250"/>
                  </a:lnTo>
                  <a:lnTo>
                    <a:pt x="332" y="242"/>
                  </a:lnTo>
                  <a:lnTo>
                    <a:pt x="330" y="234"/>
                  </a:lnTo>
                  <a:lnTo>
                    <a:pt x="327" y="234"/>
                  </a:lnTo>
                  <a:lnTo>
                    <a:pt x="321" y="229"/>
                  </a:lnTo>
                  <a:lnTo>
                    <a:pt x="317" y="233"/>
                  </a:lnTo>
                  <a:lnTo>
                    <a:pt x="315" y="231"/>
                  </a:lnTo>
                  <a:lnTo>
                    <a:pt x="311" y="231"/>
                  </a:lnTo>
                  <a:lnTo>
                    <a:pt x="311" y="229"/>
                  </a:lnTo>
                  <a:lnTo>
                    <a:pt x="305" y="223"/>
                  </a:lnTo>
                  <a:lnTo>
                    <a:pt x="307" y="221"/>
                  </a:lnTo>
                  <a:lnTo>
                    <a:pt x="317" y="221"/>
                  </a:lnTo>
                  <a:lnTo>
                    <a:pt x="321" y="217"/>
                  </a:lnTo>
                  <a:lnTo>
                    <a:pt x="317" y="215"/>
                  </a:lnTo>
                  <a:lnTo>
                    <a:pt x="319" y="211"/>
                  </a:lnTo>
                  <a:lnTo>
                    <a:pt x="315" y="211"/>
                  </a:lnTo>
                  <a:lnTo>
                    <a:pt x="313" y="208"/>
                  </a:lnTo>
                  <a:lnTo>
                    <a:pt x="313" y="202"/>
                  </a:lnTo>
                  <a:lnTo>
                    <a:pt x="315" y="202"/>
                  </a:lnTo>
                  <a:lnTo>
                    <a:pt x="315" y="198"/>
                  </a:lnTo>
                  <a:lnTo>
                    <a:pt x="325" y="198"/>
                  </a:lnTo>
                  <a:lnTo>
                    <a:pt x="327" y="194"/>
                  </a:lnTo>
                  <a:lnTo>
                    <a:pt x="336" y="196"/>
                  </a:lnTo>
                  <a:lnTo>
                    <a:pt x="340" y="196"/>
                  </a:lnTo>
                  <a:lnTo>
                    <a:pt x="344" y="192"/>
                  </a:lnTo>
                  <a:lnTo>
                    <a:pt x="346" y="194"/>
                  </a:lnTo>
                  <a:lnTo>
                    <a:pt x="346" y="190"/>
                  </a:lnTo>
                  <a:lnTo>
                    <a:pt x="357" y="190"/>
                  </a:lnTo>
                  <a:lnTo>
                    <a:pt x="361" y="194"/>
                  </a:lnTo>
                  <a:lnTo>
                    <a:pt x="367" y="192"/>
                  </a:lnTo>
                  <a:lnTo>
                    <a:pt x="369" y="190"/>
                  </a:lnTo>
                  <a:lnTo>
                    <a:pt x="371" y="190"/>
                  </a:lnTo>
                  <a:lnTo>
                    <a:pt x="369" y="190"/>
                  </a:lnTo>
                  <a:lnTo>
                    <a:pt x="371" y="183"/>
                  </a:lnTo>
                  <a:lnTo>
                    <a:pt x="373" y="183"/>
                  </a:lnTo>
                  <a:lnTo>
                    <a:pt x="373" y="179"/>
                  </a:lnTo>
                  <a:lnTo>
                    <a:pt x="367" y="175"/>
                  </a:lnTo>
                  <a:lnTo>
                    <a:pt x="369" y="171"/>
                  </a:lnTo>
                  <a:lnTo>
                    <a:pt x="369" y="167"/>
                  </a:lnTo>
                  <a:lnTo>
                    <a:pt x="367" y="167"/>
                  </a:lnTo>
                  <a:lnTo>
                    <a:pt x="369" y="158"/>
                  </a:lnTo>
                  <a:lnTo>
                    <a:pt x="363" y="156"/>
                  </a:lnTo>
                  <a:lnTo>
                    <a:pt x="361" y="158"/>
                  </a:lnTo>
                  <a:lnTo>
                    <a:pt x="353" y="161"/>
                  </a:lnTo>
                  <a:lnTo>
                    <a:pt x="353" y="167"/>
                  </a:lnTo>
                  <a:lnTo>
                    <a:pt x="352" y="167"/>
                  </a:lnTo>
                  <a:lnTo>
                    <a:pt x="352" y="169"/>
                  </a:lnTo>
                  <a:lnTo>
                    <a:pt x="346" y="169"/>
                  </a:lnTo>
                  <a:lnTo>
                    <a:pt x="338" y="165"/>
                  </a:lnTo>
                  <a:lnTo>
                    <a:pt x="336" y="169"/>
                  </a:lnTo>
                  <a:lnTo>
                    <a:pt x="334" y="167"/>
                  </a:lnTo>
                  <a:lnTo>
                    <a:pt x="332" y="171"/>
                  </a:lnTo>
                  <a:lnTo>
                    <a:pt x="325" y="171"/>
                  </a:lnTo>
                  <a:lnTo>
                    <a:pt x="323" y="173"/>
                  </a:lnTo>
                  <a:lnTo>
                    <a:pt x="321" y="169"/>
                  </a:lnTo>
                  <a:lnTo>
                    <a:pt x="315" y="165"/>
                  </a:lnTo>
                  <a:lnTo>
                    <a:pt x="311" y="167"/>
                  </a:lnTo>
                  <a:lnTo>
                    <a:pt x="305" y="169"/>
                  </a:lnTo>
                  <a:lnTo>
                    <a:pt x="300" y="167"/>
                  </a:lnTo>
                  <a:lnTo>
                    <a:pt x="298" y="165"/>
                  </a:lnTo>
                  <a:lnTo>
                    <a:pt x="294" y="165"/>
                  </a:lnTo>
                  <a:lnTo>
                    <a:pt x="290" y="161"/>
                  </a:lnTo>
                  <a:lnTo>
                    <a:pt x="288" y="161"/>
                  </a:lnTo>
                  <a:lnTo>
                    <a:pt x="284" y="156"/>
                  </a:lnTo>
                  <a:lnTo>
                    <a:pt x="282" y="154"/>
                  </a:lnTo>
                  <a:lnTo>
                    <a:pt x="282" y="150"/>
                  </a:lnTo>
                  <a:lnTo>
                    <a:pt x="279" y="146"/>
                  </a:lnTo>
                  <a:lnTo>
                    <a:pt x="277" y="140"/>
                  </a:lnTo>
                  <a:lnTo>
                    <a:pt x="279" y="136"/>
                  </a:lnTo>
                  <a:lnTo>
                    <a:pt x="277" y="133"/>
                  </a:lnTo>
                  <a:lnTo>
                    <a:pt x="277" y="129"/>
                  </a:lnTo>
                  <a:lnTo>
                    <a:pt x="275" y="129"/>
                  </a:lnTo>
                  <a:lnTo>
                    <a:pt x="275" y="125"/>
                  </a:lnTo>
                  <a:lnTo>
                    <a:pt x="281" y="123"/>
                  </a:lnTo>
                  <a:lnTo>
                    <a:pt x="281" y="117"/>
                  </a:lnTo>
                  <a:lnTo>
                    <a:pt x="282" y="113"/>
                  </a:lnTo>
                  <a:lnTo>
                    <a:pt x="286" y="108"/>
                  </a:lnTo>
                  <a:lnTo>
                    <a:pt x="290" y="108"/>
                  </a:lnTo>
                  <a:lnTo>
                    <a:pt x="292" y="104"/>
                  </a:lnTo>
                  <a:lnTo>
                    <a:pt x="302" y="106"/>
                  </a:lnTo>
                  <a:lnTo>
                    <a:pt x="305" y="104"/>
                  </a:lnTo>
                  <a:lnTo>
                    <a:pt x="305" y="100"/>
                  </a:lnTo>
                  <a:lnTo>
                    <a:pt x="309" y="100"/>
                  </a:lnTo>
                  <a:lnTo>
                    <a:pt x="311" y="98"/>
                  </a:lnTo>
                  <a:lnTo>
                    <a:pt x="311" y="96"/>
                  </a:lnTo>
                  <a:lnTo>
                    <a:pt x="315" y="90"/>
                  </a:lnTo>
                  <a:lnTo>
                    <a:pt x="321" y="88"/>
                  </a:lnTo>
                  <a:lnTo>
                    <a:pt x="323" y="85"/>
                  </a:lnTo>
                  <a:lnTo>
                    <a:pt x="332" y="81"/>
                  </a:lnTo>
                  <a:lnTo>
                    <a:pt x="336" y="75"/>
                  </a:lnTo>
                  <a:lnTo>
                    <a:pt x="344" y="75"/>
                  </a:lnTo>
                  <a:lnTo>
                    <a:pt x="348" y="69"/>
                  </a:lnTo>
                  <a:lnTo>
                    <a:pt x="355" y="69"/>
                  </a:lnTo>
                  <a:lnTo>
                    <a:pt x="363" y="63"/>
                  </a:lnTo>
                  <a:lnTo>
                    <a:pt x="367" y="58"/>
                  </a:lnTo>
                  <a:lnTo>
                    <a:pt x="373" y="54"/>
                  </a:lnTo>
                  <a:lnTo>
                    <a:pt x="380" y="54"/>
                  </a:lnTo>
                  <a:lnTo>
                    <a:pt x="380" y="50"/>
                  </a:lnTo>
                  <a:lnTo>
                    <a:pt x="390" y="50"/>
                  </a:lnTo>
                  <a:lnTo>
                    <a:pt x="392" y="46"/>
                  </a:lnTo>
                  <a:lnTo>
                    <a:pt x="400" y="44"/>
                  </a:lnTo>
                  <a:lnTo>
                    <a:pt x="405" y="40"/>
                  </a:lnTo>
                  <a:lnTo>
                    <a:pt x="411" y="40"/>
                  </a:lnTo>
                  <a:lnTo>
                    <a:pt x="413" y="37"/>
                  </a:lnTo>
                  <a:lnTo>
                    <a:pt x="421" y="35"/>
                  </a:lnTo>
                  <a:lnTo>
                    <a:pt x="423" y="33"/>
                  </a:lnTo>
                  <a:lnTo>
                    <a:pt x="423" y="29"/>
                  </a:lnTo>
                  <a:lnTo>
                    <a:pt x="424" y="27"/>
                  </a:lnTo>
                  <a:lnTo>
                    <a:pt x="428" y="27"/>
                  </a:lnTo>
                  <a:lnTo>
                    <a:pt x="430" y="23"/>
                  </a:lnTo>
                  <a:lnTo>
                    <a:pt x="438" y="21"/>
                  </a:lnTo>
                  <a:lnTo>
                    <a:pt x="440" y="19"/>
                  </a:lnTo>
                  <a:lnTo>
                    <a:pt x="448" y="21"/>
                  </a:lnTo>
                  <a:lnTo>
                    <a:pt x="451" y="21"/>
                  </a:lnTo>
                  <a:lnTo>
                    <a:pt x="451" y="15"/>
                  </a:lnTo>
                  <a:lnTo>
                    <a:pt x="453" y="14"/>
                  </a:lnTo>
                  <a:lnTo>
                    <a:pt x="451" y="12"/>
                  </a:lnTo>
                  <a:lnTo>
                    <a:pt x="451" y="8"/>
                  </a:lnTo>
                  <a:lnTo>
                    <a:pt x="453" y="8"/>
                  </a:lnTo>
                  <a:lnTo>
                    <a:pt x="461" y="10"/>
                  </a:lnTo>
                  <a:lnTo>
                    <a:pt x="459" y="4"/>
                  </a:lnTo>
                  <a:lnTo>
                    <a:pt x="465" y="4"/>
                  </a:lnTo>
                  <a:lnTo>
                    <a:pt x="469" y="6"/>
                  </a:lnTo>
                  <a:lnTo>
                    <a:pt x="471" y="2"/>
                  </a:lnTo>
                  <a:lnTo>
                    <a:pt x="480" y="0"/>
                  </a:lnTo>
                  <a:lnTo>
                    <a:pt x="484" y="6"/>
                  </a:lnTo>
                  <a:lnTo>
                    <a:pt x="488" y="4"/>
                  </a:lnTo>
                  <a:lnTo>
                    <a:pt x="490" y="8"/>
                  </a:lnTo>
                  <a:lnTo>
                    <a:pt x="495" y="10"/>
                  </a:lnTo>
                  <a:lnTo>
                    <a:pt x="501" y="14"/>
                  </a:lnTo>
                  <a:lnTo>
                    <a:pt x="505" y="14"/>
                  </a:lnTo>
                  <a:lnTo>
                    <a:pt x="507" y="10"/>
                  </a:lnTo>
                  <a:lnTo>
                    <a:pt x="513" y="12"/>
                  </a:lnTo>
                  <a:lnTo>
                    <a:pt x="515" y="8"/>
                  </a:lnTo>
                  <a:lnTo>
                    <a:pt x="519" y="8"/>
                  </a:lnTo>
                  <a:lnTo>
                    <a:pt x="519" y="10"/>
                  </a:lnTo>
                  <a:lnTo>
                    <a:pt x="520" y="8"/>
                  </a:lnTo>
                  <a:lnTo>
                    <a:pt x="522" y="12"/>
                  </a:lnTo>
                  <a:lnTo>
                    <a:pt x="528" y="12"/>
                  </a:lnTo>
                  <a:lnTo>
                    <a:pt x="532" y="19"/>
                  </a:lnTo>
                  <a:lnTo>
                    <a:pt x="538" y="17"/>
                  </a:lnTo>
                  <a:lnTo>
                    <a:pt x="542" y="19"/>
                  </a:lnTo>
                  <a:lnTo>
                    <a:pt x="542" y="23"/>
                  </a:lnTo>
                  <a:lnTo>
                    <a:pt x="545" y="21"/>
                  </a:lnTo>
                  <a:lnTo>
                    <a:pt x="547" y="21"/>
                  </a:lnTo>
                  <a:lnTo>
                    <a:pt x="545" y="25"/>
                  </a:lnTo>
                  <a:lnTo>
                    <a:pt x="547" y="29"/>
                  </a:lnTo>
                  <a:lnTo>
                    <a:pt x="545" y="31"/>
                  </a:lnTo>
                  <a:lnTo>
                    <a:pt x="545" y="33"/>
                  </a:lnTo>
                  <a:lnTo>
                    <a:pt x="547" y="33"/>
                  </a:lnTo>
                  <a:lnTo>
                    <a:pt x="547" y="35"/>
                  </a:lnTo>
                  <a:lnTo>
                    <a:pt x="549" y="35"/>
                  </a:lnTo>
                  <a:lnTo>
                    <a:pt x="551" y="39"/>
                  </a:lnTo>
                  <a:lnTo>
                    <a:pt x="553" y="40"/>
                  </a:lnTo>
                  <a:lnTo>
                    <a:pt x="551" y="46"/>
                  </a:lnTo>
                  <a:lnTo>
                    <a:pt x="555" y="46"/>
                  </a:lnTo>
                  <a:lnTo>
                    <a:pt x="557" y="44"/>
                  </a:lnTo>
                  <a:lnTo>
                    <a:pt x="565" y="48"/>
                  </a:lnTo>
                  <a:lnTo>
                    <a:pt x="563" y="48"/>
                  </a:lnTo>
                  <a:lnTo>
                    <a:pt x="563" y="52"/>
                  </a:lnTo>
                  <a:lnTo>
                    <a:pt x="565" y="52"/>
                  </a:lnTo>
                  <a:lnTo>
                    <a:pt x="559" y="58"/>
                  </a:lnTo>
                  <a:lnTo>
                    <a:pt x="559" y="60"/>
                  </a:lnTo>
                  <a:lnTo>
                    <a:pt x="557" y="62"/>
                  </a:lnTo>
                  <a:lnTo>
                    <a:pt x="557" y="60"/>
                  </a:lnTo>
                  <a:lnTo>
                    <a:pt x="555" y="63"/>
                  </a:lnTo>
                  <a:lnTo>
                    <a:pt x="553" y="71"/>
                  </a:lnTo>
                  <a:lnTo>
                    <a:pt x="545" y="67"/>
                  </a:lnTo>
                  <a:lnTo>
                    <a:pt x="547" y="71"/>
                  </a:lnTo>
                  <a:lnTo>
                    <a:pt x="543" y="73"/>
                  </a:lnTo>
                  <a:lnTo>
                    <a:pt x="545" y="77"/>
                  </a:lnTo>
                  <a:lnTo>
                    <a:pt x="542" y="77"/>
                  </a:lnTo>
                  <a:lnTo>
                    <a:pt x="540" y="81"/>
                  </a:lnTo>
                  <a:lnTo>
                    <a:pt x="545" y="85"/>
                  </a:lnTo>
                  <a:lnTo>
                    <a:pt x="543" y="88"/>
                  </a:lnTo>
                  <a:lnTo>
                    <a:pt x="540" y="90"/>
                  </a:lnTo>
                  <a:lnTo>
                    <a:pt x="540" y="94"/>
                  </a:lnTo>
                  <a:lnTo>
                    <a:pt x="538" y="96"/>
                  </a:lnTo>
                  <a:lnTo>
                    <a:pt x="538" y="98"/>
                  </a:lnTo>
                  <a:lnTo>
                    <a:pt x="532" y="104"/>
                  </a:lnTo>
                  <a:lnTo>
                    <a:pt x="532" y="108"/>
                  </a:lnTo>
                  <a:lnTo>
                    <a:pt x="530" y="108"/>
                  </a:lnTo>
                  <a:lnTo>
                    <a:pt x="528" y="110"/>
                  </a:lnTo>
                  <a:lnTo>
                    <a:pt x="528" y="111"/>
                  </a:lnTo>
                  <a:lnTo>
                    <a:pt x="530" y="111"/>
                  </a:lnTo>
                  <a:lnTo>
                    <a:pt x="530" y="115"/>
                  </a:lnTo>
                  <a:lnTo>
                    <a:pt x="528" y="117"/>
                  </a:lnTo>
                  <a:lnTo>
                    <a:pt x="526" y="113"/>
                  </a:lnTo>
                  <a:lnTo>
                    <a:pt x="524" y="113"/>
                  </a:lnTo>
                  <a:lnTo>
                    <a:pt x="522" y="115"/>
                  </a:lnTo>
                  <a:lnTo>
                    <a:pt x="524" y="115"/>
                  </a:lnTo>
                  <a:lnTo>
                    <a:pt x="522" y="115"/>
                  </a:lnTo>
                  <a:lnTo>
                    <a:pt x="520" y="121"/>
                  </a:lnTo>
                  <a:lnTo>
                    <a:pt x="517" y="121"/>
                  </a:lnTo>
                  <a:lnTo>
                    <a:pt x="517" y="125"/>
                  </a:lnTo>
                  <a:lnTo>
                    <a:pt x="522" y="127"/>
                  </a:lnTo>
                  <a:lnTo>
                    <a:pt x="522" y="129"/>
                  </a:lnTo>
                  <a:lnTo>
                    <a:pt x="522" y="136"/>
                  </a:lnTo>
                  <a:lnTo>
                    <a:pt x="515" y="138"/>
                  </a:lnTo>
                  <a:lnTo>
                    <a:pt x="513" y="136"/>
                  </a:lnTo>
                  <a:lnTo>
                    <a:pt x="505" y="142"/>
                  </a:lnTo>
                  <a:lnTo>
                    <a:pt x="503" y="140"/>
                  </a:lnTo>
                  <a:lnTo>
                    <a:pt x="501" y="140"/>
                  </a:lnTo>
                  <a:lnTo>
                    <a:pt x="499" y="142"/>
                  </a:lnTo>
                  <a:lnTo>
                    <a:pt x="488" y="140"/>
                  </a:lnTo>
                  <a:lnTo>
                    <a:pt x="486" y="144"/>
                  </a:lnTo>
                  <a:lnTo>
                    <a:pt x="484" y="142"/>
                  </a:lnTo>
                  <a:lnTo>
                    <a:pt x="480" y="144"/>
                  </a:lnTo>
                  <a:lnTo>
                    <a:pt x="482" y="152"/>
                  </a:lnTo>
                  <a:lnTo>
                    <a:pt x="480" y="152"/>
                  </a:lnTo>
                  <a:lnTo>
                    <a:pt x="476" y="156"/>
                  </a:lnTo>
                  <a:lnTo>
                    <a:pt x="474" y="154"/>
                  </a:lnTo>
                  <a:lnTo>
                    <a:pt x="471" y="160"/>
                  </a:lnTo>
                  <a:lnTo>
                    <a:pt x="469" y="161"/>
                  </a:lnTo>
                  <a:lnTo>
                    <a:pt x="467" y="163"/>
                  </a:lnTo>
                  <a:lnTo>
                    <a:pt x="471" y="165"/>
                  </a:lnTo>
                  <a:lnTo>
                    <a:pt x="471" y="167"/>
                  </a:lnTo>
                  <a:lnTo>
                    <a:pt x="469" y="169"/>
                  </a:lnTo>
                  <a:lnTo>
                    <a:pt x="472" y="171"/>
                  </a:lnTo>
                  <a:lnTo>
                    <a:pt x="472" y="173"/>
                  </a:lnTo>
                  <a:lnTo>
                    <a:pt x="474" y="175"/>
                  </a:lnTo>
                  <a:lnTo>
                    <a:pt x="472" y="177"/>
                  </a:lnTo>
                  <a:lnTo>
                    <a:pt x="478" y="179"/>
                  </a:lnTo>
                  <a:lnTo>
                    <a:pt x="476" y="183"/>
                  </a:lnTo>
                  <a:lnTo>
                    <a:pt x="484" y="184"/>
                  </a:lnTo>
                  <a:lnTo>
                    <a:pt x="480" y="186"/>
                  </a:lnTo>
                  <a:lnTo>
                    <a:pt x="482" y="190"/>
                  </a:lnTo>
                  <a:lnTo>
                    <a:pt x="478" y="188"/>
                  </a:lnTo>
                  <a:lnTo>
                    <a:pt x="474" y="192"/>
                  </a:lnTo>
                  <a:lnTo>
                    <a:pt x="471" y="194"/>
                  </a:lnTo>
                  <a:lnTo>
                    <a:pt x="471" y="202"/>
                  </a:lnTo>
                  <a:lnTo>
                    <a:pt x="463" y="209"/>
                  </a:lnTo>
                  <a:lnTo>
                    <a:pt x="457" y="211"/>
                  </a:lnTo>
                  <a:lnTo>
                    <a:pt x="451" y="217"/>
                  </a:lnTo>
                  <a:lnTo>
                    <a:pt x="457" y="225"/>
                  </a:lnTo>
                  <a:lnTo>
                    <a:pt x="457" y="231"/>
                  </a:lnTo>
                  <a:lnTo>
                    <a:pt x="461" y="236"/>
                  </a:lnTo>
                  <a:lnTo>
                    <a:pt x="463" y="238"/>
                  </a:lnTo>
                  <a:lnTo>
                    <a:pt x="461" y="242"/>
                  </a:lnTo>
                  <a:lnTo>
                    <a:pt x="463" y="244"/>
                  </a:lnTo>
                  <a:lnTo>
                    <a:pt x="461" y="250"/>
                  </a:lnTo>
                  <a:lnTo>
                    <a:pt x="455" y="254"/>
                  </a:lnTo>
                  <a:lnTo>
                    <a:pt x="459" y="256"/>
                  </a:lnTo>
                  <a:lnTo>
                    <a:pt x="459" y="259"/>
                  </a:lnTo>
                  <a:lnTo>
                    <a:pt x="461" y="259"/>
                  </a:lnTo>
                  <a:lnTo>
                    <a:pt x="461" y="263"/>
                  </a:lnTo>
                  <a:lnTo>
                    <a:pt x="469" y="267"/>
                  </a:lnTo>
                  <a:lnTo>
                    <a:pt x="469" y="269"/>
                  </a:lnTo>
                  <a:lnTo>
                    <a:pt x="471" y="269"/>
                  </a:lnTo>
                  <a:lnTo>
                    <a:pt x="467" y="275"/>
                  </a:lnTo>
                  <a:lnTo>
                    <a:pt x="472" y="282"/>
                  </a:lnTo>
                  <a:lnTo>
                    <a:pt x="476" y="281"/>
                  </a:lnTo>
                  <a:lnTo>
                    <a:pt x="478" y="277"/>
                  </a:lnTo>
                  <a:lnTo>
                    <a:pt x="482" y="275"/>
                  </a:lnTo>
                  <a:lnTo>
                    <a:pt x="482" y="273"/>
                  </a:lnTo>
                  <a:lnTo>
                    <a:pt x="486" y="269"/>
                  </a:lnTo>
                  <a:lnTo>
                    <a:pt x="494" y="273"/>
                  </a:lnTo>
                  <a:lnTo>
                    <a:pt x="497" y="279"/>
                  </a:lnTo>
                  <a:lnTo>
                    <a:pt x="497" y="281"/>
                  </a:lnTo>
                  <a:lnTo>
                    <a:pt x="499" y="281"/>
                  </a:lnTo>
                  <a:lnTo>
                    <a:pt x="503" y="286"/>
                  </a:lnTo>
                  <a:lnTo>
                    <a:pt x="507" y="286"/>
                  </a:lnTo>
                  <a:lnTo>
                    <a:pt x="509" y="284"/>
                  </a:lnTo>
                  <a:lnTo>
                    <a:pt x="511" y="286"/>
                  </a:lnTo>
                  <a:lnTo>
                    <a:pt x="513" y="282"/>
                  </a:lnTo>
                  <a:lnTo>
                    <a:pt x="515" y="290"/>
                  </a:lnTo>
                  <a:lnTo>
                    <a:pt x="517" y="292"/>
                  </a:lnTo>
                  <a:lnTo>
                    <a:pt x="519" y="288"/>
                  </a:lnTo>
                  <a:lnTo>
                    <a:pt x="519" y="290"/>
                  </a:lnTo>
                  <a:lnTo>
                    <a:pt x="520" y="288"/>
                  </a:lnTo>
                  <a:lnTo>
                    <a:pt x="524" y="288"/>
                  </a:lnTo>
                  <a:lnTo>
                    <a:pt x="524" y="284"/>
                  </a:lnTo>
                  <a:lnTo>
                    <a:pt x="528" y="282"/>
                  </a:lnTo>
                  <a:lnTo>
                    <a:pt x="528" y="279"/>
                  </a:lnTo>
                  <a:lnTo>
                    <a:pt x="536" y="273"/>
                  </a:lnTo>
                  <a:lnTo>
                    <a:pt x="538" y="265"/>
                  </a:lnTo>
                  <a:lnTo>
                    <a:pt x="536" y="263"/>
                  </a:lnTo>
                  <a:lnTo>
                    <a:pt x="532" y="263"/>
                  </a:lnTo>
                  <a:lnTo>
                    <a:pt x="530" y="261"/>
                  </a:lnTo>
                  <a:lnTo>
                    <a:pt x="530" y="257"/>
                  </a:lnTo>
                  <a:lnTo>
                    <a:pt x="532" y="259"/>
                  </a:lnTo>
                  <a:lnTo>
                    <a:pt x="536" y="257"/>
                  </a:lnTo>
                  <a:lnTo>
                    <a:pt x="534" y="257"/>
                  </a:lnTo>
                  <a:lnTo>
                    <a:pt x="534" y="252"/>
                  </a:lnTo>
                  <a:lnTo>
                    <a:pt x="532" y="250"/>
                  </a:lnTo>
                  <a:lnTo>
                    <a:pt x="528" y="244"/>
                  </a:lnTo>
                  <a:lnTo>
                    <a:pt x="526" y="242"/>
                  </a:lnTo>
                  <a:lnTo>
                    <a:pt x="524" y="244"/>
                  </a:lnTo>
                  <a:lnTo>
                    <a:pt x="522" y="244"/>
                  </a:lnTo>
                  <a:lnTo>
                    <a:pt x="517" y="248"/>
                  </a:lnTo>
                  <a:lnTo>
                    <a:pt x="513" y="246"/>
                  </a:lnTo>
                  <a:lnTo>
                    <a:pt x="513" y="240"/>
                  </a:lnTo>
                  <a:lnTo>
                    <a:pt x="517" y="234"/>
                  </a:lnTo>
                  <a:lnTo>
                    <a:pt x="515" y="227"/>
                  </a:lnTo>
                  <a:lnTo>
                    <a:pt x="517" y="223"/>
                  </a:lnTo>
                  <a:lnTo>
                    <a:pt x="515" y="219"/>
                  </a:lnTo>
                  <a:lnTo>
                    <a:pt x="509" y="215"/>
                  </a:lnTo>
                  <a:lnTo>
                    <a:pt x="505" y="213"/>
                  </a:lnTo>
                  <a:lnTo>
                    <a:pt x="505" y="209"/>
                  </a:lnTo>
                  <a:lnTo>
                    <a:pt x="501" y="208"/>
                  </a:lnTo>
                  <a:lnTo>
                    <a:pt x="501" y="206"/>
                  </a:lnTo>
                  <a:lnTo>
                    <a:pt x="503" y="198"/>
                  </a:lnTo>
                  <a:lnTo>
                    <a:pt x="501" y="194"/>
                  </a:lnTo>
                  <a:lnTo>
                    <a:pt x="497" y="192"/>
                  </a:lnTo>
                  <a:lnTo>
                    <a:pt x="499" y="186"/>
                  </a:lnTo>
                  <a:lnTo>
                    <a:pt x="495" y="181"/>
                  </a:lnTo>
                  <a:lnTo>
                    <a:pt x="495" y="175"/>
                  </a:lnTo>
                  <a:lnTo>
                    <a:pt x="492" y="173"/>
                  </a:lnTo>
                  <a:lnTo>
                    <a:pt x="492" y="171"/>
                  </a:lnTo>
                  <a:lnTo>
                    <a:pt x="488" y="171"/>
                  </a:lnTo>
                  <a:lnTo>
                    <a:pt x="482" y="175"/>
                  </a:lnTo>
                  <a:lnTo>
                    <a:pt x="482" y="171"/>
                  </a:lnTo>
                  <a:lnTo>
                    <a:pt x="482" y="169"/>
                  </a:lnTo>
                  <a:lnTo>
                    <a:pt x="486" y="171"/>
                  </a:lnTo>
                  <a:lnTo>
                    <a:pt x="488" y="167"/>
                  </a:lnTo>
                  <a:lnTo>
                    <a:pt x="490" y="171"/>
                  </a:lnTo>
                  <a:lnTo>
                    <a:pt x="492" y="171"/>
                  </a:lnTo>
                  <a:lnTo>
                    <a:pt x="494" y="167"/>
                  </a:lnTo>
                  <a:lnTo>
                    <a:pt x="492" y="163"/>
                  </a:lnTo>
                  <a:lnTo>
                    <a:pt x="497" y="165"/>
                  </a:lnTo>
                  <a:lnTo>
                    <a:pt x="497" y="163"/>
                  </a:lnTo>
                  <a:lnTo>
                    <a:pt x="495" y="161"/>
                  </a:lnTo>
                  <a:lnTo>
                    <a:pt x="495" y="160"/>
                  </a:lnTo>
                  <a:lnTo>
                    <a:pt x="499" y="161"/>
                  </a:lnTo>
                  <a:lnTo>
                    <a:pt x="501" y="158"/>
                  </a:lnTo>
                  <a:lnTo>
                    <a:pt x="503" y="160"/>
                  </a:lnTo>
                  <a:lnTo>
                    <a:pt x="503" y="156"/>
                  </a:lnTo>
                  <a:lnTo>
                    <a:pt x="505" y="156"/>
                  </a:lnTo>
                  <a:lnTo>
                    <a:pt x="511" y="156"/>
                  </a:lnTo>
                  <a:lnTo>
                    <a:pt x="507" y="160"/>
                  </a:lnTo>
                  <a:lnTo>
                    <a:pt x="511" y="163"/>
                  </a:lnTo>
                  <a:lnTo>
                    <a:pt x="511" y="165"/>
                  </a:lnTo>
                  <a:lnTo>
                    <a:pt x="517" y="165"/>
                  </a:lnTo>
                  <a:lnTo>
                    <a:pt x="517" y="160"/>
                  </a:lnTo>
                  <a:lnTo>
                    <a:pt x="515" y="160"/>
                  </a:lnTo>
                  <a:lnTo>
                    <a:pt x="515" y="158"/>
                  </a:lnTo>
                  <a:lnTo>
                    <a:pt x="522" y="158"/>
                  </a:lnTo>
                  <a:lnTo>
                    <a:pt x="520" y="156"/>
                  </a:lnTo>
                  <a:lnTo>
                    <a:pt x="517" y="156"/>
                  </a:lnTo>
                  <a:lnTo>
                    <a:pt x="513" y="152"/>
                  </a:lnTo>
                  <a:lnTo>
                    <a:pt x="515" y="150"/>
                  </a:lnTo>
                  <a:lnTo>
                    <a:pt x="517" y="152"/>
                  </a:lnTo>
                  <a:lnTo>
                    <a:pt x="520" y="150"/>
                  </a:lnTo>
                  <a:lnTo>
                    <a:pt x="522" y="152"/>
                  </a:lnTo>
                  <a:lnTo>
                    <a:pt x="526" y="154"/>
                  </a:lnTo>
                  <a:lnTo>
                    <a:pt x="522" y="154"/>
                  </a:lnTo>
                  <a:lnTo>
                    <a:pt x="522" y="156"/>
                  </a:lnTo>
                  <a:lnTo>
                    <a:pt x="526" y="156"/>
                  </a:lnTo>
                  <a:lnTo>
                    <a:pt x="528" y="154"/>
                  </a:lnTo>
                  <a:lnTo>
                    <a:pt x="524" y="148"/>
                  </a:lnTo>
                  <a:lnTo>
                    <a:pt x="530" y="146"/>
                  </a:lnTo>
                  <a:lnTo>
                    <a:pt x="530" y="142"/>
                  </a:lnTo>
                  <a:lnTo>
                    <a:pt x="534" y="144"/>
                  </a:lnTo>
                  <a:lnTo>
                    <a:pt x="536" y="142"/>
                  </a:lnTo>
                  <a:lnTo>
                    <a:pt x="538" y="144"/>
                  </a:lnTo>
                  <a:lnTo>
                    <a:pt x="534" y="146"/>
                  </a:lnTo>
                  <a:lnTo>
                    <a:pt x="536" y="150"/>
                  </a:lnTo>
                  <a:lnTo>
                    <a:pt x="532" y="154"/>
                  </a:lnTo>
                  <a:lnTo>
                    <a:pt x="536" y="156"/>
                  </a:lnTo>
                  <a:lnTo>
                    <a:pt x="538" y="156"/>
                  </a:lnTo>
                  <a:lnTo>
                    <a:pt x="540" y="161"/>
                  </a:lnTo>
                  <a:lnTo>
                    <a:pt x="536" y="165"/>
                  </a:lnTo>
                  <a:lnTo>
                    <a:pt x="530" y="161"/>
                  </a:lnTo>
                  <a:lnTo>
                    <a:pt x="536" y="161"/>
                  </a:lnTo>
                  <a:lnTo>
                    <a:pt x="538" y="160"/>
                  </a:lnTo>
                  <a:lnTo>
                    <a:pt x="530" y="161"/>
                  </a:lnTo>
                  <a:lnTo>
                    <a:pt x="524" y="169"/>
                  </a:lnTo>
                  <a:lnTo>
                    <a:pt x="520" y="169"/>
                  </a:lnTo>
                  <a:lnTo>
                    <a:pt x="519" y="171"/>
                  </a:lnTo>
                  <a:lnTo>
                    <a:pt x="522" y="169"/>
                  </a:lnTo>
                  <a:lnTo>
                    <a:pt x="520" y="173"/>
                  </a:lnTo>
                  <a:lnTo>
                    <a:pt x="524" y="179"/>
                  </a:lnTo>
                  <a:lnTo>
                    <a:pt x="528" y="173"/>
                  </a:lnTo>
                  <a:lnTo>
                    <a:pt x="526" y="169"/>
                  </a:lnTo>
                  <a:lnTo>
                    <a:pt x="528" y="165"/>
                  </a:lnTo>
                  <a:lnTo>
                    <a:pt x="536" y="167"/>
                  </a:lnTo>
                  <a:lnTo>
                    <a:pt x="538" y="173"/>
                  </a:lnTo>
                  <a:lnTo>
                    <a:pt x="536" y="173"/>
                  </a:lnTo>
                  <a:lnTo>
                    <a:pt x="536" y="175"/>
                  </a:lnTo>
                  <a:lnTo>
                    <a:pt x="532" y="173"/>
                  </a:lnTo>
                  <a:lnTo>
                    <a:pt x="530" y="177"/>
                  </a:lnTo>
                  <a:lnTo>
                    <a:pt x="528" y="175"/>
                  </a:lnTo>
                  <a:lnTo>
                    <a:pt x="528" y="179"/>
                  </a:lnTo>
                  <a:lnTo>
                    <a:pt x="530" y="179"/>
                  </a:lnTo>
                  <a:lnTo>
                    <a:pt x="528" y="183"/>
                  </a:lnTo>
                  <a:lnTo>
                    <a:pt x="528" y="184"/>
                  </a:lnTo>
                  <a:lnTo>
                    <a:pt x="530" y="184"/>
                  </a:lnTo>
                  <a:lnTo>
                    <a:pt x="534" y="179"/>
                  </a:lnTo>
                  <a:lnTo>
                    <a:pt x="538" y="179"/>
                  </a:lnTo>
                  <a:lnTo>
                    <a:pt x="542" y="183"/>
                  </a:lnTo>
                  <a:lnTo>
                    <a:pt x="542" y="179"/>
                  </a:lnTo>
                  <a:lnTo>
                    <a:pt x="540" y="177"/>
                  </a:lnTo>
                  <a:lnTo>
                    <a:pt x="540" y="173"/>
                  </a:lnTo>
                  <a:lnTo>
                    <a:pt x="542" y="173"/>
                  </a:lnTo>
                  <a:lnTo>
                    <a:pt x="543" y="177"/>
                  </a:lnTo>
                  <a:lnTo>
                    <a:pt x="547" y="179"/>
                  </a:lnTo>
                  <a:lnTo>
                    <a:pt x="547" y="183"/>
                  </a:lnTo>
                  <a:lnTo>
                    <a:pt x="545" y="181"/>
                  </a:lnTo>
                  <a:lnTo>
                    <a:pt x="543" y="183"/>
                  </a:lnTo>
                  <a:lnTo>
                    <a:pt x="543" y="188"/>
                  </a:lnTo>
                  <a:lnTo>
                    <a:pt x="545" y="188"/>
                  </a:lnTo>
                  <a:lnTo>
                    <a:pt x="551" y="183"/>
                  </a:lnTo>
                  <a:lnTo>
                    <a:pt x="555" y="186"/>
                  </a:lnTo>
                  <a:lnTo>
                    <a:pt x="553" y="188"/>
                  </a:lnTo>
                  <a:lnTo>
                    <a:pt x="555" y="190"/>
                  </a:lnTo>
                  <a:lnTo>
                    <a:pt x="561" y="190"/>
                  </a:lnTo>
                  <a:lnTo>
                    <a:pt x="559" y="188"/>
                  </a:lnTo>
                  <a:lnTo>
                    <a:pt x="561" y="186"/>
                  </a:lnTo>
                  <a:lnTo>
                    <a:pt x="563" y="190"/>
                  </a:lnTo>
                  <a:lnTo>
                    <a:pt x="567" y="190"/>
                  </a:lnTo>
                  <a:lnTo>
                    <a:pt x="567" y="188"/>
                  </a:lnTo>
                  <a:lnTo>
                    <a:pt x="565" y="186"/>
                  </a:lnTo>
                  <a:lnTo>
                    <a:pt x="567" y="186"/>
                  </a:lnTo>
                  <a:lnTo>
                    <a:pt x="568" y="186"/>
                  </a:lnTo>
                  <a:lnTo>
                    <a:pt x="568" y="190"/>
                  </a:lnTo>
                  <a:lnTo>
                    <a:pt x="574" y="188"/>
                  </a:lnTo>
                  <a:lnTo>
                    <a:pt x="576" y="186"/>
                  </a:lnTo>
                  <a:lnTo>
                    <a:pt x="570" y="183"/>
                  </a:lnTo>
                  <a:lnTo>
                    <a:pt x="572" y="177"/>
                  </a:lnTo>
                  <a:lnTo>
                    <a:pt x="578" y="181"/>
                  </a:lnTo>
                  <a:lnTo>
                    <a:pt x="578" y="175"/>
                  </a:lnTo>
                  <a:lnTo>
                    <a:pt x="574" y="175"/>
                  </a:lnTo>
                  <a:lnTo>
                    <a:pt x="572" y="173"/>
                  </a:lnTo>
                  <a:lnTo>
                    <a:pt x="570" y="175"/>
                  </a:lnTo>
                  <a:lnTo>
                    <a:pt x="568" y="173"/>
                  </a:lnTo>
                  <a:lnTo>
                    <a:pt x="570" y="169"/>
                  </a:lnTo>
                  <a:lnTo>
                    <a:pt x="574" y="167"/>
                  </a:lnTo>
                  <a:lnTo>
                    <a:pt x="578" y="167"/>
                  </a:lnTo>
                  <a:lnTo>
                    <a:pt x="578" y="171"/>
                  </a:lnTo>
                  <a:lnTo>
                    <a:pt x="580" y="175"/>
                  </a:lnTo>
                  <a:lnTo>
                    <a:pt x="582" y="173"/>
                  </a:lnTo>
                  <a:lnTo>
                    <a:pt x="582" y="171"/>
                  </a:lnTo>
                  <a:lnTo>
                    <a:pt x="586" y="175"/>
                  </a:lnTo>
                  <a:lnTo>
                    <a:pt x="588" y="175"/>
                  </a:lnTo>
                  <a:lnTo>
                    <a:pt x="591" y="173"/>
                  </a:lnTo>
                  <a:lnTo>
                    <a:pt x="593" y="173"/>
                  </a:lnTo>
                  <a:lnTo>
                    <a:pt x="591" y="175"/>
                  </a:lnTo>
                  <a:lnTo>
                    <a:pt x="588" y="179"/>
                  </a:lnTo>
                  <a:lnTo>
                    <a:pt x="588" y="181"/>
                  </a:lnTo>
                  <a:lnTo>
                    <a:pt x="586" y="181"/>
                  </a:lnTo>
                  <a:lnTo>
                    <a:pt x="582" y="184"/>
                  </a:lnTo>
                  <a:lnTo>
                    <a:pt x="582" y="186"/>
                  </a:lnTo>
                  <a:lnTo>
                    <a:pt x="584" y="190"/>
                  </a:lnTo>
                  <a:lnTo>
                    <a:pt x="586" y="190"/>
                  </a:lnTo>
                  <a:lnTo>
                    <a:pt x="586" y="188"/>
                  </a:lnTo>
                  <a:lnTo>
                    <a:pt x="588" y="188"/>
                  </a:lnTo>
                  <a:lnTo>
                    <a:pt x="588" y="192"/>
                  </a:lnTo>
                  <a:lnTo>
                    <a:pt x="591" y="188"/>
                  </a:lnTo>
                  <a:lnTo>
                    <a:pt x="590" y="194"/>
                  </a:lnTo>
                  <a:lnTo>
                    <a:pt x="593" y="194"/>
                  </a:lnTo>
                  <a:lnTo>
                    <a:pt x="597" y="192"/>
                  </a:lnTo>
                  <a:lnTo>
                    <a:pt x="597" y="188"/>
                  </a:lnTo>
                  <a:lnTo>
                    <a:pt x="601" y="184"/>
                  </a:lnTo>
                  <a:lnTo>
                    <a:pt x="605" y="186"/>
                  </a:lnTo>
                  <a:lnTo>
                    <a:pt x="605" y="188"/>
                  </a:lnTo>
                  <a:lnTo>
                    <a:pt x="607" y="188"/>
                  </a:lnTo>
                  <a:lnTo>
                    <a:pt x="613" y="190"/>
                  </a:lnTo>
                  <a:lnTo>
                    <a:pt x="620" y="188"/>
                  </a:lnTo>
                  <a:lnTo>
                    <a:pt x="628" y="192"/>
                  </a:lnTo>
                  <a:lnTo>
                    <a:pt x="632" y="192"/>
                  </a:lnTo>
                  <a:lnTo>
                    <a:pt x="632" y="190"/>
                  </a:lnTo>
                  <a:lnTo>
                    <a:pt x="634" y="186"/>
                  </a:lnTo>
                  <a:lnTo>
                    <a:pt x="632" y="181"/>
                  </a:lnTo>
                  <a:lnTo>
                    <a:pt x="634" y="179"/>
                  </a:lnTo>
                  <a:lnTo>
                    <a:pt x="632" y="177"/>
                  </a:lnTo>
                  <a:lnTo>
                    <a:pt x="638" y="175"/>
                  </a:lnTo>
                  <a:lnTo>
                    <a:pt x="639" y="179"/>
                  </a:lnTo>
                  <a:lnTo>
                    <a:pt x="641" y="173"/>
                  </a:lnTo>
                  <a:lnTo>
                    <a:pt x="647" y="173"/>
                  </a:lnTo>
                  <a:lnTo>
                    <a:pt x="647" y="171"/>
                  </a:lnTo>
                  <a:lnTo>
                    <a:pt x="649" y="169"/>
                  </a:lnTo>
                  <a:lnTo>
                    <a:pt x="651" y="165"/>
                  </a:lnTo>
                  <a:lnTo>
                    <a:pt x="657" y="165"/>
                  </a:lnTo>
                  <a:lnTo>
                    <a:pt x="657" y="163"/>
                  </a:lnTo>
                  <a:lnTo>
                    <a:pt x="662" y="165"/>
                  </a:lnTo>
                  <a:lnTo>
                    <a:pt x="666" y="161"/>
                  </a:lnTo>
                  <a:lnTo>
                    <a:pt x="668" y="161"/>
                  </a:lnTo>
                  <a:lnTo>
                    <a:pt x="670" y="158"/>
                  </a:lnTo>
                  <a:lnTo>
                    <a:pt x="672" y="160"/>
                  </a:lnTo>
                  <a:lnTo>
                    <a:pt x="676" y="160"/>
                  </a:lnTo>
                  <a:lnTo>
                    <a:pt x="676" y="158"/>
                  </a:lnTo>
                  <a:lnTo>
                    <a:pt x="682" y="161"/>
                  </a:lnTo>
                  <a:lnTo>
                    <a:pt x="682" y="165"/>
                  </a:lnTo>
                  <a:lnTo>
                    <a:pt x="682" y="167"/>
                  </a:lnTo>
                  <a:lnTo>
                    <a:pt x="682" y="171"/>
                  </a:lnTo>
                  <a:lnTo>
                    <a:pt x="686" y="173"/>
                  </a:lnTo>
                  <a:lnTo>
                    <a:pt x="687" y="177"/>
                  </a:lnTo>
                  <a:lnTo>
                    <a:pt x="689" y="177"/>
                  </a:lnTo>
                  <a:lnTo>
                    <a:pt x="693" y="184"/>
                  </a:lnTo>
                  <a:lnTo>
                    <a:pt x="686" y="186"/>
                  </a:lnTo>
                  <a:lnTo>
                    <a:pt x="682" y="194"/>
                  </a:lnTo>
                  <a:lnTo>
                    <a:pt x="678" y="196"/>
                  </a:lnTo>
                  <a:lnTo>
                    <a:pt x="676" y="200"/>
                  </a:lnTo>
                  <a:lnTo>
                    <a:pt x="682" y="204"/>
                  </a:lnTo>
                  <a:lnTo>
                    <a:pt x="686" y="200"/>
                  </a:lnTo>
                  <a:lnTo>
                    <a:pt x="687" y="202"/>
                  </a:lnTo>
                  <a:lnTo>
                    <a:pt x="689" y="202"/>
                  </a:lnTo>
                  <a:lnTo>
                    <a:pt x="687" y="200"/>
                  </a:lnTo>
                  <a:lnTo>
                    <a:pt x="687" y="198"/>
                  </a:lnTo>
                  <a:lnTo>
                    <a:pt x="693" y="194"/>
                  </a:lnTo>
                  <a:lnTo>
                    <a:pt x="697" y="198"/>
                  </a:lnTo>
                  <a:lnTo>
                    <a:pt x="701" y="198"/>
                  </a:lnTo>
                  <a:lnTo>
                    <a:pt x="695" y="198"/>
                  </a:lnTo>
                  <a:lnTo>
                    <a:pt x="693" y="200"/>
                  </a:lnTo>
                  <a:lnTo>
                    <a:pt x="695" y="202"/>
                  </a:lnTo>
                  <a:lnTo>
                    <a:pt x="695" y="206"/>
                  </a:lnTo>
                  <a:lnTo>
                    <a:pt x="697" y="206"/>
                  </a:lnTo>
                  <a:lnTo>
                    <a:pt x="697" y="202"/>
                  </a:lnTo>
                  <a:lnTo>
                    <a:pt x="705" y="202"/>
                  </a:lnTo>
                  <a:lnTo>
                    <a:pt x="705" y="200"/>
                  </a:lnTo>
                  <a:lnTo>
                    <a:pt x="701" y="198"/>
                  </a:lnTo>
                  <a:lnTo>
                    <a:pt x="701" y="194"/>
                  </a:lnTo>
                  <a:lnTo>
                    <a:pt x="699" y="192"/>
                  </a:lnTo>
                  <a:lnTo>
                    <a:pt x="703" y="192"/>
                  </a:lnTo>
                  <a:lnTo>
                    <a:pt x="705" y="196"/>
                  </a:lnTo>
                  <a:lnTo>
                    <a:pt x="709" y="194"/>
                  </a:lnTo>
                  <a:lnTo>
                    <a:pt x="712" y="196"/>
                  </a:lnTo>
                  <a:lnTo>
                    <a:pt x="710" y="192"/>
                  </a:lnTo>
                  <a:lnTo>
                    <a:pt x="712" y="186"/>
                  </a:lnTo>
                  <a:lnTo>
                    <a:pt x="712" y="188"/>
                  </a:lnTo>
                  <a:lnTo>
                    <a:pt x="714" y="190"/>
                  </a:lnTo>
                  <a:lnTo>
                    <a:pt x="712" y="192"/>
                  </a:lnTo>
                  <a:lnTo>
                    <a:pt x="716" y="194"/>
                  </a:lnTo>
                  <a:lnTo>
                    <a:pt x="716" y="196"/>
                  </a:lnTo>
                  <a:lnTo>
                    <a:pt x="720" y="194"/>
                  </a:lnTo>
                  <a:lnTo>
                    <a:pt x="718" y="198"/>
                  </a:lnTo>
                  <a:lnTo>
                    <a:pt x="726" y="196"/>
                  </a:lnTo>
                  <a:lnTo>
                    <a:pt x="730" y="196"/>
                  </a:lnTo>
                  <a:lnTo>
                    <a:pt x="730" y="194"/>
                  </a:lnTo>
                  <a:lnTo>
                    <a:pt x="724" y="192"/>
                  </a:lnTo>
                  <a:lnTo>
                    <a:pt x="726" y="190"/>
                  </a:lnTo>
                  <a:lnTo>
                    <a:pt x="722" y="188"/>
                  </a:lnTo>
                  <a:lnTo>
                    <a:pt x="724" y="186"/>
                  </a:lnTo>
                  <a:lnTo>
                    <a:pt x="726" y="188"/>
                  </a:lnTo>
                  <a:lnTo>
                    <a:pt x="733" y="186"/>
                  </a:lnTo>
                  <a:lnTo>
                    <a:pt x="735" y="190"/>
                  </a:lnTo>
                  <a:lnTo>
                    <a:pt x="737" y="183"/>
                  </a:lnTo>
                  <a:lnTo>
                    <a:pt x="741" y="183"/>
                  </a:lnTo>
                  <a:lnTo>
                    <a:pt x="745" y="184"/>
                  </a:lnTo>
                  <a:lnTo>
                    <a:pt x="739" y="190"/>
                  </a:lnTo>
                  <a:lnTo>
                    <a:pt x="741" y="196"/>
                  </a:lnTo>
                  <a:lnTo>
                    <a:pt x="735" y="200"/>
                  </a:lnTo>
                  <a:lnTo>
                    <a:pt x="737" y="204"/>
                  </a:lnTo>
                  <a:lnTo>
                    <a:pt x="735" y="206"/>
                  </a:lnTo>
                  <a:lnTo>
                    <a:pt x="732" y="206"/>
                  </a:lnTo>
                  <a:lnTo>
                    <a:pt x="732" y="209"/>
                  </a:lnTo>
                  <a:lnTo>
                    <a:pt x="743" y="209"/>
                  </a:lnTo>
                  <a:lnTo>
                    <a:pt x="743" y="208"/>
                  </a:lnTo>
                  <a:lnTo>
                    <a:pt x="747" y="206"/>
                  </a:lnTo>
                  <a:lnTo>
                    <a:pt x="749" y="211"/>
                  </a:lnTo>
                  <a:lnTo>
                    <a:pt x="751" y="209"/>
                  </a:lnTo>
                  <a:lnTo>
                    <a:pt x="755" y="211"/>
                  </a:lnTo>
                  <a:lnTo>
                    <a:pt x="755" y="208"/>
                  </a:lnTo>
                  <a:lnTo>
                    <a:pt x="762" y="208"/>
                  </a:lnTo>
                  <a:lnTo>
                    <a:pt x="768" y="215"/>
                  </a:lnTo>
                  <a:lnTo>
                    <a:pt x="770" y="208"/>
                  </a:lnTo>
                  <a:lnTo>
                    <a:pt x="774" y="209"/>
                  </a:lnTo>
                  <a:lnTo>
                    <a:pt x="774" y="211"/>
                  </a:lnTo>
                  <a:lnTo>
                    <a:pt x="776" y="209"/>
                  </a:lnTo>
                  <a:lnTo>
                    <a:pt x="776" y="204"/>
                  </a:lnTo>
                  <a:lnTo>
                    <a:pt x="781" y="196"/>
                  </a:lnTo>
                  <a:lnTo>
                    <a:pt x="780" y="192"/>
                  </a:lnTo>
                  <a:lnTo>
                    <a:pt x="783" y="184"/>
                  </a:lnTo>
                  <a:lnTo>
                    <a:pt x="787" y="184"/>
                  </a:lnTo>
                  <a:lnTo>
                    <a:pt x="787" y="190"/>
                  </a:lnTo>
                  <a:lnTo>
                    <a:pt x="787" y="186"/>
                  </a:lnTo>
                  <a:lnTo>
                    <a:pt x="789" y="184"/>
                  </a:lnTo>
                  <a:lnTo>
                    <a:pt x="797" y="190"/>
                  </a:lnTo>
                  <a:lnTo>
                    <a:pt x="801" y="188"/>
                  </a:lnTo>
                  <a:lnTo>
                    <a:pt x="801" y="190"/>
                  </a:lnTo>
                  <a:lnTo>
                    <a:pt x="799" y="192"/>
                  </a:lnTo>
                  <a:lnTo>
                    <a:pt x="806" y="194"/>
                  </a:lnTo>
                  <a:lnTo>
                    <a:pt x="808" y="192"/>
                  </a:lnTo>
                  <a:lnTo>
                    <a:pt x="806" y="190"/>
                  </a:lnTo>
                  <a:lnTo>
                    <a:pt x="804" y="188"/>
                  </a:lnTo>
                  <a:lnTo>
                    <a:pt x="806" y="188"/>
                  </a:lnTo>
                  <a:lnTo>
                    <a:pt x="806" y="186"/>
                  </a:lnTo>
                  <a:lnTo>
                    <a:pt x="810" y="188"/>
                  </a:lnTo>
                  <a:lnTo>
                    <a:pt x="810" y="186"/>
                  </a:lnTo>
                  <a:lnTo>
                    <a:pt x="808" y="183"/>
                  </a:lnTo>
                  <a:lnTo>
                    <a:pt x="816" y="183"/>
                  </a:lnTo>
                  <a:lnTo>
                    <a:pt x="818" y="183"/>
                  </a:lnTo>
                  <a:lnTo>
                    <a:pt x="816" y="184"/>
                  </a:lnTo>
                  <a:lnTo>
                    <a:pt x="820" y="186"/>
                  </a:lnTo>
                  <a:lnTo>
                    <a:pt x="818" y="188"/>
                  </a:lnTo>
                  <a:lnTo>
                    <a:pt x="818" y="192"/>
                  </a:lnTo>
                  <a:lnTo>
                    <a:pt x="822" y="190"/>
                  </a:lnTo>
                  <a:lnTo>
                    <a:pt x="822" y="192"/>
                  </a:lnTo>
                  <a:lnTo>
                    <a:pt x="818" y="194"/>
                  </a:lnTo>
                  <a:lnTo>
                    <a:pt x="818" y="196"/>
                  </a:lnTo>
                  <a:lnTo>
                    <a:pt x="824" y="194"/>
                  </a:lnTo>
                  <a:lnTo>
                    <a:pt x="826" y="198"/>
                  </a:lnTo>
                  <a:lnTo>
                    <a:pt x="833" y="200"/>
                  </a:lnTo>
                  <a:lnTo>
                    <a:pt x="839" y="202"/>
                  </a:lnTo>
                  <a:lnTo>
                    <a:pt x="843" y="202"/>
                  </a:lnTo>
                  <a:lnTo>
                    <a:pt x="847" y="204"/>
                  </a:lnTo>
                  <a:lnTo>
                    <a:pt x="849" y="206"/>
                  </a:lnTo>
                  <a:lnTo>
                    <a:pt x="851" y="211"/>
                  </a:lnTo>
                  <a:lnTo>
                    <a:pt x="849" y="215"/>
                  </a:lnTo>
                  <a:lnTo>
                    <a:pt x="852" y="217"/>
                  </a:lnTo>
                  <a:lnTo>
                    <a:pt x="852" y="219"/>
                  </a:lnTo>
                  <a:lnTo>
                    <a:pt x="856" y="221"/>
                  </a:lnTo>
                  <a:lnTo>
                    <a:pt x="860" y="219"/>
                  </a:lnTo>
                  <a:lnTo>
                    <a:pt x="868" y="223"/>
                  </a:lnTo>
                  <a:lnTo>
                    <a:pt x="872" y="227"/>
                  </a:lnTo>
                  <a:lnTo>
                    <a:pt x="874" y="225"/>
                  </a:lnTo>
                  <a:lnTo>
                    <a:pt x="877" y="227"/>
                  </a:lnTo>
                  <a:lnTo>
                    <a:pt x="877" y="223"/>
                  </a:lnTo>
                  <a:lnTo>
                    <a:pt x="879" y="223"/>
                  </a:lnTo>
                  <a:lnTo>
                    <a:pt x="877" y="225"/>
                  </a:lnTo>
                  <a:lnTo>
                    <a:pt x="881" y="225"/>
                  </a:lnTo>
                  <a:lnTo>
                    <a:pt x="881" y="227"/>
                  </a:lnTo>
                  <a:lnTo>
                    <a:pt x="879" y="227"/>
                  </a:lnTo>
                  <a:lnTo>
                    <a:pt x="881" y="229"/>
                  </a:lnTo>
                  <a:lnTo>
                    <a:pt x="877" y="233"/>
                  </a:lnTo>
                  <a:lnTo>
                    <a:pt x="881" y="233"/>
                  </a:lnTo>
                  <a:lnTo>
                    <a:pt x="881" y="231"/>
                  </a:lnTo>
                  <a:lnTo>
                    <a:pt x="883" y="231"/>
                  </a:lnTo>
                  <a:lnTo>
                    <a:pt x="883" y="229"/>
                  </a:lnTo>
                  <a:lnTo>
                    <a:pt x="885" y="231"/>
                  </a:lnTo>
                  <a:lnTo>
                    <a:pt x="885" y="229"/>
                  </a:lnTo>
                  <a:lnTo>
                    <a:pt x="885" y="236"/>
                  </a:lnTo>
                  <a:lnTo>
                    <a:pt x="883" y="238"/>
                  </a:lnTo>
                  <a:lnTo>
                    <a:pt x="883" y="240"/>
                  </a:lnTo>
                  <a:lnTo>
                    <a:pt x="887" y="240"/>
                  </a:lnTo>
                  <a:lnTo>
                    <a:pt x="887" y="236"/>
                  </a:lnTo>
                  <a:lnTo>
                    <a:pt x="891" y="238"/>
                  </a:lnTo>
                  <a:lnTo>
                    <a:pt x="891" y="246"/>
                  </a:lnTo>
                  <a:lnTo>
                    <a:pt x="895" y="244"/>
                  </a:lnTo>
                  <a:lnTo>
                    <a:pt x="897" y="246"/>
                  </a:lnTo>
                  <a:lnTo>
                    <a:pt x="902" y="248"/>
                  </a:lnTo>
                  <a:lnTo>
                    <a:pt x="902" y="238"/>
                  </a:lnTo>
                  <a:lnTo>
                    <a:pt x="904" y="234"/>
                  </a:lnTo>
                  <a:lnTo>
                    <a:pt x="906" y="238"/>
                  </a:lnTo>
                  <a:lnTo>
                    <a:pt x="914" y="238"/>
                  </a:lnTo>
                  <a:lnTo>
                    <a:pt x="916" y="240"/>
                  </a:lnTo>
                  <a:lnTo>
                    <a:pt x="920" y="240"/>
                  </a:lnTo>
                  <a:lnTo>
                    <a:pt x="929" y="236"/>
                  </a:lnTo>
                  <a:lnTo>
                    <a:pt x="933" y="238"/>
                  </a:lnTo>
                  <a:lnTo>
                    <a:pt x="933" y="242"/>
                  </a:lnTo>
                  <a:lnTo>
                    <a:pt x="941" y="242"/>
                  </a:lnTo>
                  <a:lnTo>
                    <a:pt x="941" y="246"/>
                  </a:lnTo>
                  <a:lnTo>
                    <a:pt x="943" y="246"/>
                  </a:lnTo>
                  <a:lnTo>
                    <a:pt x="945" y="252"/>
                  </a:lnTo>
                  <a:lnTo>
                    <a:pt x="939" y="254"/>
                  </a:lnTo>
                  <a:lnTo>
                    <a:pt x="937" y="252"/>
                  </a:lnTo>
                  <a:lnTo>
                    <a:pt x="935" y="252"/>
                  </a:lnTo>
                  <a:lnTo>
                    <a:pt x="935" y="256"/>
                  </a:lnTo>
                  <a:lnTo>
                    <a:pt x="937" y="257"/>
                  </a:lnTo>
                  <a:lnTo>
                    <a:pt x="935" y="259"/>
                  </a:lnTo>
                  <a:lnTo>
                    <a:pt x="937" y="265"/>
                  </a:lnTo>
                  <a:lnTo>
                    <a:pt x="933" y="269"/>
                  </a:lnTo>
                  <a:lnTo>
                    <a:pt x="939" y="271"/>
                  </a:lnTo>
                  <a:lnTo>
                    <a:pt x="939" y="277"/>
                  </a:lnTo>
                  <a:lnTo>
                    <a:pt x="941" y="279"/>
                  </a:lnTo>
                  <a:lnTo>
                    <a:pt x="937" y="286"/>
                  </a:lnTo>
                  <a:lnTo>
                    <a:pt x="935" y="288"/>
                  </a:lnTo>
                  <a:lnTo>
                    <a:pt x="937" y="294"/>
                  </a:lnTo>
                  <a:lnTo>
                    <a:pt x="935" y="296"/>
                  </a:lnTo>
                  <a:lnTo>
                    <a:pt x="929" y="294"/>
                  </a:lnTo>
                  <a:lnTo>
                    <a:pt x="927" y="298"/>
                  </a:lnTo>
                  <a:lnTo>
                    <a:pt x="933" y="304"/>
                  </a:lnTo>
                  <a:lnTo>
                    <a:pt x="939" y="304"/>
                  </a:lnTo>
                  <a:lnTo>
                    <a:pt x="937" y="309"/>
                  </a:lnTo>
                  <a:lnTo>
                    <a:pt x="943" y="311"/>
                  </a:lnTo>
                  <a:lnTo>
                    <a:pt x="943" y="31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8" name="Freeform 25">
              <a:extLst>
                <a:ext uri="{FF2B5EF4-FFF2-40B4-BE49-F238E27FC236}">
                  <a16:creationId xmlns:a16="http://schemas.microsoft.com/office/drawing/2014/main" id="{3631DD23-361B-4234-9A00-BD7EFB120DA8}"/>
                </a:ext>
              </a:extLst>
            </p:cNvPr>
            <p:cNvSpPr>
              <a:spLocks/>
            </p:cNvSpPr>
            <p:nvPr/>
          </p:nvSpPr>
          <p:spPr bwMode="gray">
            <a:xfrm>
              <a:off x="6045201" y="3217863"/>
              <a:ext cx="788988" cy="590550"/>
            </a:xfrm>
            <a:custGeom>
              <a:avLst/>
              <a:gdLst>
                <a:gd name="T0" fmla="*/ 492 w 497"/>
                <a:gd name="T1" fmla="*/ 48 h 372"/>
                <a:gd name="T2" fmla="*/ 482 w 497"/>
                <a:gd name="T3" fmla="*/ 69 h 372"/>
                <a:gd name="T4" fmla="*/ 490 w 497"/>
                <a:gd name="T5" fmla="*/ 82 h 372"/>
                <a:gd name="T6" fmla="*/ 478 w 497"/>
                <a:gd name="T7" fmla="*/ 92 h 372"/>
                <a:gd name="T8" fmla="*/ 478 w 497"/>
                <a:gd name="T9" fmla="*/ 107 h 372"/>
                <a:gd name="T10" fmla="*/ 459 w 497"/>
                <a:gd name="T11" fmla="*/ 128 h 372"/>
                <a:gd name="T12" fmla="*/ 453 w 497"/>
                <a:gd name="T13" fmla="*/ 142 h 372"/>
                <a:gd name="T14" fmla="*/ 438 w 497"/>
                <a:gd name="T15" fmla="*/ 149 h 372"/>
                <a:gd name="T16" fmla="*/ 421 w 497"/>
                <a:gd name="T17" fmla="*/ 151 h 372"/>
                <a:gd name="T18" fmla="*/ 417 w 497"/>
                <a:gd name="T19" fmla="*/ 167 h 372"/>
                <a:gd name="T20" fmla="*/ 396 w 497"/>
                <a:gd name="T21" fmla="*/ 169 h 372"/>
                <a:gd name="T22" fmla="*/ 377 w 497"/>
                <a:gd name="T23" fmla="*/ 170 h 372"/>
                <a:gd name="T24" fmla="*/ 359 w 497"/>
                <a:gd name="T25" fmla="*/ 184 h 372"/>
                <a:gd name="T26" fmla="*/ 323 w 497"/>
                <a:gd name="T27" fmla="*/ 207 h 372"/>
                <a:gd name="T28" fmla="*/ 309 w 497"/>
                <a:gd name="T29" fmla="*/ 215 h 372"/>
                <a:gd name="T30" fmla="*/ 292 w 497"/>
                <a:gd name="T31" fmla="*/ 197 h 372"/>
                <a:gd name="T32" fmla="*/ 269 w 497"/>
                <a:gd name="T33" fmla="*/ 213 h 372"/>
                <a:gd name="T34" fmla="*/ 265 w 497"/>
                <a:gd name="T35" fmla="*/ 236 h 372"/>
                <a:gd name="T36" fmla="*/ 300 w 497"/>
                <a:gd name="T37" fmla="*/ 255 h 372"/>
                <a:gd name="T38" fmla="*/ 334 w 497"/>
                <a:gd name="T39" fmla="*/ 261 h 372"/>
                <a:gd name="T40" fmla="*/ 329 w 497"/>
                <a:gd name="T41" fmla="*/ 282 h 372"/>
                <a:gd name="T42" fmla="*/ 357 w 497"/>
                <a:gd name="T43" fmla="*/ 305 h 372"/>
                <a:gd name="T44" fmla="*/ 377 w 497"/>
                <a:gd name="T45" fmla="*/ 336 h 372"/>
                <a:gd name="T46" fmla="*/ 344 w 497"/>
                <a:gd name="T47" fmla="*/ 338 h 372"/>
                <a:gd name="T48" fmla="*/ 315 w 497"/>
                <a:gd name="T49" fmla="*/ 328 h 372"/>
                <a:gd name="T50" fmla="*/ 277 w 497"/>
                <a:gd name="T51" fmla="*/ 316 h 372"/>
                <a:gd name="T52" fmla="*/ 284 w 497"/>
                <a:gd name="T53" fmla="*/ 347 h 372"/>
                <a:gd name="T54" fmla="*/ 256 w 497"/>
                <a:gd name="T55" fmla="*/ 368 h 372"/>
                <a:gd name="T56" fmla="*/ 242 w 497"/>
                <a:gd name="T57" fmla="*/ 359 h 372"/>
                <a:gd name="T58" fmla="*/ 204 w 497"/>
                <a:gd name="T59" fmla="*/ 359 h 372"/>
                <a:gd name="T60" fmla="*/ 173 w 497"/>
                <a:gd name="T61" fmla="*/ 361 h 372"/>
                <a:gd name="T62" fmla="*/ 185 w 497"/>
                <a:gd name="T63" fmla="*/ 334 h 372"/>
                <a:gd name="T64" fmla="*/ 162 w 497"/>
                <a:gd name="T65" fmla="*/ 320 h 372"/>
                <a:gd name="T66" fmla="*/ 119 w 497"/>
                <a:gd name="T67" fmla="*/ 324 h 372"/>
                <a:gd name="T68" fmla="*/ 89 w 497"/>
                <a:gd name="T69" fmla="*/ 328 h 372"/>
                <a:gd name="T70" fmla="*/ 77 w 497"/>
                <a:gd name="T71" fmla="*/ 299 h 372"/>
                <a:gd name="T72" fmla="*/ 110 w 497"/>
                <a:gd name="T73" fmla="*/ 268 h 372"/>
                <a:gd name="T74" fmla="*/ 91 w 497"/>
                <a:gd name="T75" fmla="*/ 257 h 372"/>
                <a:gd name="T76" fmla="*/ 75 w 497"/>
                <a:gd name="T77" fmla="*/ 238 h 372"/>
                <a:gd name="T78" fmla="*/ 73 w 497"/>
                <a:gd name="T79" fmla="*/ 205 h 372"/>
                <a:gd name="T80" fmla="*/ 46 w 497"/>
                <a:gd name="T81" fmla="*/ 194 h 372"/>
                <a:gd name="T82" fmla="*/ 25 w 497"/>
                <a:gd name="T83" fmla="*/ 167 h 372"/>
                <a:gd name="T84" fmla="*/ 6 w 497"/>
                <a:gd name="T85" fmla="*/ 142 h 372"/>
                <a:gd name="T86" fmla="*/ 12 w 497"/>
                <a:gd name="T87" fmla="*/ 109 h 372"/>
                <a:gd name="T88" fmla="*/ 41 w 497"/>
                <a:gd name="T89" fmla="*/ 97 h 372"/>
                <a:gd name="T90" fmla="*/ 79 w 497"/>
                <a:gd name="T91" fmla="*/ 88 h 372"/>
                <a:gd name="T92" fmla="*/ 92 w 497"/>
                <a:gd name="T93" fmla="*/ 96 h 372"/>
                <a:gd name="T94" fmla="*/ 104 w 497"/>
                <a:gd name="T95" fmla="*/ 101 h 372"/>
                <a:gd name="T96" fmla="*/ 125 w 497"/>
                <a:gd name="T97" fmla="*/ 117 h 372"/>
                <a:gd name="T98" fmla="*/ 146 w 497"/>
                <a:gd name="T99" fmla="*/ 101 h 372"/>
                <a:gd name="T100" fmla="*/ 179 w 497"/>
                <a:gd name="T101" fmla="*/ 107 h 372"/>
                <a:gd name="T102" fmla="*/ 204 w 497"/>
                <a:gd name="T103" fmla="*/ 99 h 372"/>
                <a:gd name="T104" fmla="*/ 236 w 497"/>
                <a:gd name="T105" fmla="*/ 96 h 372"/>
                <a:gd name="T106" fmla="*/ 254 w 497"/>
                <a:gd name="T107" fmla="*/ 74 h 372"/>
                <a:gd name="T108" fmla="*/ 292 w 497"/>
                <a:gd name="T109" fmla="*/ 67 h 372"/>
                <a:gd name="T110" fmla="*/ 309 w 497"/>
                <a:gd name="T111" fmla="*/ 84 h 372"/>
                <a:gd name="T112" fmla="*/ 334 w 497"/>
                <a:gd name="T113" fmla="*/ 111 h 372"/>
                <a:gd name="T114" fmla="*/ 355 w 497"/>
                <a:gd name="T115" fmla="*/ 90 h 372"/>
                <a:gd name="T116" fmla="*/ 380 w 497"/>
                <a:gd name="T117" fmla="*/ 90 h 372"/>
                <a:gd name="T118" fmla="*/ 400 w 497"/>
                <a:gd name="T119" fmla="*/ 78 h 372"/>
                <a:gd name="T120" fmla="*/ 409 w 497"/>
                <a:gd name="T121" fmla="*/ 40 h 372"/>
                <a:gd name="T122" fmla="*/ 428 w 497"/>
                <a:gd name="T123" fmla="*/ 19 h 372"/>
                <a:gd name="T124" fmla="*/ 449 w 497"/>
                <a:gd name="T125" fmla="*/ 5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 h="372">
                  <a:moveTo>
                    <a:pt x="478" y="15"/>
                  </a:moveTo>
                  <a:lnTo>
                    <a:pt x="478" y="17"/>
                  </a:lnTo>
                  <a:lnTo>
                    <a:pt x="478" y="24"/>
                  </a:lnTo>
                  <a:lnTo>
                    <a:pt x="476" y="30"/>
                  </a:lnTo>
                  <a:lnTo>
                    <a:pt x="476" y="34"/>
                  </a:lnTo>
                  <a:lnTo>
                    <a:pt x="478" y="36"/>
                  </a:lnTo>
                  <a:lnTo>
                    <a:pt x="482" y="36"/>
                  </a:lnTo>
                  <a:lnTo>
                    <a:pt x="486" y="40"/>
                  </a:lnTo>
                  <a:lnTo>
                    <a:pt x="492" y="48"/>
                  </a:lnTo>
                  <a:lnTo>
                    <a:pt x="497" y="49"/>
                  </a:lnTo>
                  <a:lnTo>
                    <a:pt x="497" y="51"/>
                  </a:lnTo>
                  <a:lnTo>
                    <a:pt x="496" y="57"/>
                  </a:lnTo>
                  <a:lnTo>
                    <a:pt x="490" y="59"/>
                  </a:lnTo>
                  <a:lnTo>
                    <a:pt x="488" y="63"/>
                  </a:lnTo>
                  <a:lnTo>
                    <a:pt x="486" y="61"/>
                  </a:lnTo>
                  <a:lnTo>
                    <a:pt x="486" y="65"/>
                  </a:lnTo>
                  <a:lnTo>
                    <a:pt x="486" y="67"/>
                  </a:lnTo>
                  <a:lnTo>
                    <a:pt x="482" y="69"/>
                  </a:lnTo>
                  <a:lnTo>
                    <a:pt x="482" y="65"/>
                  </a:lnTo>
                  <a:lnTo>
                    <a:pt x="480" y="69"/>
                  </a:lnTo>
                  <a:lnTo>
                    <a:pt x="482" y="71"/>
                  </a:lnTo>
                  <a:lnTo>
                    <a:pt x="486" y="73"/>
                  </a:lnTo>
                  <a:lnTo>
                    <a:pt x="488" y="71"/>
                  </a:lnTo>
                  <a:lnTo>
                    <a:pt x="490" y="73"/>
                  </a:lnTo>
                  <a:lnTo>
                    <a:pt x="488" y="78"/>
                  </a:lnTo>
                  <a:lnTo>
                    <a:pt x="490" y="80"/>
                  </a:lnTo>
                  <a:lnTo>
                    <a:pt x="490" y="82"/>
                  </a:lnTo>
                  <a:lnTo>
                    <a:pt x="488" y="82"/>
                  </a:lnTo>
                  <a:lnTo>
                    <a:pt x="490" y="84"/>
                  </a:lnTo>
                  <a:lnTo>
                    <a:pt x="486" y="84"/>
                  </a:lnTo>
                  <a:lnTo>
                    <a:pt x="490" y="86"/>
                  </a:lnTo>
                  <a:lnTo>
                    <a:pt x="486" y="90"/>
                  </a:lnTo>
                  <a:lnTo>
                    <a:pt x="484" y="92"/>
                  </a:lnTo>
                  <a:lnTo>
                    <a:pt x="478" y="88"/>
                  </a:lnTo>
                  <a:lnTo>
                    <a:pt x="474" y="88"/>
                  </a:lnTo>
                  <a:lnTo>
                    <a:pt x="478" y="92"/>
                  </a:lnTo>
                  <a:lnTo>
                    <a:pt x="476" y="97"/>
                  </a:lnTo>
                  <a:lnTo>
                    <a:pt x="478" y="96"/>
                  </a:lnTo>
                  <a:lnTo>
                    <a:pt x="478" y="97"/>
                  </a:lnTo>
                  <a:lnTo>
                    <a:pt x="480" y="97"/>
                  </a:lnTo>
                  <a:lnTo>
                    <a:pt x="478" y="99"/>
                  </a:lnTo>
                  <a:lnTo>
                    <a:pt x="480" y="101"/>
                  </a:lnTo>
                  <a:lnTo>
                    <a:pt x="476" y="103"/>
                  </a:lnTo>
                  <a:lnTo>
                    <a:pt x="476" y="105"/>
                  </a:lnTo>
                  <a:lnTo>
                    <a:pt x="478" y="107"/>
                  </a:lnTo>
                  <a:lnTo>
                    <a:pt x="476" y="107"/>
                  </a:lnTo>
                  <a:lnTo>
                    <a:pt x="478" y="109"/>
                  </a:lnTo>
                  <a:lnTo>
                    <a:pt x="472" y="119"/>
                  </a:lnTo>
                  <a:lnTo>
                    <a:pt x="471" y="121"/>
                  </a:lnTo>
                  <a:lnTo>
                    <a:pt x="469" y="119"/>
                  </a:lnTo>
                  <a:lnTo>
                    <a:pt x="467" y="122"/>
                  </a:lnTo>
                  <a:lnTo>
                    <a:pt x="463" y="126"/>
                  </a:lnTo>
                  <a:lnTo>
                    <a:pt x="459" y="124"/>
                  </a:lnTo>
                  <a:lnTo>
                    <a:pt x="459" y="128"/>
                  </a:lnTo>
                  <a:lnTo>
                    <a:pt x="463" y="128"/>
                  </a:lnTo>
                  <a:lnTo>
                    <a:pt x="467" y="132"/>
                  </a:lnTo>
                  <a:lnTo>
                    <a:pt x="465" y="134"/>
                  </a:lnTo>
                  <a:lnTo>
                    <a:pt x="459" y="134"/>
                  </a:lnTo>
                  <a:lnTo>
                    <a:pt x="453" y="134"/>
                  </a:lnTo>
                  <a:lnTo>
                    <a:pt x="457" y="138"/>
                  </a:lnTo>
                  <a:lnTo>
                    <a:pt x="453" y="138"/>
                  </a:lnTo>
                  <a:lnTo>
                    <a:pt x="451" y="140"/>
                  </a:lnTo>
                  <a:lnTo>
                    <a:pt x="453" y="142"/>
                  </a:lnTo>
                  <a:lnTo>
                    <a:pt x="451" y="142"/>
                  </a:lnTo>
                  <a:lnTo>
                    <a:pt x="449" y="142"/>
                  </a:lnTo>
                  <a:lnTo>
                    <a:pt x="448" y="140"/>
                  </a:lnTo>
                  <a:lnTo>
                    <a:pt x="446" y="140"/>
                  </a:lnTo>
                  <a:lnTo>
                    <a:pt x="446" y="142"/>
                  </a:lnTo>
                  <a:lnTo>
                    <a:pt x="444" y="144"/>
                  </a:lnTo>
                  <a:lnTo>
                    <a:pt x="446" y="147"/>
                  </a:lnTo>
                  <a:lnTo>
                    <a:pt x="446" y="149"/>
                  </a:lnTo>
                  <a:lnTo>
                    <a:pt x="438" y="149"/>
                  </a:lnTo>
                  <a:lnTo>
                    <a:pt x="440" y="151"/>
                  </a:lnTo>
                  <a:lnTo>
                    <a:pt x="440" y="153"/>
                  </a:lnTo>
                  <a:lnTo>
                    <a:pt x="432" y="151"/>
                  </a:lnTo>
                  <a:lnTo>
                    <a:pt x="426" y="151"/>
                  </a:lnTo>
                  <a:lnTo>
                    <a:pt x="426" y="147"/>
                  </a:lnTo>
                  <a:lnTo>
                    <a:pt x="421" y="147"/>
                  </a:lnTo>
                  <a:lnTo>
                    <a:pt x="417" y="147"/>
                  </a:lnTo>
                  <a:lnTo>
                    <a:pt x="419" y="151"/>
                  </a:lnTo>
                  <a:lnTo>
                    <a:pt x="421" y="151"/>
                  </a:lnTo>
                  <a:lnTo>
                    <a:pt x="419" y="155"/>
                  </a:lnTo>
                  <a:lnTo>
                    <a:pt x="423" y="157"/>
                  </a:lnTo>
                  <a:lnTo>
                    <a:pt x="423" y="163"/>
                  </a:lnTo>
                  <a:lnTo>
                    <a:pt x="421" y="165"/>
                  </a:lnTo>
                  <a:lnTo>
                    <a:pt x="419" y="161"/>
                  </a:lnTo>
                  <a:lnTo>
                    <a:pt x="417" y="163"/>
                  </a:lnTo>
                  <a:lnTo>
                    <a:pt x="417" y="170"/>
                  </a:lnTo>
                  <a:lnTo>
                    <a:pt x="415" y="169"/>
                  </a:lnTo>
                  <a:lnTo>
                    <a:pt x="417" y="167"/>
                  </a:lnTo>
                  <a:lnTo>
                    <a:pt x="411" y="169"/>
                  </a:lnTo>
                  <a:lnTo>
                    <a:pt x="411" y="167"/>
                  </a:lnTo>
                  <a:lnTo>
                    <a:pt x="405" y="165"/>
                  </a:lnTo>
                  <a:lnTo>
                    <a:pt x="405" y="167"/>
                  </a:lnTo>
                  <a:lnTo>
                    <a:pt x="409" y="170"/>
                  </a:lnTo>
                  <a:lnTo>
                    <a:pt x="407" y="174"/>
                  </a:lnTo>
                  <a:lnTo>
                    <a:pt x="403" y="174"/>
                  </a:lnTo>
                  <a:lnTo>
                    <a:pt x="398" y="172"/>
                  </a:lnTo>
                  <a:lnTo>
                    <a:pt x="396" y="169"/>
                  </a:lnTo>
                  <a:lnTo>
                    <a:pt x="388" y="165"/>
                  </a:lnTo>
                  <a:lnTo>
                    <a:pt x="386" y="169"/>
                  </a:lnTo>
                  <a:lnTo>
                    <a:pt x="382" y="165"/>
                  </a:lnTo>
                  <a:lnTo>
                    <a:pt x="380" y="165"/>
                  </a:lnTo>
                  <a:lnTo>
                    <a:pt x="378" y="167"/>
                  </a:lnTo>
                  <a:lnTo>
                    <a:pt x="380" y="170"/>
                  </a:lnTo>
                  <a:lnTo>
                    <a:pt x="377" y="169"/>
                  </a:lnTo>
                  <a:lnTo>
                    <a:pt x="375" y="170"/>
                  </a:lnTo>
                  <a:lnTo>
                    <a:pt x="377" y="170"/>
                  </a:lnTo>
                  <a:lnTo>
                    <a:pt x="375" y="170"/>
                  </a:lnTo>
                  <a:lnTo>
                    <a:pt x="375" y="172"/>
                  </a:lnTo>
                  <a:lnTo>
                    <a:pt x="371" y="174"/>
                  </a:lnTo>
                  <a:lnTo>
                    <a:pt x="373" y="178"/>
                  </a:lnTo>
                  <a:lnTo>
                    <a:pt x="371" y="178"/>
                  </a:lnTo>
                  <a:lnTo>
                    <a:pt x="369" y="184"/>
                  </a:lnTo>
                  <a:lnTo>
                    <a:pt x="371" y="186"/>
                  </a:lnTo>
                  <a:lnTo>
                    <a:pt x="365" y="186"/>
                  </a:lnTo>
                  <a:lnTo>
                    <a:pt x="359" y="184"/>
                  </a:lnTo>
                  <a:lnTo>
                    <a:pt x="350" y="188"/>
                  </a:lnTo>
                  <a:lnTo>
                    <a:pt x="340" y="192"/>
                  </a:lnTo>
                  <a:lnTo>
                    <a:pt x="332" y="192"/>
                  </a:lnTo>
                  <a:lnTo>
                    <a:pt x="327" y="195"/>
                  </a:lnTo>
                  <a:lnTo>
                    <a:pt x="325" y="195"/>
                  </a:lnTo>
                  <a:lnTo>
                    <a:pt x="323" y="201"/>
                  </a:lnTo>
                  <a:lnTo>
                    <a:pt x="323" y="203"/>
                  </a:lnTo>
                  <a:lnTo>
                    <a:pt x="321" y="205"/>
                  </a:lnTo>
                  <a:lnTo>
                    <a:pt x="323" y="207"/>
                  </a:lnTo>
                  <a:lnTo>
                    <a:pt x="321" y="207"/>
                  </a:lnTo>
                  <a:lnTo>
                    <a:pt x="319" y="211"/>
                  </a:lnTo>
                  <a:lnTo>
                    <a:pt x="315" y="211"/>
                  </a:lnTo>
                  <a:lnTo>
                    <a:pt x="317" y="213"/>
                  </a:lnTo>
                  <a:lnTo>
                    <a:pt x="313" y="213"/>
                  </a:lnTo>
                  <a:lnTo>
                    <a:pt x="313" y="211"/>
                  </a:lnTo>
                  <a:lnTo>
                    <a:pt x="309" y="213"/>
                  </a:lnTo>
                  <a:lnTo>
                    <a:pt x="311" y="215"/>
                  </a:lnTo>
                  <a:lnTo>
                    <a:pt x="309" y="215"/>
                  </a:lnTo>
                  <a:lnTo>
                    <a:pt x="307" y="213"/>
                  </a:lnTo>
                  <a:lnTo>
                    <a:pt x="309" y="209"/>
                  </a:lnTo>
                  <a:lnTo>
                    <a:pt x="307" y="211"/>
                  </a:lnTo>
                  <a:lnTo>
                    <a:pt x="302" y="207"/>
                  </a:lnTo>
                  <a:lnTo>
                    <a:pt x="300" y="209"/>
                  </a:lnTo>
                  <a:lnTo>
                    <a:pt x="300" y="205"/>
                  </a:lnTo>
                  <a:lnTo>
                    <a:pt x="300" y="203"/>
                  </a:lnTo>
                  <a:lnTo>
                    <a:pt x="300" y="197"/>
                  </a:lnTo>
                  <a:lnTo>
                    <a:pt x="292" y="197"/>
                  </a:lnTo>
                  <a:lnTo>
                    <a:pt x="288" y="195"/>
                  </a:lnTo>
                  <a:lnTo>
                    <a:pt x="286" y="201"/>
                  </a:lnTo>
                  <a:lnTo>
                    <a:pt x="288" y="205"/>
                  </a:lnTo>
                  <a:lnTo>
                    <a:pt x="290" y="207"/>
                  </a:lnTo>
                  <a:lnTo>
                    <a:pt x="282" y="209"/>
                  </a:lnTo>
                  <a:lnTo>
                    <a:pt x="279" y="211"/>
                  </a:lnTo>
                  <a:lnTo>
                    <a:pt x="271" y="209"/>
                  </a:lnTo>
                  <a:lnTo>
                    <a:pt x="269" y="211"/>
                  </a:lnTo>
                  <a:lnTo>
                    <a:pt x="269" y="213"/>
                  </a:lnTo>
                  <a:lnTo>
                    <a:pt x="271" y="213"/>
                  </a:lnTo>
                  <a:lnTo>
                    <a:pt x="271" y="217"/>
                  </a:lnTo>
                  <a:lnTo>
                    <a:pt x="273" y="217"/>
                  </a:lnTo>
                  <a:lnTo>
                    <a:pt x="269" y="218"/>
                  </a:lnTo>
                  <a:lnTo>
                    <a:pt x="271" y="222"/>
                  </a:lnTo>
                  <a:lnTo>
                    <a:pt x="265" y="226"/>
                  </a:lnTo>
                  <a:lnTo>
                    <a:pt x="263" y="232"/>
                  </a:lnTo>
                  <a:lnTo>
                    <a:pt x="265" y="234"/>
                  </a:lnTo>
                  <a:lnTo>
                    <a:pt x="265" y="236"/>
                  </a:lnTo>
                  <a:lnTo>
                    <a:pt x="269" y="236"/>
                  </a:lnTo>
                  <a:lnTo>
                    <a:pt x="271" y="238"/>
                  </a:lnTo>
                  <a:lnTo>
                    <a:pt x="271" y="242"/>
                  </a:lnTo>
                  <a:lnTo>
                    <a:pt x="275" y="245"/>
                  </a:lnTo>
                  <a:lnTo>
                    <a:pt x="284" y="243"/>
                  </a:lnTo>
                  <a:lnTo>
                    <a:pt x="288" y="243"/>
                  </a:lnTo>
                  <a:lnTo>
                    <a:pt x="288" y="247"/>
                  </a:lnTo>
                  <a:lnTo>
                    <a:pt x="298" y="251"/>
                  </a:lnTo>
                  <a:lnTo>
                    <a:pt x="300" y="255"/>
                  </a:lnTo>
                  <a:lnTo>
                    <a:pt x="302" y="259"/>
                  </a:lnTo>
                  <a:lnTo>
                    <a:pt x="304" y="257"/>
                  </a:lnTo>
                  <a:lnTo>
                    <a:pt x="306" y="261"/>
                  </a:lnTo>
                  <a:lnTo>
                    <a:pt x="315" y="259"/>
                  </a:lnTo>
                  <a:lnTo>
                    <a:pt x="319" y="261"/>
                  </a:lnTo>
                  <a:lnTo>
                    <a:pt x="323" y="261"/>
                  </a:lnTo>
                  <a:lnTo>
                    <a:pt x="325" y="263"/>
                  </a:lnTo>
                  <a:lnTo>
                    <a:pt x="329" y="261"/>
                  </a:lnTo>
                  <a:lnTo>
                    <a:pt x="334" y="261"/>
                  </a:lnTo>
                  <a:lnTo>
                    <a:pt x="338" y="263"/>
                  </a:lnTo>
                  <a:lnTo>
                    <a:pt x="340" y="261"/>
                  </a:lnTo>
                  <a:lnTo>
                    <a:pt x="338" y="268"/>
                  </a:lnTo>
                  <a:lnTo>
                    <a:pt x="332" y="265"/>
                  </a:lnTo>
                  <a:lnTo>
                    <a:pt x="329" y="268"/>
                  </a:lnTo>
                  <a:lnTo>
                    <a:pt x="332" y="270"/>
                  </a:lnTo>
                  <a:lnTo>
                    <a:pt x="329" y="274"/>
                  </a:lnTo>
                  <a:lnTo>
                    <a:pt x="327" y="278"/>
                  </a:lnTo>
                  <a:lnTo>
                    <a:pt x="329" y="282"/>
                  </a:lnTo>
                  <a:lnTo>
                    <a:pt x="332" y="286"/>
                  </a:lnTo>
                  <a:lnTo>
                    <a:pt x="336" y="293"/>
                  </a:lnTo>
                  <a:lnTo>
                    <a:pt x="340" y="293"/>
                  </a:lnTo>
                  <a:lnTo>
                    <a:pt x="342" y="291"/>
                  </a:lnTo>
                  <a:lnTo>
                    <a:pt x="350" y="295"/>
                  </a:lnTo>
                  <a:lnTo>
                    <a:pt x="350" y="297"/>
                  </a:lnTo>
                  <a:lnTo>
                    <a:pt x="350" y="303"/>
                  </a:lnTo>
                  <a:lnTo>
                    <a:pt x="352" y="305"/>
                  </a:lnTo>
                  <a:lnTo>
                    <a:pt x="357" y="305"/>
                  </a:lnTo>
                  <a:lnTo>
                    <a:pt x="363" y="305"/>
                  </a:lnTo>
                  <a:lnTo>
                    <a:pt x="365" y="307"/>
                  </a:lnTo>
                  <a:lnTo>
                    <a:pt x="369" y="313"/>
                  </a:lnTo>
                  <a:lnTo>
                    <a:pt x="361" y="318"/>
                  </a:lnTo>
                  <a:lnTo>
                    <a:pt x="363" y="322"/>
                  </a:lnTo>
                  <a:lnTo>
                    <a:pt x="369" y="324"/>
                  </a:lnTo>
                  <a:lnTo>
                    <a:pt x="371" y="326"/>
                  </a:lnTo>
                  <a:lnTo>
                    <a:pt x="369" y="334"/>
                  </a:lnTo>
                  <a:lnTo>
                    <a:pt x="377" y="336"/>
                  </a:lnTo>
                  <a:lnTo>
                    <a:pt x="375" y="340"/>
                  </a:lnTo>
                  <a:lnTo>
                    <a:pt x="367" y="341"/>
                  </a:lnTo>
                  <a:lnTo>
                    <a:pt x="367" y="345"/>
                  </a:lnTo>
                  <a:lnTo>
                    <a:pt x="367" y="347"/>
                  </a:lnTo>
                  <a:lnTo>
                    <a:pt x="361" y="343"/>
                  </a:lnTo>
                  <a:lnTo>
                    <a:pt x="357" y="345"/>
                  </a:lnTo>
                  <a:lnTo>
                    <a:pt x="350" y="343"/>
                  </a:lnTo>
                  <a:lnTo>
                    <a:pt x="350" y="340"/>
                  </a:lnTo>
                  <a:lnTo>
                    <a:pt x="344" y="338"/>
                  </a:lnTo>
                  <a:lnTo>
                    <a:pt x="344" y="336"/>
                  </a:lnTo>
                  <a:lnTo>
                    <a:pt x="338" y="336"/>
                  </a:lnTo>
                  <a:lnTo>
                    <a:pt x="338" y="334"/>
                  </a:lnTo>
                  <a:lnTo>
                    <a:pt x="334" y="330"/>
                  </a:lnTo>
                  <a:lnTo>
                    <a:pt x="329" y="334"/>
                  </a:lnTo>
                  <a:lnTo>
                    <a:pt x="329" y="336"/>
                  </a:lnTo>
                  <a:lnTo>
                    <a:pt x="327" y="336"/>
                  </a:lnTo>
                  <a:lnTo>
                    <a:pt x="321" y="332"/>
                  </a:lnTo>
                  <a:lnTo>
                    <a:pt x="315" y="328"/>
                  </a:lnTo>
                  <a:lnTo>
                    <a:pt x="311" y="320"/>
                  </a:lnTo>
                  <a:lnTo>
                    <a:pt x="306" y="318"/>
                  </a:lnTo>
                  <a:lnTo>
                    <a:pt x="300" y="316"/>
                  </a:lnTo>
                  <a:lnTo>
                    <a:pt x="292" y="316"/>
                  </a:lnTo>
                  <a:lnTo>
                    <a:pt x="290" y="311"/>
                  </a:lnTo>
                  <a:lnTo>
                    <a:pt x="286" y="307"/>
                  </a:lnTo>
                  <a:lnTo>
                    <a:pt x="284" y="311"/>
                  </a:lnTo>
                  <a:lnTo>
                    <a:pt x="277" y="315"/>
                  </a:lnTo>
                  <a:lnTo>
                    <a:pt x="277" y="316"/>
                  </a:lnTo>
                  <a:lnTo>
                    <a:pt x="277" y="320"/>
                  </a:lnTo>
                  <a:lnTo>
                    <a:pt x="282" y="322"/>
                  </a:lnTo>
                  <a:lnTo>
                    <a:pt x="284" y="328"/>
                  </a:lnTo>
                  <a:lnTo>
                    <a:pt x="281" y="332"/>
                  </a:lnTo>
                  <a:lnTo>
                    <a:pt x="282" y="332"/>
                  </a:lnTo>
                  <a:lnTo>
                    <a:pt x="282" y="334"/>
                  </a:lnTo>
                  <a:lnTo>
                    <a:pt x="282" y="336"/>
                  </a:lnTo>
                  <a:lnTo>
                    <a:pt x="279" y="341"/>
                  </a:lnTo>
                  <a:lnTo>
                    <a:pt x="284" y="347"/>
                  </a:lnTo>
                  <a:lnTo>
                    <a:pt x="281" y="353"/>
                  </a:lnTo>
                  <a:lnTo>
                    <a:pt x="281" y="357"/>
                  </a:lnTo>
                  <a:lnTo>
                    <a:pt x="279" y="359"/>
                  </a:lnTo>
                  <a:lnTo>
                    <a:pt x="275" y="366"/>
                  </a:lnTo>
                  <a:lnTo>
                    <a:pt x="271" y="368"/>
                  </a:lnTo>
                  <a:lnTo>
                    <a:pt x="269" y="372"/>
                  </a:lnTo>
                  <a:lnTo>
                    <a:pt x="269" y="370"/>
                  </a:lnTo>
                  <a:lnTo>
                    <a:pt x="261" y="372"/>
                  </a:lnTo>
                  <a:lnTo>
                    <a:pt x="256" y="368"/>
                  </a:lnTo>
                  <a:lnTo>
                    <a:pt x="254" y="368"/>
                  </a:lnTo>
                  <a:lnTo>
                    <a:pt x="258" y="364"/>
                  </a:lnTo>
                  <a:lnTo>
                    <a:pt x="256" y="363"/>
                  </a:lnTo>
                  <a:lnTo>
                    <a:pt x="258" y="361"/>
                  </a:lnTo>
                  <a:lnTo>
                    <a:pt x="263" y="361"/>
                  </a:lnTo>
                  <a:lnTo>
                    <a:pt x="259" y="357"/>
                  </a:lnTo>
                  <a:lnTo>
                    <a:pt x="254" y="361"/>
                  </a:lnTo>
                  <a:lnTo>
                    <a:pt x="246" y="363"/>
                  </a:lnTo>
                  <a:lnTo>
                    <a:pt x="242" y="359"/>
                  </a:lnTo>
                  <a:lnTo>
                    <a:pt x="238" y="361"/>
                  </a:lnTo>
                  <a:lnTo>
                    <a:pt x="233" y="359"/>
                  </a:lnTo>
                  <a:lnTo>
                    <a:pt x="229" y="357"/>
                  </a:lnTo>
                  <a:lnTo>
                    <a:pt x="221" y="353"/>
                  </a:lnTo>
                  <a:lnTo>
                    <a:pt x="215" y="351"/>
                  </a:lnTo>
                  <a:lnTo>
                    <a:pt x="213" y="351"/>
                  </a:lnTo>
                  <a:lnTo>
                    <a:pt x="213" y="355"/>
                  </a:lnTo>
                  <a:lnTo>
                    <a:pt x="208" y="355"/>
                  </a:lnTo>
                  <a:lnTo>
                    <a:pt x="204" y="359"/>
                  </a:lnTo>
                  <a:lnTo>
                    <a:pt x="198" y="368"/>
                  </a:lnTo>
                  <a:lnTo>
                    <a:pt x="196" y="363"/>
                  </a:lnTo>
                  <a:lnTo>
                    <a:pt x="192" y="361"/>
                  </a:lnTo>
                  <a:lnTo>
                    <a:pt x="192" y="363"/>
                  </a:lnTo>
                  <a:lnTo>
                    <a:pt x="190" y="361"/>
                  </a:lnTo>
                  <a:lnTo>
                    <a:pt x="187" y="361"/>
                  </a:lnTo>
                  <a:lnTo>
                    <a:pt x="185" y="357"/>
                  </a:lnTo>
                  <a:lnTo>
                    <a:pt x="179" y="357"/>
                  </a:lnTo>
                  <a:lnTo>
                    <a:pt x="173" y="361"/>
                  </a:lnTo>
                  <a:lnTo>
                    <a:pt x="171" y="359"/>
                  </a:lnTo>
                  <a:lnTo>
                    <a:pt x="177" y="355"/>
                  </a:lnTo>
                  <a:lnTo>
                    <a:pt x="177" y="351"/>
                  </a:lnTo>
                  <a:lnTo>
                    <a:pt x="179" y="349"/>
                  </a:lnTo>
                  <a:lnTo>
                    <a:pt x="183" y="341"/>
                  </a:lnTo>
                  <a:lnTo>
                    <a:pt x="181" y="340"/>
                  </a:lnTo>
                  <a:lnTo>
                    <a:pt x="187" y="338"/>
                  </a:lnTo>
                  <a:lnTo>
                    <a:pt x="187" y="334"/>
                  </a:lnTo>
                  <a:lnTo>
                    <a:pt x="185" y="334"/>
                  </a:lnTo>
                  <a:lnTo>
                    <a:pt x="185" y="332"/>
                  </a:lnTo>
                  <a:lnTo>
                    <a:pt x="183" y="330"/>
                  </a:lnTo>
                  <a:lnTo>
                    <a:pt x="183" y="326"/>
                  </a:lnTo>
                  <a:lnTo>
                    <a:pt x="181" y="320"/>
                  </a:lnTo>
                  <a:lnTo>
                    <a:pt x="183" y="316"/>
                  </a:lnTo>
                  <a:lnTo>
                    <a:pt x="179" y="316"/>
                  </a:lnTo>
                  <a:lnTo>
                    <a:pt x="171" y="318"/>
                  </a:lnTo>
                  <a:lnTo>
                    <a:pt x="162" y="322"/>
                  </a:lnTo>
                  <a:lnTo>
                    <a:pt x="162" y="320"/>
                  </a:lnTo>
                  <a:lnTo>
                    <a:pt x="158" y="322"/>
                  </a:lnTo>
                  <a:lnTo>
                    <a:pt x="154" y="320"/>
                  </a:lnTo>
                  <a:lnTo>
                    <a:pt x="148" y="320"/>
                  </a:lnTo>
                  <a:lnTo>
                    <a:pt x="148" y="322"/>
                  </a:lnTo>
                  <a:lnTo>
                    <a:pt x="139" y="322"/>
                  </a:lnTo>
                  <a:lnTo>
                    <a:pt x="135" y="322"/>
                  </a:lnTo>
                  <a:lnTo>
                    <a:pt x="125" y="322"/>
                  </a:lnTo>
                  <a:lnTo>
                    <a:pt x="123" y="322"/>
                  </a:lnTo>
                  <a:lnTo>
                    <a:pt x="119" y="324"/>
                  </a:lnTo>
                  <a:lnTo>
                    <a:pt x="119" y="326"/>
                  </a:lnTo>
                  <a:lnTo>
                    <a:pt x="116" y="328"/>
                  </a:lnTo>
                  <a:lnTo>
                    <a:pt x="114" y="330"/>
                  </a:lnTo>
                  <a:lnTo>
                    <a:pt x="112" y="330"/>
                  </a:lnTo>
                  <a:lnTo>
                    <a:pt x="106" y="332"/>
                  </a:lnTo>
                  <a:lnTo>
                    <a:pt x="104" y="330"/>
                  </a:lnTo>
                  <a:lnTo>
                    <a:pt x="98" y="332"/>
                  </a:lnTo>
                  <a:lnTo>
                    <a:pt x="94" y="328"/>
                  </a:lnTo>
                  <a:lnTo>
                    <a:pt x="89" y="328"/>
                  </a:lnTo>
                  <a:lnTo>
                    <a:pt x="85" y="324"/>
                  </a:lnTo>
                  <a:lnTo>
                    <a:pt x="83" y="322"/>
                  </a:lnTo>
                  <a:lnTo>
                    <a:pt x="83" y="316"/>
                  </a:lnTo>
                  <a:lnTo>
                    <a:pt x="79" y="316"/>
                  </a:lnTo>
                  <a:lnTo>
                    <a:pt x="75" y="313"/>
                  </a:lnTo>
                  <a:lnTo>
                    <a:pt x="68" y="311"/>
                  </a:lnTo>
                  <a:lnTo>
                    <a:pt x="69" y="307"/>
                  </a:lnTo>
                  <a:lnTo>
                    <a:pt x="75" y="301"/>
                  </a:lnTo>
                  <a:lnTo>
                    <a:pt x="77" y="299"/>
                  </a:lnTo>
                  <a:lnTo>
                    <a:pt x="83" y="299"/>
                  </a:lnTo>
                  <a:lnTo>
                    <a:pt x="92" y="295"/>
                  </a:lnTo>
                  <a:lnTo>
                    <a:pt x="92" y="288"/>
                  </a:lnTo>
                  <a:lnTo>
                    <a:pt x="100" y="284"/>
                  </a:lnTo>
                  <a:lnTo>
                    <a:pt x="104" y="280"/>
                  </a:lnTo>
                  <a:lnTo>
                    <a:pt x="104" y="274"/>
                  </a:lnTo>
                  <a:lnTo>
                    <a:pt x="108" y="274"/>
                  </a:lnTo>
                  <a:lnTo>
                    <a:pt x="108" y="270"/>
                  </a:lnTo>
                  <a:lnTo>
                    <a:pt x="110" y="268"/>
                  </a:lnTo>
                  <a:lnTo>
                    <a:pt x="112" y="267"/>
                  </a:lnTo>
                  <a:lnTo>
                    <a:pt x="106" y="263"/>
                  </a:lnTo>
                  <a:lnTo>
                    <a:pt x="98" y="265"/>
                  </a:lnTo>
                  <a:lnTo>
                    <a:pt x="98" y="261"/>
                  </a:lnTo>
                  <a:lnTo>
                    <a:pt x="96" y="263"/>
                  </a:lnTo>
                  <a:lnTo>
                    <a:pt x="91" y="263"/>
                  </a:lnTo>
                  <a:lnTo>
                    <a:pt x="92" y="263"/>
                  </a:lnTo>
                  <a:lnTo>
                    <a:pt x="91" y="259"/>
                  </a:lnTo>
                  <a:lnTo>
                    <a:pt x="91" y="257"/>
                  </a:lnTo>
                  <a:lnTo>
                    <a:pt x="89" y="257"/>
                  </a:lnTo>
                  <a:lnTo>
                    <a:pt x="87" y="263"/>
                  </a:lnTo>
                  <a:lnTo>
                    <a:pt x="83" y="263"/>
                  </a:lnTo>
                  <a:lnTo>
                    <a:pt x="83" y="259"/>
                  </a:lnTo>
                  <a:lnTo>
                    <a:pt x="83" y="251"/>
                  </a:lnTo>
                  <a:lnTo>
                    <a:pt x="79" y="249"/>
                  </a:lnTo>
                  <a:lnTo>
                    <a:pt x="73" y="245"/>
                  </a:lnTo>
                  <a:lnTo>
                    <a:pt x="73" y="243"/>
                  </a:lnTo>
                  <a:lnTo>
                    <a:pt x="75" y="238"/>
                  </a:lnTo>
                  <a:lnTo>
                    <a:pt x="75" y="234"/>
                  </a:lnTo>
                  <a:lnTo>
                    <a:pt x="77" y="226"/>
                  </a:lnTo>
                  <a:lnTo>
                    <a:pt x="77" y="224"/>
                  </a:lnTo>
                  <a:lnTo>
                    <a:pt x="73" y="218"/>
                  </a:lnTo>
                  <a:lnTo>
                    <a:pt x="71" y="222"/>
                  </a:lnTo>
                  <a:lnTo>
                    <a:pt x="66" y="218"/>
                  </a:lnTo>
                  <a:lnTo>
                    <a:pt x="68" y="215"/>
                  </a:lnTo>
                  <a:lnTo>
                    <a:pt x="68" y="211"/>
                  </a:lnTo>
                  <a:lnTo>
                    <a:pt x="73" y="205"/>
                  </a:lnTo>
                  <a:lnTo>
                    <a:pt x="71" y="203"/>
                  </a:lnTo>
                  <a:lnTo>
                    <a:pt x="73" y="201"/>
                  </a:lnTo>
                  <a:lnTo>
                    <a:pt x="73" y="194"/>
                  </a:lnTo>
                  <a:lnTo>
                    <a:pt x="71" y="192"/>
                  </a:lnTo>
                  <a:lnTo>
                    <a:pt x="64" y="192"/>
                  </a:lnTo>
                  <a:lnTo>
                    <a:pt x="64" y="197"/>
                  </a:lnTo>
                  <a:lnTo>
                    <a:pt x="58" y="197"/>
                  </a:lnTo>
                  <a:lnTo>
                    <a:pt x="52" y="195"/>
                  </a:lnTo>
                  <a:lnTo>
                    <a:pt x="46" y="194"/>
                  </a:lnTo>
                  <a:lnTo>
                    <a:pt x="44" y="190"/>
                  </a:lnTo>
                  <a:lnTo>
                    <a:pt x="41" y="186"/>
                  </a:lnTo>
                  <a:lnTo>
                    <a:pt x="44" y="182"/>
                  </a:lnTo>
                  <a:lnTo>
                    <a:pt x="43" y="178"/>
                  </a:lnTo>
                  <a:lnTo>
                    <a:pt x="39" y="172"/>
                  </a:lnTo>
                  <a:lnTo>
                    <a:pt x="39" y="170"/>
                  </a:lnTo>
                  <a:lnTo>
                    <a:pt x="35" y="170"/>
                  </a:lnTo>
                  <a:lnTo>
                    <a:pt x="35" y="169"/>
                  </a:lnTo>
                  <a:lnTo>
                    <a:pt x="25" y="167"/>
                  </a:lnTo>
                  <a:lnTo>
                    <a:pt x="27" y="163"/>
                  </a:lnTo>
                  <a:lnTo>
                    <a:pt x="23" y="163"/>
                  </a:lnTo>
                  <a:lnTo>
                    <a:pt x="23" y="159"/>
                  </a:lnTo>
                  <a:lnTo>
                    <a:pt x="20" y="153"/>
                  </a:lnTo>
                  <a:lnTo>
                    <a:pt x="20" y="149"/>
                  </a:lnTo>
                  <a:lnTo>
                    <a:pt x="14" y="147"/>
                  </a:lnTo>
                  <a:lnTo>
                    <a:pt x="12" y="142"/>
                  </a:lnTo>
                  <a:lnTo>
                    <a:pt x="8" y="142"/>
                  </a:lnTo>
                  <a:lnTo>
                    <a:pt x="6" y="142"/>
                  </a:lnTo>
                  <a:lnTo>
                    <a:pt x="0" y="140"/>
                  </a:lnTo>
                  <a:lnTo>
                    <a:pt x="2" y="138"/>
                  </a:lnTo>
                  <a:lnTo>
                    <a:pt x="6" y="130"/>
                  </a:lnTo>
                  <a:lnTo>
                    <a:pt x="6" y="126"/>
                  </a:lnTo>
                  <a:lnTo>
                    <a:pt x="10" y="122"/>
                  </a:lnTo>
                  <a:lnTo>
                    <a:pt x="6" y="119"/>
                  </a:lnTo>
                  <a:lnTo>
                    <a:pt x="8" y="117"/>
                  </a:lnTo>
                  <a:lnTo>
                    <a:pt x="14" y="113"/>
                  </a:lnTo>
                  <a:lnTo>
                    <a:pt x="12" y="109"/>
                  </a:lnTo>
                  <a:lnTo>
                    <a:pt x="10" y="107"/>
                  </a:lnTo>
                  <a:lnTo>
                    <a:pt x="8" y="103"/>
                  </a:lnTo>
                  <a:lnTo>
                    <a:pt x="8" y="97"/>
                  </a:lnTo>
                  <a:lnTo>
                    <a:pt x="10" y="96"/>
                  </a:lnTo>
                  <a:lnTo>
                    <a:pt x="16" y="96"/>
                  </a:lnTo>
                  <a:lnTo>
                    <a:pt x="21" y="94"/>
                  </a:lnTo>
                  <a:lnTo>
                    <a:pt x="25" y="94"/>
                  </a:lnTo>
                  <a:lnTo>
                    <a:pt x="31" y="96"/>
                  </a:lnTo>
                  <a:lnTo>
                    <a:pt x="41" y="97"/>
                  </a:lnTo>
                  <a:lnTo>
                    <a:pt x="46" y="97"/>
                  </a:lnTo>
                  <a:lnTo>
                    <a:pt x="54" y="94"/>
                  </a:lnTo>
                  <a:lnTo>
                    <a:pt x="56" y="94"/>
                  </a:lnTo>
                  <a:lnTo>
                    <a:pt x="66" y="92"/>
                  </a:lnTo>
                  <a:lnTo>
                    <a:pt x="69" y="92"/>
                  </a:lnTo>
                  <a:lnTo>
                    <a:pt x="73" y="84"/>
                  </a:lnTo>
                  <a:lnTo>
                    <a:pt x="75" y="82"/>
                  </a:lnTo>
                  <a:lnTo>
                    <a:pt x="79" y="84"/>
                  </a:lnTo>
                  <a:lnTo>
                    <a:pt x="79" y="88"/>
                  </a:lnTo>
                  <a:lnTo>
                    <a:pt x="81" y="90"/>
                  </a:lnTo>
                  <a:lnTo>
                    <a:pt x="83" y="97"/>
                  </a:lnTo>
                  <a:lnTo>
                    <a:pt x="85" y="99"/>
                  </a:lnTo>
                  <a:lnTo>
                    <a:pt x="87" y="99"/>
                  </a:lnTo>
                  <a:lnTo>
                    <a:pt x="89" y="94"/>
                  </a:lnTo>
                  <a:lnTo>
                    <a:pt x="91" y="94"/>
                  </a:lnTo>
                  <a:lnTo>
                    <a:pt x="91" y="96"/>
                  </a:lnTo>
                  <a:lnTo>
                    <a:pt x="91" y="97"/>
                  </a:lnTo>
                  <a:lnTo>
                    <a:pt x="92" y="96"/>
                  </a:lnTo>
                  <a:lnTo>
                    <a:pt x="92" y="94"/>
                  </a:lnTo>
                  <a:lnTo>
                    <a:pt x="94" y="92"/>
                  </a:lnTo>
                  <a:lnTo>
                    <a:pt x="96" y="94"/>
                  </a:lnTo>
                  <a:lnTo>
                    <a:pt x="98" y="92"/>
                  </a:lnTo>
                  <a:lnTo>
                    <a:pt x="100" y="94"/>
                  </a:lnTo>
                  <a:lnTo>
                    <a:pt x="102" y="92"/>
                  </a:lnTo>
                  <a:lnTo>
                    <a:pt x="106" y="92"/>
                  </a:lnTo>
                  <a:lnTo>
                    <a:pt x="108" y="99"/>
                  </a:lnTo>
                  <a:lnTo>
                    <a:pt x="104" y="101"/>
                  </a:lnTo>
                  <a:lnTo>
                    <a:pt x="104" y="103"/>
                  </a:lnTo>
                  <a:lnTo>
                    <a:pt x="108" y="103"/>
                  </a:lnTo>
                  <a:lnTo>
                    <a:pt x="108" y="105"/>
                  </a:lnTo>
                  <a:lnTo>
                    <a:pt x="110" y="109"/>
                  </a:lnTo>
                  <a:lnTo>
                    <a:pt x="119" y="113"/>
                  </a:lnTo>
                  <a:lnTo>
                    <a:pt x="117" y="115"/>
                  </a:lnTo>
                  <a:lnTo>
                    <a:pt x="121" y="115"/>
                  </a:lnTo>
                  <a:lnTo>
                    <a:pt x="123" y="117"/>
                  </a:lnTo>
                  <a:lnTo>
                    <a:pt x="125" y="117"/>
                  </a:lnTo>
                  <a:lnTo>
                    <a:pt x="125" y="122"/>
                  </a:lnTo>
                  <a:lnTo>
                    <a:pt x="127" y="121"/>
                  </a:lnTo>
                  <a:lnTo>
                    <a:pt x="127" y="117"/>
                  </a:lnTo>
                  <a:lnTo>
                    <a:pt x="129" y="115"/>
                  </a:lnTo>
                  <a:lnTo>
                    <a:pt x="129" y="111"/>
                  </a:lnTo>
                  <a:lnTo>
                    <a:pt x="131" y="111"/>
                  </a:lnTo>
                  <a:lnTo>
                    <a:pt x="135" y="107"/>
                  </a:lnTo>
                  <a:lnTo>
                    <a:pt x="144" y="109"/>
                  </a:lnTo>
                  <a:lnTo>
                    <a:pt x="146" y="101"/>
                  </a:lnTo>
                  <a:lnTo>
                    <a:pt x="150" y="101"/>
                  </a:lnTo>
                  <a:lnTo>
                    <a:pt x="158" y="96"/>
                  </a:lnTo>
                  <a:lnTo>
                    <a:pt x="162" y="96"/>
                  </a:lnTo>
                  <a:lnTo>
                    <a:pt x="163" y="96"/>
                  </a:lnTo>
                  <a:lnTo>
                    <a:pt x="162" y="101"/>
                  </a:lnTo>
                  <a:lnTo>
                    <a:pt x="167" y="101"/>
                  </a:lnTo>
                  <a:lnTo>
                    <a:pt x="169" y="111"/>
                  </a:lnTo>
                  <a:lnTo>
                    <a:pt x="175" y="111"/>
                  </a:lnTo>
                  <a:lnTo>
                    <a:pt x="179" y="107"/>
                  </a:lnTo>
                  <a:lnTo>
                    <a:pt x="183" y="105"/>
                  </a:lnTo>
                  <a:lnTo>
                    <a:pt x="187" y="105"/>
                  </a:lnTo>
                  <a:lnTo>
                    <a:pt x="188" y="103"/>
                  </a:lnTo>
                  <a:lnTo>
                    <a:pt x="187" y="109"/>
                  </a:lnTo>
                  <a:lnTo>
                    <a:pt x="188" y="111"/>
                  </a:lnTo>
                  <a:lnTo>
                    <a:pt x="192" y="107"/>
                  </a:lnTo>
                  <a:lnTo>
                    <a:pt x="198" y="105"/>
                  </a:lnTo>
                  <a:lnTo>
                    <a:pt x="196" y="101"/>
                  </a:lnTo>
                  <a:lnTo>
                    <a:pt x="204" y="99"/>
                  </a:lnTo>
                  <a:lnTo>
                    <a:pt x="208" y="97"/>
                  </a:lnTo>
                  <a:lnTo>
                    <a:pt x="210" y="97"/>
                  </a:lnTo>
                  <a:lnTo>
                    <a:pt x="210" y="94"/>
                  </a:lnTo>
                  <a:lnTo>
                    <a:pt x="213" y="94"/>
                  </a:lnTo>
                  <a:lnTo>
                    <a:pt x="221" y="94"/>
                  </a:lnTo>
                  <a:lnTo>
                    <a:pt x="223" y="92"/>
                  </a:lnTo>
                  <a:lnTo>
                    <a:pt x="227" y="94"/>
                  </a:lnTo>
                  <a:lnTo>
                    <a:pt x="233" y="92"/>
                  </a:lnTo>
                  <a:lnTo>
                    <a:pt x="236" y="96"/>
                  </a:lnTo>
                  <a:lnTo>
                    <a:pt x="236" y="94"/>
                  </a:lnTo>
                  <a:lnTo>
                    <a:pt x="236" y="90"/>
                  </a:lnTo>
                  <a:lnTo>
                    <a:pt x="240" y="90"/>
                  </a:lnTo>
                  <a:lnTo>
                    <a:pt x="240" y="86"/>
                  </a:lnTo>
                  <a:lnTo>
                    <a:pt x="242" y="86"/>
                  </a:lnTo>
                  <a:lnTo>
                    <a:pt x="250" y="88"/>
                  </a:lnTo>
                  <a:lnTo>
                    <a:pt x="252" y="84"/>
                  </a:lnTo>
                  <a:lnTo>
                    <a:pt x="250" y="78"/>
                  </a:lnTo>
                  <a:lnTo>
                    <a:pt x="254" y="74"/>
                  </a:lnTo>
                  <a:lnTo>
                    <a:pt x="256" y="67"/>
                  </a:lnTo>
                  <a:lnTo>
                    <a:pt x="259" y="63"/>
                  </a:lnTo>
                  <a:lnTo>
                    <a:pt x="263" y="65"/>
                  </a:lnTo>
                  <a:lnTo>
                    <a:pt x="271" y="63"/>
                  </a:lnTo>
                  <a:lnTo>
                    <a:pt x="275" y="65"/>
                  </a:lnTo>
                  <a:lnTo>
                    <a:pt x="277" y="71"/>
                  </a:lnTo>
                  <a:lnTo>
                    <a:pt x="282" y="73"/>
                  </a:lnTo>
                  <a:lnTo>
                    <a:pt x="284" y="71"/>
                  </a:lnTo>
                  <a:lnTo>
                    <a:pt x="292" y="67"/>
                  </a:lnTo>
                  <a:lnTo>
                    <a:pt x="292" y="69"/>
                  </a:lnTo>
                  <a:lnTo>
                    <a:pt x="290" y="71"/>
                  </a:lnTo>
                  <a:lnTo>
                    <a:pt x="296" y="71"/>
                  </a:lnTo>
                  <a:lnTo>
                    <a:pt x="302" y="76"/>
                  </a:lnTo>
                  <a:lnTo>
                    <a:pt x="300" y="82"/>
                  </a:lnTo>
                  <a:lnTo>
                    <a:pt x="300" y="86"/>
                  </a:lnTo>
                  <a:lnTo>
                    <a:pt x="304" y="88"/>
                  </a:lnTo>
                  <a:lnTo>
                    <a:pt x="309" y="88"/>
                  </a:lnTo>
                  <a:lnTo>
                    <a:pt x="309" y="84"/>
                  </a:lnTo>
                  <a:lnTo>
                    <a:pt x="315" y="88"/>
                  </a:lnTo>
                  <a:lnTo>
                    <a:pt x="321" y="88"/>
                  </a:lnTo>
                  <a:lnTo>
                    <a:pt x="317" y="94"/>
                  </a:lnTo>
                  <a:lnTo>
                    <a:pt x="319" y="96"/>
                  </a:lnTo>
                  <a:lnTo>
                    <a:pt x="315" y="101"/>
                  </a:lnTo>
                  <a:lnTo>
                    <a:pt x="321" y="103"/>
                  </a:lnTo>
                  <a:lnTo>
                    <a:pt x="323" y="103"/>
                  </a:lnTo>
                  <a:lnTo>
                    <a:pt x="329" y="111"/>
                  </a:lnTo>
                  <a:lnTo>
                    <a:pt x="334" y="111"/>
                  </a:lnTo>
                  <a:lnTo>
                    <a:pt x="336" y="109"/>
                  </a:lnTo>
                  <a:lnTo>
                    <a:pt x="336" y="105"/>
                  </a:lnTo>
                  <a:lnTo>
                    <a:pt x="338" y="105"/>
                  </a:lnTo>
                  <a:lnTo>
                    <a:pt x="338" y="101"/>
                  </a:lnTo>
                  <a:lnTo>
                    <a:pt x="340" y="96"/>
                  </a:lnTo>
                  <a:lnTo>
                    <a:pt x="344" y="94"/>
                  </a:lnTo>
                  <a:lnTo>
                    <a:pt x="346" y="90"/>
                  </a:lnTo>
                  <a:lnTo>
                    <a:pt x="352" y="86"/>
                  </a:lnTo>
                  <a:lnTo>
                    <a:pt x="355" y="90"/>
                  </a:lnTo>
                  <a:lnTo>
                    <a:pt x="357" y="90"/>
                  </a:lnTo>
                  <a:lnTo>
                    <a:pt x="365" y="88"/>
                  </a:lnTo>
                  <a:lnTo>
                    <a:pt x="367" y="84"/>
                  </a:lnTo>
                  <a:lnTo>
                    <a:pt x="369" y="84"/>
                  </a:lnTo>
                  <a:lnTo>
                    <a:pt x="373" y="86"/>
                  </a:lnTo>
                  <a:lnTo>
                    <a:pt x="371" y="90"/>
                  </a:lnTo>
                  <a:lnTo>
                    <a:pt x="377" y="90"/>
                  </a:lnTo>
                  <a:lnTo>
                    <a:pt x="377" y="92"/>
                  </a:lnTo>
                  <a:lnTo>
                    <a:pt x="380" y="90"/>
                  </a:lnTo>
                  <a:lnTo>
                    <a:pt x="384" y="94"/>
                  </a:lnTo>
                  <a:lnTo>
                    <a:pt x="382" y="88"/>
                  </a:lnTo>
                  <a:lnTo>
                    <a:pt x="386" y="82"/>
                  </a:lnTo>
                  <a:lnTo>
                    <a:pt x="388" y="80"/>
                  </a:lnTo>
                  <a:lnTo>
                    <a:pt x="388" y="82"/>
                  </a:lnTo>
                  <a:lnTo>
                    <a:pt x="394" y="84"/>
                  </a:lnTo>
                  <a:lnTo>
                    <a:pt x="398" y="86"/>
                  </a:lnTo>
                  <a:lnTo>
                    <a:pt x="398" y="82"/>
                  </a:lnTo>
                  <a:lnTo>
                    <a:pt x="400" y="78"/>
                  </a:lnTo>
                  <a:lnTo>
                    <a:pt x="401" y="73"/>
                  </a:lnTo>
                  <a:lnTo>
                    <a:pt x="401" y="71"/>
                  </a:lnTo>
                  <a:lnTo>
                    <a:pt x="403" y="65"/>
                  </a:lnTo>
                  <a:lnTo>
                    <a:pt x="401" y="63"/>
                  </a:lnTo>
                  <a:lnTo>
                    <a:pt x="405" y="59"/>
                  </a:lnTo>
                  <a:lnTo>
                    <a:pt x="409" y="57"/>
                  </a:lnTo>
                  <a:lnTo>
                    <a:pt x="409" y="51"/>
                  </a:lnTo>
                  <a:lnTo>
                    <a:pt x="411" y="44"/>
                  </a:lnTo>
                  <a:lnTo>
                    <a:pt x="409" y="40"/>
                  </a:lnTo>
                  <a:lnTo>
                    <a:pt x="413" y="36"/>
                  </a:lnTo>
                  <a:lnTo>
                    <a:pt x="417" y="34"/>
                  </a:lnTo>
                  <a:lnTo>
                    <a:pt x="417" y="32"/>
                  </a:lnTo>
                  <a:lnTo>
                    <a:pt x="419" y="34"/>
                  </a:lnTo>
                  <a:lnTo>
                    <a:pt x="421" y="30"/>
                  </a:lnTo>
                  <a:lnTo>
                    <a:pt x="425" y="32"/>
                  </a:lnTo>
                  <a:lnTo>
                    <a:pt x="426" y="28"/>
                  </a:lnTo>
                  <a:lnTo>
                    <a:pt x="428" y="24"/>
                  </a:lnTo>
                  <a:lnTo>
                    <a:pt x="428" y="19"/>
                  </a:lnTo>
                  <a:lnTo>
                    <a:pt x="434" y="21"/>
                  </a:lnTo>
                  <a:lnTo>
                    <a:pt x="436" y="19"/>
                  </a:lnTo>
                  <a:lnTo>
                    <a:pt x="444" y="23"/>
                  </a:lnTo>
                  <a:lnTo>
                    <a:pt x="444" y="17"/>
                  </a:lnTo>
                  <a:lnTo>
                    <a:pt x="448" y="15"/>
                  </a:lnTo>
                  <a:lnTo>
                    <a:pt x="448" y="9"/>
                  </a:lnTo>
                  <a:lnTo>
                    <a:pt x="451" y="13"/>
                  </a:lnTo>
                  <a:lnTo>
                    <a:pt x="453" y="7"/>
                  </a:lnTo>
                  <a:lnTo>
                    <a:pt x="449" y="5"/>
                  </a:lnTo>
                  <a:lnTo>
                    <a:pt x="449" y="0"/>
                  </a:lnTo>
                  <a:lnTo>
                    <a:pt x="455" y="1"/>
                  </a:lnTo>
                  <a:lnTo>
                    <a:pt x="459" y="7"/>
                  </a:lnTo>
                  <a:lnTo>
                    <a:pt x="465" y="11"/>
                  </a:lnTo>
                  <a:lnTo>
                    <a:pt x="472" y="11"/>
                  </a:lnTo>
                  <a:lnTo>
                    <a:pt x="478" y="1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9" name="Freeform 26">
              <a:extLst>
                <a:ext uri="{FF2B5EF4-FFF2-40B4-BE49-F238E27FC236}">
                  <a16:creationId xmlns:a16="http://schemas.microsoft.com/office/drawing/2014/main" id="{4123E113-7D21-4FBE-B8E8-449FC58DEB27}"/>
                </a:ext>
              </a:extLst>
            </p:cNvPr>
            <p:cNvSpPr>
              <a:spLocks/>
            </p:cNvSpPr>
            <p:nvPr/>
          </p:nvSpPr>
          <p:spPr bwMode="gray">
            <a:xfrm>
              <a:off x="6048376" y="2854325"/>
              <a:ext cx="844551" cy="557213"/>
            </a:xfrm>
            <a:custGeom>
              <a:avLst/>
              <a:gdLst>
                <a:gd name="T0" fmla="*/ 522 w 532"/>
                <a:gd name="T1" fmla="*/ 111 h 351"/>
                <a:gd name="T2" fmla="*/ 524 w 532"/>
                <a:gd name="T3" fmla="*/ 132 h 351"/>
                <a:gd name="T4" fmla="*/ 497 w 532"/>
                <a:gd name="T5" fmla="*/ 148 h 351"/>
                <a:gd name="T6" fmla="*/ 484 w 532"/>
                <a:gd name="T7" fmla="*/ 157 h 351"/>
                <a:gd name="T8" fmla="*/ 490 w 532"/>
                <a:gd name="T9" fmla="*/ 184 h 351"/>
                <a:gd name="T10" fmla="*/ 503 w 532"/>
                <a:gd name="T11" fmla="*/ 207 h 351"/>
                <a:gd name="T12" fmla="*/ 492 w 532"/>
                <a:gd name="T13" fmla="*/ 213 h 351"/>
                <a:gd name="T14" fmla="*/ 472 w 532"/>
                <a:gd name="T15" fmla="*/ 232 h 351"/>
                <a:gd name="T16" fmla="*/ 447 w 532"/>
                <a:gd name="T17" fmla="*/ 229 h 351"/>
                <a:gd name="T18" fmla="*/ 432 w 532"/>
                <a:gd name="T19" fmla="*/ 250 h 351"/>
                <a:gd name="T20" fmla="*/ 411 w 532"/>
                <a:gd name="T21" fmla="*/ 265 h 351"/>
                <a:gd name="T22" fmla="*/ 399 w 532"/>
                <a:gd name="T23" fmla="*/ 302 h 351"/>
                <a:gd name="T24" fmla="*/ 382 w 532"/>
                <a:gd name="T25" fmla="*/ 323 h 351"/>
                <a:gd name="T26" fmla="*/ 355 w 532"/>
                <a:gd name="T27" fmla="*/ 319 h 351"/>
                <a:gd name="T28" fmla="*/ 334 w 532"/>
                <a:gd name="T29" fmla="*/ 338 h 351"/>
                <a:gd name="T30" fmla="*/ 313 w 532"/>
                <a:gd name="T31" fmla="*/ 317 h 351"/>
                <a:gd name="T32" fmla="*/ 290 w 532"/>
                <a:gd name="T33" fmla="*/ 298 h 351"/>
                <a:gd name="T34" fmla="*/ 254 w 532"/>
                <a:gd name="T35" fmla="*/ 296 h 351"/>
                <a:gd name="T36" fmla="*/ 234 w 532"/>
                <a:gd name="T37" fmla="*/ 323 h 351"/>
                <a:gd name="T38" fmla="*/ 206 w 532"/>
                <a:gd name="T39" fmla="*/ 326 h 351"/>
                <a:gd name="T40" fmla="*/ 181 w 532"/>
                <a:gd name="T41" fmla="*/ 334 h 351"/>
                <a:gd name="T42" fmla="*/ 148 w 532"/>
                <a:gd name="T43" fmla="*/ 330 h 351"/>
                <a:gd name="T44" fmla="*/ 123 w 532"/>
                <a:gd name="T45" fmla="*/ 351 h 351"/>
                <a:gd name="T46" fmla="*/ 102 w 532"/>
                <a:gd name="T47" fmla="*/ 332 h 351"/>
                <a:gd name="T48" fmla="*/ 90 w 532"/>
                <a:gd name="T49" fmla="*/ 323 h 351"/>
                <a:gd name="T50" fmla="*/ 79 w 532"/>
                <a:gd name="T51" fmla="*/ 319 h 351"/>
                <a:gd name="T52" fmla="*/ 44 w 532"/>
                <a:gd name="T53" fmla="*/ 326 h 351"/>
                <a:gd name="T54" fmla="*/ 19 w 532"/>
                <a:gd name="T55" fmla="*/ 305 h 351"/>
                <a:gd name="T56" fmla="*/ 2 w 532"/>
                <a:gd name="T57" fmla="*/ 277 h 351"/>
                <a:gd name="T58" fmla="*/ 14 w 532"/>
                <a:gd name="T59" fmla="*/ 244 h 351"/>
                <a:gd name="T60" fmla="*/ 37 w 532"/>
                <a:gd name="T61" fmla="*/ 232 h 351"/>
                <a:gd name="T62" fmla="*/ 52 w 532"/>
                <a:gd name="T63" fmla="*/ 227 h 351"/>
                <a:gd name="T64" fmla="*/ 66 w 532"/>
                <a:gd name="T65" fmla="*/ 211 h 351"/>
                <a:gd name="T66" fmla="*/ 100 w 532"/>
                <a:gd name="T67" fmla="*/ 196 h 351"/>
                <a:gd name="T68" fmla="*/ 140 w 532"/>
                <a:gd name="T69" fmla="*/ 194 h 351"/>
                <a:gd name="T70" fmla="*/ 119 w 532"/>
                <a:gd name="T71" fmla="*/ 171 h 351"/>
                <a:gd name="T72" fmla="*/ 79 w 532"/>
                <a:gd name="T73" fmla="*/ 148 h 351"/>
                <a:gd name="T74" fmla="*/ 92 w 532"/>
                <a:gd name="T75" fmla="*/ 134 h 351"/>
                <a:gd name="T76" fmla="*/ 75 w 532"/>
                <a:gd name="T77" fmla="*/ 117 h 351"/>
                <a:gd name="T78" fmla="*/ 94 w 532"/>
                <a:gd name="T79" fmla="*/ 94 h 351"/>
                <a:gd name="T80" fmla="*/ 104 w 532"/>
                <a:gd name="T81" fmla="*/ 84 h 351"/>
                <a:gd name="T82" fmla="*/ 92 w 532"/>
                <a:gd name="T83" fmla="*/ 67 h 351"/>
                <a:gd name="T84" fmla="*/ 83 w 532"/>
                <a:gd name="T85" fmla="*/ 54 h 351"/>
                <a:gd name="T86" fmla="*/ 69 w 532"/>
                <a:gd name="T87" fmla="*/ 27 h 351"/>
                <a:gd name="T88" fmla="*/ 89 w 532"/>
                <a:gd name="T89" fmla="*/ 4 h 351"/>
                <a:gd name="T90" fmla="*/ 133 w 532"/>
                <a:gd name="T91" fmla="*/ 15 h 351"/>
                <a:gd name="T92" fmla="*/ 148 w 532"/>
                <a:gd name="T93" fmla="*/ 48 h 351"/>
                <a:gd name="T94" fmla="*/ 186 w 532"/>
                <a:gd name="T95" fmla="*/ 71 h 351"/>
                <a:gd name="T96" fmla="*/ 219 w 532"/>
                <a:gd name="T97" fmla="*/ 84 h 351"/>
                <a:gd name="T98" fmla="*/ 259 w 532"/>
                <a:gd name="T99" fmla="*/ 88 h 351"/>
                <a:gd name="T100" fmla="*/ 292 w 532"/>
                <a:gd name="T101" fmla="*/ 90 h 351"/>
                <a:gd name="T102" fmla="*/ 315 w 532"/>
                <a:gd name="T103" fmla="*/ 96 h 351"/>
                <a:gd name="T104" fmla="*/ 355 w 532"/>
                <a:gd name="T105" fmla="*/ 113 h 351"/>
                <a:gd name="T106" fmla="*/ 399 w 532"/>
                <a:gd name="T107" fmla="*/ 102 h 351"/>
                <a:gd name="T108" fmla="*/ 417 w 532"/>
                <a:gd name="T109" fmla="*/ 123 h 351"/>
                <a:gd name="T110" fmla="*/ 453 w 532"/>
                <a:gd name="T111" fmla="*/ 119 h 351"/>
                <a:gd name="T112" fmla="*/ 484 w 532"/>
                <a:gd name="T113" fmla="*/ 106 h 351"/>
                <a:gd name="T114" fmla="*/ 501 w 532"/>
                <a:gd name="T115" fmla="*/ 12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2" h="351">
                  <a:moveTo>
                    <a:pt x="511" y="104"/>
                  </a:moveTo>
                  <a:lnTo>
                    <a:pt x="517" y="108"/>
                  </a:lnTo>
                  <a:lnTo>
                    <a:pt x="520" y="106"/>
                  </a:lnTo>
                  <a:lnTo>
                    <a:pt x="524" y="106"/>
                  </a:lnTo>
                  <a:lnTo>
                    <a:pt x="524" y="102"/>
                  </a:lnTo>
                  <a:lnTo>
                    <a:pt x="526" y="104"/>
                  </a:lnTo>
                  <a:lnTo>
                    <a:pt x="526" y="106"/>
                  </a:lnTo>
                  <a:lnTo>
                    <a:pt x="520" y="109"/>
                  </a:lnTo>
                  <a:lnTo>
                    <a:pt x="522" y="111"/>
                  </a:lnTo>
                  <a:lnTo>
                    <a:pt x="526" y="111"/>
                  </a:lnTo>
                  <a:lnTo>
                    <a:pt x="524" y="113"/>
                  </a:lnTo>
                  <a:lnTo>
                    <a:pt x="530" y="117"/>
                  </a:lnTo>
                  <a:lnTo>
                    <a:pt x="526" y="121"/>
                  </a:lnTo>
                  <a:lnTo>
                    <a:pt x="526" y="123"/>
                  </a:lnTo>
                  <a:lnTo>
                    <a:pt x="530" y="123"/>
                  </a:lnTo>
                  <a:lnTo>
                    <a:pt x="532" y="125"/>
                  </a:lnTo>
                  <a:lnTo>
                    <a:pt x="524" y="131"/>
                  </a:lnTo>
                  <a:lnTo>
                    <a:pt x="524" y="132"/>
                  </a:lnTo>
                  <a:lnTo>
                    <a:pt x="517" y="134"/>
                  </a:lnTo>
                  <a:lnTo>
                    <a:pt x="515" y="138"/>
                  </a:lnTo>
                  <a:lnTo>
                    <a:pt x="513" y="138"/>
                  </a:lnTo>
                  <a:lnTo>
                    <a:pt x="509" y="144"/>
                  </a:lnTo>
                  <a:lnTo>
                    <a:pt x="505" y="144"/>
                  </a:lnTo>
                  <a:lnTo>
                    <a:pt x="501" y="146"/>
                  </a:lnTo>
                  <a:lnTo>
                    <a:pt x="503" y="148"/>
                  </a:lnTo>
                  <a:lnTo>
                    <a:pt x="497" y="146"/>
                  </a:lnTo>
                  <a:lnTo>
                    <a:pt x="497" y="148"/>
                  </a:lnTo>
                  <a:lnTo>
                    <a:pt x="495" y="150"/>
                  </a:lnTo>
                  <a:lnTo>
                    <a:pt x="497" y="150"/>
                  </a:lnTo>
                  <a:lnTo>
                    <a:pt x="495" y="152"/>
                  </a:lnTo>
                  <a:lnTo>
                    <a:pt x="497" y="154"/>
                  </a:lnTo>
                  <a:lnTo>
                    <a:pt x="494" y="154"/>
                  </a:lnTo>
                  <a:lnTo>
                    <a:pt x="494" y="156"/>
                  </a:lnTo>
                  <a:lnTo>
                    <a:pt x="492" y="154"/>
                  </a:lnTo>
                  <a:lnTo>
                    <a:pt x="490" y="154"/>
                  </a:lnTo>
                  <a:lnTo>
                    <a:pt x="484" y="157"/>
                  </a:lnTo>
                  <a:lnTo>
                    <a:pt x="482" y="163"/>
                  </a:lnTo>
                  <a:lnTo>
                    <a:pt x="482" y="171"/>
                  </a:lnTo>
                  <a:lnTo>
                    <a:pt x="480" y="169"/>
                  </a:lnTo>
                  <a:lnTo>
                    <a:pt x="480" y="173"/>
                  </a:lnTo>
                  <a:lnTo>
                    <a:pt x="482" y="177"/>
                  </a:lnTo>
                  <a:lnTo>
                    <a:pt x="490" y="179"/>
                  </a:lnTo>
                  <a:lnTo>
                    <a:pt x="488" y="182"/>
                  </a:lnTo>
                  <a:lnTo>
                    <a:pt x="490" y="182"/>
                  </a:lnTo>
                  <a:lnTo>
                    <a:pt x="490" y="184"/>
                  </a:lnTo>
                  <a:lnTo>
                    <a:pt x="490" y="188"/>
                  </a:lnTo>
                  <a:lnTo>
                    <a:pt x="494" y="188"/>
                  </a:lnTo>
                  <a:lnTo>
                    <a:pt x="497" y="194"/>
                  </a:lnTo>
                  <a:lnTo>
                    <a:pt x="499" y="194"/>
                  </a:lnTo>
                  <a:lnTo>
                    <a:pt x="501" y="196"/>
                  </a:lnTo>
                  <a:lnTo>
                    <a:pt x="505" y="196"/>
                  </a:lnTo>
                  <a:lnTo>
                    <a:pt x="503" y="205"/>
                  </a:lnTo>
                  <a:lnTo>
                    <a:pt x="501" y="205"/>
                  </a:lnTo>
                  <a:lnTo>
                    <a:pt x="503" y="207"/>
                  </a:lnTo>
                  <a:lnTo>
                    <a:pt x="503" y="211"/>
                  </a:lnTo>
                  <a:lnTo>
                    <a:pt x="507" y="217"/>
                  </a:lnTo>
                  <a:lnTo>
                    <a:pt x="507" y="219"/>
                  </a:lnTo>
                  <a:lnTo>
                    <a:pt x="505" y="219"/>
                  </a:lnTo>
                  <a:lnTo>
                    <a:pt x="499" y="217"/>
                  </a:lnTo>
                  <a:lnTo>
                    <a:pt x="499" y="219"/>
                  </a:lnTo>
                  <a:lnTo>
                    <a:pt x="497" y="217"/>
                  </a:lnTo>
                  <a:lnTo>
                    <a:pt x="497" y="215"/>
                  </a:lnTo>
                  <a:lnTo>
                    <a:pt x="492" y="213"/>
                  </a:lnTo>
                  <a:lnTo>
                    <a:pt x="488" y="217"/>
                  </a:lnTo>
                  <a:lnTo>
                    <a:pt x="486" y="215"/>
                  </a:lnTo>
                  <a:lnTo>
                    <a:pt x="484" y="221"/>
                  </a:lnTo>
                  <a:lnTo>
                    <a:pt x="482" y="221"/>
                  </a:lnTo>
                  <a:lnTo>
                    <a:pt x="480" y="225"/>
                  </a:lnTo>
                  <a:lnTo>
                    <a:pt x="476" y="223"/>
                  </a:lnTo>
                  <a:lnTo>
                    <a:pt x="474" y="225"/>
                  </a:lnTo>
                  <a:lnTo>
                    <a:pt x="472" y="229"/>
                  </a:lnTo>
                  <a:lnTo>
                    <a:pt x="472" y="232"/>
                  </a:lnTo>
                  <a:lnTo>
                    <a:pt x="476" y="236"/>
                  </a:lnTo>
                  <a:lnTo>
                    <a:pt x="482" y="242"/>
                  </a:lnTo>
                  <a:lnTo>
                    <a:pt x="482" y="244"/>
                  </a:lnTo>
                  <a:lnTo>
                    <a:pt x="476" y="244"/>
                  </a:lnTo>
                  <a:lnTo>
                    <a:pt x="470" y="240"/>
                  </a:lnTo>
                  <a:lnTo>
                    <a:pt x="463" y="240"/>
                  </a:lnTo>
                  <a:lnTo>
                    <a:pt x="457" y="236"/>
                  </a:lnTo>
                  <a:lnTo>
                    <a:pt x="453" y="230"/>
                  </a:lnTo>
                  <a:lnTo>
                    <a:pt x="447" y="229"/>
                  </a:lnTo>
                  <a:lnTo>
                    <a:pt x="447" y="234"/>
                  </a:lnTo>
                  <a:lnTo>
                    <a:pt x="451" y="236"/>
                  </a:lnTo>
                  <a:lnTo>
                    <a:pt x="449" y="242"/>
                  </a:lnTo>
                  <a:lnTo>
                    <a:pt x="446" y="238"/>
                  </a:lnTo>
                  <a:lnTo>
                    <a:pt x="446" y="244"/>
                  </a:lnTo>
                  <a:lnTo>
                    <a:pt x="442" y="246"/>
                  </a:lnTo>
                  <a:lnTo>
                    <a:pt x="442" y="252"/>
                  </a:lnTo>
                  <a:lnTo>
                    <a:pt x="434" y="248"/>
                  </a:lnTo>
                  <a:lnTo>
                    <a:pt x="432" y="250"/>
                  </a:lnTo>
                  <a:lnTo>
                    <a:pt x="426" y="248"/>
                  </a:lnTo>
                  <a:lnTo>
                    <a:pt x="426" y="253"/>
                  </a:lnTo>
                  <a:lnTo>
                    <a:pt x="424" y="257"/>
                  </a:lnTo>
                  <a:lnTo>
                    <a:pt x="423" y="261"/>
                  </a:lnTo>
                  <a:lnTo>
                    <a:pt x="419" y="259"/>
                  </a:lnTo>
                  <a:lnTo>
                    <a:pt x="417" y="263"/>
                  </a:lnTo>
                  <a:lnTo>
                    <a:pt x="415" y="261"/>
                  </a:lnTo>
                  <a:lnTo>
                    <a:pt x="415" y="263"/>
                  </a:lnTo>
                  <a:lnTo>
                    <a:pt x="411" y="265"/>
                  </a:lnTo>
                  <a:lnTo>
                    <a:pt x="407" y="269"/>
                  </a:lnTo>
                  <a:lnTo>
                    <a:pt x="409" y="273"/>
                  </a:lnTo>
                  <a:lnTo>
                    <a:pt x="407" y="280"/>
                  </a:lnTo>
                  <a:lnTo>
                    <a:pt x="407" y="286"/>
                  </a:lnTo>
                  <a:lnTo>
                    <a:pt x="403" y="288"/>
                  </a:lnTo>
                  <a:lnTo>
                    <a:pt x="399" y="292"/>
                  </a:lnTo>
                  <a:lnTo>
                    <a:pt x="401" y="294"/>
                  </a:lnTo>
                  <a:lnTo>
                    <a:pt x="399" y="300"/>
                  </a:lnTo>
                  <a:lnTo>
                    <a:pt x="399" y="302"/>
                  </a:lnTo>
                  <a:lnTo>
                    <a:pt x="398" y="307"/>
                  </a:lnTo>
                  <a:lnTo>
                    <a:pt x="396" y="311"/>
                  </a:lnTo>
                  <a:lnTo>
                    <a:pt x="396" y="315"/>
                  </a:lnTo>
                  <a:lnTo>
                    <a:pt x="392" y="313"/>
                  </a:lnTo>
                  <a:lnTo>
                    <a:pt x="386" y="311"/>
                  </a:lnTo>
                  <a:lnTo>
                    <a:pt x="386" y="309"/>
                  </a:lnTo>
                  <a:lnTo>
                    <a:pt x="384" y="311"/>
                  </a:lnTo>
                  <a:lnTo>
                    <a:pt x="380" y="317"/>
                  </a:lnTo>
                  <a:lnTo>
                    <a:pt x="382" y="323"/>
                  </a:lnTo>
                  <a:lnTo>
                    <a:pt x="378" y="319"/>
                  </a:lnTo>
                  <a:lnTo>
                    <a:pt x="375" y="321"/>
                  </a:lnTo>
                  <a:lnTo>
                    <a:pt x="375" y="319"/>
                  </a:lnTo>
                  <a:lnTo>
                    <a:pt x="369" y="319"/>
                  </a:lnTo>
                  <a:lnTo>
                    <a:pt x="371" y="315"/>
                  </a:lnTo>
                  <a:lnTo>
                    <a:pt x="367" y="313"/>
                  </a:lnTo>
                  <a:lnTo>
                    <a:pt x="365" y="313"/>
                  </a:lnTo>
                  <a:lnTo>
                    <a:pt x="363" y="317"/>
                  </a:lnTo>
                  <a:lnTo>
                    <a:pt x="355" y="319"/>
                  </a:lnTo>
                  <a:lnTo>
                    <a:pt x="353" y="319"/>
                  </a:lnTo>
                  <a:lnTo>
                    <a:pt x="350" y="315"/>
                  </a:lnTo>
                  <a:lnTo>
                    <a:pt x="344" y="319"/>
                  </a:lnTo>
                  <a:lnTo>
                    <a:pt x="342" y="323"/>
                  </a:lnTo>
                  <a:lnTo>
                    <a:pt x="338" y="325"/>
                  </a:lnTo>
                  <a:lnTo>
                    <a:pt x="336" y="330"/>
                  </a:lnTo>
                  <a:lnTo>
                    <a:pt x="336" y="334"/>
                  </a:lnTo>
                  <a:lnTo>
                    <a:pt x="334" y="334"/>
                  </a:lnTo>
                  <a:lnTo>
                    <a:pt x="334" y="338"/>
                  </a:lnTo>
                  <a:lnTo>
                    <a:pt x="332" y="340"/>
                  </a:lnTo>
                  <a:lnTo>
                    <a:pt x="327" y="340"/>
                  </a:lnTo>
                  <a:lnTo>
                    <a:pt x="321" y="332"/>
                  </a:lnTo>
                  <a:lnTo>
                    <a:pt x="319" y="332"/>
                  </a:lnTo>
                  <a:lnTo>
                    <a:pt x="313" y="330"/>
                  </a:lnTo>
                  <a:lnTo>
                    <a:pt x="317" y="325"/>
                  </a:lnTo>
                  <a:lnTo>
                    <a:pt x="315" y="323"/>
                  </a:lnTo>
                  <a:lnTo>
                    <a:pt x="319" y="317"/>
                  </a:lnTo>
                  <a:lnTo>
                    <a:pt x="313" y="317"/>
                  </a:lnTo>
                  <a:lnTo>
                    <a:pt x="307" y="313"/>
                  </a:lnTo>
                  <a:lnTo>
                    <a:pt x="307" y="317"/>
                  </a:lnTo>
                  <a:lnTo>
                    <a:pt x="302" y="317"/>
                  </a:lnTo>
                  <a:lnTo>
                    <a:pt x="298" y="315"/>
                  </a:lnTo>
                  <a:lnTo>
                    <a:pt x="298" y="311"/>
                  </a:lnTo>
                  <a:lnTo>
                    <a:pt x="300" y="305"/>
                  </a:lnTo>
                  <a:lnTo>
                    <a:pt x="294" y="300"/>
                  </a:lnTo>
                  <a:lnTo>
                    <a:pt x="288" y="300"/>
                  </a:lnTo>
                  <a:lnTo>
                    <a:pt x="290" y="298"/>
                  </a:lnTo>
                  <a:lnTo>
                    <a:pt x="290" y="296"/>
                  </a:lnTo>
                  <a:lnTo>
                    <a:pt x="282" y="300"/>
                  </a:lnTo>
                  <a:lnTo>
                    <a:pt x="280" y="302"/>
                  </a:lnTo>
                  <a:lnTo>
                    <a:pt x="275" y="300"/>
                  </a:lnTo>
                  <a:lnTo>
                    <a:pt x="273" y="294"/>
                  </a:lnTo>
                  <a:lnTo>
                    <a:pt x="269" y="292"/>
                  </a:lnTo>
                  <a:lnTo>
                    <a:pt x="261" y="294"/>
                  </a:lnTo>
                  <a:lnTo>
                    <a:pt x="257" y="292"/>
                  </a:lnTo>
                  <a:lnTo>
                    <a:pt x="254" y="296"/>
                  </a:lnTo>
                  <a:lnTo>
                    <a:pt x="252" y="303"/>
                  </a:lnTo>
                  <a:lnTo>
                    <a:pt x="248" y="307"/>
                  </a:lnTo>
                  <a:lnTo>
                    <a:pt x="250" y="313"/>
                  </a:lnTo>
                  <a:lnTo>
                    <a:pt x="248" y="317"/>
                  </a:lnTo>
                  <a:lnTo>
                    <a:pt x="240" y="315"/>
                  </a:lnTo>
                  <a:lnTo>
                    <a:pt x="238" y="315"/>
                  </a:lnTo>
                  <a:lnTo>
                    <a:pt x="238" y="319"/>
                  </a:lnTo>
                  <a:lnTo>
                    <a:pt x="234" y="319"/>
                  </a:lnTo>
                  <a:lnTo>
                    <a:pt x="234" y="323"/>
                  </a:lnTo>
                  <a:lnTo>
                    <a:pt x="234" y="325"/>
                  </a:lnTo>
                  <a:lnTo>
                    <a:pt x="231" y="321"/>
                  </a:lnTo>
                  <a:lnTo>
                    <a:pt x="225" y="323"/>
                  </a:lnTo>
                  <a:lnTo>
                    <a:pt x="221" y="321"/>
                  </a:lnTo>
                  <a:lnTo>
                    <a:pt x="219" y="323"/>
                  </a:lnTo>
                  <a:lnTo>
                    <a:pt x="211" y="323"/>
                  </a:lnTo>
                  <a:lnTo>
                    <a:pt x="208" y="323"/>
                  </a:lnTo>
                  <a:lnTo>
                    <a:pt x="208" y="326"/>
                  </a:lnTo>
                  <a:lnTo>
                    <a:pt x="206" y="326"/>
                  </a:lnTo>
                  <a:lnTo>
                    <a:pt x="202" y="328"/>
                  </a:lnTo>
                  <a:lnTo>
                    <a:pt x="194" y="330"/>
                  </a:lnTo>
                  <a:lnTo>
                    <a:pt x="196" y="334"/>
                  </a:lnTo>
                  <a:lnTo>
                    <a:pt x="190" y="336"/>
                  </a:lnTo>
                  <a:lnTo>
                    <a:pt x="186" y="340"/>
                  </a:lnTo>
                  <a:lnTo>
                    <a:pt x="185" y="338"/>
                  </a:lnTo>
                  <a:lnTo>
                    <a:pt x="186" y="332"/>
                  </a:lnTo>
                  <a:lnTo>
                    <a:pt x="185" y="334"/>
                  </a:lnTo>
                  <a:lnTo>
                    <a:pt x="181" y="334"/>
                  </a:lnTo>
                  <a:lnTo>
                    <a:pt x="177" y="336"/>
                  </a:lnTo>
                  <a:lnTo>
                    <a:pt x="173" y="340"/>
                  </a:lnTo>
                  <a:lnTo>
                    <a:pt x="167" y="340"/>
                  </a:lnTo>
                  <a:lnTo>
                    <a:pt x="165" y="330"/>
                  </a:lnTo>
                  <a:lnTo>
                    <a:pt x="160" y="330"/>
                  </a:lnTo>
                  <a:lnTo>
                    <a:pt x="161" y="325"/>
                  </a:lnTo>
                  <a:lnTo>
                    <a:pt x="160" y="325"/>
                  </a:lnTo>
                  <a:lnTo>
                    <a:pt x="156" y="325"/>
                  </a:lnTo>
                  <a:lnTo>
                    <a:pt x="148" y="330"/>
                  </a:lnTo>
                  <a:lnTo>
                    <a:pt x="144" y="330"/>
                  </a:lnTo>
                  <a:lnTo>
                    <a:pt x="142" y="338"/>
                  </a:lnTo>
                  <a:lnTo>
                    <a:pt x="133" y="336"/>
                  </a:lnTo>
                  <a:lnTo>
                    <a:pt x="129" y="340"/>
                  </a:lnTo>
                  <a:lnTo>
                    <a:pt x="127" y="340"/>
                  </a:lnTo>
                  <a:lnTo>
                    <a:pt x="127" y="344"/>
                  </a:lnTo>
                  <a:lnTo>
                    <a:pt x="125" y="346"/>
                  </a:lnTo>
                  <a:lnTo>
                    <a:pt x="125" y="350"/>
                  </a:lnTo>
                  <a:lnTo>
                    <a:pt x="123" y="351"/>
                  </a:lnTo>
                  <a:lnTo>
                    <a:pt x="123" y="346"/>
                  </a:lnTo>
                  <a:lnTo>
                    <a:pt x="121" y="346"/>
                  </a:lnTo>
                  <a:lnTo>
                    <a:pt x="119" y="344"/>
                  </a:lnTo>
                  <a:lnTo>
                    <a:pt x="115" y="344"/>
                  </a:lnTo>
                  <a:lnTo>
                    <a:pt x="117" y="342"/>
                  </a:lnTo>
                  <a:lnTo>
                    <a:pt x="108" y="338"/>
                  </a:lnTo>
                  <a:lnTo>
                    <a:pt x="106" y="334"/>
                  </a:lnTo>
                  <a:lnTo>
                    <a:pt x="106" y="332"/>
                  </a:lnTo>
                  <a:lnTo>
                    <a:pt x="102" y="332"/>
                  </a:lnTo>
                  <a:lnTo>
                    <a:pt x="102" y="330"/>
                  </a:lnTo>
                  <a:lnTo>
                    <a:pt x="106" y="328"/>
                  </a:lnTo>
                  <a:lnTo>
                    <a:pt x="104" y="321"/>
                  </a:lnTo>
                  <a:lnTo>
                    <a:pt x="100" y="321"/>
                  </a:lnTo>
                  <a:lnTo>
                    <a:pt x="98" y="323"/>
                  </a:lnTo>
                  <a:lnTo>
                    <a:pt x="96" y="321"/>
                  </a:lnTo>
                  <a:lnTo>
                    <a:pt x="94" y="323"/>
                  </a:lnTo>
                  <a:lnTo>
                    <a:pt x="92" y="321"/>
                  </a:lnTo>
                  <a:lnTo>
                    <a:pt x="90" y="323"/>
                  </a:lnTo>
                  <a:lnTo>
                    <a:pt x="90" y="325"/>
                  </a:lnTo>
                  <a:lnTo>
                    <a:pt x="89" y="326"/>
                  </a:lnTo>
                  <a:lnTo>
                    <a:pt x="89" y="325"/>
                  </a:lnTo>
                  <a:lnTo>
                    <a:pt x="89" y="323"/>
                  </a:lnTo>
                  <a:lnTo>
                    <a:pt x="87" y="323"/>
                  </a:lnTo>
                  <a:lnTo>
                    <a:pt x="85" y="328"/>
                  </a:lnTo>
                  <a:lnTo>
                    <a:pt x="83" y="328"/>
                  </a:lnTo>
                  <a:lnTo>
                    <a:pt x="81" y="326"/>
                  </a:lnTo>
                  <a:lnTo>
                    <a:pt x="79" y="319"/>
                  </a:lnTo>
                  <a:lnTo>
                    <a:pt x="77" y="317"/>
                  </a:lnTo>
                  <a:lnTo>
                    <a:pt x="77" y="313"/>
                  </a:lnTo>
                  <a:lnTo>
                    <a:pt x="73" y="311"/>
                  </a:lnTo>
                  <a:lnTo>
                    <a:pt x="71" y="313"/>
                  </a:lnTo>
                  <a:lnTo>
                    <a:pt x="67" y="321"/>
                  </a:lnTo>
                  <a:lnTo>
                    <a:pt x="64" y="321"/>
                  </a:lnTo>
                  <a:lnTo>
                    <a:pt x="54" y="323"/>
                  </a:lnTo>
                  <a:lnTo>
                    <a:pt x="52" y="323"/>
                  </a:lnTo>
                  <a:lnTo>
                    <a:pt x="44" y="326"/>
                  </a:lnTo>
                  <a:lnTo>
                    <a:pt x="39" y="326"/>
                  </a:lnTo>
                  <a:lnTo>
                    <a:pt x="29" y="325"/>
                  </a:lnTo>
                  <a:lnTo>
                    <a:pt x="23" y="323"/>
                  </a:lnTo>
                  <a:lnTo>
                    <a:pt x="19" y="323"/>
                  </a:lnTo>
                  <a:lnTo>
                    <a:pt x="21" y="319"/>
                  </a:lnTo>
                  <a:lnTo>
                    <a:pt x="21" y="315"/>
                  </a:lnTo>
                  <a:lnTo>
                    <a:pt x="23" y="313"/>
                  </a:lnTo>
                  <a:lnTo>
                    <a:pt x="18" y="309"/>
                  </a:lnTo>
                  <a:lnTo>
                    <a:pt x="19" y="305"/>
                  </a:lnTo>
                  <a:lnTo>
                    <a:pt x="14" y="300"/>
                  </a:lnTo>
                  <a:lnTo>
                    <a:pt x="10" y="298"/>
                  </a:lnTo>
                  <a:lnTo>
                    <a:pt x="8" y="296"/>
                  </a:lnTo>
                  <a:lnTo>
                    <a:pt x="8" y="290"/>
                  </a:lnTo>
                  <a:lnTo>
                    <a:pt x="4" y="286"/>
                  </a:lnTo>
                  <a:lnTo>
                    <a:pt x="4" y="284"/>
                  </a:lnTo>
                  <a:lnTo>
                    <a:pt x="4" y="282"/>
                  </a:lnTo>
                  <a:lnTo>
                    <a:pt x="4" y="277"/>
                  </a:lnTo>
                  <a:lnTo>
                    <a:pt x="2" y="277"/>
                  </a:lnTo>
                  <a:lnTo>
                    <a:pt x="4" y="271"/>
                  </a:lnTo>
                  <a:lnTo>
                    <a:pt x="0" y="269"/>
                  </a:lnTo>
                  <a:lnTo>
                    <a:pt x="4" y="259"/>
                  </a:lnTo>
                  <a:lnTo>
                    <a:pt x="6" y="259"/>
                  </a:lnTo>
                  <a:lnTo>
                    <a:pt x="4" y="250"/>
                  </a:lnTo>
                  <a:lnTo>
                    <a:pt x="8" y="250"/>
                  </a:lnTo>
                  <a:lnTo>
                    <a:pt x="10" y="246"/>
                  </a:lnTo>
                  <a:lnTo>
                    <a:pt x="14" y="246"/>
                  </a:lnTo>
                  <a:lnTo>
                    <a:pt x="14" y="244"/>
                  </a:lnTo>
                  <a:lnTo>
                    <a:pt x="16" y="244"/>
                  </a:lnTo>
                  <a:lnTo>
                    <a:pt x="18" y="242"/>
                  </a:lnTo>
                  <a:lnTo>
                    <a:pt x="21" y="240"/>
                  </a:lnTo>
                  <a:lnTo>
                    <a:pt x="21" y="238"/>
                  </a:lnTo>
                  <a:lnTo>
                    <a:pt x="25" y="238"/>
                  </a:lnTo>
                  <a:lnTo>
                    <a:pt x="27" y="238"/>
                  </a:lnTo>
                  <a:lnTo>
                    <a:pt x="31" y="236"/>
                  </a:lnTo>
                  <a:lnTo>
                    <a:pt x="37" y="234"/>
                  </a:lnTo>
                  <a:lnTo>
                    <a:pt x="37" y="232"/>
                  </a:lnTo>
                  <a:lnTo>
                    <a:pt x="41" y="232"/>
                  </a:lnTo>
                  <a:lnTo>
                    <a:pt x="39" y="230"/>
                  </a:lnTo>
                  <a:lnTo>
                    <a:pt x="41" y="229"/>
                  </a:lnTo>
                  <a:lnTo>
                    <a:pt x="42" y="230"/>
                  </a:lnTo>
                  <a:lnTo>
                    <a:pt x="46" y="227"/>
                  </a:lnTo>
                  <a:lnTo>
                    <a:pt x="48" y="229"/>
                  </a:lnTo>
                  <a:lnTo>
                    <a:pt x="46" y="229"/>
                  </a:lnTo>
                  <a:lnTo>
                    <a:pt x="48" y="230"/>
                  </a:lnTo>
                  <a:lnTo>
                    <a:pt x="52" y="227"/>
                  </a:lnTo>
                  <a:lnTo>
                    <a:pt x="52" y="225"/>
                  </a:lnTo>
                  <a:lnTo>
                    <a:pt x="56" y="225"/>
                  </a:lnTo>
                  <a:lnTo>
                    <a:pt x="56" y="223"/>
                  </a:lnTo>
                  <a:lnTo>
                    <a:pt x="54" y="223"/>
                  </a:lnTo>
                  <a:lnTo>
                    <a:pt x="54" y="221"/>
                  </a:lnTo>
                  <a:lnTo>
                    <a:pt x="58" y="221"/>
                  </a:lnTo>
                  <a:lnTo>
                    <a:pt x="60" y="215"/>
                  </a:lnTo>
                  <a:lnTo>
                    <a:pt x="64" y="215"/>
                  </a:lnTo>
                  <a:lnTo>
                    <a:pt x="66" y="211"/>
                  </a:lnTo>
                  <a:lnTo>
                    <a:pt x="69" y="209"/>
                  </a:lnTo>
                  <a:lnTo>
                    <a:pt x="75" y="205"/>
                  </a:lnTo>
                  <a:lnTo>
                    <a:pt x="81" y="204"/>
                  </a:lnTo>
                  <a:lnTo>
                    <a:pt x="83" y="202"/>
                  </a:lnTo>
                  <a:lnTo>
                    <a:pt x="83" y="198"/>
                  </a:lnTo>
                  <a:lnTo>
                    <a:pt x="85" y="194"/>
                  </a:lnTo>
                  <a:lnTo>
                    <a:pt x="89" y="192"/>
                  </a:lnTo>
                  <a:lnTo>
                    <a:pt x="94" y="196"/>
                  </a:lnTo>
                  <a:lnTo>
                    <a:pt x="100" y="196"/>
                  </a:lnTo>
                  <a:lnTo>
                    <a:pt x="110" y="194"/>
                  </a:lnTo>
                  <a:lnTo>
                    <a:pt x="112" y="192"/>
                  </a:lnTo>
                  <a:lnTo>
                    <a:pt x="115" y="192"/>
                  </a:lnTo>
                  <a:lnTo>
                    <a:pt x="117" y="194"/>
                  </a:lnTo>
                  <a:lnTo>
                    <a:pt x="121" y="198"/>
                  </a:lnTo>
                  <a:lnTo>
                    <a:pt x="125" y="202"/>
                  </a:lnTo>
                  <a:lnTo>
                    <a:pt x="133" y="200"/>
                  </a:lnTo>
                  <a:lnTo>
                    <a:pt x="135" y="198"/>
                  </a:lnTo>
                  <a:lnTo>
                    <a:pt x="140" y="194"/>
                  </a:lnTo>
                  <a:lnTo>
                    <a:pt x="142" y="192"/>
                  </a:lnTo>
                  <a:lnTo>
                    <a:pt x="146" y="192"/>
                  </a:lnTo>
                  <a:lnTo>
                    <a:pt x="142" y="188"/>
                  </a:lnTo>
                  <a:lnTo>
                    <a:pt x="138" y="184"/>
                  </a:lnTo>
                  <a:lnTo>
                    <a:pt x="135" y="182"/>
                  </a:lnTo>
                  <a:lnTo>
                    <a:pt x="133" y="179"/>
                  </a:lnTo>
                  <a:lnTo>
                    <a:pt x="125" y="177"/>
                  </a:lnTo>
                  <a:lnTo>
                    <a:pt x="123" y="173"/>
                  </a:lnTo>
                  <a:lnTo>
                    <a:pt x="119" y="171"/>
                  </a:lnTo>
                  <a:lnTo>
                    <a:pt x="115" y="169"/>
                  </a:lnTo>
                  <a:lnTo>
                    <a:pt x="114" y="169"/>
                  </a:lnTo>
                  <a:lnTo>
                    <a:pt x="112" y="169"/>
                  </a:lnTo>
                  <a:lnTo>
                    <a:pt x="102" y="167"/>
                  </a:lnTo>
                  <a:lnTo>
                    <a:pt x="96" y="165"/>
                  </a:lnTo>
                  <a:lnTo>
                    <a:pt x="94" y="163"/>
                  </a:lnTo>
                  <a:lnTo>
                    <a:pt x="89" y="156"/>
                  </a:lnTo>
                  <a:lnTo>
                    <a:pt x="81" y="152"/>
                  </a:lnTo>
                  <a:lnTo>
                    <a:pt x="79" y="148"/>
                  </a:lnTo>
                  <a:lnTo>
                    <a:pt x="79" y="146"/>
                  </a:lnTo>
                  <a:lnTo>
                    <a:pt x="77" y="144"/>
                  </a:lnTo>
                  <a:lnTo>
                    <a:pt x="79" y="142"/>
                  </a:lnTo>
                  <a:lnTo>
                    <a:pt x="77" y="138"/>
                  </a:lnTo>
                  <a:lnTo>
                    <a:pt x="77" y="136"/>
                  </a:lnTo>
                  <a:lnTo>
                    <a:pt x="83" y="140"/>
                  </a:lnTo>
                  <a:lnTo>
                    <a:pt x="89" y="136"/>
                  </a:lnTo>
                  <a:lnTo>
                    <a:pt x="94" y="136"/>
                  </a:lnTo>
                  <a:lnTo>
                    <a:pt x="92" y="134"/>
                  </a:lnTo>
                  <a:lnTo>
                    <a:pt x="94" y="134"/>
                  </a:lnTo>
                  <a:lnTo>
                    <a:pt x="96" y="129"/>
                  </a:lnTo>
                  <a:lnTo>
                    <a:pt x="94" y="127"/>
                  </a:lnTo>
                  <a:lnTo>
                    <a:pt x="96" y="123"/>
                  </a:lnTo>
                  <a:lnTo>
                    <a:pt x="90" y="121"/>
                  </a:lnTo>
                  <a:lnTo>
                    <a:pt x="85" y="121"/>
                  </a:lnTo>
                  <a:lnTo>
                    <a:pt x="81" y="119"/>
                  </a:lnTo>
                  <a:lnTo>
                    <a:pt x="79" y="115"/>
                  </a:lnTo>
                  <a:lnTo>
                    <a:pt x="75" y="117"/>
                  </a:lnTo>
                  <a:lnTo>
                    <a:pt x="67" y="115"/>
                  </a:lnTo>
                  <a:lnTo>
                    <a:pt x="67" y="108"/>
                  </a:lnTo>
                  <a:lnTo>
                    <a:pt x="69" y="106"/>
                  </a:lnTo>
                  <a:lnTo>
                    <a:pt x="73" y="108"/>
                  </a:lnTo>
                  <a:lnTo>
                    <a:pt x="75" y="106"/>
                  </a:lnTo>
                  <a:lnTo>
                    <a:pt x="81" y="106"/>
                  </a:lnTo>
                  <a:lnTo>
                    <a:pt x="87" y="98"/>
                  </a:lnTo>
                  <a:lnTo>
                    <a:pt x="87" y="94"/>
                  </a:lnTo>
                  <a:lnTo>
                    <a:pt x="94" y="94"/>
                  </a:lnTo>
                  <a:lnTo>
                    <a:pt x="94" y="96"/>
                  </a:lnTo>
                  <a:lnTo>
                    <a:pt x="98" y="96"/>
                  </a:lnTo>
                  <a:lnTo>
                    <a:pt x="106" y="98"/>
                  </a:lnTo>
                  <a:lnTo>
                    <a:pt x="110" y="96"/>
                  </a:lnTo>
                  <a:lnTo>
                    <a:pt x="119" y="96"/>
                  </a:lnTo>
                  <a:lnTo>
                    <a:pt x="117" y="92"/>
                  </a:lnTo>
                  <a:lnTo>
                    <a:pt x="110" y="86"/>
                  </a:lnTo>
                  <a:lnTo>
                    <a:pt x="110" y="83"/>
                  </a:lnTo>
                  <a:lnTo>
                    <a:pt x="104" y="84"/>
                  </a:lnTo>
                  <a:lnTo>
                    <a:pt x="102" y="83"/>
                  </a:lnTo>
                  <a:lnTo>
                    <a:pt x="102" y="81"/>
                  </a:lnTo>
                  <a:lnTo>
                    <a:pt x="106" y="73"/>
                  </a:lnTo>
                  <a:lnTo>
                    <a:pt x="106" y="69"/>
                  </a:lnTo>
                  <a:lnTo>
                    <a:pt x="100" y="69"/>
                  </a:lnTo>
                  <a:lnTo>
                    <a:pt x="98" y="71"/>
                  </a:lnTo>
                  <a:lnTo>
                    <a:pt x="96" y="73"/>
                  </a:lnTo>
                  <a:lnTo>
                    <a:pt x="92" y="71"/>
                  </a:lnTo>
                  <a:lnTo>
                    <a:pt x="92" y="67"/>
                  </a:lnTo>
                  <a:lnTo>
                    <a:pt x="89" y="65"/>
                  </a:lnTo>
                  <a:lnTo>
                    <a:pt x="89" y="67"/>
                  </a:lnTo>
                  <a:lnTo>
                    <a:pt x="85" y="67"/>
                  </a:lnTo>
                  <a:lnTo>
                    <a:pt x="85" y="63"/>
                  </a:lnTo>
                  <a:lnTo>
                    <a:pt x="81" y="61"/>
                  </a:lnTo>
                  <a:lnTo>
                    <a:pt x="83" y="59"/>
                  </a:lnTo>
                  <a:lnTo>
                    <a:pt x="83" y="58"/>
                  </a:lnTo>
                  <a:lnTo>
                    <a:pt x="85" y="56"/>
                  </a:lnTo>
                  <a:lnTo>
                    <a:pt x="83" y="54"/>
                  </a:lnTo>
                  <a:lnTo>
                    <a:pt x="83" y="50"/>
                  </a:lnTo>
                  <a:lnTo>
                    <a:pt x="79" y="48"/>
                  </a:lnTo>
                  <a:lnTo>
                    <a:pt x="81" y="46"/>
                  </a:lnTo>
                  <a:lnTo>
                    <a:pt x="81" y="44"/>
                  </a:lnTo>
                  <a:lnTo>
                    <a:pt x="73" y="44"/>
                  </a:lnTo>
                  <a:lnTo>
                    <a:pt x="73" y="42"/>
                  </a:lnTo>
                  <a:lnTo>
                    <a:pt x="77" y="35"/>
                  </a:lnTo>
                  <a:lnTo>
                    <a:pt x="75" y="29"/>
                  </a:lnTo>
                  <a:lnTo>
                    <a:pt x="69" y="27"/>
                  </a:lnTo>
                  <a:lnTo>
                    <a:pt x="69" y="25"/>
                  </a:lnTo>
                  <a:lnTo>
                    <a:pt x="71" y="21"/>
                  </a:lnTo>
                  <a:lnTo>
                    <a:pt x="69" y="19"/>
                  </a:lnTo>
                  <a:lnTo>
                    <a:pt x="67" y="13"/>
                  </a:lnTo>
                  <a:lnTo>
                    <a:pt x="66" y="8"/>
                  </a:lnTo>
                  <a:lnTo>
                    <a:pt x="73" y="6"/>
                  </a:lnTo>
                  <a:lnTo>
                    <a:pt x="79" y="4"/>
                  </a:lnTo>
                  <a:lnTo>
                    <a:pt x="85" y="4"/>
                  </a:lnTo>
                  <a:lnTo>
                    <a:pt x="89" y="4"/>
                  </a:lnTo>
                  <a:lnTo>
                    <a:pt x="92" y="0"/>
                  </a:lnTo>
                  <a:lnTo>
                    <a:pt x="96" y="2"/>
                  </a:lnTo>
                  <a:lnTo>
                    <a:pt x="102" y="4"/>
                  </a:lnTo>
                  <a:lnTo>
                    <a:pt x="108" y="8"/>
                  </a:lnTo>
                  <a:lnTo>
                    <a:pt x="112" y="11"/>
                  </a:lnTo>
                  <a:lnTo>
                    <a:pt x="114" y="13"/>
                  </a:lnTo>
                  <a:lnTo>
                    <a:pt x="121" y="15"/>
                  </a:lnTo>
                  <a:lnTo>
                    <a:pt x="127" y="13"/>
                  </a:lnTo>
                  <a:lnTo>
                    <a:pt x="133" y="15"/>
                  </a:lnTo>
                  <a:lnTo>
                    <a:pt x="138" y="17"/>
                  </a:lnTo>
                  <a:lnTo>
                    <a:pt x="142" y="17"/>
                  </a:lnTo>
                  <a:lnTo>
                    <a:pt x="144" y="17"/>
                  </a:lnTo>
                  <a:lnTo>
                    <a:pt x="148" y="23"/>
                  </a:lnTo>
                  <a:lnTo>
                    <a:pt x="152" y="31"/>
                  </a:lnTo>
                  <a:lnTo>
                    <a:pt x="152" y="33"/>
                  </a:lnTo>
                  <a:lnTo>
                    <a:pt x="150" y="36"/>
                  </a:lnTo>
                  <a:lnTo>
                    <a:pt x="152" y="40"/>
                  </a:lnTo>
                  <a:lnTo>
                    <a:pt x="148" y="48"/>
                  </a:lnTo>
                  <a:lnTo>
                    <a:pt x="150" y="52"/>
                  </a:lnTo>
                  <a:lnTo>
                    <a:pt x="156" y="54"/>
                  </a:lnTo>
                  <a:lnTo>
                    <a:pt x="161" y="56"/>
                  </a:lnTo>
                  <a:lnTo>
                    <a:pt x="167" y="56"/>
                  </a:lnTo>
                  <a:lnTo>
                    <a:pt x="171" y="59"/>
                  </a:lnTo>
                  <a:lnTo>
                    <a:pt x="181" y="61"/>
                  </a:lnTo>
                  <a:lnTo>
                    <a:pt x="181" y="65"/>
                  </a:lnTo>
                  <a:lnTo>
                    <a:pt x="186" y="69"/>
                  </a:lnTo>
                  <a:lnTo>
                    <a:pt x="186" y="71"/>
                  </a:lnTo>
                  <a:lnTo>
                    <a:pt x="190" y="73"/>
                  </a:lnTo>
                  <a:lnTo>
                    <a:pt x="196" y="71"/>
                  </a:lnTo>
                  <a:lnTo>
                    <a:pt x="204" y="71"/>
                  </a:lnTo>
                  <a:lnTo>
                    <a:pt x="204" y="73"/>
                  </a:lnTo>
                  <a:lnTo>
                    <a:pt x="202" y="75"/>
                  </a:lnTo>
                  <a:lnTo>
                    <a:pt x="204" y="79"/>
                  </a:lnTo>
                  <a:lnTo>
                    <a:pt x="206" y="83"/>
                  </a:lnTo>
                  <a:lnTo>
                    <a:pt x="211" y="83"/>
                  </a:lnTo>
                  <a:lnTo>
                    <a:pt x="219" y="84"/>
                  </a:lnTo>
                  <a:lnTo>
                    <a:pt x="227" y="79"/>
                  </a:lnTo>
                  <a:lnTo>
                    <a:pt x="229" y="77"/>
                  </a:lnTo>
                  <a:lnTo>
                    <a:pt x="233" y="79"/>
                  </a:lnTo>
                  <a:lnTo>
                    <a:pt x="242" y="73"/>
                  </a:lnTo>
                  <a:lnTo>
                    <a:pt x="250" y="69"/>
                  </a:lnTo>
                  <a:lnTo>
                    <a:pt x="257" y="73"/>
                  </a:lnTo>
                  <a:lnTo>
                    <a:pt x="261" y="77"/>
                  </a:lnTo>
                  <a:lnTo>
                    <a:pt x="261" y="79"/>
                  </a:lnTo>
                  <a:lnTo>
                    <a:pt x="259" y="88"/>
                  </a:lnTo>
                  <a:lnTo>
                    <a:pt x="261" y="92"/>
                  </a:lnTo>
                  <a:lnTo>
                    <a:pt x="269" y="98"/>
                  </a:lnTo>
                  <a:lnTo>
                    <a:pt x="273" y="98"/>
                  </a:lnTo>
                  <a:lnTo>
                    <a:pt x="273" y="102"/>
                  </a:lnTo>
                  <a:lnTo>
                    <a:pt x="277" y="98"/>
                  </a:lnTo>
                  <a:lnTo>
                    <a:pt x="284" y="96"/>
                  </a:lnTo>
                  <a:lnTo>
                    <a:pt x="284" y="92"/>
                  </a:lnTo>
                  <a:lnTo>
                    <a:pt x="290" y="92"/>
                  </a:lnTo>
                  <a:lnTo>
                    <a:pt x="292" y="90"/>
                  </a:lnTo>
                  <a:lnTo>
                    <a:pt x="298" y="92"/>
                  </a:lnTo>
                  <a:lnTo>
                    <a:pt x="302" y="96"/>
                  </a:lnTo>
                  <a:lnTo>
                    <a:pt x="305" y="96"/>
                  </a:lnTo>
                  <a:lnTo>
                    <a:pt x="305" y="98"/>
                  </a:lnTo>
                  <a:lnTo>
                    <a:pt x="305" y="96"/>
                  </a:lnTo>
                  <a:lnTo>
                    <a:pt x="309" y="98"/>
                  </a:lnTo>
                  <a:lnTo>
                    <a:pt x="309" y="100"/>
                  </a:lnTo>
                  <a:lnTo>
                    <a:pt x="311" y="100"/>
                  </a:lnTo>
                  <a:lnTo>
                    <a:pt x="315" y="96"/>
                  </a:lnTo>
                  <a:lnTo>
                    <a:pt x="319" y="96"/>
                  </a:lnTo>
                  <a:lnTo>
                    <a:pt x="327" y="98"/>
                  </a:lnTo>
                  <a:lnTo>
                    <a:pt x="334" y="100"/>
                  </a:lnTo>
                  <a:lnTo>
                    <a:pt x="336" y="100"/>
                  </a:lnTo>
                  <a:lnTo>
                    <a:pt x="342" y="104"/>
                  </a:lnTo>
                  <a:lnTo>
                    <a:pt x="348" y="106"/>
                  </a:lnTo>
                  <a:lnTo>
                    <a:pt x="350" y="109"/>
                  </a:lnTo>
                  <a:lnTo>
                    <a:pt x="353" y="109"/>
                  </a:lnTo>
                  <a:lnTo>
                    <a:pt x="355" y="113"/>
                  </a:lnTo>
                  <a:lnTo>
                    <a:pt x="361" y="113"/>
                  </a:lnTo>
                  <a:lnTo>
                    <a:pt x="367" y="119"/>
                  </a:lnTo>
                  <a:lnTo>
                    <a:pt x="371" y="113"/>
                  </a:lnTo>
                  <a:lnTo>
                    <a:pt x="375" y="113"/>
                  </a:lnTo>
                  <a:lnTo>
                    <a:pt x="382" y="106"/>
                  </a:lnTo>
                  <a:lnTo>
                    <a:pt x="392" y="104"/>
                  </a:lnTo>
                  <a:lnTo>
                    <a:pt x="394" y="100"/>
                  </a:lnTo>
                  <a:lnTo>
                    <a:pt x="401" y="98"/>
                  </a:lnTo>
                  <a:lnTo>
                    <a:pt x="399" y="102"/>
                  </a:lnTo>
                  <a:lnTo>
                    <a:pt x="401" y="108"/>
                  </a:lnTo>
                  <a:lnTo>
                    <a:pt x="401" y="113"/>
                  </a:lnTo>
                  <a:lnTo>
                    <a:pt x="403" y="113"/>
                  </a:lnTo>
                  <a:lnTo>
                    <a:pt x="401" y="123"/>
                  </a:lnTo>
                  <a:lnTo>
                    <a:pt x="407" y="125"/>
                  </a:lnTo>
                  <a:lnTo>
                    <a:pt x="417" y="125"/>
                  </a:lnTo>
                  <a:lnTo>
                    <a:pt x="413" y="121"/>
                  </a:lnTo>
                  <a:lnTo>
                    <a:pt x="417" y="119"/>
                  </a:lnTo>
                  <a:lnTo>
                    <a:pt x="417" y="123"/>
                  </a:lnTo>
                  <a:lnTo>
                    <a:pt x="421" y="121"/>
                  </a:lnTo>
                  <a:lnTo>
                    <a:pt x="421" y="117"/>
                  </a:lnTo>
                  <a:lnTo>
                    <a:pt x="428" y="119"/>
                  </a:lnTo>
                  <a:lnTo>
                    <a:pt x="428" y="123"/>
                  </a:lnTo>
                  <a:lnTo>
                    <a:pt x="436" y="117"/>
                  </a:lnTo>
                  <a:lnTo>
                    <a:pt x="440" y="117"/>
                  </a:lnTo>
                  <a:lnTo>
                    <a:pt x="444" y="115"/>
                  </a:lnTo>
                  <a:lnTo>
                    <a:pt x="453" y="117"/>
                  </a:lnTo>
                  <a:lnTo>
                    <a:pt x="453" y="119"/>
                  </a:lnTo>
                  <a:lnTo>
                    <a:pt x="457" y="121"/>
                  </a:lnTo>
                  <a:lnTo>
                    <a:pt x="465" y="113"/>
                  </a:lnTo>
                  <a:lnTo>
                    <a:pt x="472" y="111"/>
                  </a:lnTo>
                  <a:lnTo>
                    <a:pt x="476" y="111"/>
                  </a:lnTo>
                  <a:lnTo>
                    <a:pt x="474" y="109"/>
                  </a:lnTo>
                  <a:lnTo>
                    <a:pt x="474" y="108"/>
                  </a:lnTo>
                  <a:lnTo>
                    <a:pt x="480" y="111"/>
                  </a:lnTo>
                  <a:lnTo>
                    <a:pt x="478" y="115"/>
                  </a:lnTo>
                  <a:lnTo>
                    <a:pt x="484" y="106"/>
                  </a:lnTo>
                  <a:lnTo>
                    <a:pt x="486" y="108"/>
                  </a:lnTo>
                  <a:lnTo>
                    <a:pt x="484" y="109"/>
                  </a:lnTo>
                  <a:lnTo>
                    <a:pt x="486" y="113"/>
                  </a:lnTo>
                  <a:lnTo>
                    <a:pt x="490" y="111"/>
                  </a:lnTo>
                  <a:lnTo>
                    <a:pt x="492" y="113"/>
                  </a:lnTo>
                  <a:lnTo>
                    <a:pt x="490" y="115"/>
                  </a:lnTo>
                  <a:lnTo>
                    <a:pt x="494" y="115"/>
                  </a:lnTo>
                  <a:lnTo>
                    <a:pt x="494" y="117"/>
                  </a:lnTo>
                  <a:lnTo>
                    <a:pt x="501" y="121"/>
                  </a:lnTo>
                  <a:lnTo>
                    <a:pt x="507" y="113"/>
                  </a:lnTo>
                  <a:lnTo>
                    <a:pt x="509" y="111"/>
                  </a:lnTo>
                  <a:lnTo>
                    <a:pt x="511" y="111"/>
                  </a:lnTo>
                  <a:lnTo>
                    <a:pt x="511" y="10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50" name="Freeform 27">
              <a:extLst>
                <a:ext uri="{FF2B5EF4-FFF2-40B4-BE49-F238E27FC236}">
                  <a16:creationId xmlns:a16="http://schemas.microsoft.com/office/drawing/2014/main" id="{4458A6E6-150A-4B5A-ACB2-B5875EA75E0E}"/>
                </a:ext>
              </a:extLst>
            </p:cNvPr>
            <p:cNvSpPr>
              <a:spLocks/>
            </p:cNvSpPr>
            <p:nvPr/>
          </p:nvSpPr>
          <p:spPr bwMode="gray">
            <a:xfrm>
              <a:off x="6850063" y="2747964"/>
              <a:ext cx="152400" cy="179387"/>
            </a:xfrm>
            <a:custGeom>
              <a:avLst/>
              <a:gdLst>
                <a:gd name="T0" fmla="*/ 75 w 96"/>
                <a:gd name="T1" fmla="*/ 107 h 113"/>
                <a:gd name="T2" fmla="*/ 67 w 96"/>
                <a:gd name="T3" fmla="*/ 103 h 113"/>
                <a:gd name="T4" fmla="*/ 54 w 96"/>
                <a:gd name="T5" fmla="*/ 103 h 113"/>
                <a:gd name="T6" fmla="*/ 48 w 96"/>
                <a:gd name="T7" fmla="*/ 109 h 113"/>
                <a:gd name="T8" fmla="*/ 42 w 96"/>
                <a:gd name="T9" fmla="*/ 113 h 113"/>
                <a:gd name="T10" fmla="*/ 31 w 96"/>
                <a:gd name="T11" fmla="*/ 111 h 113"/>
                <a:gd name="T12" fmla="*/ 23 w 96"/>
                <a:gd name="T13" fmla="*/ 109 h 113"/>
                <a:gd name="T14" fmla="*/ 13 w 96"/>
                <a:gd name="T15" fmla="*/ 109 h 113"/>
                <a:gd name="T16" fmla="*/ 4 w 96"/>
                <a:gd name="T17" fmla="*/ 98 h 113"/>
                <a:gd name="T18" fmla="*/ 2 w 96"/>
                <a:gd name="T19" fmla="*/ 88 h 113"/>
                <a:gd name="T20" fmla="*/ 2 w 96"/>
                <a:gd name="T21" fmla="*/ 82 h 113"/>
                <a:gd name="T22" fmla="*/ 2 w 96"/>
                <a:gd name="T23" fmla="*/ 69 h 113"/>
                <a:gd name="T24" fmla="*/ 8 w 96"/>
                <a:gd name="T25" fmla="*/ 57 h 113"/>
                <a:gd name="T26" fmla="*/ 12 w 96"/>
                <a:gd name="T27" fmla="*/ 52 h 113"/>
                <a:gd name="T28" fmla="*/ 15 w 96"/>
                <a:gd name="T29" fmla="*/ 42 h 113"/>
                <a:gd name="T30" fmla="*/ 19 w 96"/>
                <a:gd name="T31" fmla="*/ 36 h 113"/>
                <a:gd name="T32" fmla="*/ 21 w 96"/>
                <a:gd name="T33" fmla="*/ 30 h 113"/>
                <a:gd name="T34" fmla="*/ 12 w 96"/>
                <a:gd name="T35" fmla="*/ 23 h 113"/>
                <a:gd name="T36" fmla="*/ 15 w 96"/>
                <a:gd name="T37" fmla="*/ 17 h 113"/>
                <a:gd name="T38" fmla="*/ 21 w 96"/>
                <a:gd name="T39" fmla="*/ 17 h 113"/>
                <a:gd name="T40" fmla="*/ 27 w 96"/>
                <a:gd name="T41" fmla="*/ 19 h 113"/>
                <a:gd name="T42" fmla="*/ 37 w 96"/>
                <a:gd name="T43" fmla="*/ 15 h 113"/>
                <a:gd name="T44" fmla="*/ 44 w 96"/>
                <a:gd name="T45" fmla="*/ 13 h 113"/>
                <a:gd name="T46" fmla="*/ 50 w 96"/>
                <a:gd name="T47" fmla="*/ 7 h 113"/>
                <a:gd name="T48" fmla="*/ 58 w 96"/>
                <a:gd name="T49" fmla="*/ 4 h 113"/>
                <a:gd name="T50" fmla="*/ 67 w 96"/>
                <a:gd name="T51" fmla="*/ 0 h 113"/>
                <a:gd name="T52" fmla="*/ 79 w 96"/>
                <a:gd name="T53" fmla="*/ 4 h 113"/>
                <a:gd name="T54" fmla="*/ 88 w 96"/>
                <a:gd name="T55" fmla="*/ 11 h 113"/>
                <a:gd name="T56" fmla="*/ 92 w 96"/>
                <a:gd name="T57" fmla="*/ 23 h 113"/>
                <a:gd name="T58" fmla="*/ 90 w 96"/>
                <a:gd name="T59" fmla="*/ 32 h 113"/>
                <a:gd name="T60" fmla="*/ 88 w 96"/>
                <a:gd name="T61" fmla="*/ 44 h 113"/>
                <a:gd name="T62" fmla="*/ 84 w 96"/>
                <a:gd name="T63" fmla="*/ 52 h 113"/>
                <a:gd name="T64" fmla="*/ 79 w 96"/>
                <a:gd name="T65" fmla="*/ 59 h 113"/>
                <a:gd name="T66" fmla="*/ 81 w 96"/>
                <a:gd name="T67" fmla="*/ 71 h 113"/>
                <a:gd name="T68" fmla="*/ 86 w 96"/>
                <a:gd name="T69" fmla="*/ 80 h 113"/>
                <a:gd name="T70" fmla="*/ 92 w 96"/>
                <a:gd name="T71" fmla="*/ 84 h 113"/>
                <a:gd name="T72" fmla="*/ 92 w 96"/>
                <a:gd name="T73" fmla="*/ 92 h 113"/>
                <a:gd name="T74" fmla="*/ 83 w 96"/>
                <a:gd name="T75" fmla="*/ 94 h 113"/>
                <a:gd name="T76" fmla="*/ 79 w 96"/>
                <a:gd name="T77" fmla="*/ 10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113">
                  <a:moveTo>
                    <a:pt x="77" y="105"/>
                  </a:moveTo>
                  <a:lnTo>
                    <a:pt x="75" y="107"/>
                  </a:lnTo>
                  <a:lnTo>
                    <a:pt x="69" y="102"/>
                  </a:lnTo>
                  <a:lnTo>
                    <a:pt x="67" y="103"/>
                  </a:lnTo>
                  <a:lnTo>
                    <a:pt x="60" y="102"/>
                  </a:lnTo>
                  <a:lnTo>
                    <a:pt x="54" y="103"/>
                  </a:lnTo>
                  <a:lnTo>
                    <a:pt x="54" y="105"/>
                  </a:lnTo>
                  <a:lnTo>
                    <a:pt x="48" y="109"/>
                  </a:lnTo>
                  <a:lnTo>
                    <a:pt x="46" y="111"/>
                  </a:lnTo>
                  <a:lnTo>
                    <a:pt x="42" y="113"/>
                  </a:lnTo>
                  <a:lnTo>
                    <a:pt x="33" y="109"/>
                  </a:lnTo>
                  <a:lnTo>
                    <a:pt x="31" y="111"/>
                  </a:lnTo>
                  <a:lnTo>
                    <a:pt x="29" y="107"/>
                  </a:lnTo>
                  <a:lnTo>
                    <a:pt x="23" y="109"/>
                  </a:lnTo>
                  <a:lnTo>
                    <a:pt x="17" y="107"/>
                  </a:lnTo>
                  <a:lnTo>
                    <a:pt x="13" y="109"/>
                  </a:lnTo>
                  <a:lnTo>
                    <a:pt x="8" y="107"/>
                  </a:lnTo>
                  <a:lnTo>
                    <a:pt x="4" y="98"/>
                  </a:lnTo>
                  <a:lnTo>
                    <a:pt x="0" y="98"/>
                  </a:lnTo>
                  <a:lnTo>
                    <a:pt x="2" y="88"/>
                  </a:lnTo>
                  <a:lnTo>
                    <a:pt x="4" y="84"/>
                  </a:lnTo>
                  <a:lnTo>
                    <a:pt x="2" y="82"/>
                  </a:lnTo>
                  <a:lnTo>
                    <a:pt x="6" y="75"/>
                  </a:lnTo>
                  <a:lnTo>
                    <a:pt x="2" y="69"/>
                  </a:lnTo>
                  <a:lnTo>
                    <a:pt x="4" y="63"/>
                  </a:lnTo>
                  <a:lnTo>
                    <a:pt x="8" y="57"/>
                  </a:lnTo>
                  <a:lnTo>
                    <a:pt x="10" y="55"/>
                  </a:lnTo>
                  <a:lnTo>
                    <a:pt x="12" y="52"/>
                  </a:lnTo>
                  <a:lnTo>
                    <a:pt x="13" y="50"/>
                  </a:lnTo>
                  <a:lnTo>
                    <a:pt x="15" y="42"/>
                  </a:lnTo>
                  <a:lnTo>
                    <a:pt x="17" y="40"/>
                  </a:lnTo>
                  <a:lnTo>
                    <a:pt x="19" y="36"/>
                  </a:lnTo>
                  <a:lnTo>
                    <a:pt x="17" y="32"/>
                  </a:lnTo>
                  <a:lnTo>
                    <a:pt x="21" y="30"/>
                  </a:lnTo>
                  <a:lnTo>
                    <a:pt x="13" y="27"/>
                  </a:lnTo>
                  <a:lnTo>
                    <a:pt x="12" y="23"/>
                  </a:lnTo>
                  <a:lnTo>
                    <a:pt x="13" y="19"/>
                  </a:lnTo>
                  <a:lnTo>
                    <a:pt x="15" y="17"/>
                  </a:lnTo>
                  <a:lnTo>
                    <a:pt x="21" y="19"/>
                  </a:lnTo>
                  <a:lnTo>
                    <a:pt x="21" y="17"/>
                  </a:lnTo>
                  <a:lnTo>
                    <a:pt x="25" y="17"/>
                  </a:lnTo>
                  <a:lnTo>
                    <a:pt x="27" y="19"/>
                  </a:lnTo>
                  <a:lnTo>
                    <a:pt x="27" y="17"/>
                  </a:lnTo>
                  <a:lnTo>
                    <a:pt x="37" y="15"/>
                  </a:lnTo>
                  <a:lnTo>
                    <a:pt x="42" y="15"/>
                  </a:lnTo>
                  <a:lnTo>
                    <a:pt x="44" y="13"/>
                  </a:lnTo>
                  <a:lnTo>
                    <a:pt x="50" y="11"/>
                  </a:lnTo>
                  <a:lnTo>
                    <a:pt x="50" y="7"/>
                  </a:lnTo>
                  <a:lnTo>
                    <a:pt x="58" y="9"/>
                  </a:lnTo>
                  <a:lnTo>
                    <a:pt x="58" y="4"/>
                  </a:lnTo>
                  <a:lnTo>
                    <a:pt x="63" y="4"/>
                  </a:lnTo>
                  <a:lnTo>
                    <a:pt x="67" y="0"/>
                  </a:lnTo>
                  <a:lnTo>
                    <a:pt x="71" y="5"/>
                  </a:lnTo>
                  <a:lnTo>
                    <a:pt x="79" y="4"/>
                  </a:lnTo>
                  <a:lnTo>
                    <a:pt x="84" y="9"/>
                  </a:lnTo>
                  <a:lnTo>
                    <a:pt x="88" y="11"/>
                  </a:lnTo>
                  <a:lnTo>
                    <a:pt x="88" y="21"/>
                  </a:lnTo>
                  <a:lnTo>
                    <a:pt x="92" y="23"/>
                  </a:lnTo>
                  <a:lnTo>
                    <a:pt x="92" y="29"/>
                  </a:lnTo>
                  <a:lnTo>
                    <a:pt x="90" y="32"/>
                  </a:lnTo>
                  <a:lnTo>
                    <a:pt x="90" y="40"/>
                  </a:lnTo>
                  <a:lnTo>
                    <a:pt x="88" y="44"/>
                  </a:lnTo>
                  <a:lnTo>
                    <a:pt x="88" y="50"/>
                  </a:lnTo>
                  <a:lnTo>
                    <a:pt x="84" y="52"/>
                  </a:lnTo>
                  <a:lnTo>
                    <a:pt x="83" y="59"/>
                  </a:lnTo>
                  <a:lnTo>
                    <a:pt x="79" y="59"/>
                  </a:lnTo>
                  <a:lnTo>
                    <a:pt x="83" y="65"/>
                  </a:lnTo>
                  <a:lnTo>
                    <a:pt x="81" y="71"/>
                  </a:lnTo>
                  <a:lnTo>
                    <a:pt x="84" y="77"/>
                  </a:lnTo>
                  <a:lnTo>
                    <a:pt x="86" y="80"/>
                  </a:lnTo>
                  <a:lnTo>
                    <a:pt x="90" y="80"/>
                  </a:lnTo>
                  <a:lnTo>
                    <a:pt x="92" y="84"/>
                  </a:lnTo>
                  <a:lnTo>
                    <a:pt x="96" y="86"/>
                  </a:lnTo>
                  <a:lnTo>
                    <a:pt x="92" y="92"/>
                  </a:lnTo>
                  <a:lnTo>
                    <a:pt x="84" y="94"/>
                  </a:lnTo>
                  <a:lnTo>
                    <a:pt x="83" y="94"/>
                  </a:lnTo>
                  <a:lnTo>
                    <a:pt x="83" y="102"/>
                  </a:lnTo>
                  <a:lnTo>
                    <a:pt x="79" y="102"/>
                  </a:lnTo>
                  <a:lnTo>
                    <a:pt x="77" y="10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51" name="Freeform 28">
              <a:extLst>
                <a:ext uri="{FF2B5EF4-FFF2-40B4-BE49-F238E27FC236}">
                  <a16:creationId xmlns:a16="http://schemas.microsoft.com/office/drawing/2014/main" id="{ECAB8631-F44D-498C-9EDB-6740E517D5C5}"/>
                </a:ext>
              </a:extLst>
            </p:cNvPr>
            <p:cNvSpPr>
              <a:spLocks/>
            </p:cNvSpPr>
            <p:nvPr/>
          </p:nvSpPr>
          <p:spPr bwMode="gray">
            <a:xfrm>
              <a:off x="5027614" y="2354263"/>
              <a:ext cx="1252538" cy="1125539"/>
            </a:xfrm>
            <a:custGeom>
              <a:avLst/>
              <a:gdLst>
                <a:gd name="T0" fmla="*/ 365 w 789"/>
                <a:gd name="T1" fmla="*/ 190 h 709"/>
                <a:gd name="T2" fmla="*/ 400 w 789"/>
                <a:gd name="T3" fmla="*/ 211 h 709"/>
                <a:gd name="T4" fmla="*/ 440 w 789"/>
                <a:gd name="T5" fmla="*/ 246 h 709"/>
                <a:gd name="T6" fmla="*/ 536 w 789"/>
                <a:gd name="T7" fmla="*/ 280 h 709"/>
                <a:gd name="T8" fmla="*/ 622 w 789"/>
                <a:gd name="T9" fmla="*/ 321 h 709"/>
                <a:gd name="T10" fmla="*/ 697 w 789"/>
                <a:gd name="T11" fmla="*/ 326 h 709"/>
                <a:gd name="T12" fmla="*/ 726 w 789"/>
                <a:gd name="T13" fmla="*/ 373 h 709"/>
                <a:gd name="T14" fmla="*/ 760 w 789"/>
                <a:gd name="T15" fmla="*/ 407 h 709"/>
                <a:gd name="T16" fmla="*/ 733 w 789"/>
                <a:gd name="T17" fmla="*/ 436 h 709"/>
                <a:gd name="T18" fmla="*/ 745 w 789"/>
                <a:gd name="T19" fmla="*/ 482 h 709"/>
                <a:gd name="T20" fmla="*/ 758 w 789"/>
                <a:gd name="T21" fmla="*/ 507 h 709"/>
                <a:gd name="T22" fmla="*/ 699 w 789"/>
                <a:gd name="T23" fmla="*/ 540 h 709"/>
                <a:gd name="T24" fmla="*/ 659 w 789"/>
                <a:gd name="T25" fmla="*/ 559 h 709"/>
                <a:gd name="T26" fmla="*/ 662 w 789"/>
                <a:gd name="T27" fmla="*/ 620 h 709"/>
                <a:gd name="T28" fmla="*/ 641 w 789"/>
                <a:gd name="T29" fmla="*/ 684 h 709"/>
                <a:gd name="T30" fmla="*/ 572 w 789"/>
                <a:gd name="T31" fmla="*/ 678 h 709"/>
                <a:gd name="T32" fmla="*/ 584 w 789"/>
                <a:gd name="T33" fmla="*/ 626 h 709"/>
                <a:gd name="T34" fmla="*/ 528 w 789"/>
                <a:gd name="T35" fmla="*/ 620 h 709"/>
                <a:gd name="T36" fmla="*/ 503 w 789"/>
                <a:gd name="T37" fmla="*/ 603 h 709"/>
                <a:gd name="T38" fmla="*/ 463 w 789"/>
                <a:gd name="T39" fmla="*/ 570 h 709"/>
                <a:gd name="T40" fmla="*/ 430 w 789"/>
                <a:gd name="T41" fmla="*/ 574 h 709"/>
                <a:gd name="T42" fmla="*/ 375 w 789"/>
                <a:gd name="T43" fmla="*/ 593 h 709"/>
                <a:gd name="T44" fmla="*/ 369 w 789"/>
                <a:gd name="T45" fmla="*/ 580 h 709"/>
                <a:gd name="T46" fmla="*/ 340 w 789"/>
                <a:gd name="T47" fmla="*/ 586 h 709"/>
                <a:gd name="T48" fmla="*/ 336 w 789"/>
                <a:gd name="T49" fmla="*/ 568 h 709"/>
                <a:gd name="T50" fmla="*/ 290 w 789"/>
                <a:gd name="T51" fmla="*/ 555 h 709"/>
                <a:gd name="T52" fmla="*/ 240 w 789"/>
                <a:gd name="T53" fmla="*/ 576 h 709"/>
                <a:gd name="T54" fmla="*/ 225 w 789"/>
                <a:gd name="T55" fmla="*/ 555 h 709"/>
                <a:gd name="T56" fmla="*/ 210 w 789"/>
                <a:gd name="T57" fmla="*/ 570 h 709"/>
                <a:gd name="T58" fmla="*/ 185 w 789"/>
                <a:gd name="T59" fmla="*/ 557 h 709"/>
                <a:gd name="T60" fmla="*/ 171 w 789"/>
                <a:gd name="T61" fmla="*/ 549 h 709"/>
                <a:gd name="T62" fmla="*/ 177 w 789"/>
                <a:gd name="T63" fmla="*/ 530 h 709"/>
                <a:gd name="T64" fmla="*/ 165 w 789"/>
                <a:gd name="T65" fmla="*/ 542 h 709"/>
                <a:gd name="T66" fmla="*/ 137 w 789"/>
                <a:gd name="T67" fmla="*/ 551 h 709"/>
                <a:gd name="T68" fmla="*/ 148 w 789"/>
                <a:gd name="T69" fmla="*/ 593 h 709"/>
                <a:gd name="T70" fmla="*/ 173 w 789"/>
                <a:gd name="T71" fmla="*/ 641 h 709"/>
                <a:gd name="T72" fmla="*/ 146 w 789"/>
                <a:gd name="T73" fmla="*/ 670 h 709"/>
                <a:gd name="T74" fmla="*/ 98 w 789"/>
                <a:gd name="T75" fmla="*/ 638 h 709"/>
                <a:gd name="T76" fmla="*/ 121 w 789"/>
                <a:gd name="T77" fmla="*/ 563 h 709"/>
                <a:gd name="T78" fmla="*/ 142 w 789"/>
                <a:gd name="T79" fmla="*/ 526 h 709"/>
                <a:gd name="T80" fmla="*/ 173 w 789"/>
                <a:gd name="T81" fmla="*/ 495 h 709"/>
                <a:gd name="T82" fmla="*/ 198 w 789"/>
                <a:gd name="T83" fmla="*/ 447 h 709"/>
                <a:gd name="T84" fmla="*/ 190 w 789"/>
                <a:gd name="T85" fmla="*/ 413 h 709"/>
                <a:gd name="T86" fmla="*/ 133 w 789"/>
                <a:gd name="T87" fmla="*/ 392 h 709"/>
                <a:gd name="T88" fmla="*/ 87 w 789"/>
                <a:gd name="T89" fmla="*/ 386 h 709"/>
                <a:gd name="T90" fmla="*/ 29 w 789"/>
                <a:gd name="T91" fmla="*/ 398 h 709"/>
                <a:gd name="T92" fmla="*/ 50 w 789"/>
                <a:gd name="T93" fmla="*/ 367 h 709"/>
                <a:gd name="T94" fmla="*/ 46 w 789"/>
                <a:gd name="T95" fmla="*/ 336 h 709"/>
                <a:gd name="T96" fmla="*/ 14 w 789"/>
                <a:gd name="T97" fmla="*/ 280 h 709"/>
                <a:gd name="T98" fmla="*/ 37 w 789"/>
                <a:gd name="T99" fmla="*/ 253 h 709"/>
                <a:gd name="T100" fmla="*/ 37 w 789"/>
                <a:gd name="T101" fmla="*/ 219 h 709"/>
                <a:gd name="T102" fmla="*/ 8 w 789"/>
                <a:gd name="T103" fmla="*/ 177 h 709"/>
                <a:gd name="T104" fmla="*/ 6 w 789"/>
                <a:gd name="T105" fmla="*/ 119 h 709"/>
                <a:gd name="T106" fmla="*/ 10 w 789"/>
                <a:gd name="T107" fmla="*/ 56 h 709"/>
                <a:gd name="T108" fmla="*/ 64 w 789"/>
                <a:gd name="T109" fmla="*/ 0 h 709"/>
                <a:gd name="T110" fmla="*/ 67 w 789"/>
                <a:gd name="T111" fmla="*/ 58 h 709"/>
                <a:gd name="T112" fmla="*/ 106 w 789"/>
                <a:gd name="T113" fmla="*/ 88 h 709"/>
                <a:gd name="T114" fmla="*/ 194 w 789"/>
                <a:gd name="T115" fmla="*/ 104 h 709"/>
                <a:gd name="T116" fmla="*/ 206 w 789"/>
                <a:gd name="T117" fmla="*/ 134 h 709"/>
                <a:gd name="T118" fmla="*/ 257 w 789"/>
                <a:gd name="T119" fmla="*/ 169 h 709"/>
                <a:gd name="T120" fmla="*/ 311 w 789"/>
                <a:gd name="T121" fmla="*/ 171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9" h="709">
                  <a:moveTo>
                    <a:pt x="311" y="171"/>
                  </a:moveTo>
                  <a:lnTo>
                    <a:pt x="315" y="171"/>
                  </a:lnTo>
                  <a:lnTo>
                    <a:pt x="317" y="179"/>
                  </a:lnTo>
                  <a:lnTo>
                    <a:pt x="321" y="180"/>
                  </a:lnTo>
                  <a:lnTo>
                    <a:pt x="323" y="182"/>
                  </a:lnTo>
                  <a:lnTo>
                    <a:pt x="327" y="186"/>
                  </a:lnTo>
                  <a:lnTo>
                    <a:pt x="334" y="186"/>
                  </a:lnTo>
                  <a:lnTo>
                    <a:pt x="332" y="192"/>
                  </a:lnTo>
                  <a:lnTo>
                    <a:pt x="340" y="188"/>
                  </a:lnTo>
                  <a:lnTo>
                    <a:pt x="344" y="192"/>
                  </a:lnTo>
                  <a:lnTo>
                    <a:pt x="348" y="194"/>
                  </a:lnTo>
                  <a:lnTo>
                    <a:pt x="350" y="186"/>
                  </a:lnTo>
                  <a:lnTo>
                    <a:pt x="352" y="184"/>
                  </a:lnTo>
                  <a:lnTo>
                    <a:pt x="355" y="184"/>
                  </a:lnTo>
                  <a:lnTo>
                    <a:pt x="363" y="186"/>
                  </a:lnTo>
                  <a:lnTo>
                    <a:pt x="365" y="186"/>
                  </a:lnTo>
                  <a:lnTo>
                    <a:pt x="367" y="188"/>
                  </a:lnTo>
                  <a:lnTo>
                    <a:pt x="365" y="188"/>
                  </a:lnTo>
                  <a:lnTo>
                    <a:pt x="365" y="190"/>
                  </a:lnTo>
                  <a:lnTo>
                    <a:pt x="369" y="192"/>
                  </a:lnTo>
                  <a:lnTo>
                    <a:pt x="375" y="192"/>
                  </a:lnTo>
                  <a:lnTo>
                    <a:pt x="375" y="194"/>
                  </a:lnTo>
                  <a:lnTo>
                    <a:pt x="375" y="196"/>
                  </a:lnTo>
                  <a:lnTo>
                    <a:pt x="376" y="196"/>
                  </a:lnTo>
                  <a:lnTo>
                    <a:pt x="378" y="200"/>
                  </a:lnTo>
                  <a:lnTo>
                    <a:pt x="380" y="200"/>
                  </a:lnTo>
                  <a:lnTo>
                    <a:pt x="380" y="198"/>
                  </a:lnTo>
                  <a:lnTo>
                    <a:pt x="384" y="198"/>
                  </a:lnTo>
                  <a:lnTo>
                    <a:pt x="384" y="200"/>
                  </a:lnTo>
                  <a:lnTo>
                    <a:pt x="386" y="200"/>
                  </a:lnTo>
                  <a:lnTo>
                    <a:pt x="386" y="204"/>
                  </a:lnTo>
                  <a:lnTo>
                    <a:pt x="390" y="204"/>
                  </a:lnTo>
                  <a:lnTo>
                    <a:pt x="390" y="205"/>
                  </a:lnTo>
                  <a:lnTo>
                    <a:pt x="392" y="205"/>
                  </a:lnTo>
                  <a:lnTo>
                    <a:pt x="392" y="207"/>
                  </a:lnTo>
                  <a:lnTo>
                    <a:pt x="396" y="205"/>
                  </a:lnTo>
                  <a:lnTo>
                    <a:pt x="400" y="207"/>
                  </a:lnTo>
                  <a:lnTo>
                    <a:pt x="400" y="211"/>
                  </a:lnTo>
                  <a:lnTo>
                    <a:pt x="401" y="211"/>
                  </a:lnTo>
                  <a:lnTo>
                    <a:pt x="403" y="213"/>
                  </a:lnTo>
                  <a:lnTo>
                    <a:pt x="405" y="211"/>
                  </a:lnTo>
                  <a:lnTo>
                    <a:pt x="405" y="213"/>
                  </a:lnTo>
                  <a:lnTo>
                    <a:pt x="409" y="211"/>
                  </a:lnTo>
                  <a:lnTo>
                    <a:pt x="411" y="215"/>
                  </a:lnTo>
                  <a:lnTo>
                    <a:pt x="413" y="215"/>
                  </a:lnTo>
                  <a:lnTo>
                    <a:pt x="411" y="217"/>
                  </a:lnTo>
                  <a:lnTo>
                    <a:pt x="419" y="219"/>
                  </a:lnTo>
                  <a:lnTo>
                    <a:pt x="424" y="221"/>
                  </a:lnTo>
                  <a:lnTo>
                    <a:pt x="430" y="223"/>
                  </a:lnTo>
                  <a:lnTo>
                    <a:pt x="432" y="227"/>
                  </a:lnTo>
                  <a:lnTo>
                    <a:pt x="432" y="230"/>
                  </a:lnTo>
                  <a:lnTo>
                    <a:pt x="436" y="234"/>
                  </a:lnTo>
                  <a:lnTo>
                    <a:pt x="442" y="240"/>
                  </a:lnTo>
                  <a:lnTo>
                    <a:pt x="442" y="242"/>
                  </a:lnTo>
                  <a:lnTo>
                    <a:pt x="440" y="244"/>
                  </a:lnTo>
                  <a:lnTo>
                    <a:pt x="442" y="246"/>
                  </a:lnTo>
                  <a:lnTo>
                    <a:pt x="440" y="246"/>
                  </a:lnTo>
                  <a:lnTo>
                    <a:pt x="446" y="246"/>
                  </a:lnTo>
                  <a:lnTo>
                    <a:pt x="447" y="242"/>
                  </a:lnTo>
                  <a:lnTo>
                    <a:pt x="453" y="244"/>
                  </a:lnTo>
                  <a:lnTo>
                    <a:pt x="459" y="248"/>
                  </a:lnTo>
                  <a:lnTo>
                    <a:pt x="457" y="252"/>
                  </a:lnTo>
                  <a:lnTo>
                    <a:pt x="465" y="255"/>
                  </a:lnTo>
                  <a:lnTo>
                    <a:pt x="472" y="261"/>
                  </a:lnTo>
                  <a:lnTo>
                    <a:pt x="480" y="263"/>
                  </a:lnTo>
                  <a:lnTo>
                    <a:pt x="482" y="263"/>
                  </a:lnTo>
                  <a:lnTo>
                    <a:pt x="484" y="265"/>
                  </a:lnTo>
                  <a:lnTo>
                    <a:pt x="492" y="271"/>
                  </a:lnTo>
                  <a:lnTo>
                    <a:pt x="499" y="277"/>
                  </a:lnTo>
                  <a:lnTo>
                    <a:pt x="503" y="277"/>
                  </a:lnTo>
                  <a:lnTo>
                    <a:pt x="509" y="269"/>
                  </a:lnTo>
                  <a:lnTo>
                    <a:pt x="519" y="269"/>
                  </a:lnTo>
                  <a:lnTo>
                    <a:pt x="524" y="277"/>
                  </a:lnTo>
                  <a:lnTo>
                    <a:pt x="534" y="278"/>
                  </a:lnTo>
                  <a:lnTo>
                    <a:pt x="534" y="280"/>
                  </a:lnTo>
                  <a:lnTo>
                    <a:pt x="536" y="280"/>
                  </a:lnTo>
                  <a:lnTo>
                    <a:pt x="540" y="282"/>
                  </a:lnTo>
                  <a:lnTo>
                    <a:pt x="547" y="288"/>
                  </a:lnTo>
                  <a:lnTo>
                    <a:pt x="549" y="288"/>
                  </a:lnTo>
                  <a:lnTo>
                    <a:pt x="555" y="294"/>
                  </a:lnTo>
                  <a:lnTo>
                    <a:pt x="559" y="296"/>
                  </a:lnTo>
                  <a:lnTo>
                    <a:pt x="565" y="296"/>
                  </a:lnTo>
                  <a:lnTo>
                    <a:pt x="572" y="294"/>
                  </a:lnTo>
                  <a:lnTo>
                    <a:pt x="578" y="292"/>
                  </a:lnTo>
                  <a:lnTo>
                    <a:pt x="580" y="294"/>
                  </a:lnTo>
                  <a:lnTo>
                    <a:pt x="576" y="301"/>
                  </a:lnTo>
                  <a:lnTo>
                    <a:pt x="576" y="305"/>
                  </a:lnTo>
                  <a:lnTo>
                    <a:pt x="580" y="311"/>
                  </a:lnTo>
                  <a:lnTo>
                    <a:pt x="584" y="315"/>
                  </a:lnTo>
                  <a:lnTo>
                    <a:pt x="595" y="313"/>
                  </a:lnTo>
                  <a:lnTo>
                    <a:pt x="599" y="315"/>
                  </a:lnTo>
                  <a:lnTo>
                    <a:pt x="605" y="319"/>
                  </a:lnTo>
                  <a:lnTo>
                    <a:pt x="611" y="319"/>
                  </a:lnTo>
                  <a:lnTo>
                    <a:pt x="618" y="321"/>
                  </a:lnTo>
                  <a:lnTo>
                    <a:pt x="622" y="321"/>
                  </a:lnTo>
                  <a:lnTo>
                    <a:pt x="628" y="321"/>
                  </a:lnTo>
                  <a:lnTo>
                    <a:pt x="636" y="328"/>
                  </a:lnTo>
                  <a:lnTo>
                    <a:pt x="639" y="334"/>
                  </a:lnTo>
                  <a:lnTo>
                    <a:pt x="645" y="334"/>
                  </a:lnTo>
                  <a:lnTo>
                    <a:pt x="653" y="334"/>
                  </a:lnTo>
                  <a:lnTo>
                    <a:pt x="657" y="328"/>
                  </a:lnTo>
                  <a:lnTo>
                    <a:pt x="657" y="326"/>
                  </a:lnTo>
                  <a:lnTo>
                    <a:pt x="661" y="325"/>
                  </a:lnTo>
                  <a:lnTo>
                    <a:pt x="657" y="323"/>
                  </a:lnTo>
                  <a:lnTo>
                    <a:pt x="659" y="321"/>
                  </a:lnTo>
                  <a:lnTo>
                    <a:pt x="657" y="317"/>
                  </a:lnTo>
                  <a:lnTo>
                    <a:pt x="662" y="317"/>
                  </a:lnTo>
                  <a:lnTo>
                    <a:pt x="664" y="317"/>
                  </a:lnTo>
                  <a:lnTo>
                    <a:pt x="670" y="317"/>
                  </a:lnTo>
                  <a:lnTo>
                    <a:pt x="676" y="317"/>
                  </a:lnTo>
                  <a:lnTo>
                    <a:pt x="682" y="319"/>
                  </a:lnTo>
                  <a:lnTo>
                    <a:pt x="689" y="323"/>
                  </a:lnTo>
                  <a:lnTo>
                    <a:pt x="693" y="325"/>
                  </a:lnTo>
                  <a:lnTo>
                    <a:pt x="697" y="326"/>
                  </a:lnTo>
                  <a:lnTo>
                    <a:pt x="703" y="328"/>
                  </a:lnTo>
                  <a:lnTo>
                    <a:pt x="707" y="332"/>
                  </a:lnTo>
                  <a:lnTo>
                    <a:pt x="707" y="330"/>
                  </a:lnTo>
                  <a:lnTo>
                    <a:pt x="710" y="328"/>
                  </a:lnTo>
                  <a:lnTo>
                    <a:pt x="712" y="334"/>
                  </a:lnTo>
                  <a:lnTo>
                    <a:pt x="714" y="336"/>
                  </a:lnTo>
                  <a:lnTo>
                    <a:pt x="712" y="340"/>
                  </a:lnTo>
                  <a:lnTo>
                    <a:pt x="712" y="342"/>
                  </a:lnTo>
                  <a:lnTo>
                    <a:pt x="718" y="344"/>
                  </a:lnTo>
                  <a:lnTo>
                    <a:pt x="720" y="350"/>
                  </a:lnTo>
                  <a:lnTo>
                    <a:pt x="716" y="357"/>
                  </a:lnTo>
                  <a:lnTo>
                    <a:pt x="716" y="359"/>
                  </a:lnTo>
                  <a:lnTo>
                    <a:pt x="724" y="359"/>
                  </a:lnTo>
                  <a:lnTo>
                    <a:pt x="724" y="361"/>
                  </a:lnTo>
                  <a:lnTo>
                    <a:pt x="722" y="363"/>
                  </a:lnTo>
                  <a:lnTo>
                    <a:pt x="726" y="365"/>
                  </a:lnTo>
                  <a:lnTo>
                    <a:pt x="726" y="369"/>
                  </a:lnTo>
                  <a:lnTo>
                    <a:pt x="728" y="371"/>
                  </a:lnTo>
                  <a:lnTo>
                    <a:pt x="726" y="373"/>
                  </a:lnTo>
                  <a:lnTo>
                    <a:pt x="726" y="374"/>
                  </a:lnTo>
                  <a:lnTo>
                    <a:pt x="724" y="376"/>
                  </a:lnTo>
                  <a:lnTo>
                    <a:pt x="728" y="378"/>
                  </a:lnTo>
                  <a:lnTo>
                    <a:pt x="728" y="382"/>
                  </a:lnTo>
                  <a:lnTo>
                    <a:pt x="732" y="382"/>
                  </a:lnTo>
                  <a:lnTo>
                    <a:pt x="732" y="380"/>
                  </a:lnTo>
                  <a:lnTo>
                    <a:pt x="735" y="382"/>
                  </a:lnTo>
                  <a:lnTo>
                    <a:pt x="735" y="386"/>
                  </a:lnTo>
                  <a:lnTo>
                    <a:pt x="739" y="388"/>
                  </a:lnTo>
                  <a:lnTo>
                    <a:pt x="741" y="386"/>
                  </a:lnTo>
                  <a:lnTo>
                    <a:pt x="743" y="384"/>
                  </a:lnTo>
                  <a:lnTo>
                    <a:pt x="749" y="384"/>
                  </a:lnTo>
                  <a:lnTo>
                    <a:pt x="749" y="388"/>
                  </a:lnTo>
                  <a:lnTo>
                    <a:pt x="745" y="396"/>
                  </a:lnTo>
                  <a:lnTo>
                    <a:pt x="745" y="398"/>
                  </a:lnTo>
                  <a:lnTo>
                    <a:pt x="747" y="399"/>
                  </a:lnTo>
                  <a:lnTo>
                    <a:pt x="753" y="398"/>
                  </a:lnTo>
                  <a:lnTo>
                    <a:pt x="753" y="401"/>
                  </a:lnTo>
                  <a:lnTo>
                    <a:pt x="760" y="407"/>
                  </a:lnTo>
                  <a:lnTo>
                    <a:pt x="762" y="411"/>
                  </a:lnTo>
                  <a:lnTo>
                    <a:pt x="753" y="411"/>
                  </a:lnTo>
                  <a:lnTo>
                    <a:pt x="749" y="413"/>
                  </a:lnTo>
                  <a:lnTo>
                    <a:pt x="741" y="411"/>
                  </a:lnTo>
                  <a:lnTo>
                    <a:pt x="737" y="411"/>
                  </a:lnTo>
                  <a:lnTo>
                    <a:pt x="737" y="409"/>
                  </a:lnTo>
                  <a:lnTo>
                    <a:pt x="730" y="409"/>
                  </a:lnTo>
                  <a:lnTo>
                    <a:pt x="730" y="413"/>
                  </a:lnTo>
                  <a:lnTo>
                    <a:pt x="724" y="421"/>
                  </a:lnTo>
                  <a:lnTo>
                    <a:pt x="718" y="421"/>
                  </a:lnTo>
                  <a:lnTo>
                    <a:pt x="716" y="423"/>
                  </a:lnTo>
                  <a:lnTo>
                    <a:pt x="712" y="421"/>
                  </a:lnTo>
                  <a:lnTo>
                    <a:pt x="710" y="423"/>
                  </a:lnTo>
                  <a:lnTo>
                    <a:pt x="710" y="430"/>
                  </a:lnTo>
                  <a:lnTo>
                    <a:pt x="718" y="432"/>
                  </a:lnTo>
                  <a:lnTo>
                    <a:pt x="722" y="430"/>
                  </a:lnTo>
                  <a:lnTo>
                    <a:pt x="724" y="434"/>
                  </a:lnTo>
                  <a:lnTo>
                    <a:pt x="728" y="436"/>
                  </a:lnTo>
                  <a:lnTo>
                    <a:pt x="733" y="436"/>
                  </a:lnTo>
                  <a:lnTo>
                    <a:pt x="739" y="438"/>
                  </a:lnTo>
                  <a:lnTo>
                    <a:pt x="737" y="442"/>
                  </a:lnTo>
                  <a:lnTo>
                    <a:pt x="739" y="444"/>
                  </a:lnTo>
                  <a:lnTo>
                    <a:pt x="737" y="449"/>
                  </a:lnTo>
                  <a:lnTo>
                    <a:pt x="735" y="449"/>
                  </a:lnTo>
                  <a:lnTo>
                    <a:pt x="737" y="451"/>
                  </a:lnTo>
                  <a:lnTo>
                    <a:pt x="732" y="451"/>
                  </a:lnTo>
                  <a:lnTo>
                    <a:pt x="726" y="455"/>
                  </a:lnTo>
                  <a:lnTo>
                    <a:pt x="720" y="451"/>
                  </a:lnTo>
                  <a:lnTo>
                    <a:pt x="720" y="453"/>
                  </a:lnTo>
                  <a:lnTo>
                    <a:pt x="722" y="457"/>
                  </a:lnTo>
                  <a:lnTo>
                    <a:pt x="720" y="459"/>
                  </a:lnTo>
                  <a:lnTo>
                    <a:pt x="722" y="461"/>
                  </a:lnTo>
                  <a:lnTo>
                    <a:pt x="722" y="463"/>
                  </a:lnTo>
                  <a:lnTo>
                    <a:pt x="724" y="467"/>
                  </a:lnTo>
                  <a:lnTo>
                    <a:pt x="732" y="471"/>
                  </a:lnTo>
                  <a:lnTo>
                    <a:pt x="737" y="478"/>
                  </a:lnTo>
                  <a:lnTo>
                    <a:pt x="739" y="480"/>
                  </a:lnTo>
                  <a:lnTo>
                    <a:pt x="745" y="482"/>
                  </a:lnTo>
                  <a:lnTo>
                    <a:pt x="755" y="484"/>
                  </a:lnTo>
                  <a:lnTo>
                    <a:pt x="757" y="484"/>
                  </a:lnTo>
                  <a:lnTo>
                    <a:pt x="758" y="484"/>
                  </a:lnTo>
                  <a:lnTo>
                    <a:pt x="762" y="486"/>
                  </a:lnTo>
                  <a:lnTo>
                    <a:pt x="766" y="488"/>
                  </a:lnTo>
                  <a:lnTo>
                    <a:pt x="768" y="492"/>
                  </a:lnTo>
                  <a:lnTo>
                    <a:pt x="776" y="494"/>
                  </a:lnTo>
                  <a:lnTo>
                    <a:pt x="778" y="497"/>
                  </a:lnTo>
                  <a:lnTo>
                    <a:pt x="781" y="499"/>
                  </a:lnTo>
                  <a:lnTo>
                    <a:pt x="785" y="503"/>
                  </a:lnTo>
                  <a:lnTo>
                    <a:pt x="789" y="507"/>
                  </a:lnTo>
                  <a:lnTo>
                    <a:pt x="785" y="507"/>
                  </a:lnTo>
                  <a:lnTo>
                    <a:pt x="783" y="509"/>
                  </a:lnTo>
                  <a:lnTo>
                    <a:pt x="778" y="513"/>
                  </a:lnTo>
                  <a:lnTo>
                    <a:pt x="776" y="515"/>
                  </a:lnTo>
                  <a:lnTo>
                    <a:pt x="768" y="517"/>
                  </a:lnTo>
                  <a:lnTo>
                    <a:pt x="764" y="513"/>
                  </a:lnTo>
                  <a:lnTo>
                    <a:pt x="760" y="509"/>
                  </a:lnTo>
                  <a:lnTo>
                    <a:pt x="758" y="507"/>
                  </a:lnTo>
                  <a:lnTo>
                    <a:pt x="755" y="507"/>
                  </a:lnTo>
                  <a:lnTo>
                    <a:pt x="753" y="509"/>
                  </a:lnTo>
                  <a:lnTo>
                    <a:pt x="743" y="511"/>
                  </a:lnTo>
                  <a:lnTo>
                    <a:pt x="737" y="511"/>
                  </a:lnTo>
                  <a:lnTo>
                    <a:pt x="732" y="507"/>
                  </a:lnTo>
                  <a:lnTo>
                    <a:pt x="728" y="509"/>
                  </a:lnTo>
                  <a:lnTo>
                    <a:pt x="726" y="513"/>
                  </a:lnTo>
                  <a:lnTo>
                    <a:pt x="726" y="517"/>
                  </a:lnTo>
                  <a:lnTo>
                    <a:pt x="724" y="519"/>
                  </a:lnTo>
                  <a:lnTo>
                    <a:pt x="718" y="520"/>
                  </a:lnTo>
                  <a:lnTo>
                    <a:pt x="712" y="524"/>
                  </a:lnTo>
                  <a:lnTo>
                    <a:pt x="709" y="526"/>
                  </a:lnTo>
                  <a:lnTo>
                    <a:pt x="707" y="530"/>
                  </a:lnTo>
                  <a:lnTo>
                    <a:pt x="703" y="530"/>
                  </a:lnTo>
                  <a:lnTo>
                    <a:pt x="701" y="536"/>
                  </a:lnTo>
                  <a:lnTo>
                    <a:pt x="697" y="536"/>
                  </a:lnTo>
                  <a:lnTo>
                    <a:pt x="697" y="538"/>
                  </a:lnTo>
                  <a:lnTo>
                    <a:pt x="699" y="538"/>
                  </a:lnTo>
                  <a:lnTo>
                    <a:pt x="699" y="540"/>
                  </a:lnTo>
                  <a:lnTo>
                    <a:pt x="695" y="540"/>
                  </a:lnTo>
                  <a:lnTo>
                    <a:pt x="695" y="542"/>
                  </a:lnTo>
                  <a:lnTo>
                    <a:pt x="691" y="545"/>
                  </a:lnTo>
                  <a:lnTo>
                    <a:pt x="689" y="544"/>
                  </a:lnTo>
                  <a:lnTo>
                    <a:pt x="691" y="544"/>
                  </a:lnTo>
                  <a:lnTo>
                    <a:pt x="689" y="542"/>
                  </a:lnTo>
                  <a:lnTo>
                    <a:pt x="685" y="545"/>
                  </a:lnTo>
                  <a:lnTo>
                    <a:pt x="684" y="544"/>
                  </a:lnTo>
                  <a:lnTo>
                    <a:pt x="682" y="545"/>
                  </a:lnTo>
                  <a:lnTo>
                    <a:pt x="684" y="547"/>
                  </a:lnTo>
                  <a:lnTo>
                    <a:pt x="680" y="547"/>
                  </a:lnTo>
                  <a:lnTo>
                    <a:pt x="680" y="549"/>
                  </a:lnTo>
                  <a:lnTo>
                    <a:pt x="674" y="551"/>
                  </a:lnTo>
                  <a:lnTo>
                    <a:pt x="670" y="553"/>
                  </a:lnTo>
                  <a:lnTo>
                    <a:pt x="668" y="553"/>
                  </a:lnTo>
                  <a:lnTo>
                    <a:pt x="664" y="553"/>
                  </a:lnTo>
                  <a:lnTo>
                    <a:pt x="664" y="555"/>
                  </a:lnTo>
                  <a:lnTo>
                    <a:pt x="661" y="557"/>
                  </a:lnTo>
                  <a:lnTo>
                    <a:pt x="659" y="559"/>
                  </a:lnTo>
                  <a:lnTo>
                    <a:pt x="657" y="559"/>
                  </a:lnTo>
                  <a:lnTo>
                    <a:pt x="657" y="561"/>
                  </a:lnTo>
                  <a:lnTo>
                    <a:pt x="653" y="561"/>
                  </a:lnTo>
                  <a:lnTo>
                    <a:pt x="651" y="565"/>
                  </a:lnTo>
                  <a:lnTo>
                    <a:pt x="647" y="565"/>
                  </a:lnTo>
                  <a:lnTo>
                    <a:pt x="649" y="574"/>
                  </a:lnTo>
                  <a:lnTo>
                    <a:pt x="647" y="574"/>
                  </a:lnTo>
                  <a:lnTo>
                    <a:pt x="643" y="584"/>
                  </a:lnTo>
                  <a:lnTo>
                    <a:pt x="647" y="586"/>
                  </a:lnTo>
                  <a:lnTo>
                    <a:pt x="645" y="592"/>
                  </a:lnTo>
                  <a:lnTo>
                    <a:pt x="647" y="592"/>
                  </a:lnTo>
                  <a:lnTo>
                    <a:pt x="647" y="597"/>
                  </a:lnTo>
                  <a:lnTo>
                    <a:pt x="647" y="599"/>
                  </a:lnTo>
                  <a:lnTo>
                    <a:pt x="647" y="601"/>
                  </a:lnTo>
                  <a:lnTo>
                    <a:pt x="651" y="605"/>
                  </a:lnTo>
                  <a:lnTo>
                    <a:pt x="651" y="611"/>
                  </a:lnTo>
                  <a:lnTo>
                    <a:pt x="653" y="613"/>
                  </a:lnTo>
                  <a:lnTo>
                    <a:pt x="657" y="615"/>
                  </a:lnTo>
                  <a:lnTo>
                    <a:pt x="662" y="620"/>
                  </a:lnTo>
                  <a:lnTo>
                    <a:pt x="661" y="624"/>
                  </a:lnTo>
                  <a:lnTo>
                    <a:pt x="666" y="628"/>
                  </a:lnTo>
                  <a:lnTo>
                    <a:pt x="664" y="630"/>
                  </a:lnTo>
                  <a:lnTo>
                    <a:pt x="664" y="634"/>
                  </a:lnTo>
                  <a:lnTo>
                    <a:pt x="662" y="638"/>
                  </a:lnTo>
                  <a:lnTo>
                    <a:pt x="657" y="640"/>
                  </a:lnTo>
                  <a:lnTo>
                    <a:pt x="651" y="640"/>
                  </a:lnTo>
                  <a:lnTo>
                    <a:pt x="649" y="641"/>
                  </a:lnTo>
                  <a:lnTo>
                    <a:pt x="649" y="647"/>
                  </a:lnTo>
                  <a:lnTo>
                    <a:pt x="651" y="651"/>
                  </a:lnTo>
                  <a:lnTo>
                    <a:pt x="653" y="653"/>
                  </a:lnTo>
                  <a:lnTo>
                    <a:pt x="655" y="657"/>
                  </a:lnTo>
                  <a:lnTo>
                    <a:pt x="649" y="661"/>
                  </a:lnTo>
                  <a:lnTo>
                    <a:pt x="647" y="663"/>
                  </a:lnTo>
                  <a:lnTo>
                    <a:pt x="651" y="666"/>
                  </a:lnTo>
                  <a:lnTo>
                    <a:pt x="647" y="670"/>
                  </a:lnTo>
                  <a:lnTo>
                    <a:pt x="647" y="674"/>
                  </a:lnTo>
                  <a:lnTo>
                    <a:pt x="643" y="682"/>
                  </a:lnTo>
                  <a:lnTo>
                    <a:pt x="641" y="684"/>
                  </a:lnTo>
                  <a:lnTo>
                    <a:pt x="638" y="688"/>
                  </a:lnTo>
                  <a:lnTo>
                    <a:pt x="636" y="693"/>
                  </a:lnTo>
                  <a:lnTo>
                    <a:pt x="632" y="693"/>
                  </a:lnTo>
                  <a:lnTo>
                    <a:pt x="630" y="697"/>
                  </a:lnTo>
                  <a:lnTo>
                    <a:pt x="628" y="705"/>
                  </a:lnTo>
                  <a:lnTo>
                    <a:pt x="622" y="705"/>
                  </a:lnTo>
                  <a:lnTo>
                    <a:pt x="622" y="707"/>
                  </a:lnTo>
                  <a:lnTo>
                    <a:pt x="616" y="709"/>
                  </a:lnTo>
                  <a:lnTo>
                    <a:pt x="609" y="709"/>
                  </a:lnTo>
                  <a:lnTo>
                    <a:pt x="601" y="709"/>
                  </a:lnTo>
                  <a:lnTo>
                    <a:pt x="593" y="705"/>
                  </a:lnTo>
                  <a:lnTo>
                    <a:pt x="588" y="701"/>
                  </a:lnTo>
                  <a:lnTo>
                    <a:pt x="586" y="699"/>
                  </a:lnTo>
                  <a:lnTo>
                    <a:pt x="586" y="695"/>
                  </a:lnTo>
                  <a:lnTo>
                    <a:pt x="580" y="693"/>
                  </a:lnTo>
                  <a:lnTo>
                    <a:pt x="582" y="688"/>
                  </a:lnTo>
                  <a:lnTo>
                    <a:pt x="576" y="688"/>
                  </a:lnTo>
                  <a:lnTo>
                    <a:pt x="570" y="682"/>
                  </a:lnTo>
                  <a:lnTo>
                    <a:pt x="572" y="678"/>
                  </a:lnTo>
                  <a:lnTo>
                    <a:pt x="578" y="680"/>
                  </a:lnTo>
                  <a:lnTo>
                    <a:pt x="580" y="678"/>
                  </a:lnTo>
                  <a:lnTo>
                    <a:pt x="578" y="672"/>
                  </a:lnTo>
                  <a:lnTo>
                    <a:pt x="580" y="670"/>
                  </a:lnTo>
                  <a:lnTo>
                    <a:pt x="584" y="663"/>
                  </a:lnTo>
                  <a:lnTo>
                    <a:pt x="582" y="661"/>
                  </a:lnTo>
                  <a:lnTo>
                    <a:pt x="582" y="655"/>
                  </a:lnTo>
                  <a:lnTo>
                    <a:pt x="576" y="653"/>
                  </a:lnTo>
                  <a:lnTo>
                    <a:pt x="580" y="649"/>
                  </a:lnTo>
                  <a:lnTo>
                    <a:pt x="578" y="643"/>
                  </a:lnTo>
                  <a:lnTo>
                    <a:pt x="580" y="641"/>
                  </a:lnTo>
                  <a:lnTo>
                    <a:pt x="578" y="640"/>
                  </a:lnTo>
                  <a:lnTo>
                    <a:pt x="578" y="636"/>
                  </a:lnTo>
                  <a:lnTo>
                    <a:pt x="580" y="636"/>
                  </a:lnTo>
                  <a:lnTo>
                    <a:pt x="582" y="638"/>
                  </a:lnTo>
                  <a:lnTo>
                    <a:pt x="588" y="636"/>
                  </a:lnTo>
                  <a:lnTo>
                    <a:pt x="586" y="630"/>
                  </a:lnTo>
                  <a:lnTo>
                    <a:pt x="584" y="630"/>
                  </a:lnTo>
                  <a:lnTo>
                    <a:pt x="584" y="626"/>
                  </a:lnTo>
                  <a:lnTo>
                    <a:pt x="576" y="626"/>
                  </a:lnTo>
                  <a:lnTo>
                    <a:pt x="576" y="622"/>
                  </a:lnTo>
                  <a:lnTo>
                    <a:pt x="572" y="620"/>
                  </a:lnTo>
                  <a:lnTo>
                    <a:pt x="563" y="624"/>
                  </a:lnTo>
                  <a:lnTo>
                    <a:pt x="559" y="624"/>
                  </a:lnTo>
                  <a:lnTo>
                    <a:pt x="557" y="622"/>
                  </a:lnTo>
                  <a:lnTo>
                    <a:pt x="549" y="622"/>
                  </a:lnTo>
                  <a:lnTo>
                    <a:pt x="547" y="618"/>
                  </a:lnTo>
                  <a:lnTo>
                    <a:pt x="545" y="622"/>
                  </a:lnTo>
                  <a:lnTo>
                    <a:pt x="545" y="632"/>
                  </a:lnTo>
                  <a:lnTo>
                    <a:pt x="540" y="630"/>
                  </a:lnTo>
                  <a:lnTo>
                    <a:pt x="538" y="628"/>
                  </a:lnTo>
                  <a:lnTo>
                    <a:pt x="534" y="630"/>
                  </a:lnTo>
                  <a:lnTo>
                    <a:pt x="534" y="622"/>
                  </a:lnTo>
                  <a:lnTo>
                    <a:pt x="530" y="620"/>
                  </a:lnTo>
                  <a:lnTo>
                    <a:pt x="530" y="624"/>
                  </a:lnTo>
                  <a:lnTo>
                    <a:pt x="526" y="624"/>
                  </a:lnTo>
                  <a:lnTo>
                    <a:pt x="526" y="622"/>
                  </a:lnTo>
                  <a:lnTo>
                    <a:pt x="528" y="620"/>
                  </a:lnTo>
                  <a:lnTo>
                    <a:pt x="528" y="613"/>
                  </a:lnTo>
                  <a:lnTo>
                    <a:pt x="528" y="615"/>
                  </a:lnTo>
                  <a:lnTo>
                    <a:pt x="526" y="613"/>
                  </a:lnTo>
                  <a:lnTo>
                    <a:pt x="526" y="615"/>
                  </a:lnTo>
                  <a:lnTo>
                    <a:pt x="524" y="615"/>
                  </a:lnTo>
                  <a:lnTo>
                    <a:pt x="524" y="617"/>
                  </a:lnTo>
                  <a:lnTo>
                    <a:pt x="520" y="617"/>
                  </a:lnTo>
                  <a:lnTo>
                    <a:pt x="524" y="613"/>
                  </a:lnTo>
                  <a:lnTo>
                    <a:pt x="522" y="611"/>
                  </a:lnTo>
                  <a:lnTo>
                    <a:pt x="524" y="611"/>
                  </a:lnTo>
                  <a:lnTo>
                    <a:pt x="524" y="609"/>
                  </a:lnTo>
                  <a:lnTo>
                    <a:pt x="520" y="609"/>
                  </a:lnTo>
                  <a:lnTo>
                    <a:pt x="522" y="607"/>
                  </a:lnTo>
                  <a:lnTo>
                    <a:pt x="520" y="607"/>
                  </a:lnTo>
                  <a:lnTo>
                    <a:pt x="520" y="611"/>
                  </a:lnTo>
                  <a:lnTo>
                    <a:pt x="517" y="609"/>
                  </a:lnTo>
                  <a:lnTo>
                    <a:pt x="515" y="611"/>
                  </a:lnTo>
                  <a:lnTo>
                    <a:pt x="511" y="607"/>
                  </a:lnTo>
                  <a:lnTo>
                    <a:pt x="503" y="603"/>
                  </a:lnTo>
                  <a:lnTo>
                    <a:pt x="499" y="605"/>
                  </a:lnTo>
                  <a:lnTo>
                    <a:pt x="495" y="603"/>
                  </a:lnTo>
                  <a:lnTo>
                    <a:pt x="495" y="601"/>
                  </a:lnTo>
                  <a:lnTo>
                    <a:pt x="492" y="599"/>
                  </a:lnTo>
                  <a:lnTo>
                    <a:pt x="494" y="595"/>
                  </a:lnTo>
                  <a:lnTo>
                    <a:pt x="492" y="590"/>
                  </a:lnTo>
                  <a:lnTo>
                    <a:pt x="490" y="588"/>
                  </a:lnTo>
                  <a:lnTo>
                    <a:pt x="486" y="586"/>
                  </a:lnTo>
                  <a:lnTo>
                    <a:pt x="482" y="586"/>
                  </a:lnTo>
                  <a:lnTo>
                    <a:pt x="476" y="584"/>
                  </a:lnTo>
                  <a:lnTo>
                    <a:pt x="469" y="582"/>
                  </a:lnTo>
                  <a:lnTo>
                    <a:pt x="467" y="578"/>
                  </a:lnTo>
                  <a:lnTo>
                    <a:pt x="461" y="580"/>
                  </a:lnTo>
                  <a:lnTo>
                    <a:pt x="461" y="578"/>
                  </a:lnTo>
                  <a:lnTo>
                    <a:pt x="465" y="576"/>
                  </a:lnTo>
                  <a:lnTo>
                    <a:pt x="465" y="574"/>
                  </a:lnTo>
                  <a:lnTo>
                    <a:pt x="461" y="576"/>
                  </a:lnTo>
                  <a:lnTo>
                    <a:pt x="461" y="572"/>
                  </a:lnTo>
                  <a:lnTo>
                    <a:pt x="463" y="570"/>
                  </a:lnTo>
                  <a:lnTo>
                    <a:pt x="459" y="568"/>
                  </a:lnTo>
                  <a:lnTo>
                    <a:pt x="461" y="567"/>
                  </a:lnTo>
                  <a:lnTo>
                    <a:pt x="459" y="567"/>
                  </a:lnTo>
                  <a:lnTo>
                    <a:pt x="451" y="567"/>
                  </a:lnTo>
                  <a:lnTo>
                    <a:pt x="453" y="570"/>
                  </a:lnTo>
                  <a:lnTo>
                    <a:pt x="453" y="572"/>
                  </a:lnTo>
                  <a:lnTo>
                    <a:pt x="449" y="570"/>
                  </a:lnTo>
                  <a:lnTo>
                    <a:pt x="449" y="572"/>
                  </a:lnTo>
                  <a:lnTo>
                    <a:pt x="447" y="572"/>
                  </a:lnTo>
                  <a:lnTo>
                    <a:pt x="449" y="574"/>
                  </a:lnTo>
                  <a:lnTo>
                    <a:pt x="451" y="576"/>
                  </a:lnTo>
                  <a:lnTo>
                    <a:pt x="449" y="578"/>
                  </a:lnTo>
                  <a:lnTo>
                    <a:pt x="442" y="576"/>
                  </a:lnTo>
                  <a:lnTo>
                    <a:pt x="444" y="574"/>
                  </a:lnTo>
                  <a:lnTo>
                    <a:pt x="444" y="572"/>
                  </a:lnTo>
                  <a:lnTo>
                    <a:pt x="440" y="574"/>
                  </a:lnTo>
                  <a:lnTo>
                    <a:pt x="432" y="568"/>
                  </a:lnTo>
                  <a:lnTo>
                    <a:pt x="430" y="570"/>
                  </a:lnTo>
                  <a:lnTo>
                    <a:pt x="430" y="574"/>
                  </a:lnTo>
                  <a:lnTo>
                    <a:pt x="430" y="568"/>
                  </a:lnTo>
                  <a:lnTo>
                    <a:pt x="426" y="568"/>
                  </a:lnTo>
                  <a:lnTo>
                    <a:pt x="423" y="576"/>
                  </a:lnTo>
                  <a:lnTo>
                    <a:pt x="424" y="580"/>
                  </a:lnTo>
                  <a:lnTo>
                    <a:pt x="419" y="588"/>
                  </a:lnTo>
                  <a:lnTo>
                    <a:pt x="419" y="593"/>
                  </a:lnTo>
                  <a:lnTo>
                    <a:pt x="417" y="595"/>
                  </a:lnTo>
                  <a:lnTo>
                    <a:pt x="417" y="593"/>
                  </a:lnTo>
                  <a:lnTo>
                    <a:pt x="413" y="592"/>
                  </a:lnTo>
                  <a:lnTo>
                    <a:pt x="411" y="599"/>
                  </a:lnTo>
                  <a:lnTo>
                    <a:pt x="405" y="592"/>
                  </a:lnTo>
                  <a:lnTo>
                    <a:pt x="398" y="592"/>
                  </a:lnTo>
                  <a:lnTo>
                    <a:pt x="398" y="595"/>
                  </a:lnTo>
                  <a:lnTo>
                    <a:pt x="394" y="593"/>
                  </a:lnTo>
                  <a:lnTo>
                    <a:pt x="392" y="595"/>
                  </a:lnTo>
                  <a:lnTo>
                    <a:pt x="390" y="590"/>
                  </a:lnTo>
                  <a:lnTo>
                    <a:pt x="386" y="592"/>
                  </a:lnTo>
                  <a:lnTo>
                    <a:pt x="386" y="593"/>
                  </a:lnTo>
                  <a:lnTo>
                    <a:pt x="375" y="593"/>
                  </a:lnTo>
                  <a:lnTo>
                    <a:pt x="375" y="590"/>
                  </a:lnTo>
                  <a:lnTo>
                    <a:pt x="378" y="590"/>
                  </a:lnTo>
                  <a:lnTo>
                    <a:pt x="380" y="588"/>
                  </a:lnTo>
                  <a:lnTo>
                    <a:pt x="378" y="584"/>
                  </a:lnTo>
                  <a:lnTo>
                    <a:pt x="384" y="580"/>
                  </a:lnTo>
                  <a:lnTo>
                    <a:pt x="382" y="574"/>
                  </a:lnTo>
                  <a:lnTo>
                    <a:pt x="388" y="568"/>
                  </a:lnTo>
                  <a:lnTo>
                    <a:pt x="384" y="567"/>
                  </a:lnTo>
                  <a:lnTo>
                    <a:pt x="380" y="567"/>
                  </a:lnTo>
                  <a:lnTo>
                    <a:pt x="378" y="574"/>
                  </a:lnTo>
                  <a:lnTo>
                    <a:pt x="376" y="570"/>
                  </a:lnTo>
                  <a:lnTo>
                    <a:pt x="369" y="572"/>
                  </a:lnTo>
                  <a:lnTo>
                    <a:pt x="367" y="570"/>
                  </a:lnTo>
                  <a:lnTo>
                    <a:pt x="365" y="572"/>
                  </a:lnTo>
                  <a:lnTo>
                    <a:pt x="369" y="574"/>
                  </a:lnTo>
                  <a:lnTo>
                    <a:pt x="367" y="576"/>
                  </a:lnTo>
                  <a:lnTo>
                    <a:pt x="373" y="578"/>
                  </a:lnTo>
                  <a:lnTo>
                    <a:pt x="373" y="580"/>
                  </a:lnTo>
                  <a:lnTo>
                    <a:pt x="369" y="580"/>
                  </a:lnTo>
                  <a:lnTo>
                    <a:pt x="361" y="582"/>
                  </a:lnTo>
                  <a:lnTo>
                    <a:pt x="363" y="578"/>
                  </a:lnTo>
                  <a:lnTo>
                    <a:pt x="359" y="580"/>
                  </a:lnTo>
                  <a:lnTo>
                    <a:pt x="359" y="578"/>
                  </a:lnTo>
                  <a:lnTo>
                    <a:pt x="355" y="576"/>
                  </a:lnTo>
                  <a:lnTo>
                    <a:pt x="357" y="574"/>
                  </a:lnTo>
                  <a:lnTo>
                    <a:pt x="355" y="572"/>
                  </a:lnTo>
                  <a:lnTo>
                    <a:pt x="355" y="570"/>
                  </a:lnTo>
                  <a:lnTo>
                    <a:pt x="353" y="576"/>
                  </a:lnTo>
                  <a:lnTo>
                    <a:pt x="355" y="580"/>
                  </a:lnTo>
                  <a:lnTo>
                    <a:pt x="352" y="578"/>
                  </a:lnTo>
                  <a:lnTo>
                    <a:pt x="348" y="580"/>
                  </a:lnTo>
                  <a:lnTo>
                    <a:pt x="346" y="576"/>
                  </a:lnTo>
                  <a:lnTo>
                    <a:pt x="342" y="576"/>
                  </a:lnTo>
                  <a:lnTo>
                    <a:pt x="344" y="578"/>
                  </a:lnTo>
                  <a:lnTo>
                    <a:pt x="344" y="582"/>
                  </a:lnTo>
                  <a:lnTo>
                    <a:pt x="348" y="584"/>
                  </a:lnTo>
                  <a:lnTo>
                    <a:pt x="348" y="586"/>
                  </a:lnTo>
                  <a:lnTo>
                    <a:pt x="340" y="586"/>
                  </a:lnTo>
                  <a:lnTo>
                    <a:pt x="340" y="590"/>
                  </a:lnTo>
                  <a:lnTo>
                    <a:pt x="338" y="590"/>
                  </a:lnTo>
                  <a:lnTo>
                    <a:pt x="338" y="586"/>
                  </a:lnTo>
                  <a:lnTo>
                    <a:pt x="336" y="584"/>
                  </a:lnTo>
                  <a:lnTo>
                    <a:pt x="338" y="582"/>
                  </a:lnTo>
                  <a:lnTo>
                    <a:pt x="344" y="582"/>
                  </a:lnTo>
                  <a:lnTo>
                    <a:pt x="340" y="582"/>
                  </a:lnTo>
                  <a:lnTo>
                    <a:pt x="336" y="578"/>
                  </a:lnTo>
                  <a:lnTo>
                    <a:pt x="330" y="582"/>
                  </a:lnTo>
                  <a:lnTo>
                    <a:pt x="330" y="584"/>
                  </a:lnTo>
                  <a:lnTo>
                    <a:pt x="332" y="586"/>
                  </a:lnTo>
                  <a:lnTo>
                    <a:pt x="330" y="586"/>
                  </a:lnTo>
                  <a:lnTo>
                    <a:pt x="329" y="584"/>
                  </a:lnTo>
                  <a:lnTo>
                    <a:pt x="325" y="588"/>
                  </a:lnTo>
                  <a:lnTo>
                    <a:pt x="319" y="584"/>
                  </a:lnTo>
                  <a:lnTo>
                    <a:pt x="321" y="580"/>
                  </a:lnTo>
                  <a:lnTo>
                    <a:pt x="325" y="578"/>
                  </a:lnTo>
                  <a:lnTo>
                    <a:pt x="329" y="570"/>
                  </a:lnTo>
                  <a:lnTo>
                    <a:pt x="336" y="568"/>
                  </a:lnTo>
                  <a:lnTo>
                    <a:pt x="332" y="561"/>
                  </a:lnTo>
                  <a:lnTo>
                    <a:pt x="330" y="561"/>
                  </a:lnTo>
                  <a:lnTo>
                    <a:pt x="329" y="557"/>
                  </a:lnTo>
                  <a:lnTo>
                    <a:pt x="325" y="555"/>
                  </a:lnTo>
                  <a:lnTo>
                    <a:pt x="325" y="551"/>
                  </a:lnTo>
                  <a:lnTo>
                    <a:pt x="325" y="549"/>
                  </a:lnTo>
                  <a:lnTo>
                    <a:pt x="325" y="545"/>
                  </a:lnTo>
                  <a:lnTo>
                    <a:pt x="319" y="542"/>
                  </a:lnTo>
                  <a:lnTo>
                    <a:pt x="319" y="544"/>
                  </a:lnTo>
                  <a:lnTo>
                    <a:pt x="315" y="544"/>
                  </a:lnTo>
                  <a:lnTo>
                    <a:pt x="313" y="542"/>
                  </a:lnTo>
                  <a:lnTo>
                    <a:pt x="311" y="545"/>
                  </a:lnTo>
                  <a:lnTo>
                    <a:pt x="309" y="545"/>
                  </a:lnTo>
                  <a:lnTo>
                    <a:pt x="305" y="549"/>
                  </a:lnTo>
                  <a:lnTo>
                    <a:pt x="300" y="547"/>
                  </a:lnTo>
                  <a:lnTo>
                    <a:pt x="300" y="549"/>
                  </a:lnTo>
                  <a:lnTo>
                    <a:pt x="294" y="549"/>
                  </a:lnTo>
                  <a:lnTo>
                    <a:pt x="292" y="553"/>
                  </a:lnTo>
                  <a:lnTo>
                    <a:pt x="290" y="555"/>
                  </a:lnTo>
                  <a:lnTo>
                    <a:pt x="290" y="557"/>
                  </a:lnTo>
                  <a:lnTo>
                    <a:pt x="284" y="557"/>
                  </a:lnTo>
                  <a:lnTo>
                    <a:pt x="282" y="563"/>
                  </a:lnTo>
                  <a:lnTo>
                    <a:pt x="281" y="559"/>
                  </a:lnTo>
                  <a:lnTo>
                    <a:pt x="275" y="561"/>
                  </a:lnTo>
                  <a:lnTo>
                    <a:pt x="277" y="563"/>
                  </a:lnTo>
                  <a:lnTo>
                    <a:pt x="275" y="565"/>
                  </a:lnTo>
                  <a:lnTo>
                    <a:pt x="277" y="570"/>
                  </a:lnTo>
                  <a:lnTo>
                    <a:pt x="275" y="574"/>
                  </a:lnTo>
                  <a:lnTo>
                    <a:pt x="275" y="576"/>
                  </a:lnTo>
                  <a:lnTo>
                    <a:pt x="271" y="576"/>
                  </a:lnTo>
                  <a:lnTo>
                    <a:pt x="263" y="572"/>
                  </a:lnTo>
                  <a:lnTo>
                    <a:pt x="256" y="574"/>
                  </a:lnTo>
                  <a:lnTo>
                    <a:pt x="250" y="572"/>
                  </a:lnTo>
                  <a:lnTo>
                    <a:pt x="248" y="572"/>
                  </a:lnTo>
                  <a:lnTo>
                    <a:pt x="248" y="570"/>
                  </a:lnTo>
                  <a:lnTo>
                    <a:pt x="244" y="568"/>
                  </a:lnTo>
                  <a:lnTo>
                    <a:pt x="240" y="572"/>
                  </a:lnTo>
                  <a:lnTo>
                    <a:pt x="240" y="576"/>
                  </a:lnTo>
                  <a:lnTo>
                    <a:pt x="236" y="578"/>
                  </a:lnTo>
                  <a:lnTo>
                    <a:pt x="233" y="578"/>
                  </a:lnTo>
                  <a:lnTo>
                    <a:pt x="234" y="572"/>
                  </a:lnTo>
                  <a:lnTo>
                    <a:pt x="231" y="576"/>
                  </a:lnTo>
                  <a:lnTo>
                    <a:pt x="231" y="572"/>
                  </a:lnTo>
                  <a:lnTo>
                    <a:pt x="229" y="572"/>
                  </a:lnTo>
                  <a:lnTo>
                    <a:pt x="229" y="574"/>
                  </a:lnTo>
                  <a:lnTo>
                    <a:pt x="227" y="574"/>
                  </a:lnTo>
                  <a:lnTo>
                    <a:pt x="225" y="570"/>
                  </a:lnTo>
                  <a:lnTo>
                    <a:pt x="225" y="568"/>
                  </a:lnTo>
                  <a:lnTo>
                    <a:pt x="229" y="565"/>
                  </a:lnTo>
                  <a:lnTo>
                    <a:pt x="231" y="565"/>
                  </a:lnTo>
                  <a:lnTo>
                    <a:pt x="231" y="563"/>
                  </a:lnTo>
                  <a:lnTo>
                    <a:pt x="234" y="559"/>
                  </a:lnTo>
                  <a:lnTo>
                    <a:pt x="236" y="557"/>
                  </a:lnTo>
                  <a:lnTo>
                    <a:pt x="234" y="557"/>
                  </a:lnTo>
                  <a:lnTo>
                    <a:pt x="231" y="559"/>
                  </a:lnTo>
                  <a:lnTo>
                    <a:pt x="229" y="559"/>
                  </a:lnTo>
                  <a:lnTo>
                    <a:pt x="225" y="555"/>
                  </a:lnTo>
                  <a:lnTo>
                    <a:pt x="225" y="557"/>
                  </a:lnTo>
                  <a:lnTo>
                    <a:pt x="223" y="559"/>
                  </a:lnTo>
                  <a:lnTo>
                    <a:pt x="221" y="555"/>
                  </a:lnTo>
                  <a:lnTo>
                    <a:pt x="221" y="551"/>
                  </a:lnTo>
                  <a:lnTo>
                    <a:pt x="217" y="551"/>
                  </a:lnTo>
                  <a:lnTo>
                    <a:pt x="213" y="553"/>
                  </a:lnTo>
                  <a:lnTo>
                    <a:pt x="211" y="557"/>
                  </a:lnTo>
                  <a:lnTo>
                    <a:pt x="213" y="559"/>
                  </a:lnTo>
                  <a:lnTo>
                    <a:pt x="215" y="557"/>
                  </a:lnTo>
                  <a:lnTo>
                    <a:pt x="217" y="559"/>
                  </a:lnTo>
                  <a:lnTo>
                    <a:pt x="221" y="559"/>
                  </a:lnTo>
                  <a:lnTo>
                    <a:pt x="221" y="565"/>
                  </a:lnTo>
                  <a:lnTo>
                    <a:pt x="215" y="561"/>
                  </a:lnTo>
                  <a:lnTo>
                    <a:pt x="213" y="567"/>
                  </a:lnTo>
                  <a:lnTo>
                    <a:pt x="219" y="570"/>
                  </a:lnTo>
                  <a:lnTo>
                    <a:pt x="217" y="572"/>
                  </a:lnTo>
                  <a:lnTo>
                    <a:pt x="211" y="574"/>
                  </a:lnTo>
                  <a:lnTo>
                    <a:pt x="211" y="570"/>
                  </a:lnTo>
                  <a:lnTo>
                    <a:pt x="210" y="570"/>
                  </a:lnTo>
                  <a:lnTo>
                    <a:pt x="208" y="570"/>
                  </a:lnTo>
                  <a:lnTo>
                    <a:pt x="210" y="572"/>
                  </a:lnTo>
                  <a:lnTo>
                    <a:pt x="210" y="574"/>
                  </a:lnTo>
                  <a:lnTo>
                    <a:pt x="206" y="574"/>
                  </a:lnTo>
                  <a:lnTo>
                    <a:pt x="204" y="570"/>
                  </a:lnTo>
                  <a:lnTo>
                    <a:pt x="202" y="572"/>
                  </a:lnTo>
                  <a:lnTo>
                    <a:pt x="204" y="574"/>
                  </a:lnTo>
                  <a:lnTo>
                    <a:pt x="198" y="574"/>
                  </a:lnTo>
                  <a:lnTo>
                    <a:pt x="196" y="572"/>
                  </a:lnTo>
                  <a:lnTo>
                    <a:pt x="198" y="570"/>
                  </a:lnTo>
                  <a:lnTo>
                    <a:pt x="194" y="567"/>
                  </a:lnTo>
                  <a:lnTo>
                    <a:pt x="188" y="572"/>
                  </a:lnTo>
                  <a:lnTo>
                    <a:pt x="186" y="572"/>
                  </a:lnTo>
                  <a:lnTo>
                    <a:pt x="186" y="567"/>
                  </a:lnTo>
                  <a:lnTo>
                    <a:pt x="188" y="565"/>
                  </a:lnTo>
                  <a:lnTo>
                    <a:pt x="190" y="567"/>
                  </a:lnTo>
                  <a:lnTo>
                    <a:pt x="190" y="563"/>
                  </a:lnTo>
                  <a:lnTo>
                    <a:pt x="186" y="561"/>
                  </a:lnTo>
                  <a:lnTo>
                    <a:pt x="185" y="557"/>
                  </a:lnTo>
                  <a:lnTo>
                    <a:pt x="183" y="557"/>
                  </a:lnTo>
                  <a:lnTo>
                    <a:pt x="183" y="561"/>
                  </a:lnTo>
                  <a:lnTo>
                    <a:pt x="185" y="563"/>
                  </a:lnTo>
                  <a:lnTo>
                    <a:pt x="185" y="567"/>
                  </a:lnTo>
                  <a:lnTo>
                    <a:pt x="181" y="563"/>
                  </a:lnTo>
                  <a:lnTo>
                    <a:pt x="177" y="563"/>
                  </a:lnTo>
                  <a:lnTo>
                    <a:pt x="173" y="568"/>
                  </a:lnTo>
                  <a:lnTo>
                    <a:pt x="171" y="568"/>
                  </a:lnTo>
                  <a:lnTo>
                    <a:pt x="171" y="567"/>
                  </a:lnTo>
                  <a:lnTo>
                    <a:pt x="173" y="563"/>
                  </a:lnTo>
                  <a:lnTo>
                    <a:pt x="171" y="563"/>
                  </a:lnTo>
                  <a:lnTo>
                    <a:pt x="171" y="559"/>
                  </a:lnTo>
                  <a:lnTo>
                    <a:pt x="173" y="561"/>
                  </a:lnTo>
                  <a:lnTo>
                    <a:pt x="175" y="557"/>
                  </a:lnTo>
                  <a:lnTo>
                    <a:pt x="179" y="559"/>
                  </a:lnTo>
                  <a:lnTo>
                    <a:pt x="179" y="557"/>
                  </a:lnTo>
                  <a:lnTo>
                    <a:pt x="181" y="557"/>
                  </a:lnTo>
                  <a:lnTo>
                    <a:pt x="179" y="551"/>
                  </a:lnTo>
                  <a:lnTo>
                    <a:pt x="171" y="549"/>
                  </a:lnTo>
                  <a:lnTo>
                    <a:pt x="169" y="553"/>
                  </a:lnTo>
                  <a:lnTo>
                    <a:pt x="171" y="557"/>
                  </a:lnTo>
                  <a:lnTo>
                    <a:pt x="167" y="563"/>
                  </a:lnTo>
                  <a:lnTo>
                    <a:pt x="163" y="557"/>
                  </a:lnTo>
                  <a:lnTo>
                    <a:pt x="165" y="553"/>
                  </a:lnTo>
                  <a:lnTo>
                    <a:pt x="162" y="555"/>
                  </a:lnTo>
                  <a:lnTo>
                    <a:pt x="163" y="553"/>
                  </a:lnTo>
                  <a:lnTo>
                    <a:pt x="167" y="553"/>
                  </a:lnTo>
                  <a:lnTo>
                    <a:pt x="173" y="545"/>
                  </a:lnTo>
                  <a:lnTo>
                    <a:pt x="181" y="544"/>
                  </a:lnTo>
                  <a:lnTo>
                    <a:pt x="179" y="545"/>
                  </a:lnTo>
                  <a:lnTo>
                    <a:pt x="173" y="545"/>
                  </a:lnTo>
                  <a:lnTo>
                    <a:pt x="179" y="549"/>
                  </a:lnTo>
                  <a:lnTo>
                    <a:pt x="183" y="545"/>
                  </a:lnTo>
                  <a:lnTo>
                    <a:pt x="181" y="540"/>
                  </a:lnTo>
                  <a:lnTo>
                    <a:pt x="179" y="540"/>
                  </a:lnTo>
                  <a:lnTo>
                    <a:pt x="175" y="538"/>
                  </a:lnTo>
                  <a:lnTo>
                    <a:pt x="179" y="534"/>
                  </a:lnTo>
                  <a:lnTo>
                    <a:pt x="177" y="530"/>
                  </a:lnTo>
                  <a:lnTo>
                    <a:pt x="181" y="528"/>
                  </a:lnTo>
                  <a:lnTo>
                    <a:pt x="179" y="526"/>
                  </a:lnTo>
                  <a:lnTo>
                    <a:pt x="177" y="528"/>
                  </a:lnTo>
                  <a:lnTo>
                    <a:pt x="173" y="526"/>
                  </a:lnTo>
                  <a:lnTo>
                    <a:pt x="173" y="530"/>
                  </a:lnTo>
                  <a:lnTo>
                    <a:pt x="167" y="532"/>
                  </a:lnTo>
                  <a:lnTo>
                    <a:pt x="171" y="538"/>
                  </a:lnTo>
                  <a:lnTo>
                    <a:pt x="169" y="540"/>
                  </a:lnTo>
                  <a:lnTo>
                    <a:pt x="165" y="540"/>
                  </a:lnTo>
                  <a:lnTo>
                    <a:pt x="165" y="538"/>
                  </a:lnTo>
                  <a:lnTo>
                    <a:pt x="169" y="538"/>
                  </a:lnTo>
                  <a:lnTo>
                    <a:pt x="165" y="536"/>
                  </a:lnTo>
                  <a:lnTo>
                    <a:pt x="163" y="534"/>
                  </a:lnTo>
                  <a:lnTo>
                    <a:pt x="160" y="536"/>
                  </a:lnTo>
                  <a:lnTo>
                    <a:pt x="158" y="534"/>
                  </a:lnTo>
                  <a:lnTo>
                    <a:pt x="156" y="536"/>
                  </a:lnTo>
                  <a:lnTo>
                    <a:pt x="160" y="540"/>
                  </a:lnTo>
                  <a:lnTo>
                    <a:pt x="163" y="540"/>
                  </a:lnTo>
                  <a:lnTo>
                    <a:pt x="165" y="542"/>
                  </a:lnTo>
                  <a:lnTo>
                    <a:pt x="158" y="542"/>
                  </a:lnTo>
                  <a:lnTo>
                    <a:pt x="158" y="544"/>
                  </a:lnTo>
                  <a:lnTo>
                    <a:pt x="160" y="544"/>
                  </a:lnTo>
                  <a:lnTo>
                    <a:pt x="160" y="549"/>
                  </a:lnTo>
                  <a:lnTo>
                    <a:pt x="154" y="549"/>
                  </a:lnTo>
                  <a:lnTo>
                    <a:pt x="154" y="547"/>
                  </a:lnTo>
                  <a:lnTo>
                    <a:pt x="150" y="544"/>
                  </a:lnTo>
                  <a:lnTo>
                    <a:pt x="154" y="540"/>
                  </a:lnTo>
                  <a:lnTo>
                    <a:pt x="148" y="540"/>
                  </a:lnTo>
                  <a:lnTo>
                    <a:pt x="146" y="540"/>
                  </a:lnTo>
                  <a:lnTo>
                    <a:pt x="146" y="544"/>
                  </a:lnTo>
                  <a:lnTo>
                    <a:pt x="144" y="542"/>
                  </a:lnTo>
                  <a:lnTo>
                    <a:pt x="142" y="545"/>
                  </a:lnTo>
                  <a:lnTo>
                    <a:pt x="138" y="544"/>
                  </a:lnTo>
                  <a:lnTo>
                    <a:pt x="138" y="545"/>
                  </a:lnTo>
                  <a:lnTo>
                    <a:pt x="140" y="547"/>
                  </a:lnTo>
                  <a:lnTo>
                    <a:pt x="140" y="549"/>
                  </a:lnTo>
                  <a:lnTo>
                    <a:pt x="135" y="547"/>
                  </a:lnTo>
                  <a:lnTo>
                    <a:pt x="137" y="551"/>
                  </a:lnTo>
                  <a:lnTo>
                    <a:pt x="135" y="555"/>
                  </a:lnTo>
                  <a:lnTo>
                    <a:pt x="133" y="555"/>
                  </a:lnTo>
                  <a:lnTo>
                    <a:pt x="131" y="551"/>
                  </a:lnTo>
                  <a:lnTo>
                    <a:pt x="129" y="555"/>
                  </a:lnTo>
                  <a:lnTo>
                    <a:pt x="125" y="553"/>
                  </a:lnTo>
                  <a:lnTo>
                    <a:pt x="125" y="555"/>
                  </a:lnTo>
                  <a:lnTo>
                    <a:pt x="125" y="559"/>
                  </a:lnTo>
                  <a:lnTo>
                    <a:pt x="131" y="555"/>
                  </a:lnTo>
                  <a:lnTo>
                    <a:pt x="135" y="555"/>
                  </a:lnTo>
                  <a:lnTo>
                    <a:pt x="135" y="557"/>
                  </a:lnTo>
                  <a:lnTo>
                    <a:pt x="138" y="559"/>
                  </a:lnTo>
                  <a:lnTo>
                    <a:pt x="138" y="565"/>
                  </a:lnTo>
                  <a:lnTo>
                    <a:pt x="142" y="570"/>
                  </a:lnTo>
                  <a:lnTo>
                    <a:pt x="140" y="576"/>
                  </a:lnTo>
                  <a:lnTo>
                    <a:pt x="144" y="578"/>
                  </a:lnTo>
                  <a:lnTo>
                    <a:pt x="146" y="582"/>
                  </a:lnTo>
                  <a:lnTo>
                    <a:pt x="144" y="590"/>
                  </a:lnTo>
                  <a:lnTo>
                    <a:pt x="144" y="592"/>
                  </a:lnTo>
                  <a:lnTo>
                    <a:pt x="148" y="593"/>
                  </a:lnTo>
                  <a:lnTo>
                    <a:pt x="148" y="597"/>
                  </a:lnTo>
                  <a:lnTo>
                    <a:pt x="152" y="599"/>
                  </a:lnTo>
                  <a:lnTo>
                    <a:pt x="158" y="603"/>
                  </a:lnTo>
                  <a:lnTo>
                    <a:pt x="160" y="607"/>
                  </a:lnTo>
                  <a:lnTo>
                    <a:pt x="158" y="611"/>
                  </a:lnTo>
                  <a:lnTo>
                    <a:pt x="160" y="618"/>
                  </a:lnTo>
                  <a:lnTo>
                    <a:pt x="156" y="624"/>
                  </a:lnTo>
                  <a:lnTo>
                    <a:pt x="156" y="630"/>
                  </a:lnTo>
                  <a:lnTo>
                    <a:pt x="160" y="632"/>
                  </a:lnTo>
                  <a:lnTo>
                    <a:pt x="165" y="628"/>
                  </a:lnTo>
                  <a:lnTo>
                    <a:pt x="167" y="628"/>
                  </a:lnTo>
                  <a:lnTo>
                    <a:pt x="169" y="626"/>
                  </a:lnTo>
                  <a:lnTo>
                    <a:pt x="171" y="628"/>
                  </a:lnTo>
                  <a:lnTo>
                    <a:pt x="175" y="634"/>
                  </a:lnTo>
                  <a:lnTo>
                    <a:pt x="177" y="636"/>
                  </a:lnTo>
                  <a:lnTo>
                    <a:pt x="177" y="641"/>
                  </a:lnTo>
                  <a:lnTo>
                    <a:pt x="179" y="641"/>
                  </a:lnTo>
                  <a:lnTo>
                    <a:pt x="175" y="643"/>
                  </a:lnTo>
                  <a:lnTo>
                    <a:pt x="173" y="641"/>
                  </a:lnTo>
                  <a:lnTo>
                    <a:pt x="173" y="645"/>
                  </a:lnTo>
                  <a:lnTo>
                    <a:pt x="175" y="647"/>
                  </a:lnTo>
                  <a:lnTo>
                    <a:pt x="179" y="647"/>
                  </a:lnTo>
                  <a:lnTo>
                    <a:pt x="181" y="649"/>
                  </a:lnTo>
                  <a:lnTo>
                    <a:pt x="179" y="657"/>
                  </a:lnTo>
                  <a:lnTo>
                    <a:pt x="171" y="663"/>
                  </a:lnTo>
                  <a:lnTo>
                    <a:pt x="171" y="666"/>
                  </a:lnTo>
                  <a:lnTo>
                    <a:pt x="167" y="668"/>
                  </a:lnTo>
                  <a:lnTo>
                    <a:pt x="167" y="672"/>
                  </a:lnTo>
                  <a:lnTo>
                    <a:pt x="163" y="672"/>
                  </a:lnTo>
                  <a:lnTo>
                    <a:pt x="162" y="674"/>
                  </a:lnTo>
                  <a:lnTo>
                    <a:pt x="162" y="672"/>
                  </a:lnTo>
                  <a:lnTo>
                    <a:pt x="160" y="676"/>
                  </a:lnTo>
                  <a:lnTo>
                    <a:pt x="158" y="674"/>
                  </a:lnTo>
                  <a:lnTo>
                    <a:pt x="156" y="666"/>
                  </a:lnTo>
                  <a:lnTo>
                    <a:pt x="154" y="670"/>
                  </a:lnTo>
                  <a:lnTo>
                    <a:pt x="152" y="668"/>
                  </a:lnTo>
                  <a:lnTo>
                    <a:pt x="150" y="670"/>
                  </a:lnTo>
                  <a:lnTo>
                    <a:pt x="146" y="670"/>
                  </a:lnTo>
                  <a:lnTo>
                    <a:pt x="142" y="665"/>
                  </a:lnTo>
                  <a:lnTo>
                    <a:pt x="140" y="665"/>
                  </a:lnTo>
                  <a:lnTo>
                    <a:pt x="140" y="663"/>
                  </a:lnTo>
                  <a:lnTo>
                    <a:pt x="137" y="657"/>
                  </a:lnTo>
                  <a:lnTo>
                    <a:pt x="129" y="653"/>
                  </a:lnTo>
                  <a:lnTo>
                    <a:pt x="125" y="657"/>
                  </a:lnTo>
                  <a:lnTo>
                    <a:pt x="125" y="659"/>
                  </a:lnTo>
                  <a:lnTo>
                    <a:pt x="121" y="661"/>
                  </a:lnTo>
                  <a:lnTo>
                    <a:pt x="119" y="665"/>
                  </a:lnTo>
                  <a:lnTo>
                    <a:pt x="115" y="666"/>
                  </a:lnTo>
                  <a:lnTo>
                    <a:pt x="110" y="659"/>
                  </a:lnTo>
                  <a:lnTo>
                    <a:pt x="114" y="653"/>
                  </a:lnTo>
                  <a:lnTo>
                    <a:pt x="112" y="653"/>
                  </a:lnTo>
                  <a:lnTo>
                    <a:pt x="112" y="651"/>
                  </a:lnTo>
                  <a:lnTo>
                    <a:pt x="104" y="647"/>
                  </a:lnTo>
                  <a:lnTo>
                    <a:pt x="104" y="643"/>
                  </a:lnTo>
                  <a:lnTo>
                    <a:pt x="102" y="643"/>
                  </a:lnTo>
                  <a:lnTo>
                    <a:pt x="102" y="640"/>
                  </a:lnTo>
                  <a:lnTo>
                    <a:pt x="98" y="638"/>
                  </a:lnTo>
                  <a:lnTo>
                    <a:pt x="104" y="634"/>
                  </a:lnTo>
                  <a:lnTo>
                    <a:pt x="106" y="628"/>
                  </a:lnTo>
                  <a:lnTo>
                    <a:pt x="104" y="626"/>
                  </a:lnTo>
                  <a:lnTo>
                    <a:pt x="106" y="622"/>
                  </a:lnTo>
                  <a:lnTo>
                    <a:pt x="104" y="620"/>
                  </a:lnTo>
                  <a:lnTo>
                    <a:pt x="100" y="615"/>
                  </a:lnTo>
                  <a:lnTo>
                    <a:pt x="100" y="609"/>
                  </a:lnTo>
                  <a:lnTo>
                    <a:pt x="94" y="601"/>
                  </a:lnTo>
                  <a:lnTo>
                    <a:pt x="100" y="595"/>
                  </a:lnTo>
                  <a:lnTo>
                    <a:pt x="106" y="593"/>
                  </a:lnTo>
                  <a:lnTo>
                    <a:pt x="114" y="586"/>
                  </a:lnTo>
                  <a:lnTo>
                    <a:pt x="114" y="578"/>
                  </a:lnTo>
                  <a:lnTo>
                    <a:pt x="117" y="576"/>
                  </a:lnTo>
                  <a:lnTo>
                    <a:pt x="121" y="572"/>
                  </a:lnTo>
                  <a:lnTo>
                    <a:pt x="125" y="574"/>
                  </a:lnTo>
                  <a:lnTo>
                    <a:pt x="123" y="570"/>
                  </a:lnTo>
                  <a:lnTo>
                    <a:pt x="127" y="568"/>
                  </a:lnTo>
                  <a:lnTo>
                    <a:pt x="119" y="567"/>
                  </a:lnTo>
                  <a:lnTo>
                    <a:pt x="121" y="563"/>
                  </a:lnTo>
                  <a:lnTo>
                    <a:pt x="115" y="561"/>
                  </a:lnTo>
                  <a:lnTo>
                    <a:pt x="117" y="559"/>
                  </a:lnTo>
                  <a:lnTo>
                    <a:pt x="115" y="557"/>
                  </a:lnTo>
                  <a:lnTo>
                    <a:pt x="115" y="555"/>
                  </a:lnTo>
                  <a:lnTo>
                    <a:pt x="112" y="553"/>
                  </a:lnTo>
                  <a:lnTo>
                    <a:pt x="114" y="551"/>
                  </a:lnTo>
                  <a:lnTo>
                    <a:pt x="114" y="549"/>
                  </a:lnTo>
                  <a:lnTo>
                    <a:pt x="110" y="547"/>
                  </a:lnTo>
                  <a:lnTo>
                    <a:pt x="112" y="545"/>
                  </a:lnTo>
                  <a:lnTo>
                    <a:pt x="114" y="544"/>
                  </a:lnTo>
                  <a:lnTo>
                    <a:pt x="117" y="538"/>
                  </a:lnTo>
                  <a:lnTo>
                    <a:pt x="119" y="540"/>
                  </a:lnTo>
                  <a:lnTo>
                    <a:pt x="123" y="536"/>
                  </a:lnTo>
                  <a:lnTo>
                    <a:pt x="125" y="536"/>
                  </a:lnTo>
                  <a:lnTo>
                    <a:pt x="123" y="528"/>
                  </a:lnTo>
                  <a:lnTo>
                    <a:pt x="127" y="526"/>
                  </a:lnTo>
                  <a:lnTo>
                    <a:pt x="129" y="528"/>
                  </a:lnTo>
                  <a:lnTo>
                    <a:pt x="131" y="524"/>
                  </a:lnTo>
                  <a:lnTo>
                    <a:pt x="142" y="526"/>
                  </a:lnTo>
                  <a:lnTo>
                    <a:pt x="144" y="524"/>
                  </a:lnTo>
                  <a:lnTo>
                    <a:pt x="146" y="524"/>
                  </a:lnTo>
                  <a:lnTo>
                    <a:pt x="148" y="526"/>
                  </a:lnTo>
                  <a:lnTo>
                    <a:pt x="156" y="520"/>
                  </a:lnTo>
                  <a:lnTo>
                    <a:pt x="158" y="522"/>
                  </a:lnTo>
                  <a:lnTo>
                    <a:pt x="165" y="520"/>
                  </a:lnTo>
                  <a:lnTo>
                    <a:pt x="165" y="513"/>
                  </a:lnTo>
                  <a:lnTo>
                    <a:pt x="165" y="511"/>
                  </a:lnTo>
                  <a:lnTo>
                    <a:pt x="160" y="509"/>
                  </a:lnTo>
                  <a:lnTo>
                    <a:pt x="160" y="505"/>
                  </a:lnTo>
                  <a:lnTo>
                    <a:pt x="163" y="505"/>
                  </a:lnTo>
                  <a:lnTo>
                    <a:pt x="165" y="499"/>
                  </a:lnTo>
                  <a:lnTo>
                    <a:pt x="167" y="499"/>
                  </a:lnTo>
                  <a:lnTo>
                    <a:pt x="165" y="499"/>
                  </a:lnTo>
                  <a:lnTo>
                    <a:pt x="167" y="497"/>
                  </a:lnTo>
                  <a:lnTo>
                    <a:pt x="169" y="497"/>
                  </a:lnTo>
                  <a:lnTo>
                    <a:pt x="171" y="501"/>
                  </a:lnTo>
                  <a:lnTo>
                    <a:pt x="173" y="499"/>
                  </a:lnTo>
                  <a:lnTo>
                    <a:pt x="173" y="495"/>
                  </a:lnTo>
                  <a:lnTo>
                    <a:pt x="171" y="495"/>
                  </a:lnTo>
                  <a:lnTo>
                    <a:pt x="171" y="494"/>
                  </a:lnTo>
                  <a:lnTo>
                    <a:pt x="173" y="492"/>
                  </a:lnTo>
                  <a:lnTo>
                    <a:pt x="175" y="492"/>
                  </a:lnTo>
                  <a:lnTo>
                    <a:pt x="175" y="488"/>
                  </a:lnTo>
                  <a:lnTo>
                    <a:pt x="181" y="482"/>
                  </a:lnTo>
                  <a:lnTo>
                    <a:pt x="181" y="480"/>
                  </a:lnTo>
                  <a:lnTo>
                    <a:pt x="183" y="478"/>
                  </a:lnTo>
                  <a:lnTo>
                    <a:pt x="183" y="474"/>
                  </a:lnTo>
                  <a:lnTo>
                    <a:pt x="186" y="472"/>
                  </a:lnTo>
                  <a:lnTo>
                    <a:pt x="188" y="469"/>
                  </a:lnTo>
                  <a:lnTo>
                    <a:pt x="183" y="465"/>
                  </a:lnTo>
                  <a:lnTo>
                    <a:pt x="185" y="461"/>
                  </a:lnTo>
                  <a:lnTo>
                    <a:pt x="188" y="461"/>
                  </a:lnTo>
                  <a:lnTo>
                    <a:pt x="186" y="457"/>
                  </a:lnTo>
                  <a:lnTo>
                    <a:pt x="190" y="455"/>
                  </a:lnTo>
                  <a:lnTo>
                    <a:pt x="188" y="451"/>
                  </a:lnTo>
                  <a:lnTo>
                    <a:pt x="196" y="455"/>
                  </a:lnTo>
                  <a:lnTo>
                    <a:pt x="198" y="447"/>
                  </a:lnTo>
                  <a:lnTo>
                    <a:pt x="200" y="444"/>
                  </a:lnTo>
                  <a:lnTo>
                    <a:pt x="200" y="446"/>
                  </a:lnTo>
                  <a:lnTo>
                    <a:pt x="202" y="444"/>
                  </a:lnTo>
                  <a:lnTo>
                    <a:pt x="202" y="442"/>
                  </a:lnTo>
                  <a:lnTo>
                    <a:pt x="208" y="436"/>
                  </a:lnTo>
                  <a:lnTo>
                    <a:pt x="206" y="436"/>
                  </a:lnTo>
                  <a:lnTo>
                    <a:pt x="206" y="432"/>
                  </a:lnTo>
                  <a:lnTo>
                    <a:pt x="208" y="432"/>
                  </a:lnTo>
                  <a:lnTo>
                    <a:pt x="200" y="428"/>
                  </a:lnTo>
                  <a:lnTo>
                    <a:pt x="198" y="430"/>
                  </a:lnTo>
                  <a:lnTo>
                    <a:pt x="194" y="430"/>
                  </a:lnTo>
                  <a:lnTo>
                    <a:pt x="196" y="424"/>
                  </a:lnTo>
                  <a:lnTo>
                    <a:pt x="194" y="423"/>
                  </a:lnTo>
                  <a:lnTo>
                    <a:pt x="192" y="419"/>
                  </a:lnTo>
                  <a:lnTo>
                    <a:pt x="190" y="419"/>
                  </a:lnTo>
                  <a:lnTo>
                    <a:pt x="190" y="417"/>
                  </a:lnTo>
                  <a:lnTo>
                    <a:pt x="188" y="417"/>
                  </a:lnTo>
                  <a:lnTo>
                    <a:pt x="188" y="415"/>
                  </a:lnTo>
                  <a:lnTo>
                    <a:pt x="190" y="413"/>
                  </a:lnTo>
                  <a:lnTo>
                    <a:pt x="188" y="409"/>
                  </a:lnTo>
                  <a:lnTo>
                    <a:pt x="190" y="405"/>
                  </a:lnTo>
                  <a:lnTo>
                    <a:pt x="188" y="405"/>
                  </a:lnTo>
                  <a:lnTo>
                    <a:pt x="185" y="407"/>
                  </a:lnTo>
                  <a:lnTo>
                    <a:pt x="185" y="403"/>
                  </a:lnTo>
                  <a:lnTo>
                    <a:pt x="181" y="401"/>
                  </a:lnTo>
                  <a:lnTo>
                    <a:pt x="175" y="403"/>
                  </a:lnTo>
                  <a:lnTo>
                    <a:pt x="171" y="396"/>
                  </a:lnTo>
                  <a:lnTo>
                    <a:pt x="165" y="396"/>
                  </a:lnTo>
                  <a:lnTo>
                    <a:pt x="163" y="392"/>
                  </a:lnTo>
                  <a:lnTo>
                    <a:pt x="162" y="394"/>
                  </a:lnTo>
                  <a:lnTo>
                    <a:pt x="162" y="392"/>
                  </a:lnTo>
                  <a:lnTo>
                    <a:pt x="158" y="392"/>
                  </a:lnTo>
                  <a:lnTo>
                    <a:pt x="156" y="396"/>
                  </a:lnTo>
                  <a:lnTo>
                    <a:pt x="150" y="394"/>
                  </a:lnTo>
                  <a:lnTo>
                    <a:pt x="148" y="398"/>
                  </a:lnTo>
                  <a:lnTo>
                    <a:pt x="144" y="398"/>
                  </a:lnTo>
                  <a:lnTo>
                    <a:pt x="138" y="394"/>
                  </a:lnTo>
                  <a:lnTo>
                    <a:pt x="133" y="392"/>
                  </a:lnTo>
                  <a:lnTo>
                    <a:pt x="131" y="388"/>
                  </a:lnTo>
                  <a:lnTo>
                    <a:pt x="127" y="390"/>
                  </a:lnTo>
                  <a:lnTo>
                    <a:pt x="123" y="384"/>
                  </a:lnTo>
                  <a:lnTo>
                    <a:pt x="114" y="386"/>
                  </a:lnTo>
                  <a:lnTo>
                    <a:pt x="112" y="390"/>
                  </a:lnTo>
                  <a:lnTo>
                    <a:pt x="108" y="388"/>
                  </a:lnTo>
                  <a:lnTo>
                    <a:pt x="106" y="382"/>
                  </a:lnTo>
                  <a:lnTo>
                    <a:pt x="110" y="382"/>
                  </a:lnTo>
                  <a:lnTo>
                    <a:pt x="114" y="378"/>
                  </a:lnTo>
                  <a:lnTo>
                    <a:pt x="108" y="374"/>
                  </a:lnTo>
                  <a:lnTo>
                    <a:pt x="108" y="376"/>
                  </a:lnTo>
                  <a:lnTo>
                    <a:pt x="102" y="374"/>
                  </a:lnTo>
                  <a:lnTo>
                    <a:pt x="96" y="374"/>
                  </a:lnTo>
                  <a:lnTo>
                    <a:pt x="98" y="378"/>
                  </a:lnTo>
                  <a:lnTo>
                    <a:pt x="96" y="378"/>
                  </a:lnTo>
                  <a:lnTo>
                    <a:pt x="96" y="380"/>
                  </a:lnTo>
                  <a:lnTo>
                    <a:pt x="91" y="380"/>
                  </a:lnTo>
                  <a:lnTo>
                    <a:pt x="91" y="384"/>
                  </a:lnTo>
                  <a:lnTo>
                    <a:pt x="87" y="386"/>
                  </a:lnTo>
                  <a:lnTo>
                    <a:pt x="89" y="384"/>
                  </a:lnTo>
                  <a:lnTo>
                    <a:pt x="87" y="380"/>
                  </a:lnTo>
                  <a:lnTo>
                    <a:pt x="83" y="382"/>
                  </a:lnTo>
                  <a:lnTo>
                    <a:pt x="81" y="380"/>
                  </a:lnTo>
                  <a:lnTo>
                    <a:pt x="79" y="380"/>
                  </a:lnTo>
                  <a:lnTo>
                    <a:pt x="75" y="378"/>
                  </a:lnTo>
                  <a:lnTo>
                    <a:pt x="73" y="382"/>
                  </a:lnTo>
                  <a:lnTo>
                    <a:pt x="69" y="378"/>
                  </a:lnTo>
                  <a:lnTo>
                    <a:pt x="60" y="376"/>
                  </a:lnTo>
                  <a:lnTo>
                    <a:pt x="56" y="378"/>
                  </a:lnTo>
                  <a:lnTo>
                    <a:pt x="54" y="384"/>
                  </a:lnTo>
                  <a:lnTo>
                    <a:pt x="52" y="384"/>
                  </a:lnTo>
                  <a:lnTo>
                    <a:pt x="44" y="388"/>
                  </a:lnTo>
                  <a:lnTo>
                    <a:pt x="33" y="390"/>
                  </a:lnTo>
                  <a:lnTo>
                    <a:pt x="33" y="386"/>
                  </a:lnTo>
                  <a:lnTo>
                    <a:pt x="31" y="386"/>
                  </a:lnTo>
                  <a:lnTo>
                    <a:pt x="29" y="394"/>
                  </a:lnTo>
                  <a:lnTo>
                    <a:pt x="31" y="396"/>
                  </a:lnTo>
                  <a:lnTo>
                    <a:pt x="29" y="398"/>
                  </a:lnTo>
                  <a:lnTo>
                    <a:pt x="27" y="398"/>
                  </a:lnTo>
                  <a:lnTo>
                    <a:pt x="27" y="394"/>
                  </a:lnTo>
                  <a:lnTo>
                    <a:pt x="23" y="394"/>
                  </a:lnTo>
                  <a:lnTo>
                    <a:pt x="25" y="390"/>
                  </a:lnTo>
                  <a:lnTo>
                    <a:pt x="23" y="388"/>
                  </a:lnTo>
                  <a:lnTo>
                    <a:pt x="23" y="384"/>
                  </a:lnTo>
                  <a:lnTo>
                    <a:pt x="29" y="380"/>
                  </a:lnTo>
                  <a:lnTo>
                    <a:pt x="37" y="378"/>
                  </a:lnTo>
                  <a:lnTo>
                    <a:pt x="41" y="378"/>
                  </a:lnTo>
                  <a:lnTo>
                    <a:pt x="48" y="373"/>
                  </a:lnTo>
                  <a:lnTo>
                    <a:pt x="50" y="374"/>
                  </a:lnTo>
                  <a:lnTo>
                    <a:pt x="56" y="371"/>
                  </a:lnTo>
                  <a:lnTo>
                    <a:pt x="58" y="371"/>
                  </a:lnTo>
                  <a:lnTo>
                    <a:pt x="60" y="369"/>
                  </a:lnTo>
                  <a:lnTo>
                    <a:pt x="58" y="367"/>
                  </a:lnTo>
                  <a:lnTo>
                    <a:pt x="56" y="371"/>
                  </a:lnTo>
                  <a:lnTo>
                    <a:pt x="54" y="371"/>
                  </a:lnTo>
                  <a:lnTo>
                    <a:pt x="52" y="365"/>
                  </a:lnTo>
                  <a:lnTo>
                    <a:pt x="50" y="367"/>
                  </a:lnTo>
                  <a:lnTo>
                    <a:pt x="43" y="367"/>
                  </a:lnTo>
                  <a:lnTo>
                    <a:pt x="41" y="365"/>
                  </a:lnTo>
                  <a:lnTo>
                    <a:pt x="39" y="367"/>
                  </a:lnTo>
                  <a:lnTo>
                    <a:pt x="41" y="363"/>
                  </a:lnTo>
                  <a:lnTo>
                    <a:pt x="35" y="363"/>
                  </a:lnTo>
                  <a:lnTo>
                    <a:pt x="35" y="359"/>
                  </a:lnTo>
                  <a:lnTo>
                    <a:pt x="33" y="359"/>
                  </a:lnTo>
                  <a:lnTo>
                    <a:pt x="35" y="359"/>
                  </a:lnTo>
                  <a:lnTo>
                    <a:pt x="37" y="359"/>
                  </a:lnTo>
                  <a:lnTo>
                    <a:pt x="44" y="357"/>
                  </a:lnTo>
                  <a:lnTo>
                    <a:pt x="44" y="351"/>
                  </a:lnTo>
                  <a:lnTo>
                    <a:pt x="50" y="351"/>
                  </a:lnTo>
                  <a:lnTo>
                    <a:pt x="52" y="348"/>
                  </a:lnTo>
                  <a:lnTo>
                    <a:pt x="48" y="348"/>
                  </a:lnTo>
                  <a:lnTo>
                    <a:pt x="48" y="344"/>
                  </a:lnTo>
                  <a:lnTo>
                    <a:pt x="46" y="342"/>
                  </a:lnTo>
                  <a:lnTo>
                    <a:pt x="46" y="340"/>
                  </a:lnTo>
                  <a:lnTo>
                    <a:pt x="44" y="338"/>
                  </a:lnTo>
                  <a:lnTo>
                    <a:pt x="46" y="336"/>
                  </a:lnTo>
                  <a:lnTo>
                    <a:pt x="46" y="332"/>
                  </a:lnTo>
                  <a:lnTo>
                    <a:pt x="43" y="334"/>
                  </a:lnTo>
                  <a:lnTo>
                    <a:pt x="35" y="328"/>
                  </a:lnTo>
                  <a:lnTo>
                    <a:pt x="27" y="326"/>
                  </a:lnTo>
                  <a:lnTo>
                    <a:pt x="25" y="325"/>
                  </a:lnTo>
                  <a:lnTo>
                    <a:pt x="27" y="321"/>
                  </a:lnTo>
                  <a:lnTo>
                    <a:pt x="23" y="319"/>
                  </a:lnTo>
                  <a:lnTo>
                    <a:pt x="21" y="315"/>
                  </a:lnTo>
                  <a:lnTo>
                    <a:pt x="18" y="313"/>
                  </a:lnTo>
                  <a:lnTo>
                    <a:pt x="18" y="307"/>
                  </a:lnTo>
                  <a:lnTo>
                    <a:pt x="19" y="305"/>
                  </a:lnTo>
                  <a:lnTo>
                    <a:pt x="16" y="303"/>
                  </a:lnTo>
                  <a:lnTo>
                    <a:pt x="19" y="300"/>
                  </a:lnTo>
                  <a:lnTo>
                    <a:pt x="18" y="294"/>
                  </a:lnTo>
                  <a:lnTo>
                    <a:pt x="14" y="294"/>
                  </a:lnTo>
                  <a:lnTo>
                    <a:pt x="16" y="290"/>
                  </a:lnTo>
                  <a:lnTo>
                    <a:pt x="16" y="284"/>
                  </a:lnTo>
                  <a:lnTo>
                    <a:pt x="12" y="282"/>
                  </a:lnTo>
                  <a:lnTo>
                    <a:pt x="14" y="280"/>
                  </a:lnTo>
                  <a:lnTo>
                    <a:pt x="18" y="278"/>
                  </a:lnTo>
                  <a:lnTo>
                    <a:pt x="19" y="277"/>
                  </a:lnTo>
                  <a:lnTo>
                    <a:pt x="27" y="277"/>
                  </a:lnTo>
                  <a:lnTo>
                    <a:pt x="25" y="275"/>
                  </a:lnTo>
                  <a:lnTo>
                    <a:pt x="27" y="273"/>
                  </a:lnTo>
                  <a:lnTo>
                    <a:pt x="31" y="275"/>
                  </a:lnTo>
                  <a:lnTo>
                    <a:pt x="33" y="275"/>
                  </a:lnTo>
                  <a:lnTo>
                    <a:pt x="35" y="271"/>
                  </a:lnTo>
                  <a:lnTo>
                    <a:pt x="33" y="269"/>
                  </a:lnTo>
                  <a:lnTo>
                    <a:pt x="35" y="267"/>
                  </a:lnTo>
                  <a:lnTo>
                    <a:pt x="37" y="269"/>
                  </a:lnTo>
                  <a:lnTo>
                    <a:pt x="41" y="267"/>
                  </a:lnTo>
                  <a:lnTo>
                    <a:pt x="39" y="267"/>
                  </a:lnTo>
                  <a:lnTo>
                    <a:pt x="39" y="263"/>
                  </a:lnTo>
                  <a:lnTo>
                    <a:pt x="41" y="261"/>
                  </a:lnTo>
                  <a:lnTo>
                    <a:pt x="39" y="261"/>
                  </a:lnTo>
                  <a:lnTo>
                    <a:pt x="41" y="259"/>
                  </a:lnTo>
                  <a:lnTo>
                    <a:pt x="35" y="257"/>
                  </a:lnTo>
                  <a:lnTo>
                    <a:pt x="37" y="253"/>
                  </a:lnTo>
                  <a:lnTo>
                    <a:pt x="35" y="253"/>
                  </a:lnTo>
                  <a:lnTo>
                    <a:pt x="35" y="250"/>
                  </a:lnTo>
                  <a:lnTo>
                    <a:pt x="37" y="252"/>
                  </a:lnTo>
                  <a:lnTo>
                    <a:pt x="39" y="248"/>
                  </a:lnTo>
                  <a:lnTo>
                    <a:pt x="37" y="246"/>
                  </a:lnTo>
                  <a:lnTo>
                    <a:pt x="37" y="244"/>
                  </a:lnTo>
                  <a:lnTo>
                    <a:pt x="43" y="242"/>
                  </a:lnTo>
                  <a:lnTo>
                    <a:pt x="39" y="240"/>
                  </a:lnTo>
                  <a:lnTo>
                    <a:pt x="37" y="242"/>
                  </a:lnTo>
                  <a:lnTo>
                    <a:pt x="37" y="238"/>
                  </a:lnTo>
                  <a:lnTo>
                    <a:pt x="41" y="240"/>
                  </a:lnTo>
                  <a:lnTo>
                    <a:pt x="41" y="236"/>
                  </a:lnTo>
                  <a:lnTo>
                    <a:pt x="43" y="234"/>
                  </a:lnTo>
                  <a:lnTo>
                    <a:pt x="35" y="232"/>
                  </a:lnTo>
                  <a:lnTo>
                    <a:pt x="37" y="230"/>
                  </a:lnTo>
                  <a:lnTo>
                    <a:pt x="35" y="229"/>
                  </a:lnTo>
                  <a:lnTo>
                    <a:pt x="35" y="223"/>
                  </a:lnTo>
                  <a:lnTo>
                    <a:pt x="37" y="221"/>
                  </a:lnTo>
                  <a:lnTo>
                    <a:pt x="37" y="219"/>
                  </a:lnTo>
                  <a:lnTo>
                    <a:pt x="39" y="217"/>
                  </a:lnTo>
                  <a:lnTo>
                    <a:pt x="37" y="217"/>
                  </a:lnTo>
                  <a:lnTo>
                    <a:pt x="35" y="217"/>
                  </a:lnTo>
                  <a:lnTo>
                    <a:pt x="35" y="213"/>
                  </a:lnTo>
                  <a:lnTo>
                    <a:pt x="31" y="215"/>
                  </a:lnTo>
                  <a:lnTo>
                    <a:pt x="29" y="209"/>
                  </a:lnTo>
                  <a:lnTo>
                    <a:pt x="25" y="209"/>
                  </a:lnTo>
                  <a:lnTo>
                    <a:pt x="21" y="205"/>
                  </a:lnTo>
                  <a:lnTo>
                    <a:pt x="18" y="200"/>
                  </a:lnTo>
                  <a:lnTo>
                    <a:pt x="21" y="194"/>
                  </a:lnTo>
                  <a:lnTo>
                    <a:pt x="19" y="192"/>
                  </a:lnTo>
                  <a:lnTo>
                    <a:pt x="21" y="182"/>
                  </a:lnTo>
                  <a:lnTo>
                    <a:pt x="18" y="184"/>
                  </a:lnTo>
                  <a:lnTo>
                    <a:pt x="14" y="179"/>
                  </a:lnTo>
                  <a:lnTo>
                    <a:pt x="12" y="179"/>
                  </a:lnTo>
                  <a:lnTo>
                    <a:pt x="12" y="177"/>
                  </a:lnTo>
                  <a:lnTo>
                    <a:pt x="10" y="177"/>
                  </a:lnTo>
                  <a:lnTo>
                    <a:pt x="12" y="177"/>
                  </a:lnTo>
                  <a:lnTo>
                    <a:pt x="8" y="177"/>
                  </a:lnTo>
                  <a:lnTo>
                    <a:pt x="8" y="173"/>
                  </a:lnTo>
                  <a:lnTo>
                    <a:pt x="10" y="173"/>
                  </a:lnTo>
                  <a:lnTo>
                    <a:pt x="12" y="171"/>
                  </a:lnTo>
                  <a:lnTo>
                    <a:pt x="8" y="167"/>
                  </a:lnTo>
                  <a:lnTo>
                    <a:pt x="8" y="165"/>
                  </a:lnTo>
                  <a:lnTo>
                    <a:pt x="12" y="165"/>
                  </a:lnTo>
                  <a:lnTo>
                    <a:pt x="12" y="163"/>
                  </a:lnTo>
                  <a:lnTo>
                    <a:pt x="10" y="157"/>
                  </a:lnTo>
                  <a:lnTo>
                    <a:pt x="8" y="152"/>
                  </a:lnTo>
                  <a:lnTo>
                    <a:pt x="4" y="150"/>
                  </a:lnTo>
                  <a:lnTo>
                    <a:pt x="6" y="144"/>
                  </a:lnTo>
                  <a:lnTo>
                    <a:pt x="2" y="142"/>
                  </a:lnTo>
                  <a:lnTo>
                    <a:pt x="4" y="138"/>
                  </a:lnTo>
                  <a:lnTo>
                    <a:pt x="2" y="136"/>
                  </a:lnTo>
                  <a:lnTo>
                    <a:pt x="4" y="132"/>
                  </a:lnTo>
                  <a:lnTo>
                    <a:pt x="4" y="129"/>
                  </a:lnTo>
                  <a:lnTo>
                    <a:pt x="6" y="127"/>
                  </a:lnTo>
                  <a:lnTo>
                    <a:pt x="4" y="123"/>
                  </a:lnTo>
                  <a:lnTo>
                    <a:pt x="6" y="119"/>
                  </a:lnTo>
                  <a:lnTo>
                    <a:pt x="2" y="115"/>
                  </a:lnTo>
                  <a:lnTo>
                    <a:pt x="6" y="111"/>
                  </a:lnTo>
                  <a:lnTo>
                    <a:pt x="4" y="107"/>
                  </a:lnTo>
                  <a:lnTo>
                    <a:pt x="6" y="106"/>
                  </a:lnTo>
                  <a:lnTo>
                    <a:pt x="4" y="102"/>
                  </a:lnTo>
                  <a:lnTo>
                    <a:pt x="4" y="98"/>
                  </a:lnTo>
                  <a:lnTo>
                    <a:pt x="2" y="100"/>
                  </a:lnTo>
                  <a:lnTo>
                    <a:pt x="0" y="98"/>
                  </a:lnTo>
                  <a:lnTo>
                    <a:pt x="2" y="94"/>
                  </a:lnTo>
                  <a:lnTo>
                    <a:pt x="2" y="90"/>
                  </a:lnTo>
                  <a:lnTo>
                    <a:pt x="4" y="83"/>
                  </a:lnTo>
                  <a:lnTo>
                    <a:pt x="4" y="81"/>
                  </a:lnTo>
                  <a:lnTo>
                    <a:pt x="6" y="79"/>
                  </a:lnTo>
                  <a:lnTo>
                    <a:pt x="4" y="73"/>
                  </a:lnTo>
                  <a:lnTo>
                    <a:pt x="6" y="69"/>
                  </a:lnTo>
                  <a:lnTo>
                    <a:pt x="8" y="67"/>
                  </a:lnTo>
                  <a:lnTo>
                    <a:pt x="10" y="61"/>
                  </a:lnTo>
                  <a:lnTo>
                    <a:pt x="14" y="59"/>
                  </a:lnTo>
                  <a:lnTo>
                    <a:pt x="10" y="56"/>
                  </a:lnTo>
                  <a:lnTo>
                    <a:pt x="16" y="54"/>
                  </a:lnTo>
                  <a:lnTo>
                    <a:pt x="16" y="48"/>
                  </a:lnTo>
                  <a:lnTo>
                    <a:pt x="18" y="44"/>
                  </a:lnTo>
                  <a:lnTo>
                    <a:pt x="21" y="42"/>
                  </a:lnTo>
                  <a:lnTo>
                    <a:pt x="23" y="38"/>
                  </a:lnTo>
                  <a:lnTo>
                    <a:pt x="25" y="38"/>
                  </a:lnTo>
                  <a:lnTo>
                    <a:pt x="31" y="36"/>
                  </a:lnTo>
                  <a:lnTo>
                    <a:pt x="39" y="33"/>
                  </a:lnTo>
                  <a:lnTo>
                    <a:pt x="37" y="31"/>
                  </a:lnTo>
                  <a:lnTo>
                    <a:pt x="39" y="27"/>
                  </a:lnTo>
                  <a:lnTo>
                    <a:pt x="43" y="27"/>
                  </a:lnTo>
                  <a:lnTo>
                    <a:pt x="46" y="23"/>
                  </a:lnTo>
                  <a:lnTo>
                    <a:pt x="48" y="19"/>
                  </a:lnTo>
                  <a:lnTo>
                    <a:pt x="54" y="11"/>
                  </a:lnTo>
                  <a:lnTo>
                    <a:pt x="56" y="11"/>
                  </a:lnTo>
                  <a:lnTo>
                    <a:pt x="58" y="4"/>
                  </a:lnTo>
                  <a:lnTo>
                    <a:pt x="56" y="2"/>
                  </a:lnTo>
                  <a:lnTo>
                    <a:pt x="56" y="0"/>
                  </a:lnTo>
                  <a:lnTo>
                    <a:pt x="64" y="0"/>
                  </a:lnTo>
                  <a:lnTo>
                    <a:pt x="67" y="4"/>
                  </a:lnTo>
                  <a:lnTo>
                    <a:pt x="71" y="8"/>
                  </a:lnTo>
                  <a:lnTo>
                    <a:pt x="75" y="10"/>
                  </a:lnTo>
                  <a:lnTo>
                    <a:pt x="81" y="13"/>
                  </a:lnTo>
                  <a:lnTo>
                    <a:pt x="87" y="15"/>
                  </a:lnTo>
                  <a:lnTo>
                    <a:pt x="91" y="15"/>
                  </a:lnTo>
                  <a:lnTo>
                    <a:pt x="92" y="17"/>
                  </a:lnTo>
                  <a:lnTo>
                    <a:pt x="91" y="23"/>
                  </a:lnTo>
                  <a:lnTo>
                    <a:pt x="87" y="25"/>
                  </a:lnTo>
                  <a:lnTo>
                    <a:pt x="83" y="31"/>
                  </a:lnTo>
                  <a:lnTo>
                    <a:pt x="81" y="34"/>
                  </a:lnTo>
                  <a:lnTo>
                    <a:pt x="77" y="33"/>
                  </a:lnTo>
                  <a:lnTo>
                    <a:pt x="73" y="38"/>
                  </a:lnTo>
                  <a:lnTo>
                    <a:pt x="75" y="42"/>
                  </a:lnTo>
                  <a:lnTo>
                    <a:pt x="71" y="46"/>
                  </a:lnTo>
                  <a:lnTo>
                    <a:pt x="73" y="48"/>
                  </a:lnTo>
                  <a:lnTo>
                    <a:pt x="69" y="52"/>
                  </a:lnTo>
                  <a:lnTo>
                    <a:pt x="71" y="54"/>
                  </a:lnTo>
                  <a:lnTo>
                    <a:pt x="67" y="58"/>
                  </a:lnTo>
                  <a:lnTo>
                    <a:pt x="69" y="59"/>
                  </a:lnTo>
                  <a:lnTo>
                    <a:pt x="73" y="67"/>
                  </a:lnTo>
                  <a:lnTo>
                    <a:pt x="73" y="75"/>
                  </a:lnTo>
                  <a:lnTo>
                    <a:pt x="77" y="77"/>
                  </a:lnTo>
                  <a:lnTo>
                    <a:pt x="75" y="79"/>
                  </a:lnTo>
                  <a:lnTo>
                    <a:pt x="77" y="81"/>
                  </a:lnTo>
                  <a:lnTo>
                    <a:pt x="85" y="77"/>
                  </a:lnTo>
                  <a:lnTo>
                    <a:pt x="89" y="77"/>
                  </a:lnTo>
                  <a:lnTo>
                    <a:pt x="89" y="75"/>
                  </a:lnTo>
                  <a:lnTo>
                    <a:pt x="92" y="77"/>
                  </a:lnTo>
                  <a:lnTo>
                    <a:pt x="94" y="81"/>
                  </a:lnTo>
                  <a:lnTo>
                    <a:pt x="94" y="86"/>
                  </a:lnTo>
                  <a:lnTo>
                    <a:pt x="92" y="86"/>
                  </a:lnTo>
                  <a:lnTo>
                    <a:pt x="92" y="88"/>
                  </a:lnTo>
                  <a:lnTo>
                    <a:pt x="96" y="88"/>
                  </a:lnTo>
                  <a:lnTo>
                    <a:pt x="96" y="94"/>
                  </a:lnTo>
                  <a:lnTo>
                    <a:pt x="102" y="92"/>
                  </a:lnTo>
                  <a:lnTo>
                    <a:pt x="102" y="88"/>
                  </a:lnTo>
                  <a:lnTo>
                    <a:pt x="106" y="88"/>
                  </a:lnTo>
                  <a:lnTo>
                    <a:pt x="108" y="84"/>
                  </a:lnTo>
                  <a:lnTo>
                    <a:pt x="114" y="79"/>
                  </a:lnTo>
                  <a:lnTo>
                    <a:pt x="121" y="75"/>
                  </a:lnTo>
                  <a:lnTo>
                    <a:pt x="123" y="77"/>
                  </a:lnTo>
                  <a:lnTo>
                    <a:pt x="131" y="71"/>
                  </a:lnTo>
                  <a:lnTo>
                    <a:pt x="133" y="67"/>
                  </a:lnTo>
                  <a:lnTo>
                    <a:pt x="142" y="69"/>
                  </a:lnTo>
                  <a:lnTo>
                    <a:pt x="150" y="73"/>
                  </a:lnTo>
                  <a:lnTo>
                    <a:pt x="152" y="79"/>
                  </a:lnTo>
                  <a:lnTo>
                    <a:pt x="152" y="83"/>
                  </a:lnTo>
                  <a:lnTo>
                    <a:pt x="154" y="84"/>
                  </a:lnTo>
                  <a:lnTo>
                    <a:pt x="158" y="90"/>
                  </a:lnTo>
                  <a:lnTo>
                    <a:pt x="162" y="92"/>
                  </a:lnTo>
                  <a:lnTo>
                    <a:pt x="165" y="94"/>
                  </a:lnTo>
                  <a:lnTo>
                    <a:pt x="171" y="98"/>
                  </a:lnTo>
                  <a:lnTo>
                    <a:pt x="175" y="98"/>
                  </a:lnTo>
                  <a:lnTo>
                    <a:pt x="181" y="102"/>
                  </a:lnTo>
                  <a:lnTo>
                    <a:pt x="192" y="104"/>
                  </a:lnTo>
                  <a:lnTo>
                    <a:pt x="194" y="104"/>
                  </a:lnTo>
                  <a:lnTo>
                    <a:pt x="188" y="109"/>
                  </a:lnTo>
                  <a:lnTo>
                    <a:pt x="185" y="111"/>
                  </a:lnTo>
                  <a:lnTo>
                    <a:pt x="185" y="113"/>
                  </a:lnTo>
                  <a:lnTo>
                    <a:pt x="183" y="111"/>
                  </a:lnTo>
                  <a:lnTo>
                    <a:pt x="179" y="117"/>
                  </a:lnTo>
                  <a:lnTo>
                    <a:pt x="179" y="115"/>
                  </a:lnTo>
                  <a:lnTo>
                    <a:pt x="177" y="115"/>
                  </a:lnTo>
                  <a:lnTo>
                    <a:pt x="171" y="119"/>
                  </a:lnTo>
                  <a:lnTo>
                    <a:pt x="177" y="121"/>
                  </a:lnTo>
                  <a:lnTo>
                    <a:pt x="183" y="125"/>
                  </a:lnTo>
                  <a:lnTo>
                    <a:pt x="186" y="125"/>
                  </a:lnTo>
                  <a:lnTo>
                    <a:pt x="190" y="131"/>
                  </a:lnTo>
                  <a:lnTo>
                    <a:pt x="190" y="136"/>
                  </a:lnTo>
                  <a:lnTo>
                    <a:pt x="196" y="136"/>
                  </a:lnTo>
                  <a:lnTo>
                    <a:pt x="198" y="134"/>
                  </a:lnTo>
                  <a:lnTo>
                    <a:pt x="202" y="140"/>
                  </a:lnTo>
                  <a:lnTo>
                    <a:pt x="202" y="138"/>
                  </a:lnTo>
                  <a:lnTo>
                    <a:pt x="204" y="138"/>
                  </a:lnTo>
                  <a:lnTo>
                    <a:pt x="206" y="134"/>
                  </a:lnTo>
                  <a:lnTo>
                    <a:pt x="215" y="138"/>
                  </a:lnTo>
                  <a:lnTo>
                    <a:pt x="215" y="142"/>
                  </a:lnTo>
                  <a:lnTo>
                    <a:pt x="215" y="146"/>
                  </a:lnTo>
                  <a:lnTo>
                    <a:pt x="217" y="148"/>
                  </a:lnTo>
                  <a:lnTo>
                    <a:pt x="217" y="150"/>
                  </a:lnTo>
                  <a:lnTo>
                    <a:pt x="219" y="152"/>
                  </a:lnTo>
                  <a:lnTo>
                    <a:pt x="223" y="150"/>
                  </a:lnTo>
                  <a:lnTo>
                    <a:pt x="225" y="152"/>
                  </a:lnTo>
                  <a:lnTo>
                    <a:pt x="231" y="157"/>
                  </a:lnTo>
                  <a:lnTo>
                    <a:pt x="236" y="157"/>
                  </a:lnTo>
                  <a:lnTo>
                    <a:pt x="238" y="156"/>
                  </a:lnTo>
                  <a:lnTo>
                    <a:pt x="240" y="159"/>
                  </a:lnTo>
                  <a:lnTo>
                    <a:pt x="242" y="161"/>
                  </a:lnTo>
                  <a:lnTo>
                    <a:pt x="242" y="169"/>
                  </a:lnTo>
                  <a:lnTo>
                    <a:pt x="250" y="167"/>
                  </a:lnTo>
                  <a:lnTo>
                    <a:pt x="254" y="167"/>
                  </a:lnTo>
                  <a:lnTo>
                    <a:pt x="256" y="165"/>
                  </a:lnTo>
                  <a:lnTo>
                    <a:pt x="257" y="167"/>
                  </a:lnTo>
                  <a:lnTo>
                    <a:pt x="257" y="169"/>
                  </a:lnTo>
                  <a:lnTo>
                    <a:pt x="265" y="167"/>
                  </a:lnTo>
                  <a:lnTo>
                    <a:pt x="269" y="169"/>
                  </a:lnTo>
                  <a:lnTo>
                    <a:pt x="275" y="165"/>
                  </a:lnTo>
                  <a:lnTo>
                    <a:pt x="282" y="165"/>
                  </a:lnTo>
                  <a:lnTo>
                    <a:pt x="284" y="167"/>
                  </a:lnTo>
                  <a:lnTo>
                    <a:pt x="282" y="175"/>
                  </a:lnTo>
                  <a:lnTo>
                    <a:pt x="286" y="173"/>
                  </a:lnTo>
                  <a:lnTo>
                    <a:pt x="286" y="169"/>
                  </a:lnTo>
                  <a:lnTo>
                    <a:pt x="290" y="169"/>
                  </a:lnTo>
                  <a:lnTo>
                    <a:pt x="292" y="173"/>
                  </a:lnTo>
                  <a:lnTo>
                    <a:pt x="288" y="173"/>
                  </a:lnTo>
                  <a:lnTo>
                    <a:pt x="288" y="175"/>
                  </a:lnTo>
                  <a:lnTo>
                    <a:pt x="294" y="175"/>
                  </a:lnTo>
                  <a:lnTo>
                    <a:pt x="294" y="177"/>
                  </a:lnTo>
                  <a:lnTo>
                    <a:pt x="298" y="182"/>
                  </a:lnTo>
                  <a:lnTo>
                    <a:pt x="302" y="184"/>
                  </a:lnTo>
                  <a:lnTo>
                    <a:pt x="309" y="179"/>
                  </a:lnTo>
                  <a:lnTo>
                    <a:pt x="307" y="173"/>
                  </a:lnTo>
                  <a:lnTo>
                    <a:pt x="311" y="171"/>
                  </a:lnTo>
                  <a:close/>
                </a:path>
              </a:pathLst>
            </a:custGeom>
            <a:solidFill>
              <a:schemeClr val="accent3"/>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52" name="Freeform 29">
              <a:extLst>
                <a:ext uri="{FF2B5EF4-FFF2-40B4-BE49-F238E27FC236}">
                  <a16:creationId xmlns:a16="http://schemas.microsoft.com/office/drawing/2014/main" id="{AF9F64EB-67C1-4D61-99BB-A01CB2EA4997}"/>
                </a:ext>
              </a:extLst>
            </p:cNvPr>
            <p:cNvSpPr>
              <a:spLocks/>
            </p:cNvSpPr>
            <p:nvPr/>
          </p:nvSpPr>
          <p:spPr bwMode="gray">
            <a:xfrm>
              <a:off x="5116514" y="2201863"/>
              <a:ext cx="579438" cy="444500"/>
            </a:xfrm>
            <a:custGeom>
              <a:avLst/>
              <a:gdLst>
                <a:gd name="T0" fmla="*/ 173 w 365"/>
                <a:gd name="T1" fmla="*/ 29 h 280"/>
                <a:gd name="T2" fmla="*/ 186 w 365"/>
                <a:gd name="T3" fmla="*/ 33 h 280"/>
                <a:gd name="T4" fmla="*/ 198 w 365"/>
                <a:gd name="T5" fmla="*/ 29 h 280"/>
                <a:gd name="T6" fmla="*/ 221 w 365"/>
                <a:gd name="T7" fmla="*/ 34 h 280"/>
                <a:gd name="T8" fmla="*/ 238 w 365"/>
                <a:gd name="T9" fmla="*/ 48 h 280"/>
                <a:gd name="T10" fmla="*/ 251 w 365"/>
                <a:gd name="T11" fmla="*/ 59 h 280"/>
                <a:gd name="T12" fmla="*/ 265 w 365"/>
                <a:gd name="T13" fmla="*/ 75 h 280"/>
                <a:gd name="T14" fmla="*/ 288 w 365"/>
                <a:gd name="T15" fmla="*/ 79 h 280"/>
                <a:gd name="T16" fmla="*/ 313 w 365"/>
                <a:gd name="T17" fmla="*/ 90 h 280"/>
                <a:gd name="T18" fmla="*/ 338 w 365"/>
                <a:gd name="T19" fmla="*/ 102 h 280"/>
                <a:gd name="T20" fmla="*/ 357 w 365"/>
                <a:gd name="T21" fmla="*/ 111 h 280"/>
                <a:gd name="T22" fmla="*/ 351 w 365"/>
                <a:gd name="T23" fmla="*/ 117 h 280"/>
                <a:gd name="T24" fmla="*/ 334 w 365"/>
                <a:gd name="T25" fmla="*/ 134 h 280"/>
                <a:gd name="T26" fmla="*/ 313 w 365"/>
                <a:gd name="T27" fmla="*/ 148 h 280"/>
                <a:gd name="T28" fmla="*/ 296 w 365"/>
                <a:gd name="T29" fmla="*/ 161 h 280"/>
                <a:gd name="T30" fmla="*/ 294 w 365"/>
                <a:gd name="T31" fmla="*/ 184 h 280"/>
                <a:gd name="T32" fmla="*/ 280 w 365"/>
                <a:gd name="T33" fmla="*/ 196 h 280"/>
                <a:gd name="T34" fmla="*/ 280 w 365"/>
                <a:gd name="T35" fmla="*/ 205 h 280"/>
                <a:gd name="T36" fmla="*/ 276 w 365"/>
                <a:gd name="T37" fmla="*/ 225 h 280"/>
                <a:gd name="T38" fmla="*/ 265 w 365"/>
                <a:gd name="T39" fmla="*/ 238 h 280"/>
                <a:gd name="T40" fmla="*/ 255 w 365"/>
                <a:gd name="T41" fmla="*/ 263 h 280"/>
                <a:gd name="T42" fmla="*/ 246 w 365"/>
                <a:gd name="T43" fmla="*/ 280 h 280"/>
                <a:gd name="T44" fmla="*/ 232 w 365"/>
                <a:gd name="T45" fmla="*/ 269 h 280"/>
                <a:gd name="T46" fmla="*/ 226 w 365"/>
                <a:gd name="T47" fmla="*/ 271 h 280"/>
                <a:gd name="T48" fmla="*/ 209 w 365"/>
                <a:gd name="T49" fmla="*/ 263 h 280"/>
                <a:gd name="T50" fmla="*/ 194 w 365"/>
                <a:gd name="T51" fmla="*/ 263 h 280"/>
                <a:gd name="T52" fmla="*/ 180 w 365"/>
                <a:gd name="T53" fmla="*/ 253 h 280"/>
                <a:gd name="T54" fmla="*/ 161 w 365"/>
                <a:gd name="T55" fmla="*/ 246 h 280"/>
                <a:gd name="T56" fmla="*/ 150 w 365"/>
                <a:gd name="T57" fmla="*/ 230 h 280"/>
                <a:gd name="T58" fmla="*/ 140 w 365"/>
                <a:gd name="T59" fmla="*/ 232 h 280"/>
                <a:gd name="T60" fmla="*/ 121 w 365"/>
                <a:gd name="T61" fmla="*/ 217 h 280"/>
                <a:gd name="T62" fmla="*/ 127 w 365"/>
                <a:gd name="T63" fmla="*/ 207 h 280"/>
                <a:gd name="T64" fmla="*/ 136 w 365"/>
                <a:gd name="T65" fmla="*/ 200 h 280"/>
                <a:gd name="T66" fmla="*/ 106 w 365"/>
                <a:gd name="T67" fmla="*/ 188 h 280"/>
                <a:gd name="T68" fmla="*/ 94 w 365"/>
                <a:gd name="T69" fmla="*/ 169 h 280"/>
                <a:gd name="T70" fmla="*/ 65 w 365"/>
                <a:gd name="T71" fmla="*/ 171 h 280"/>
                <a:gd name="T72" fmla="*/ 46 w 365"/>
                <a:gd name="T73" fmla="*/ 188 h 280"/>
                <a:gd name="T74" fmla="*/ 38 w 365"/>
                <a:gd name="T75" fmla="*/ 182 h 280"/>
                <a:gd name="T76" fmla="*/ 29 w 365"/>
                <a:gd name="T77" fmla="*/ 173 h 280"/>
                <a:gd name="T78" fmla="*/ 17 w 365"/>
                <a:gd name="T79" fmla="*/ 163 h 280"/>
                <a:gd name="T80" fmla="*/ 17 w 365"/>
                <a:gd name="T81" fmla="*/ 144 h 280"/>
                <a:gd name="T82" fmla="*/ 25 w 365"/>
                <a:gd name="T83" fmla="*/ 130 h 280"/>
                <a:gd name="T84" fmla="*/ 35 w 365"/>
                <a:gd name="T85" fmla="*/ 111 h 280"/>
                <a:gd name="T86" fmla="*/ 11 w 365"/>
                <a:gd name="T87" fmla="*/ 100 h 280"/>
                <a:gd name="T88" fmla="*/ 11 w 365"/>
                <a:gd name="T89" fmla="*/ 92 h 280"/>
                <a:gd name="T90" fmla="*/ 25 w 365"/>
                <a:gd name="T91" fmla="*/ 79 h 280"/>
                <a:gd name="T92" fmla="*/ 21 w 365"/>
                <a:gd name="T93" fmla="*/ 73 h 280"/>
                <a:gd name="T94" fmla="*/ 17 w 365"/>
                <a:gd name="T95" fmla="*/ 59 h 280"/>
                <a:gd name="T96" fmla="*/ 21 w 365"/>
                <a:gd name="T97" fmla="*/ 44 h 280"/>
                <a:gd name="T98" fmla="*/ 23 w 365"/>
                <a:gd name="T99" fmla="*/ 34 h 280"/>
                <a:gd name="T100" fmla="*/ 29 w 365"/>
                <a:gd name="T101" fmla="*/ 27 h 280"/>
                <a:gd name="T102" fmla="*/ 50 w 365"/>
                <a:gd name="T103" fmla="*/ 15 h 280"/>
                <a:gd name="T104" fmla="*/ 73 w 365"/>
                <a:gd name="T105" fmla="*/ 6 h 280"/>
                <a:gd name="T106" fmla="*/ 92 w 365"/>
                <a:gd name="T107" fmla="*/ 6 h 280"/>
                <a:gd name="T108" fmla="*/ 109 w 365"/>
                <a:gd name="T109" fmla="*/ 6 h 280"/>
                <a:gd name="T110" fmla="*/ 129 w 365"/>
                <a:gd name="T111" fmla="*/ 1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5" h="280">
                  <a:moveTo>
                    <a:pt x="150" y="19"/>
                  </a:moveTo>
                  <a:lnTo>
                    <a:pt x="154" y="27"/>
                  </a:lnTo>
                  <a:lnTo>
                    <a:pt x="157" y="27"/>
                  </a:lnTo>
                  <a:lnTo>
                    <a:pt x="163" y="33"/>
                  </a:lnTo>
                  <a:lnTo>
                    <a:pt x="173" y="29"/>
                  </a:lnTo>
                  <a:lnTo>
                    <a:pt x="175" y="36"/>
                  </a:lnTo>
                  <a:lnTo>
                    <a:pt x="177" y="36"/>
                  </a:lnTo>
                  <a:lnTo>
                    <a:pt x="182" y="34"/>
                  </a:lnTo>
                  <a:lnTo>
                    <a:pt x="186" y="36"/>
                  </a:lnTo>
                  <a:lnTo>
                    <a:pt x="186" y="33"/>
                  </a:lnTo>
                  <a:lnTo>
                    <a:pt x="184" y="31"/>
                  </a:lnTo>
                  <a:lnTo>
                    <a:pt x="190" y="27"/>
                  </a:lnTo>
                  <a:lnTo>
                    <a:pt x="194" y="23"/>
                  </a:lnTo>
                  <a:lnTo>
                    <a:pt x="196" y="23"/>
                  </a:lnTo>
                  <a:lnTo>
                    <a:pt x="198" y="29"/>
                  </a:lnTo>
                  <a:lnTo>
                    <a:pt x="205" y="27"/>
                  </a:lnTo>
                  <a:lnTo>
                    <a:pt x="207" y="33"/>
                  </a:lnTo>
                  <a:lnTo>
                    <a:pt x="211" y="36"/>
                  </a:lnTo>
                  <a:lnTo>
                    <a:pt x="215" y="38"/>
                  </a:lnTo>
                  <a:lnTo>
                    <a:pt x="221" y="34"/>
                  </a:lnTo>
                  <a:lnTo>
                    <a:pt x="223" y="33"/>
                  </a:lnTo>
                  <a:lnTo>
                    <a:pt x="226" y="36"/>
                  </a:lnTo>
                  <a:lnTo>
                    <a:pt x="232" y="38"/>
                  </a:lnTo>
                  <a:lnTo>
                    <a:pt x="238" y="46"/>
                  </a:lnTo>
                  <a:lnTo>
                    <a:pt x="238" y="48"/>
                  </a:lnTo>
                  <a:lnTo>
                    <a:pt x="246" y="46"/>
                  </a:lnTo>
                  <a:lnTo>
                    <a:pt x="248" y="50"/>
                  </a:lnTo>
                  <a:lnTo>
                    <a:pt x="246" y="52"/>
                  </a:lnTo>
                  <a:lnTo>
                    <a:pt x="251" y="56"/>
                  </a:lnTo>
                  <a:lnTo>
                    <a:pt x="251" y="59"/>
                  </a:lnTo>
                  <a:lnTo>
                    <a:pt x="253" y="61"/>
                  </a:lnTo>
                  <a:lnTo>
                    <a:pt x="251" y="65"/>
                  </a:lnTo>
                  <a:lnTo>
                    <a:pt x="257" y="67"/>
                  </a:lnTo>
                  <a:lnTo>
                    <a:pt x="261" y="75"/>
                  </a:lnTo>
                  <a:lnTo>
                    <a:pt x="265" y="75"/>
                  </a:lnTo>
                  <a:lnTo>
                    <a:pt x="265" y="77"/>
                  </a:lnTo>
                  <a:lnTo>
                    <a:pt x="269" y="79"/>
                  </a:lnTo>
                  <a:lnTo>
                    <a:pt x="276" y="77"/>
                  </a:lnTo>
                  <a:lnTo>
                    <a:pt x="282" y="79"/>
                  </a:lnTo>
                  <a:lnTo>
                    <a:pt x="288" y="79"/>
                  </a:lnTo>
                  <a:lnTo>
                    <a:pt x="292" y="82"/>
                  </a:lnTo>
                  <a:lnTo>
                    <a:pt x="299" y="82"/>
                  </a:lnTo>
                  <a:lnTo>
                    <a:pt x="303" y="86"/>
                  </a:lnTo>
                  <a:lnTo>
                    <a:pt x="307" y="86"/>
                  </a:lnTo>
                  <a:lnTo>
                    <a:pt x="313" y="90"/>
                  </a:lnTo>
                  <a:lnTo>
                    <a:pt x="319" y="88"/>
                  </a:lnTo>
                  <a:lnTo>
                    <a:pt x="326" y="92"/>
                  </a:lnTo>
                  <a:lnTo>
                    <a:pt x="328" y="94"/>
                  </a:lnTo>
                  <a:lnTo>
                    <a:pt x="332" y="96"/>
                  </a:lnTo>
                  <a:lnTo>
                    <a:pt x="338" y="102"/>
                  </a:lnTo>
                  <a:lnTo>
                    <a:pt x="340" y="106"/>
                  </a:lnTo>
                  <a:lnTo>
                    <a:pt x="347" y="107"/>
                  </a:lnTo>
                  <a:lnTo>
                    <a:pt x="349" y="107"/>
                  </a:lnTo>
                  <a:lnTo>
                    <a:pt x="351" y="111"/>
                  </a:lnTo>
                  <a:lnTo>
                    <a:pt x="357" y="111"/>
                  </a:lnTo>
                  <a:lnTo>
                    <a:pt x="363" y="113"/>
                  </a:lnTo>
                  <a:lnTo>
                    <a:pt x="365" y="117"/>
                  </a:lnTo>
                  <a:lnTo>
                    <a:pt x="359" y="119"/>
                  </a:lnTo>
                  <a:lnTo>
                    <a:pt x="351" y="121"/>
                  </a:lnTo>
                  <a:lnTo>
                    <a:pt x="351" y="117"/>
                  </a:lnTo>
                  <a:lnTo>
                    <a:pt x="349" y="115"/>
                  </a:lnTo>
                  <a:lnTo>
                    <a:pt x="345" y="121"/>
                  </a:lnTo>
                  <a:lnTo>
                    <a:pt x="345" y="127"/>
                  </a:lnTo>
                  <a:lnTo>
                    <a:pt x="340" y="129"/>
                  </a:lnTo>
                  <a:lnTo>
                    <a:pt x="334" y="134"/>
                  </a:lnTo>
                  <a:lnTo>
                    <a:pt x="332" y="140"/>
                  </a:lnTo>
                  <a:lnTo>
                    <a:pt x="328" y="140"/>
                  </a:lnTo>
                  <a:lnTo>
                    <a:pt x="324" y="144"/>
                  </a:lnTo>
                  <a:lnTo>
                    <a:pt x="317" y="144"/>
                  </a:lnTo>
                  <a:lnTo>
                    <a:pt x="313" y="148"/>
                  </a:lnTo>
                  <a:lnTo>
                    <a:pt x="311" y="155"/>
                  </a:lnTo>
                  <a:lnTo>
                    <a:pt x="305" y="159"/>
                  </a:lnTo>
                  <a:lnTo>
                    <a:pt x="305" y="161"/>
                  </a:lnTo>
                  <a:lnTo>
                    <a:pt x="297" y="161"/>
                  </a:lnTo>
                  <a:lnTo>
                    <a:pt x="296" y="161"/>
                  </a:lnTo>
                  <a:lnTo>
                    <a:pt x="294" y="165"/>
                  </a:lnTo>
                  <a:lnTo>
                    <a:pt x="290" y="167"/>
                  </a:lnTo>
                  <a:lnTo>
                    <a:pt x="292" y="175"/>
                  </a:lnTo>
                  <a:lnTo>
                    <a:pt x="296" y="179"/>
                  </a:lnTo>
                  <a:lnTo>
                    <a:pt x="294" y="184"/>
                  </a:lnTo>
                  <a:lnTo>
                    <a:pt x="292" y="188"/>
                  </a:lnTo>
                  <a:lnTo>
                    <a:pt x="288" y="188"/>
                  </a:lnTo>
                  <a:lnTo>
                    <a:pt x="290" y="190"/>
                  </a:lnTo>
                  <a:lnTo>
                    <a:pt x="288" y="192"/>
                  </a:lnTo>
                  <a:lnTo>
                    <a:pt x="280" y="196"/>
                  </a:lnTo>
                  <a:lnTo>
                    <a:pt x="282" y="200"/>
                  </a:lnTo>
                  <a:lnTo>
                    <a:pt x="280" y="198"/>
                  </a:lnTo>
                  <a:lnTo>
                    <a:pt x="276" y="200"/>
                  </a:lnTo>
                  <a:lnTo>
                    <a:pt x="276" y="203"/>
                  </a:lnTo>
                  <a:lnTo>
                    <a:pt x="280" y="205"/>
                  </a:lnTo>
                  <a:lnTo>
                    <a:pt x="280" y="211"/>
                  </a:lnTo>
                  <a:lnTo>
                    <a:pt x="284" y="215"/>
                  </a:lnTo>
                  <a:lnTo>
                    <a:pt x="280" y="223"/>
                  </a:lnTo>
                  <a:lnTo>
                    <a:pt x="280" y="227"/>
                  </a:lnTo>
                  <a:lnTo>
                    <a:pt x="276" y="225"/>
                  </a:lnTo>
                  <a:lnTo>
                    <a:pt x="274" y="227"/>
                  </a:lnTo>
                  <a:lnTo>
                    <a:pt x="278" y="232"/>
                  </a:lnTo>
                  <a:lnTo>
                    <a:pt x="274" y="236"/>
                  </a:lnTo>
                  <a:lnTo>
                    <a:pt x="269" y="234"/>
                  </a:lnTo>
                  <a:lnTo>
                    <a:pt x="265" y="238"/>
                  </a:lnTo>
                  <a:lnTo>
                    <a:pt x="263" y="244"/>
                  </a:lnTo>
                  <a:lnTo>
                    <a:pt x="263" y="248"/>
                  </a:lnTo>
                  <a:lnTo>
                    <a:pt x="259" y="250"/>
                  </a:lnTo>
                  <a:lnTo>
                    <a:pt x="255" y="257"/>
                  </a:lnTo>
                  <a:lnTo>
                    <a:pt x="255" y="263"/>
                  </a:lnTo>
                  <a:lnTo>
                    <a:pt x="255" y="265"/>
                  </a:lnTo>
                  <a:lnTo>
                    <a:pt x="255" y="267"/>
                  </a:lnTo>
                  <a:lnTo>
                    <a:pt x="251" y="269"/>
                  </a:lnTo>
                  <a:lnTo>
                    <a:pt x="253" y="275"/>
                  </a:lnTo>
                  <a:lnTo>
                    <a:pt x="246" y="280"/>
                  </a:lnTo>
                  <a:lnTo>
                    <a:pt x="242" y="278"/>
                  </a:lnTo>
                  <a:lnTo>
                    <a:pt x="238" y="273"/>
                  </a:lnTo>
                  <a:lnTo>
                    <a:pt x="238" y="271"/>
                  </a:lnTo>
                  <a:lnTo>
                    <a:pt x="232" y="271"/>
                  </a:lnTo>
                  <a:lnTo>
                    <a:pt x="232" y="269"/>
                  </a:lnTo>
                  <a:lnTo>
                    <a:pt x="236" y="269"/>
                  </a:lnTo>
                  <a:lnTo>
                    <a:pt x="234" y="265"/>
                  </a:lnTo>
                  <a:lnTo>
                    <a:pt x="230" y="265"/>
                  </a:lnTo>
                  <a:lnTo>
                    <a:pt x="230" y="269"/>
                  </a:lnTo>
                  <a:lnTo>
                    <a:pt x="226" y="271"/>
                  </a:lnTo>
                  <a:lnTo>
                    <a:pt x="228" y="263"/>
                  </a:lnTo>
                  <a:lnTo>
                    <a:pt x="226" y="261"/>
                  </a:lnTo>
                  <a:lnTo>
                    <a:pt x="219" y="261"/>
                  </a:lnTo>
                  <a:lnTo>
                    <a:pt x="213" y="265"/>
                  </a:lnTo>
                  <a:lnTo>
                    <a:pt x="209" y="263"/>
                  </a:lnTo>
                  <a:lnTo>
                    <a:pt x="201" y="265"/>
                  </a:lnTo>
                  <a:lnTo>
                    <a:pt x="201" y="263"/>
                  </a:lnTo>
                  <a:lnTo>
                    <a:pt x="200" y="261"/>
                  </a:lnTo>
                  <a:lnTo>
                    <a:pt x="198" y="263"/>
                  </a:lnTo>
                  <a:lnTo>
                    <a:pt x="194" y="263"/>
                  </a:lnTo>
                  <a:lnTo>
                    <a:pt x="186" y="265"/>
                  </a:lnTo>
                  <a:lnTo>
                    <a:pt x="186" y="257"/>
                  </a:lnTo>
                  <a:lnTo>
                    <a:pt x="184" y="255"/>
                  </a:lnTo>
                  <a:lnTo>
                    <a:pt x="182" y="252"/>
                  </a:lnTo>
                  <a:lnTo>
                    <a:pt x="180" y="253"/>
                  </a:lnTo>
                  <a:lnTo>
                    <a:pt x="175" y="253"/>
                  </a:lnTo>
                  <a:lnTo>
                    <a:pt x="169" y="248"/>
                  </a:lnTo>
                  <a:lnTo>
                    <a:pt x="167" y="246"/>
                  </a:lnTo>
                  <a:lnTo>
                    <a:pt x="163" y="248"/>
                  </a:lnTo>
                  <a:lnTo>
                    <a:pt x="161" y="246"/>
                  </a:lnTo>
                  <a:lnTo>
                    <a:pt x="161" y="244"/>
                  </a:lnTo>
                  <a:lnTo>
                    <a:pt x="159" y="242"/>
                  </a:lnTo>
                  <a:lnTo>
                    <a:pt x="159" y="238"/>
                  </a:lnTo>
                  <a:lnTo>
                    <a:pt x="159" y="234"/>
                  </a:lnTo>
                  <a:lnTo>
                    <a:pt x="150" y="230"/>
                  </a:lnTo>
                  <a:lnTo>
                    <a:pt x="148" y="234"/>
                  </a:lnTo>
                  <a:lnTo>
                    <a:pt x="146" y="234"/>
                  </a:lnTo>
                  <a:lnTo>
                    <a:pt x="146" y="236"/>
                  </a:lnTo>
                  <a:lnTo>
                    <a:pt x="142" y="230"/>
                  </a:lnTo>
                  <a:lnTo>
                    <a:pt x="140" y="232"/>
                  </a:lnTo>
                  <a:lnTo>
                    <a:pt x="134" y="232"/>
                  </a:lnTo>
                  <a:lnTo>
                    <a:pt x="134" y="227"/>
                  </a:lnTo>
                  <a:lnTo>
                    <a:pt x="130" y="221"/>
                  </a:lnTo>
                  <a:lnTo>
                    <a:pt x="127" y="221"/>
                  </a:lnTo>
                  <a:lnTo>
                    <a:pt x="121" y="217"/>
                  </a:lnTo>
                  <a:lnTo>
                    <a:pt x="115" y="215"/>
                  </a:lnTo>
                  <a:lnTo>
                    <a:pt x="121" y="211"/>
                  </a:lnTo>
                  <a:lnTo>
                    <a:pt x="123" y="211"/>
                  </a:lnTo>
                  <a:lnTo>
                    <a:pt x="123" y="213"/>
                  </a:lnTo>
                  <a:lnTo>
                    <a:pt x="127" y="207"/>
                  </a:lnTo>
                  <a:lnTo>
                    <a:pt x="129" y="209"/>
                  </a:lnTo>
                  <a:lnTo>
                    <a:pt x="129" y="207"/>
                  </a:lnTo>
                  <a:lnTo>
                    <a:pt x="132" y="205"/>
                  </a:lnTo>
                  <a:lnTo>
                    <a:pt x="138" y="200"/>
                  </a:lnTo>
                  <a:lnTo>
                    <a:pt x="136" y="200"/>
                  </a:lnTo>
                  <a:lnTo>
                    <a:pt x="125" y="198"/>
                  </a:lnTo>
                  <a:lnTo>
                    <a:pt x="119" y="194"/>
                  </a:lnTo>
                  <a:lnTo>
                    <a:pt x="115" y="194"/>
                  </a:lnTo>
                  <a:lnTo>
                    <a:pt x="109" y="190"/>
                  </a:lnTo>
                  <a:lnTo>
                    <a:pt x="106" y="188"/>
                  </a:lnTo>
                  <a:lnTo>
                    <a:pt x="102" y="186"/>
                  </a:lnTo>
                  <a:lnTo>
                    <a:pt x="98" y="180"/>
                  </a:lnTo>
                  <a:lnTo>
                    <a:pt x="96" y="179"/>
                  </a:lnTo>
                  <a:lnTo>
                    <a:pt x="96" y="175"/>
                  </a:lnTo>
                  <a:lnTo>
                    <a:pt x="94" y="169"/>
                  </a:lnTo>
                  <a:lnTo>
                    <a:pt x="86" y="165"/>
                  </a:lnTo>
                  <a:lnTo>
                    <a:pt x="77" y="163"/>
                  </a:lnTo>
                  <a:lnTo>
                    <a:pt x="75" y="167"/>
                  </a:lnTo>
                  <a:lnTo>
                    <a:pt x="67" y="173"/>
                  </a:lnTo>
                  <a:lnTo>
                    <a:pt x="65" y="171"/>
                  </a:lnTo>
                  <a:lnTo>
                    <a:pt x="58" y="175"/>
                  </a:lnTo>
                  <a:lnTo>
                    <a:pt x="52" y="180"/>
                  </a:lnTo>
                  <a:lnTo>
                    <a:pt x="50" y="184"/>
                  </a:lnTo>
                  <a:lnTo>
                    <a:pt x="46" y="184"/>
                  </a:lnTo>
                  <a:lnTo>
                    <a:pt x="46" y="188"/>
                  </a:lnTo>
                  <a:lnTo>
                    <a:pt x="40" y="190"/>
                  </a:lnTo>
                  <a:lnTo>
                    <a:pt x="40" y="184"/>
                  </a:lnTo>
                  <a:lnTo>
                    <a:pt x="36" y="184"/>
                  </a:lnTo>
                  <a:lnTo>
                    <a:pt x="36" y="182"/>
                  </a:lnTo>
                  <a:lnTo>
                    <a:pt x="38" y="182"/>
                  </a:lnTo>
                  <a:lnTo>
                    <a:pt x="38" y="177"/>
                  </a:lnTo>
                  <a:lnTo>
                    <a:pt x="36" y="173"/>
                  </a:lnTo>
                  <a:lnTo>
                    <a:pt x="33" y="171"/>
                  </a:lnTo>
                  <a:lnTo>
                    <a:pt x="33" y="173"/>
                  </a:lnTo>
                  <a:lnTo>
                    <a:pt x="29" y="173"/>
                  </a:lnTo>
                  <a:lnTo>
                    <a:pt x="21" y="177"/>
                  </a:lnTo>
                  <a:lnTo>
                    <a:pt x="19" y="175"/>
                  </a:lnTo>
                  <a:lnTo>
                    <a:pt x="21" y="173"/>
                  </a:lnTo>
                  <a:lnTo>
                    <a:pt x="17" y="171"/>
                  </a:lnTo>
                  <a:lnTo>
                    <a:pt x="17" y="163"/>
                  </a:lnTo>
                  <a:lnTo>
                    <a:pt x="13" y="155"/>
                  </a:lnTo>
                  <a:lnTo>
                    <a:pt x="11" y="154"/>
                  </a:lnTo>
                  <a:lnTo>
                    <a:pt x="15" y="150"/>
                  </a:lnTo>
                  <a:lnTo>
                    <a:pt x="13" y="148"/>
                  </a:lnTo>
                  <a:lnTo>
                    <a:pt x="17" y="144"/>
                  </a:lnTo>
                  <a:lnTo>
                    <a:pt x="15" y="142"/>
                  </a:lnTo>
                  <a:lnTo>
                    <a:pt x="19" y="138"/>
                  </a:lnTo>
                  <a:lnTo>
                    <a:pt x="17" y="134"/>
                  </a:lnTo>
                  <a:lnTo>
                    <a:pt x="21" y="129"/>
                  </a:lnTo>
                  <a:lnTo>
                    <a:pt x="25" y="130"/>
                  </a:lnTo>
                  <a:lnTo>
                    <a:pt x="27" y="127"/>
                  </a:lnTo>
                  <a:lnTo>
                    <a:pt x="31" y="121"/>
                  </a:lnTo>
                  <a:lnTo>
                    <a:pt x="35" y="119"/>
                  </a:lnTo>
                  <a:lnTo>
                    <a:pt x="36" y="113"/>
                  </a:lnTo>
                  <a:lnTo>
                    <a:pt x="35" y="111"/>
                  </a:lnTo>
                  <a:lnTo>
                    <a:pt x="31" y="111"/>
                  </a:lnTo>
                  <a:lnTo>
                    <a:pt x="25" y="109"/>
                  </a:lnTo>
                  <a:lnTo>
                    <a:pt x="19" y="106"/>
                  </a:lnTo>
                  <a:lnTo>
                    <a:pt x="15" y="104"/>
                  </a:lnTo>
                  <a:lnTo>
                    <a:pt x="11" y="100"/>
                  </a:lnTo>
                  <a:lnTo>
                    <a:pt x="8" y="96"/>
                  </a:lnTo>
                  <a:lnTo>
                    <a:pt x="0" y="96"/>
                  </a:lnTo>
                  <a:lnTo>
                    <a:pt x="0" y="94"/>
                  </a:lnTo>
                  <a:lnTo>
                    <a:pt x="6" y="94"/>
                  </a:lnTo>
                  <a:lnTo>
                    <a:pt x="11" y="92"/>
                  </a:lnTo>
                  <a:lnTo>
                    <a:pt x="19" y="86"/>
                  </a:lnTo>
                  <a:lnTo>
                    <a:pt x="21" y="84"/>
                  </a:lnTo>
                  <a:lnTo>
                    <a:pt x="25" y="84"/>
                  </a:lnTo>
                  <a:lnTo>
                    <a:pt x="27" y="82"/>
                  </a:lnTo>
                  <a:lnTo>
                    <a:pt x="25" y="79"/>
                  </a:lnTo>
                  <a:lnTo>
                    <a:pt x="21" y="79"/>
                  </a:lnTo>
                  <a:lnTo>
                    <a:pt x="17" y="75"/>
                  </a:lnTo>
                  <a:lnTo>
                    <a:pt x="19" y="75"/>
                  </a:lnTo>
                  <a:lnTo>
                    <a:pt x="21" y="75"/>
                  </a:lnTo>
                  <a:lnTo>
                    <a:pt x="21" y="73"/>
                  </a:lnTo>
                  <a:lnTo>
                    <a:pt x="23" y="73"/>
                  </a:lnTo>
                  <a:lnTo>
                    <a:pt x="23" y="69"/>
                  </a:lnTo>
                  <a:lnTo>
                    <a:pt x="19" y="65"/>
                  </a:lnTo>
                  <a:lnTo>
                    <a:pt x="19" y="63"/>
                  </a:lnTo>
                  <a:lnTo>
                    <a:pt x="17" y="59"/>
                  </a:lnTo>
                  <a:lnTo>
                    <a:pt x="15" y="59"/>
                  </a:lnTo>
                  <a:lnTo>
                    <a:pt x="15" y="58"/>
                  </a:lnTo>
                  <a:lnTo>
                    <a:pt x="21" y="50"/>
                  </a:lnTo>
                  <a:lnTo>
                    <a:pt x="19" y="48"/>
                  </a:lnTo>
                  <a:lnTo>
                    <a:pt x="21" y="44"/>
                  </a:lnTo>
                  <a:lnTo>
                    <a:pt x="25" y="48"/>
                  </a:lnTo>
                  <a:lnTo>
                    <a:pt x="27" y="40"/>
                  </a:lnTo>
                  <a:lnTo>
                    <a:pt x="21" y="40"/>
                  </a:lnTo>
                  <a:lnTo>
                    <a:pt x="21" y="36"/>
                  </a:lnTo>
                  <a:lnTo>
                    <a:pt x="23" y="34"/>
                  </a:lnTo>
                  <a:lnTo>
                    <a:pt x="29" y="36"/>
                  </a:lnTo>
                  <a:lnTo>
                    <a:pt x="27" y="34"/>
                  </a:lnTo>
                  <a:lnTo>
                    <a:pt x="29" y="33"/>
                  </a:lnTo>
                  <a:lnTo>
                    <a:pt x="27" y="29"/>
                  </a:lnTo>
                  <a:lnTo>
                    <a:pt x="29" y="27"/>
                  </a:lnTo>
                  <a:lnTo>
                    <a:pt x="27" y="25"/>
                  </a:lnTo>
                  <a:lnTo>
                    <a:pt x="33" y="23"/>
                  </a:lnTo>
                  <a:lnTo>
                    <a:pt x="36" y="15"/>
                  </a:lnTo>
                  <a:lnTo>
                    <a:pt x="44" y="11"/>
                  </a:lnTo>
                  <a:lnTo>
                    <a:pt x="50" y="15"/>
                  </a:lnTo>
                  <a:lnTo>
                    <a:pt x="52" y="11"/>
                  </a:lnTo>
                  <a:lnTo>
                    <a:pt x="59" y="11"/>
                  </a:lnTo>
                  <a:lnTo>
                    <a:pt x="65" y="6"/>
                  </a:lnTo>
                  <a:lnTo>
                    <a:pt x="69" y="8"/>
                  </a:lnTo>
                  <a:lnTo>
                    <a:pt x="73" y="6"/>
                  </a:lnTo>
                  <a:lnTo>
                    <a:pt x="79" y="2"/>
                  </a:lnTo>
                  <a:lnTo>
                    <a:pt x="81" y="2"/>
                  </a:lnTo>
                  <a:lnTo>
                    <a:pt x="81" y="0"/>
                  </a:lnTo>
                  <a:lnTo>
                    <a:pt x="88" y="0"/>
                  </a:lnTo>
                  <a:lnTo>
                    <a:pt x="92" y="6"/>
                  </a:lnTo>
                  <a:lnTo>
                    <a:pt x="94" y="4"/>
                  </a:lnTo>
                  <a:lnTo>
                    <a:pt x="96" y="6"/>
                  </a:lnTo>
                  <a:lnTo>
                    <a:pt x="100" y="9"/>
                  </a:lnTo>
                  <a:lnTo>
                    <a:pt x="106" y="9"/>
                  </a:lnTo>
                  <a:lnTo>
                    <a:pt x="109" y="6"/>
                  </a:lnTo>
                  <a:lnTo>
                    <a:pt x="111" y="6"/>
                  </a:lnTo>
                  <a:lnTo>
                    <a:pt x="117" y="8"/>
                  </a:lnTo>
                  <a:lnTo>
                    <a:pt x="117" y="11"/>
                  </a:lnTo>
                  <a:lnTo>
                    <a:pt x="119" y="9"/>
                  </a:lnTo>
                  <a:lnTo>
                    <a:pt x="129" y="11"/>
                  </a:lnTo>
                  <a:lnTo>
                    <a:pt x="132" y="9"/>
                  </a:lnTo>
                  <a:lnTo>
                    <a:pt x="136" y="15"/>
                  </a:lnTo>
                  <a:lnTo>
                    <a:pt x="140" y="19"/>
                  </a:lnTo>
                  <a:lnTo>
                    <a:pt x="150" y="1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53" name="Freeform 30">
              <a:extLst>
                <a:ext uri="{FF2B5EF4-FFF2-40B4-BE49-F238E27FC236}">
                  <a16:creationId xmlns:a16="http://schemas.microsoft.com/office/drawing/2014/main" id="{70BD5112-99B7-4B8F-860E-AF92111228A3}"/>
                </a:ext>
              </a:extLst>
            </p:cNvPr>
            <p:cNvSpPr>
              <a:spLocks/>
            </p:cNvSpPr>
            <p:nvPr/>
          </p:nvSpPr>
          <p:spPr bwMode="gray">
            <a:xfrm>
              <a:off x="4494214" y="1979613"/>
              <a:ext cx="515938" cy="523876"/>
            </a:xfrm>
            <a:custGeom>
              <a:avLst/>
              <a:gdLst>
                <a:gd name="T0" fmla="*/ 313 w 325"/>
                <a:gd name="T1" fmla="*/ 198 h 330"/>
                <a:gd name="T2" fmla="*/ 302 w 325"/>
                <a:gd name="T3" fmla="*/ 198 h 330"/>
                <a:gd name="T4" fmla="*/ 319 w 325"/>
                <a:gd name="T5" fmla="*/ 207 h 330"/>
                <a:gd name="T6" fmla="*/ 321 w 325"/>
                <a:gd name="T7" fmla="*/ 232 h 330"/>
                <a:gd name="T8" fmla="*/ 311 w 325"/>
                <a:gd name="T9" fmla="*/ 234 h 330"/>
                <a:gd name="T10" fmla="*/ 304 w 325"/>
                <a:gd name="T11" fmla="*/ 242 h 330"/>
                <a:gd name="T12" fmla="*/ 283 w 325"/>
                <a:gd name="T13" fmla="*/ 255 h 330"/>
                <a:gd name="T14" fmla="*/ 290 w 325"/>
                <a:gd name="T15" fmla="*/ 261 h 330"/>
                <a:gd name="T16" fmla="*/ 269 w 325"/>
                <a:gd name="T17" fmla="*/ 263 h 330"/>
                <a:gd name="T18" fmla="*/ 263 w 325"/>
                <a:gd name="T19" fmla="*/ 267 h 330"/>
                <a:gd name="T20" fmla="*/ 246 w 325"/>
                <a:gd name="T21" fmla="*/ 263 h 330"/>
                <a:gd name="T22" fmla="*/ 244 w 325"/>
                <a:gd name="T23" fmla="*/ 278 h 330"/>
                <a:gd name="T24" fmla="*/ 250 w 325"/>
                <a:gd name="T25" fmla="*/ 294 h 330"/>
                <a:gd name="T26" fmla="*/ 225 w 325"/>
                <a:gd name="T27" fmla="*/ 307 h 330"/>
                <a:gd name="T28" fmla="*/ 202 w 325"/>
                <a:gd name="T29" fmla="*/ 301 h 330"/>
                <a:gd name="T30" fmla="*/ 185 w 325"/>
                <a:gd name="T31" fmla="*/ 305 h 330"/>
                <a:gd name="T32" fmla="*/ 165 w 325"/>
                <a:gd name="T33" fmla="*/ 301 h 330"/>
                <a:gd name="T34" fmla="*/ 154 w 325"/>
                <a:gd name="T35" fmla="*/ 313 h 330"/>
                <a:gd name="T36" fmla="*/ 150 w 325"/>
                <a:gd name="T37" fmla="*/ 324 h 330"/>
                <a:gd name="T38" fmla="*/ 133 w 325"/>
                <a:gd name="T39" fmla="*/ 317 h 330"/>
                <a:gd name="T40" fmla="*/ 139 w 325"/>
                <a:gd name="T41" fmla="*/ 299 h 330"/>
                <a:gd name="T42" fmla="*/ 127 w 325"/>
                <a:gd name="T43" fmla="*/ 301 h 330"/>
                <a:gd name="T44" fmla="*/ 121 w 325"/>
                <a:gd name="T45" fmla="*/ 292 h 330"/>
                <a:gd name="T46" fmla="*/ 102 w 325"/>
                <a:gd name="T47" fmla="*/ 284 h 330"/>
                <a:gd name="T48" fmla="*/ 68 w 325"/>
                <a:gd name="T49" fmla="*/ 286 h 330"/>
                <a:gd name="T50" fmla="*/ 22 w 325"/>
                <a:gd name="T51" fmla="*/ 284 h 330"/>
                <a:gd name="T52" fmla="*/ 10 w 325"/>
                <a:gd name="T53" fmla="*/ 267 h 330"/>
                <a:gd name="T54" fmla="*/ 4 w 325"/>
                <a:gd name="T55" fmla="*/ 236 h 330"/>
                <a:gd name="T56" fmla="*/ 14 w 325"/>
                <a:gd name="T57" fmla="*/ 224 h 330"/>
                <a:gd name="T58" fmla="*/ 23 w 325"/>
                <a:gd name="T59" fmla="*/ 219 h 330"/>
                <a:gd name="T60" fmla="*/ 46 w 325"/>
                <a:gd name="T61" fmla="*/ 201 h 330"/>
                <a:gd name="T62" fmla="*/ 58 w 325"/>
                <a:gd name="T63" fmla="*/ 186 h 330"/>
                <a:gd name="T64" fmla="*/ 70 w 325"/>
                <a:gd name="T65" fmla="*/ 176 h 330"/>
                <a:gd name="T66" fmla="*/ 79 w 325"/>
                <a:gd name="T67" fmla="*/ 165 h 330"/>
                <a:gd name="T68" fmla="*/ 83 w 325"/>
                <a:gd name="T69" fmla="*/ 157 h 330"/>
                <a:gd name="T70" fmla="*/ 73 w 325"/>
                <a:gd name="T71" fmla="*/ 151 h 330"/>
                <a:gd name="T72" fmla="*/ 75 w 325"/>
                <a:gd name="T73" fmla="*/ 138 h 330"/>
                <a:gd name="T74" fmla="*/ 89 w 325"/>
                <a:gd name="T75" fmla="*/ 126 h 330"/>
                <a:gd name="T76" fmla="*/ 87 w 325"/>
                <a:gd name="T77" fmla="*/ 109 h 330"/>
                <a:gd name="T78" fmla="*/ 81 w 325"/>
                <a:gd name="T79" fmla="*/ 84 h 330"/>
                <a:gd name="T80" fmla="*/ 100 w 325"/>
                <a:gd name="T81" fmla="*/ 69 h 330"/>
                <a:gd name="T82" fmla="*/ 116 w 325"/>
                <a:gd name="T83" fmla="*/ 57 h 330"/>
                <a:gd name="T84" fmla="*/ 142 w 325"/>
                <a:gd name="T85" fmla="*/ 53 h 330"/>
                <a:gd name="T86" fmla="*/ 154 w 325"/>
                <a:gd name="T87" fmla="*/ 52 h 330"/>
                <a:gd name="T88" fmla="*/ 169 w 325"/>
                <a:gd name="T89" fmla="*/ 38 h 330"/>
                <a:gd name="T90" fmla="*/ 181 w 325"/>
                <a:gd name="T91" fmla="*/ 27 h 330"/>
                <a:gd name="T92" fmla="*/ 190 w 325"/>
                <a:gd name="T93" fmla="*/ 25 h 330"/>
                <a:gd name="T94" fmla="*/ 208 w 325"/>
                <a:gd name="T95" fmla="*/ 13 h 330"/>
                <a:gd name="T96" fmla="*/ 231 w 325"/>
                <a:gd name="T97" fmla="*/ 17 h 330"/>
                <a:gd name="T98" fmla="*/ 204 w 325"/>
                <a:gd name="T99" fmla="*/ 32 h 330"/>
                <a:gd name="T100" fmla="*/ 200 w 325"/>
                <a:gd name="T101" fmla="*/ 53 h 330"/>
                <a:gd name="T102" fmla="*/ 225 w 325"/>
                <a:gd name="T103" fmla="*/ 69 h 330"/>
                <a:gd name="T104" fmla="*/ 231 w 325"/>
                <a:gd name="T105" fmla="*/ 90 h 330"/>
                <a:gd name="T106" fmla="*/ 242 w 325"/>
                <a:gd name="T107" fmla="*/ 113 h 330"/>
                <a:gd name="T108" fmla="*/ 250 w 325"/>
                <a:gd name="T109" fmla="*/ 138 h 330"/>
                <a:gd name="T110" fmla="*/ 265 w 325"/>
                <a:gd name="T111" fmla="*/ 128 h 330"/>
                <a:gd name="T112" fmla="*/ 277 w 325"/>
                <a:gd name="T113" fmla="*/ 140 h 330"/>
                <a:gd name="T114" fmla="*/ 288 w 325"/>
                <a:gd name="T115" fmla="*/ 144 h 330"/>
                <a:gd name="T116" fmla="*/ 292 w 325"/>
                <a:gd name="T117" fmla="*/ 153 h 330"/>
                <a:gd name="T118" fmla="*/ 300 w 325"/>
                <a:gd name="T119" fmla="*/ 17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330">
                  <a:moveTo>
                    <a:pt x="309" y="182"/>
                  </a:moveTo>
                  <a:lnTo>
                    <a:pt x="309" y="186"/>
                  </a:lnTo>
                  <a:lnTo>
                    <a:pt x="317" y="190"/>
                  </a:lnTo>
                  <a:lnTo>
                    <a:pt x="317" y="194"/>
                  </a:lnTo>
                  <a:lnTo>
                    <a:pt x="315" y="198"/>
                  </a:lnTo>
                  <a:lnTo>
                    <a:pt x="313" y="198"/>
                  </a:lnTo>
                  <a:lnTo>
                    <a:pt x="311" y="198"/>
                  </a:lnTo>
                  <a:lnTo>
                    <a:pt x="313" y="196"/>
                  </a:lnTo>
                  <a:lnTo>
                    <a:pt x="309" y="196"/>
                  </a:lnTo>
                  <a:lnTo>
                    <a:pt x="311" y="196"/>
                  </a:lnTo>
                  <a:lnTo>
                    <a:pt x="308" y="194"/>
                  </a:lnTo>
                  <a:lnTo>
                    <a:pt x="302" y="198"/>
                  </a:lnTo>
                  <a:lnTo>
                    <a:pt x="302" y="199"/>
                  </a:lnTo>
                  <a:lnTo>
                    <a:pt x="306" y="205"/>
                  </a:lnTo>
                  <a:lnTo>
                    <a:pt x="311" y="207"/>
                  </a:lnTo>
                  <a:lnTo>
                    <a:pt x="315" y="205"/>
                  </a:lnTo>
                  <a:lnTo>
                    <a:pt x="315" y="207"/>
                  </a:lnTo>
                  <a:lnTo>
                    <a:pt x="319" y="207"/>
                  </a:lnTo>
                  <a:lnTo>
                    <a:pt x="325" y="215"/>
                  </a:lnTo>
                  <a:lnTo>
                    <a:pt x="321" y="221"/>
                  </a:lnTo>
                  <a:lnTo>
                    <a:pt x="325" y="224"/>
                  </a:lnTo>
                  <a:lnTo>
                    <a:pt x="321" y="226"/>
                  </a:lnTo>
                  <a:lnTo>
                    <a:pt x="323" y="228"/>
                  </a:lnTo>
                  <a:lnTo>
                    <a:pt x="321" y="232"/>
                  </a:lnTo>
                  <a:lnTo>
                    <a:pt x="323" y="240"/>
                  </a:lnTo>
                  <a:lnTo>
                    <a:pt x="321" y="240"/>
                  </a:lnTo>
                  <a:lnTo>
                    <a:pt x="319" y="240"/>
                  </a:lnTo>
                  <a:lnTo>
                    <a:pt x="319" y="238"/>
                  </a:lnTo>
                  <a:lnTo>
                    <a:pt x="315" y="232"/>
                  </a:lnTo>
                  <a:lnTo>
                    <a:pt x="311" y="234"/>
                  </a:lnTo>
                  <a:lnTo>
                    <a:pt x="308" y="234"/>
                  </a:lnTo>
                  <a:lnTo>
                    <a:pt x="308" y="232"/>
                  </a:lnTo>
                  <a:lnTo>
                    <a:pt x="304" y="234"/>
                  </a:lnTo>
                  <a:lnTo>
                    <a:pt x="302" y="240"/>
                  </a:lnTo>
                  <a:lnTo>
                    <a:pt x="304" y="240"/>
                  </a:lnTo>
                  <a:lnTo>
                    <a:pt x="304" y="242"/>
                  </a:lnTo>
                  <a:lnTo>
                    <a:pt x="298" y="246"/>
                  </a:lnTo>
                  <a:lnTo>
                    <a:pt x="296" y="247"/>
                  </a:lnTo>
                  <a:lnTo>
                    <a:pt x="292" y="247"/>
                  </a:lnTo>
                  <a:lnTo>
                    <a:pt x="290" y="251"/>
                  </a:lnTo>
                  <a:lnTo>
                    <a:pt x="283" y="251"/>
                  </a:lnTo>
                  <a:lnTo>
                    <a:pt x="283" y="255"/>
                  </a:lnTo>
                  <a:lnTo>
                    <a:pt x="288" y="253"/>
                  </a:lnTo>
                  <a:lnTo>
                    <a:pt x="290" y="255"/>
                  </a:lnTo>
                  <a:lnTo>
                    <a:pt x="288" y="257"/>
                  </a:lnTo>
                  <a:lnTo>
                    <a:pt x="292" y="257"/>
                  </a:lnTo>
                  <a:lnTo>
                    <a:pt x="294" y="259"/>
                  </a:lnTo>
                  <a:lnTo>
                    <a:pt x="290" y="261"/>
                  </a:lnTo>
                  <a:lnTo>
                    <a:pt x="290" y="263"/>
                  </a:lnTo>
                  <a:lnTo>
                    <a:pt x="286" y="267"/>
                  </a:lnTo>
                  <a:lnTo>
                    <a:pt x="281" y="272"/>
                  </a:lnTo>
                  <a:lnTo>
                    <a:pt x="273" y="269"/>
                  </a:lnTo>
                  <a:lnTo>
                    <a:pt x="273" y="265"/>
                  </a:lnTo>
                  <a:lnTo>
                    <a:pt x="269" y="263"/>
                  </a:lnTo>
                  <a:lnTo>
                    <a:pt x="271" y="261"/>
                  </a:lnTo>
                  <a:lnTo>
                    <a:pt x="269" y="259"/>
                  </a:lnTo>
                  <a:lnTo>
                    <a:pt x="265" y="261"/>
                  </a:lnTo>
                  <a:lnTo>
                    <a:pt x="267" y="263"/>
                  </a:lnTo>
                  <a:lnTo>
                    <a:pt x="265" y="267"/>
                  </a:lnTo>
                  <a:lnTo>
                    <a:pt x="263" y="267"/>
                  </a:lnTo>
                  <a:lnTo>
                    <a:pt x="261" y="263"/>
                  </a:lnTo>
                  <a:lnTo>
                    <a:pt x="260" y="265"/>
                  </a:lnTo>
                  <a:lnTo>
                    <a:pt x="261" y="267"/>
                  </a:lnTo>
                  <a:lnTo>
                    <a:pt x="260" y="269"/>
                  </a:lnTo>
                  <a:lnTo>
                    <a:pt x="252" y="267"/>
                  </a:lnTo>
                  <a:lnTo>
                    <a:pt x="246" y="263"/>
                  </a:lnTo>
                  <a:lnTo>
                    <a:pt x="248" y="265"/>
                  </a:lnTo>
                  <a:lnTo>
                    <a:pt x="246" y="265"/>
                  </a:lnTo>
                  <a:lnTo>
                    <a:pt x="252" y="269"/>
                  </a:lnTo>
                  <a:lnTo>
                    <a:pt x="246" y="276"/>
                  </a:lnTo>
                  <a:lnTo>
                    <a:pt x="248" y="276"/>
                  </a:lnTo>
                  <a:lnTo>
                    <a:pt x="244" y="278"/>
                  </a:lnTo>
                  <a:lnTo>
                    <a:pt x="246" y="286"/>
                  </a:lnTo>
                  <a:lnTo>
                    <a:pt x="242" y="286"/>
                  </a:lnTo>
                  <a:lnTo>
                    <a:pt x="242" y="288"/>
                  </a:lnTo>
                  <a:lnTo>
                    <a:pt x="244" y="290"/>
                  </a:lnTo>
                  <a:lnTo>
                    <a:pt x="244" y="292"/>
                  </a:lnTo>
                  <a:lnTo>
                    <a:pt x="250" y="294"/>
                  </a:lnTo>
                  <a:lnTo>
                    <a:pt x="242" y="299"/>
                  </a:lnTo>
                  <a:lnTo>
                    <a:pt x="238" y="299"/>
                  </a:lnTo>
                  <a:lnTo>
                    <a:pt x="236" y="303"/>
                  </a:lnTo>
                  <a:lnTo>
                    <a:pt x="231" y="301"/>
                  </a:lnTo>
                  <a:lnTo>
                    <a:pt x="227" y="307"/>
                  </a:lnTo>
                  <a:lnTo>
                    <a:pt x="225" y="307"/>
                  </a:lnTo>
                  <a:lnTo>
                    <a:pt x="219" y="309"/>
                  </a:lnTo>
                  <a:lnTo>
                    <a:pt x="213" y="309"/>
                  </a:lnTo>
                  <a:lnTo>
                    <a:pt x="212" y="307"/>
                  </a:lnTo>
                  <a:lnTo>
                    <a:pt x="208" y="307"/>
                  </a:lnTo>
                  <a:lnTo>
                    <a:pt x="206" y="299"/>
                  </a:lnTo>
                  <a:lnTo>
                    <a:pt x="202" y="301"/>
                  </a:lnTo>
                  <a:lnTo>
                    <a:pt x="198" y="299"/>
                  </a:lnTo>
                  <a:lnTo>
                    <a:pt x="196" y="301"/>
                  </a:lnTo>
                  <a:lnTo>
                    <a:pt x="192" y="301"/>
                  </a:lnTo>
                  <a:lnTo>
                    <a:pt x="190" y="307"/>
                  </a:lnTo>
                  <a:lnTo>
                    <a:pt x="189" y="305"/>
                  </a:lnTo>
                  <a:lnTo>
                    <a:pt x="185" y="305"/>
                  </a:lnTo>
                  <a:lnTo>
                    <a:pt x="183" y="307"/>
                  </a:lnTo>
                  <a:lnTo>
                    <a:pt x="177" y="309"/>
                  </a:lnTo>
                  <a:lnTo>
                    <a:pt x="175" y="305"/>
                  </a:lnTo>
                  <a:lnTo>
                    <a:pt x="171" y="307"/>
                  </a:lnTo>
                  <a:lnTo>
                    <a:pt x="171" y="305"/>
                  </a:lnTo>
                  <a:lnTo>
                    <a:pt x="165" y="301"/>
                  </a:lnTo>
                  <a:lnTo>
                    <a:pt x="165" y="303"/>
                  </a:lnTo>
                  <a:lnTo>
                    <a:pt x="162" y="305"/>
                  </a:lnTo>
                  <a:lnTo>
                    <a:pt x="158" y="307"/>
                  </a:lnTo>
                  <a:lnTo>
                    <a:pt x="158" y="311"/>
                  </a:lnTo>
                  <a:lnTo>
                    <a:pt x="156" y="311"/>
                  </a:lnTo>
                  <a:lnTo>
                    <a:pt x="154" y="313"/>
                  </a:lnTo>
                  <a:lnTo>
                    <a:pt x="154" y="317"/>
                  </a:lnTo>
                  <a:lnTo>
                    <a:pt x="150" y="315"/>
                  </a:lnTo>
                  <a:lnTo>
                    <a:pt x="150" y="320"/>
                  </a:lnTo>
                  <a:lnTo>
                    <a:pt x="146" y="320"/>
                  </a:lnTo>
                  <a:lnTo>
                    <a:pt x="146" y="322"/>
                  </a:lnTo>
                  <a:lnTo>
                    <a:pt x="150" y="324"/>
                  </a:lnTo>
                  <a:lnTo>
                    <a:pt x="148" y="328"/>
                  </a:lnTo>
                  <a:lnTo>
                    <a:pt x="141" y="330"/>
                  </a:lnTo>
                  <a:lnTo>
                    <a:pt x="139" y="324"/>
                  </a:lnTo>
                  <a:lnTo>
                    <a:pt x="141" y="322"/>
                  </a:lnTo>
                  <a:lnTo>
                    <a:pt x="137" y="320"/>
                  </a:lnTo>
                  <a:lnTo>
                    <a:pt x="133" y="317"/>
                  </a:lnTo>
                  <a:lnTo>
                    <a:pt x="139" y="315"/>
                  </a:lnTo>
                  <a:lnTo>
                    <a:pt x="137" y="311"/>
                  </a:lnTo>
                  <a:lnTo>
                    <a:pt x="139" y="309"/>
                  </a:lnTo>
                  <a:lnTo>
                    <a:pt x="142" y="307"/>
                  </a:lnTo>
                  <a:lnTo>
                    <a:pt x="139" y="303"/>
                  </a:lnTo>
                  <a:lnTo>
                    <a:pt x="139" y="299"/>
                  </a:lnTo>
                  <a:lnTo>
                    <a:pt x="137" y="297"/>
                  </a:lnTo>
                  <a:lnTo>
                    <a:pt x="135" y="299"/>
                  </a:lnTo>
                  <a:lnTo>
                    <a:pt x="133" y="305"/>
                  </a:lnTo>
                  <a:lnTo>
                    <a:pt x="133" y="303"/>
                  </a:lnTo>
                  <a:lnTo>
                    <a:pt x="131" y="301"/>
                  </a:lnTo>
                  <a:lnTo>
                    <a:pt x="127" y="301"/>
                  </a:lnTo>
                  <a:lnTo>
                    <a:pt x="129" y="297"/>
                  </a:lnTo>
                  <a:lnTo>
                    <a:pt x="127" y="295"/>
                  </a:lnTo>
                  <a:lnTo>
                    <a:pt x="129" y="294"/>
                  </a:lnTo>
                  <a:lnTo>
                    <a:pt x="127" y="290"/>
                  </a:lnTo>
                  <a:lnTo>
                    <a:pt x="125" y="294"/>
                  </a:lnTo>
                  <a:lnTo>
                    <a:pt x="121" y="292"/>
                  </a:lnTo>
                  <a:lnTo>
                    <a:pt x="118" y="295"/>
                  </a:lnTo>
                  <a:lnTo>
                    <a:pt x="112" y="290"/>
                  </a:lnTo>
                  <a:lnTo>
                    <a:pt x="110" y="286"/>
                  </a:lnTo>
                  <a:lnTo>
                    <a:pt x="106" y="286"/>
                  </a:lnTo>
                  <a:lnTo>
                    <a:pt x="106" y="284"/>
                  </a:lnTo>
                  <a:lnTo>
                    <a:pt x="102" y="284"/>
                  </a:lnTo>
                  <a:lnTo>
                    <a:pt x="98" y="280"/>
                  </a:lnTo>
                  <a:lnTo>
                    <a:pt x="94" y="282"/>
                  </a:lnTo>
                  <a:lnTo>
                    <a:pt x="87" y="284"/>
                  </a:lnTo>
                  <a:lnTo>
                    <a:pt x="79" y="290"/>
                  </a:lnTo>
                  <a:lnTo>
                    <a:pt x="71" y="288"/>
                  </a:lnTo>
                  <a:lnTo>
                    <a:pt x="68" y="286"/>
                  </a:lnTo>
                  <a:lnTo>
                    <a:pt x="60" y="286"/>
                  </a:lnTo>
                  <a:lnTo>
                    <a:pt x="54" y="286"/>
                  </a:lnTo>
                  <a:lnTo>
                    <a:pt x="43" y="284"/>
                  </a:lnTo>
                  <a:lnTo>
                    <a:pt x="35" y="284"/>
                  </a:lnTo>
                  <a:lnTo>
                    <a:pt x="29" y="284"/>
                  </a:lnTo>
                  <a:lnTo>
                    <a:pt x="22" y="284"/>
                  </a:lnTo>
                  <a:lnTo>
                    <a:pt x="12" y="284"/>
                  </a:lnTo>
                  <a:lnTo>
                    <a:pt x="12" y="282"/>
                  </a:lnTo>
                  <a:lnTo>
                    <a:pt x="0" y="282"/>
                  </a:lnTo>
                  <a:lnTo>
                    <a:pt x="0" y="278"/>
                  </a:lnTo>
                  <a:lnTo>
                    <a:pt x="2" y="274"/>
                  </a:lnTo>
                  <a:lnTo>
                    <a:pt x="10" y="267"/>
                  </a:lnTo>
                  <a:lnTo>
                    <a:pt x="10" y="259"/>
                  </a:lnTo>
                  <a:lnTo>
                    <a:pt x="10" y="249"/>
                  </a:lnTo>
                  <a:lnTo>
                    <a:pt x="6" y="246"/>
                  </a:lnTo>
                  <a:lnTo>
                    <a:pt x="2" y="240"/>
                  </a:lnTo>
                  <a:lnTo>
                    <a:pt x="0" y="238"/>
                  </a:lnTo>
                  <a:lnTo>
                    <a:pt x="4" y="236"/>
                  </a:lnTo>
                  <a:lnTo>
                    <a:pt x="6" y="234"/>
                  </a:lnTo>
                  <a:lnTo>
                    <a:pt x="8" y="234"/>
                  </a:lnTo>
                  <a:lnTo>
                    <a:pt x="8" y="230"/>
                  </a:lnTo>
                  <a:lnTo>
                    <a:pt x="12" y="230"/>
                  </a:lnTo>
                  <a:lnTo>
                    <a:pt x="12" y="226"/>
                  </a:lnTo>
                  <a:lnTo>
                    <a:pt x="14" y="224"/>
                  </a:lnTo>
                  <a:lnTo>
                    <a:pt x="18" y="224"/>
                  </a:lnTo>
                  <a:lnTo>
                    <a:pt x="20" y="221"/>
                  </a:lnTo>
                  <a:lnTo>
                    <a:pt x="22" y="222"/>
                  </a:lnTo>
                  <a:lnTo>
                    <a:pt x="23" y="222"/>
                  </a:lnTo>
                  <a:lnTo>
                    <a:pt x="25" y="221"/>
                  </a:lnTo>
                  <a:lnTo>
                    <a:pt x="23" y="219"/>
                  </a:lnTo>
                  <a:lnTo>
                    <a:pt x="27" y="217"/>
                  </a:lnTo>
                  <a:lnTo>
                    <a:pt x="27" y="213"/>
                  </a:lnTo>
                  <a:lnTo>
                    <a:pt x="31" y="211"/>
                  </a:lnTo>
                  <a:lnTo>
                    <a:pt x="37" y="207"/>
                  </a:lnTo>
                  <a:lnTo>
                    <a:pt x="41" y="201"/>
                  </a:lnTo>
                  <a:lnTo>
                    <a:pt x="46" y="201"/>
                  </a:lnTo>
                  <a:lnTo>
                    <a:pt x="45" y="196"/>
                  </a:lnTo>
                  <a:lnTo>
                    <a:pt x="48" y="196"/>
                  </a:lnTo>
                  <a:lnTo>
                    <a:pt x="48" y="192"/>
                  </a:lnTo>
                  <a:lnTo>
                    <a:pt x="52" y="192"/>
                  </a:lnTo>
                  <a:lnTo>
                    <a:pt x="52" y="188"/>
                  </a:lnTo>
                  <a:lnTo>
                    <a:pt x="58" y="186"/>
                  </a:lnTo>
                  <a:lnTo>
                    <a:pt x="56" y="184"/>
                  </a:lnTo>
                  <a:lnTo>
                    <a:pt x="60" y="182"/>
                  </a:lnTo>
                  <a:lnTo>
                    <a:pt x="62" y="180"/>
                  </a:lnTo>
                  <a:lnTo>
                    <a:pt x="64" y="176"/>
                  </a:lnTo>
                  <a:lnTo>
                    <a:pt x="66" y="174"/>
                  </a:lnTo>
                  <a:lnTo>
                    <a:pt x="70" y="176"/>
                  </a:lnTo>
                  <a:lnTo>
                    <a:pt x="71" y="173"/>
                  </a:lnTo>
                  <a:lnTo>
                    <a:pt x="75" y="173"/>
                  </a:lnTo>
                  <a:lnTo>
                    <a:pt x="75" y="169"/>
                  </a:lnTo>
                  <a:lnTo>
                    <a:pt x="77" y="165"/>
                  </a:lnTo>
                  <a:lnTo>
                    <a:pt x="81" y="163"/>
                  </a:lnTo>
                  <a:lnTo>
                    <a:pt x="79" y="165"/>
                  </a:lnTo>
                  <a:lnTo>
                    <a:pt x="85" y="167"/>
                  </a:lnTo>
                  <a:lnTo>
                    <a:pt x="94" y="161"/>
                  </a:lnTo>
                  <a:lnTo>
                    <a:pt x="91" y="157"/>
                  </a:lnTo>
                  <a:lnTo>
                    <a:pt x="87" y="157"/>
                  </a:lnTo>
                  <a:lnTo>
                    <a:pt x="85" y="159"/>
                  </a:lnTo>
                  <a:lnTo>
                    <a:pt x="83" y="157"/>
                  </a:lnTo>
                  <a:lnTo>
                    <a:pt x="81" y="157"/>
                  </a:lnTo>
                  <a:lnTo>
                    <a:pt x="83" y="161"/>
                  </a:lnTo>
                  <a:lnTo>
                    <a:pt x="77" y="161"/>
                  </a:lnTo>
                  <a:lnTo>
                    <a:pt x="77" y="157"/>
                  </a:lnTo>
                  <a:lnTo>
                    <a:pt x="73" y="157"/>
                  </a:lnTo>
                  <a:lnTo>
                    <a:pt x="73" y="151"/>
                  </a:lnTo>
                  <a:lnTo>
                    <a:pt x="75" y="149"/>
                  </a:lnTo>
                  <a:lnTo>
                    <a:pt x="73" y="146"/>
                  </a:lnTo>
                  <a:lnTo>
                    <a:pt x="75" y="144"/>
                  </a:lnTo>
                  <a:lnTo>
                    <a:pt x="75" y="142"/>
                  </a:lnTo>
                  <a:lnTo>
                    <a:pt x="77" y="138"/>
                  </a:lnTo>
                  <a:lnTo>
                    <a:pt x="75" y="138"/>
                  </a:lnTo>
                  <a:lnTo>
                    <a:pt x="77" y="134"/>
                  </a:lnTo>
                  <a:lnTo>
                    <a:pt x="77" y="132"/>
                  </a:lnTo>
                  <a:lnTo>
                    <a:pt x="81" y="130"/>
                  </a:lnTo>
                  <a:lnTo>
                    <a:pt x="83" y="126"/>
                  </a:lnTo>
                  <a:lnTo>
                    <a:pt x="87" y="125"/>
                  </a:lnTo>
                  <a:lnTo>
                    <a:pt x="89" y="126"/>
                  </a:lnTo>
                  <a:lnTo>
                    <a:pt x="89" y="123"/>
                  </a:lnTo>
                  <a:lnTo>
                    <a:pt x="87" y="119"/>
                  </a:lnTo>
                  <a:lnTo>
                    <a:pt x="83" y="117"/>
                  </a:lnTo>
                  <a:lnTo>
                    <a:pt x="83" y="115"/>
                  </a:lnTo>
                  <a:lnTo>
                    <a:pt x="85" y="113"/>
                  </a:lnTo>
                  <a:lnTo>
                    <a:pt x="87" y="109"/>
                  </a:lnTo>
                  <a:lnTo>
                    <a:pt x="79" y="105"/>
                  </a:lnTo>
                  <a:lnTo>
                    <a:pt x="79" y="98"/>
                  </a:lnTo>
                  <a:lnTo>
                    <a:pt x="73" y="94"/>
                  </a:lnTo>
                  <a:lnTo>
                    <a:pt x="75" y="90"/>
                  </a:lnTo>
                  <a:lnTo>
                    <a:pt x="81" y="88"/>
                  </a:lnTo>
                  <a:lnTo>
                    <a:pt x="81" y="84"/>
                  </a:lnTo>
                  <a:lnTo>
                    <a:pt x="87" y="76"/>
                  </a:lnTo>
                  <a:lnTo>
                    <a:pt x="87" y="75"/>
                  </a:lnTo>
                  <a:lnTo>
                    <a:pt x="89" y="75"/>
                  </a:lnTo>
                  <a:lnTo>
                    <a:pt x="93" y="71"/>
                  </a:lnTo>
                  <a:lnTo>
                    <a:pt x="98" y="71"/>
                  </a:lnTo>
                  <a:lnTo>
                    <a:pt x="100" y="69"/>
                  </a:lnTo>
                  <a:lnTo>
                    <a:pt x="102" y="69"/>
                  </a:lnTo>
                  <a:lnTo>
                    <a:pt x="102" y="67"/>
                  </a:lnTo>
                  <a:lnTo>
                    <a:pt x="110" y="67"/>
                  </a:lnTo>
                  <a:lnTo>
                    <a:pt x="112" y="61"/>
                  </a:lnTo>
                  <a:lnTo>
                    <a:pt x="118" y="59"/>
                  </a:lnTo>
                  <a:lnTo>
                    <a:pt x="116" y="57"/>
                  </a:lnTo>
                  <a:lnTo>
                    <a:pt x="119" y="57"/>
                  </a:lnTo>
                  <a:lnTo>
                    <a:pt x="123" y="55"/>
                  </a:lnTo>
                  <a:lnTo>
                    <a:pt x="131" y="59"/>
                  </a:lnTo>
                  <a:lnTo>
                    <a:pt x="139" y="55"/>
                  </a:lnTo>
                  <a:lnTo>
                    <a:pt x="141" y="55"/>
                  </a:lnTo>
                  <a:lnTo>
                    <a:pt x="142" y="53"/>
                  </a:lnTo>
                  <a:lnTo>
                    <a:pt x="146" y="53"/>
                  </a:lnTo>
                  <a:lnTo>
                    <a:pt x="148" y="55"/>
                  </a:lnTo>
                  <a:lnTo>
                    <a:pt x="150" y="53"/>
                  </a:lnTo>
                  <a:lnTo>
                    <a:pt x="152" y="50"/>
                  </a:lnTo>
                  <a:lnTo>
                    <a:pt x="152" y="52"/>
                  </a:lnTo>
                  <a:lnTo>
                    <a:pt x="154" y="52"/>
                  </a:lnTo>
                  <a:lnTo>
                    <a:pt x="154" y="53"/>
                  </a:lnTo>
                  <a:lnTo>
                    <a:pt x="158" y="52"/>
                  </a:lnTo>
                  <a:lnTo>
                    <a:pt x="160" y="48"/>
                  </a:lnTo>
                  <a:lnTo>
                    <a:pt x="164" y="44"/>
                  </a:lnTo>
                  <a:lnTo>
                    <a:pt x="164" y="40"/>
                  </a:lnTo>
                  <a:lnTo>
                    <a:pt x="169" y="38"/>
                  </a:lnTo>
                  <a:lnTo>
                    <a:pt x="169" y="32"/>
                  </a:lnTo>
                  <a:lnTo>
                    <a:pt x="164" y="30"/>
                  </a:lnTo>
                  <a:lnTo>
                    <a:pt x="165" y="27"/>
                  </a:lnTo>
                  <a:lnTo>
                    <a:pt x="167" y="25"/>
                  </a:lnTo>
                  <a:lnTo>
                    <a:pt x="175" y="28"/>
                  </a:lnTo>
                  <a:lnTo>
                    <a:pt x="181" y="27"/>
                  </a:lnTo>
                  <a:lnTo>
                    <a:pt x="181" y="28"/>
                  </a:lnTo>
                  <a:lnTo>
                    <a:pt x="185" y="28"/>
                  </a:lnTo>
                  <a:lnTo>
                    <a:pt x="183" y="30"/>
                  </a:lnTo>
                  <a:lnTo>
                    <a:pt x="187" y="32"/>
                  </a:lnTo>
                  <a:lnTo>
                    <a:pt x="187" y="27"/>
                  </a:lnTo>
                  <a:lnTo>
                    <a:pt x="190" y="25"/>
                  </a:lnTo>
                  <a:lnTo>
                    <a:pt x="192" y="23"/>
                  </a:lnTo>
                  <a:lnTo>
                    <a:pt x="204" y="21"/>
                  </a:lnTo>
                  <a:lnTo>
                    <a:pt x="208" y="19"/>
                  </a:lnTo>
                  <a:lnTo>
                    <a:pt x="208" y="15"/>
                  </a:lnTo>
                  <a:lnTo>
                    <a:pt x="210" y="15"/>
                  </a:lnTo>
                  <a:lnTo>
                    <a:pt x="208" y="13"/>
                  </a:lnTo>
                  <a:lnTo>
                    <a:pt x="213" y="13"/>
                  </a:lnTo>
                  <a:lnTo>
                    <a:pt x="219" y="7"/>
                  </a:lnTo>
                  <a:lnTo>
                    <a:pt x="225" y="0"/>
                  </a:lnTo>
                  <a:lnTo>
                    <a:pt x="223" y="7"/>
                  </a:lnTo>
                  <a:lnTo>
                    <a:pt x="231" y="15"/>
                  </a:lnTo>
                  <a:lnTo>
                    <a:pt x="231" y="17"/>
                  </a:lnTo>
                  <a:lnTo>
                    <a:pt x="221" y="21"/>
                  </a:lnTo>
                  <a:lnTo>
                    <a:pt x="219" y="25"/>
                  </a:lnTo>
                  <a:lnTo>
                    <a:pt x="215" y="25"/>
                  </a:lnTo>
                  <a:lnTo>
                    <a:pt x="215" y="27"/>
                  </a:lnTo>
                  <a:lnTo>
                    <a:pt x="212" y="30"/>
                  </a:lnTo>
                  <a:lnTo>
                    <a:pt x="204" y="32"/>
                  </a:lnTo>
                  <a:lnTo>
                    <a:pt x="196" y="36"/>
                  </a:lnTo>
                  <a:lnTo>
                    <a:pt x="196" y="42"/>
                  </a:lnTo>
                  <a:lnTo>
                    <a:pt x="200" y="46"/>
                  </a:lnTo>
                  <a:lnTo>
                    <a:pt x="194" y="52"/>
                  </a:lnTo>
                  <a:lnTo>
                    <a:pt x="190" y="53"/>
                  </a:lnTo>
                  <a:lnTo>
                    <a:pt x="200" y="53"/>
                  </a:lnTo>
                  <a:lnTo>
                    <a:pt x="204" y="55"/>
                  </a:lnTo>
                  <a:lnTo>
                    <a:pt x="206" y="59"/>
                  </a:lnTo>
                  <a:lnTo>
                    <a:pt x="208" y="59"/>
                  </a:lnTo>
                  <a:lnTo>
                    <a:pt x="212" y="63"/>
                  </a:lnTo>
                  <a:lnTo>
                    <a:pt x="217" y="65"/>
                  </a:lnTo>
                  <a:lnTo>
                    <a:pt x="225" y="69"/>
                  </a:lnTo>
                  <a:lnTo>
                    <a:pt x="225" y="71"/>
                  </a:lnTo>
                  <a:lnTo>
                    <a:pt x="229" y="80"/>
                  </a:lnTo>
                  <a:lnTo>
                    <a:pt x="231" y="80"/>
                  </a:lnTo>
                  <a:lnTo>
                    <a:pt x="231" y="82"/>
                  </a:lnTo>
                  <a:lnTo>
                    <a:pt x="227" y="82"/>
                  </a:lnTo>
                  <a:lnTo>
                    <a:pt x="231" y="90"/>
                  </a:lnTo>
                  <a:lnTo>
                    <a:pt x="231" y="96"/>
                  </a:lnTo>
                  <a:lnTo>
                    <a:pt x="235" y="100"/>
                  </a:lnTo>
                  <a:lnTo>
                    <a:pt x="235" y="103"/>
                  </a:lnTo>
                  <a:lnTo>
                    <a:pt x="238" y="105"/>
                  </a:lnTo>
                  <a:lnTo>
                    <a:pt x="238" y="107"/>
                  </a:lnTo>
                  <a:lnTo>
                    <a:pt x="242" y="113"/>
                  </a:lnTo>
                  <a:lnTo>
                    <a:pt x="244" y="117"/>
                  </a:lnTo>
                  <a:lnTo>
                    <a:pt x="246" y="123"/>
                  </a:lnTo>
                  <a:lnTo>
                    <a:pt x="248" y="126"/>
                  </a:lnTo>
                  <a:lnTo>
                    <a:pt x="246" y="132"/>
                  </a:lnTo>
                  <a:lnTo>
                    <a:pt x="250" y="134"/>
                  </a:lnTo>
                  <a:lnTo>
                    <a:pt x="250" y="138"/>
                  </a:lnTo>
                  <a:lnTo>
                    <a:pt x="258" y="138"/>
                  </a:lnTo>
                  <a:lnTo>
                    <a:pt x="260" y="138"/>
                  </a:lnTo>
                  <a:lnTo>
                    <a:pt x="261" y="136"/>
                  </a:lnTo>
                  <a:lnTo>
                    <a:pt x="263" y="134"/>
                  </a:lnTo>
                  <a:lnTo>
                    <a:pt x="267" y="132"/>
                  </a:lnTo>
                  <a:lnTo>
                    <a:pt x="265" y="128"/>
                  </a:lnTo>
                  <a:lnTo>
                    <a:pt x="269" y="126"/>
                  </a:lnTo>
                  <a:lnTo>
                    <a:pt x="271" y="125"/>
                  </a:lnTo>
                  <a:lnTo>
                    <a:pt x="273" y="128"/>
                  </a:lnTo>
                  <a:lnTo>
                    <a:pt x="275" y="136"/>
                  </a:lnTo>
                  <a:lnTo>
                    <a:pt x="279" y="138"/>
                  </a:lnTo>
                  <a:lnTo>
                    <a:pt x="277" y="140"/>
                  </a:lnTo>
                  <a:lnTo>
                    <a:pt x="281" y="138"/>
                  </a:lnTo>
                  <a:lnTo>
                    <a:pt x="283" y="142"/>
                  </a:lnTo>
                  <a:lnTo>
                    <a:pt x="284" y="140"/>
                  </a:lnTo>
                  <a:lnTo>
                    <a:pt x="286" y="144"/>
                  </a:lnTo>
                  <a:lnTo>
                    <a:pt x="288" y="140"/>
                  </a:lnTo>
                  <a:lnTo>
                    <a:pt x="288" y="144"/>
                  </a:lnTo>
                  <a:lnTo>
                    <a:pt x="292" y="142"/>
                  </a:lnTo>
                  <a:lnTo>
                    <a:pt x="294" y="144"/>
                  </a:lnTo>
                  <a:lnTo>
                    <a:pt x="292" y="148"/>
                  </a:lnTo>
                  <a:lnTo>
                    <a:pt x="298" y="148"/>
                  </a:lnTo>
                  <a:lnTo>
                    <a:pt x="292" y="151"/>
                  </a:lnTo>
                  <a:lnTo>
                    <a:pt x="292" y="153"/>
                  </a:lnTo>
                  <a:lnTo>
                    <a:pt x="294" y="155"/>
                  </a:lnTo>
                  <a:lnTo>
                    <a:pt x="292" y="157"/>
                  </a:lnTo>
                  <a:lnTo>
                    <a:pt x="296" y="159"/>
                  </a:lnTo>
                  <a:lnTo>
                    <a:pt x="294" y="165"/>
                  </a:lnTo>
                  <a:lnTo>
                    <a:pt x="294" y="171"/>
                  </a:lnTo>
                  <a:lnTo>
                    <a:pt x="300" y="174"/>
                  </a:lnTo>
                  <a:lnTo>
                    <a:pt x="306" y="176"/>
                  </a:lnTo>
                  <a:lnTo>
                    <a:pt x="309" y="182"/>
                  </a:lnTo>
                  <a:close/>
                </a:path>
              </a:pathLst>
            </a:custGeom>
            <a:solidFill>
              <a:schemeClr val="accent3"/>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54" name="Freeform 31">
              <a:extLst>
                <a:ext uri="{FF2B5EF4-FFF2-40B4-BE49-F238E27FC236}">
                  <a16:creationId xmlns:a16="http://schemas.microsoft.com/office/drawing/2014/main" id="{43842A03-7A36-4E5C-847F-BC9185B7F8A1}"/>
                </a:ext>
              </a:extLst>
            </p:cNvPr>
            <p:cNvSpPr>
              <a:spLocks/>
            </p:cNvSpPr>
            <p:nvPr/>
          </p:nvSpPr>
          <p:spPr bwMode="gray">
            <a:xfrm>
              <a:off x="4795839" y="1863725"/>
              <a:ext cx="561975" cy="493713"/>
            </a:xfrm>
            <a:custGeom>
              <a:avLst/>
              <a:gdLst>
                <a:gd name="T0" fmla="*/ 304 w 354"/>
                <a:gd name="T1" fmla="*/ 94 h 311"/>
                <a:gd name="T2" fmla="*/ 300 w 354"/>
                <a:gd name="T3" fmla="*/ 113 h 311"/>
                <a:gd name="T4" fmla="*/ 317 w 354"/>
                <a:gd name="T5" fmla="*/ 128 h 311"/>
                <a:gd name="T6" fmla="*/ 334 w 354"/>
                <a:gd name="T7" fmla="*/ 142 h 311"/>
                <a:gd name="T8" fmla="*/ 329 w 354"/>
                <a:gd name="T9" fmla="*/ 161 h 311"/>
                <a:gd name="T10" fmla="*/ 338 w 354"/>
                <a:gd name="T11" fmla="*/ 180 h 311"/>
                <a:gd name="T12" fmla="*/ 331 w 354"/>
                <a:gd name="T13" fmla="*/ 192 h 311"/>
                <a:gd name="T14" fmla="*/ 342 w 354"/>
                <a:gd name="T15" fmla="*/ 209 h 311"/>
                <a:gd name="T16" fmla="*/ 352 w 354"/>
                <a:gd name="T17" fmla="*/ 224 h 311"/>
                <a:gd name="T18" fmla="*/ 334 w 354"/>
                <a:gd name="T19" fmla="*/ 222 h 311"/>
                <a:gd name="T20" fmla="*/ 313 w 354"/>
                <a:gd name="T21" fmla="*/ 219 h 311"/>
                <a:gd name="T22" fmla="*/ 296 w 354"/>
                <a:gd name="T23" fmla="*/ 217 h 311"/>
                <a:gd name="T24" fmla="*/ 281 w 354"/>
                <a:gd name="T25" fmla="*/ 215 h 311"/>
                <a:gd name="T26" fmla="*/ 254 w 354"/>
                <a:gd name="T27" fmla="*/ 224 h 311"/>
                <a:gd name="T28" fmla="*/ 229 w 354"/>
                <a:gd name="T29" fmla="*/ 238 h 311"/>
                <a:gd name="T30" fmla="*/ 231 w 354"/>
                <a:gd name="T31" fmla="*/ 249 h 311"/>
                <a:gd name="T32" fmla="*/ 227 w 354"/>
                <a:gd name="T33" fmla="*/ 261 h 311"/>
                <a:gd name="T34" fmla="*/ 217 w 354"/>
                <a:gd name="T35" fmla="*/ 272 h 311"/>
                <a:gd name="T36" fmla="*/ 225 w 354"/>
                <a:gd name="T37" fmla="*/ 286 h 311"/>
                <a:gd name="T38" fmla="*/ 223 w 354"/>
                <a:gd name="T39" fmla="*/ 292 h 311"/>
                <a:gd name="T40" fmla="*/ 221 w 354"/>
                <a:gd name="T41" fmla="*/ 299 h 311"/>
                <a:gd name="T42" fmla="*/ 202 w 354"/>
                <a:gd name="T43" fmla="*/ 311 h 311"/>
                <a:gd name="T44" fmla="*/ 190 w 354"/>
                <a:gd name="T45" fmla="*/ 305 h 311"/>
                <a:gd name="T46" fmla="*/ 179 w 354"/>
                <a:gd name="T47" fmla="*/ 303 h 311"/>
                <a:gd name="T48" fmla="*/ 156 w 354"/>
                <a:gd name="T49" fmla="*/ 294 h 311"/>
                <a:gd name="T50" fmla="*/ 146 w 354"/>
                <a:gd name="T51" fmla="*/ 271 h 311"/>
                <a:gd name="T52" fmla="*/ 139 w 354"/>
                <a:gd name="T53" fmla="*/ 265 h 311"/>
                <a:gd name="T54" fmla="*/ 125 w 354"/>
                <a:gd name="T55" fmla="*/ 251 h 311"/>
                <a:gd name="T56" fmla="*/ 104 w 354"/>
                <a:gd name="T57" fmla="*/ 238 h 311"/>
                <a:gd name="T58" fmla="*/ 102 w 354"/>
                <a:gd name="T59" fmla="*/ 224 h 311"/>
                <a:gd name="T60" fmla="*/ 98 w 354"/>
                <a:gd name="T61" fmla="*/ 217 h 311"/>
                <a:gd name="T62" fmla="*/ 91 w 354"/>
                <a:gd name="T63" fmla="*/ 211 h 311"/>
                <a:gd name="T64" fmla="*/ 81 w 354"/>
                <a:gd name="T65" fmla="*/ 198 h 311"/>
                <a:gd name="T66" fmla="*/ 71 w 354"/>
                <a:gd name="T67" fmla="*/ 209 h 311"/>
                <a:gd name="T68" fmla="*/ 56 w 354"/>
                <a:gd name="T69" fmla="*/ 205 h 311"/>
                <a:gd name="T70" fmla="*/ 48 w 354"/>
                <a:gd name="T71" fmla="*/ 180 h 311"/>
                <a:gd name="T72" fmla="*/ 41 w 354"/>
                <a:gd name="T73" fmla="*/ 163 h 311"/>
                <a:gd name="T74" fmla="*/ 35 w 354"/>
                <a:gd name="T75" fmla="*/ 144 h 311"/>
                <a:gd name="T76" fmla="*/ 16 w 354"/>
                <a:gd name="T77" fmla="*/ 132 h 311"/>
                <a:gd name="T78" fmla="*/ 10 w 354"/>
                <a:gd name="T79" fmla="*/ 119 h 311"/>
                <a:gd name="T80" fmla="*/ 25 w 354"/>
                <a:gd name="T81" fmla="*/ 100 h 311"/>
                <a:gd name="T82" fmla="*/ 41 w 354"/>
                <a:gd name="T83" fmla="*/ 88 h 311"/>
                <a:gd name="T84" fmla="*/ 39 w 354"/>
                <a:gd name="T85" fmla="*/ 61 h 311"/>
                <a:gd name="T86" fmla="*/ 31 w 354"/>
                <a:gd name="T87" fmla="*/ 34 h 311"/>
                <a:gd name="T88" fmla="*/ 62 w 354"/>
                <a:gd name="T89" fmla="*/ 27 h 311"/>
                <a:gd name="T90" fmla="*/ 81 w 354"/>
                <a:gd name="T91" fmla="*/ 15 h 311"/>
                <a:gd name="T92" fmla="*/ 110 w 354"/>
                <a:gd name="T93" fmla="*/ 4 h 311"/>
                <a:gd name="T94" fmla="*/ 133 w 354"/>
                <a:gd name="T95" fmla="*/ 2 h 311"/>
                <a:gd name="T96" fmla="*/ 137 w 354"/>
                <a:gd name="T97" fmla="*/ 5 h 311"/>
                <a:gd name="T98" fmla="*/ 148 w 354"/>
                <a:gd name="T99" fmla="*/ 23 h 311"/>
                <a:gd name="T100" fmla="*/ 165 w 354"/>
                <a:gd name="T101" fmla="*/ 28 h 311"/>
                <a:gd name="T102" fmla="*/ 173 w 354"/>
                <a:gd name="T103" fmla="*/ 34 h 311"/>
                <a:gd name="T104" fmla="*/ 187 w 354"/>
                <a:gd name="T105" fmla="*/ 44 h 311"/>
                <a:gd name="T106" fmla="*/ 200 w 354"/>
                <a:gd name="T107" fmla="*/ 40 h 311"/>
                <a:gd name="T108" fmla="*/ 219 w 354"/>
                <a:gd name="T109" fmla="*/ 32 h 311"/>
                <a:gd name="T110" fmla="*/ 233 w 354"/>
                <a:gd name="T111" fmla="*/ 30 h 311"/>
                <a:gd name="T112" fmla="*/ 246 w 354"/>
                <a:gd name="T113" fmla="*/ 52 h 311"/>
                <a:gd name="T114" fmla="*/ 258 w 354"/>
                <a:gd name="T115" fmla="*/ 71 h 311"/>
                <a:gd name="T116" fmla="*/ 271 w 354"/>
                <a:gd name="T117" fmla="*/ 67 h 311"/>
                <a:gd name="T118" fmla="*/ 290 w 354"/>
                <a:gd name="T119" fmla="*/ 59 h 311"/>
                <a:gd name="T120" fmla="*/ 300 w 354"/>
                <a:gd name="T121" fmla="*/ 67 h 311"/>
                <a:gd name="T122" fmla="*/ 298 w 354"/>
                <a:gd name="T123" fmla="*/ 7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4" h="311">
                  <a:moveTo>
                    <a:pt x="298" y="78"/>
                  </a:moveTo>
                  <a:lnTo>
                    <a:pt x="302" y="80"/>
                  </a:lnTo>
                  <a:lnTo>
                    <a:pt x="306" y="88"/>
                  </a:lnTo>
                  <a:lnTo>
                    <a:pt x="306" y="92"/>
                  </a:lnTo>
                  <a:lnTo>
                    <a:pt x="304" y="94"/>
                  </a:lnTo>
                  <a:lnTo>
                    <a:pt x="306" y="96"/>
                  </a:lnTo>
                  <a:lnTo>
                    <a:pt x="306" y="100"/>
                  </a:lnTo>
                  <a:lnTo>
                    <a:pt x="309" y="103"/>
                  </a:lnTo>
                  <a:lnTo>
                    <a:pt x="306" y="109"/>
                  </a:lnTo>
                  <a:lnTo>
                    <a:pt x="300" y="113"/>
                  </a:lnTo>
                  <a:lnTo>
                    <a:pt x="302" y="121"/>
                  </a:lnTo>
                  <a:lnTo>
                    <a:pt x="308" y="119"/>
                  </a:lnTo>
                  <a:lnTo>
                    <a:pt x="309" y="123"/>
                  </a:lnTo>
                  <a:lnTo>
                    <a:pt x="315" y="126"/>
                  </a:lnTo>
                  <a:lnTo>
                    <a:pt x="317" y="128"/>
                  </a:lnTo>
                  <a:lnTo>
                    <a:pt x="317" y="132"/>
                  </a:lnTo>
                  <a:lnTo>
                    <a:pt x="319" y="134"/>
                  </a:lnTo>
                  <a:lnTo>
                    <a:pt x="329" y="136"/>
                  </a:lnTo>
                  <a:lnTo>
                    <a:pt x="331" y="140"/>
                  </a:lnTo>
                  <a:lnTo>
                    <a:pt x="334" y="142"/>
                  </a:lnTo>
                  <a:lnTo>
                    <a:pt x="331" y="148"/>
                  </a:lnTo>
                  <a:lnTo>
                    <a:pt x="325" y="149"/>
                  </a:lnTo>
                  <a:lnTo>
                    <a:pt x="321" y="153"/>
                  </a:lnTo>
                  <a:lnTo>
                    <a:pt x="323" y="157"/>
                  </a:lnTo>
                  <a:lnTo>
                    <a:pt x="329" y="161"/>
                  </a:lnTo>
                  <a:lnTo>
                    <a:pt x="331" y="171"/>
                  </a:lnTo>
                  <a:lnTo>
                    <a:pt x="336" y="171"/>
                  </a:lnTo>
                  <a:lnTo>
                    <a:pt x="336" y="174"/>
                  </a:lnTo>
                  <a:lnTo>
                    <a:pt x="340" y="178"/>
                  </a:lnTo>
                  <a:lnTo>
                    <a:pt x="338" y="180"/>
                  </a:lnTo>
                  <a:lnTo>
                    <a:pt x="332" y="184"/>
                  </a:lnTo>
                  <a:lnTo>
                    <a:pt x="329" y="186"/>
                  </a:lnTo>
                  <a:lnTo>
                    <a:pt x="327" y="188"/>
                  </a:lnTo>
                  <a:lnTo>
                    <a:pt x="327" y="192"/>
                  </a:lnTo>
                  <a:lnTo>
                    <a:pt x="331" y="192"/>
                  </a:lnTo>
                  <a:lnTo>
                    <a:pt x="334" y="196"/>
                  </a:lnTo>
                  <a:lnTo>
                    <a:pt x="331" y="205"/>
                  </a:lnTo>
                  <a:lnTo>
                    <a:pt x="334" y="211"/>
                  </a:lnTo>
                  <a:lnTo>
                    <a:pt x="340" y="213"/>
                  </a:lnTo>
                  <a:lnTo>
                    <a:pt x="342" y="209"/>
                  </a:lnTo>
                  <a:lnTo>
                    <a:pt x="344" y="215"/>
                  </a:lnTo>
                  <a:lnTo>
                    <a:pt x="348" y="217"/>
                  </a:lnTo>
                  <a:lnTo>
                    <a:pt x="348" y="221"/>
                  </a:lnTo>
                  <a:lnTo>
                    <a:pt x="350" y="221"/>
                  </a:lnTo>
                  <a:lnTo>
                    <a:pt x="352" y="224"/>
                  </a:lnTo>
                  <a:lnTo>
                    <a:pt x="354" y="224"/>
                  </a:lnTo>
                  <a:lnTo>
                    <a:pt x="352" y="232"/>
                  </a:lnTo>
                  <a:lnTo>
                    <a:pt x="342" y="232"/>
                  </a:lnTo>
                  <a:lnTo>
                    <a:pt x="338" y="228"/>
                  </a:lnTo>
                  <a:lnTo>
                    <a:pt x="334" y="222"/>
                  </a:lnTo>
                  <a:lnTo>
                    <a:pt x="331" y="224"/>
                  </a:lnTo>
                  <a:lnTo>
                    <a:pt x="321" y="222"/>
                  </a:lnTo>
                  <a:lnTo>
                    <a:pt x="319" y="224"/>
                  </a:lnTo>
                  <a:lnTo>
                    <a:pt x="319" y="221"/>
                  </a:lnTo>
                  <a:lnTo>
                    <a:pt x="313" y="219"/>
                  </a:lnTo>
                  <a:lnTo>
                    <a:pt x="311" y="219"/>
                  </a:lnTo>
                  <a:lnTo>
                    <a:pt x="308" y="222"/>
                  </a:lnTo>
                  <a:lnTo>
                    <a:pt x="302" y="222"/>
                  </a:lnTo>
                  <a:lnTo>
                    <a:pt x="298" y="219"/>
                  </a:lnTo>
                  <a:lnTo>
                    <a:pt x="296" y="217"/>
                  </a:lnTo>
                  <a:lnTo>
                    <a:pt x="294" y="219"/>
                  </a:lnTo>
                  <a:lnTo>
                    <a:pt x="290" y="213"/>
                  </a:lnTo>
                  <a:lnTo>
                    <a:pt x="283" y="213"/>
                  </a:lnTo>
                  <a:lnTo>
                    <a:pt x="283" y="215"/>
                  </a:lnTo>
                  <a:lnTo>
                    <a:pt x="281" y="215"/>
                  </a:lnTo>
                  <a:lnTo>
                    <a:pt x="275" y="219"/>
                  </a:lnTo>
                  <a:lnTo>
                    <a:pt x="271" y="221"/>
                  </a:lnTo>
                  <a:lnTo>
                    <a:pt x="267" y="219"/>
                  </a:lnTo>
                  <a:lnTo>
                    <a:pt x="261" y="224"/>
                  </a:lnTo>
                  <a:lnTo>
                    <a:pt x="254" y="224"/>
                  </a:lnTo>
                  <a:lnTo>
                    <a:pt x="252" y="228"/>
                  </a:lnTo>
                  <a:lnTo>
                    <a:pt x="246" y="224"/>
                  </a:lnTo>
                  <a:lnTo>
                    <a:pt x="238" y="228"/>
                  </a:lnTo>
                  <a:lnTo>
                    <a:pt x="235" y="236"/>
                  </a:lnTo>
                  <a:lnTo>
                    <a:pt x="229" y="238"/>
                  </a:lnTo>
                  <a:lnTo>
                    <a:pt x="231" y="240"/>
                  </a:lnTo>
                  <a:lnTo>
                    <a:pt x="229" y="242"/>
                  </a:lnTo>
                  <a:lnTo>
                    <a:pt x="231" y="246"/>
                  </a:lnTo>
                  <a:lnTo>
                    <a:pt x="229" y="247"/>
                  </a:lnTo>
                  <a:lnTo>
                    <a:pt x="231" y="249"/>
                  </a:lnTo>
                  <a:lnTo>
                    <a:pt x="225" y="247"/>
                  </a:lnTo>
                  <a:lnTo>
                    <a:pt x="223" y="249"/>
                  </a:lnTo>
                  <a:lnTo>
                    <a:pt x="223" y="253"/>
                  </a:lnTo>
                  <a:lnTo>
                    <a:pt x="229" y="253"/>
                  </a:lnTo>
                  <a:lnTo>
                    <a:pt x="227" y="261"/>
                  </a:lnTo>
                  <a:lnTo>
                    <a:pt x="223" y="257"/>
                  </a:lnTo>
                  <a:lnTo>
                    <a:pt x="221" y="261"/>
                  </a:lnTo>
                  <a:lnTo>
                    <a:pt x="223" y="263"/>
                  </a:lnTo>
                  <a:lnTo>
                    <a:pt x="217" y="271"/>
                  </a:lnTo>
                  <a:lnTo>
                    <a:pt x="217" y="272"/>
                  </a:lnTo>
                  <a:lnTo>
                    <a:pt x="219" y="272"/>
                  </a:lnTo>
                  <a:lnTo>
                    <a:pt x="221" y="276"/>
                  </a:lnTo>
                  <a:lnTo>
                    <a:pt x="221" y="278"/>
                  </a:lnTo>
                  <a:lnTo>
                    <a:pt x="225" y="282"/>
                  </a:lnTo>
                  <a:lnTo>
                    <a:pt x="225" y="286"/>
                  </a:lnTo>
                  <a:lnTo>
                    <a:pt x="223" y="286"/>
                  </a:lnTo>
                  <a:lnTo>
                    <a:pt x="223" y="288"/>
                  </a:lnTo>
                  <a:lnTo>
                    <a:pt x="221" y="288"/>
                  </a:lnTo>
                  <a:lnTo>
                    <a:pt x="219" y="288"/>
                  </a:lnTo>
                  <a:lnTo>
                    <a:pt x="223" y="292"/>
                  </a:lnTo>
                  <a:lnTo>
                    <a:pt x="227" y="292"/>
                  </a:lnTo>
                  <a:lnTo>
                    <a:pt x="229" y="295"/>
                  </a:lnTo>
                  <a:lnTo>
                    <a:pt x="227" y="297"/>
                  </a:lnTo>
                  <a:lnTo>
                    <a:pt x="223" y="297"/>
                  </a:lnTo>
                  <a:lnTo>
                    <a:pt x="221" y="299"/>
                  </a:lnTo>
                  <a:lnTo>
                    <a:pt x="213" y="305"/>
                  </a:lnTo>
                  <a:lnTo>
                    <a:pt x="208" y="307"/>
                  </a:lnTo>
                  <a:lnTo>
                    <a:pt x="202" y="307"/>
                  </a:lnTo>
                  <a:lnTo>
                    <a:pt x="202" y="309"/>
                  </a:lnTo>
                  <a:lnTo>
                    <a:pt x="202" y="311"/>
                  </a:lnTo>
                  <a:lnTo>
                    <a:pt x="198" y="309"/>
                  </a:lnTo>
                  <a:lnTo>
                    <a:pt x="196" y="305"/>
                  </a:lnTo>
                  <a:lnTo>
                    <a:pt x="194" y="309"/>
                  </a:lnTo>
                  <a:lnTo>
                    <a:pt x="187" y="309"/>
                  </a:lnTo>
                  <a:lnTo>
                    <a:pt x="190" y="305"/>
                  </a:lnTo>
                  <a:lnTo>
                    <a:pt x="190" y="303"/>
                  </a:lnTo>
                  <a:lnTo>
                    <a:pt x="185" y="307"/>
                  </a:lnTo>
                  <a:lnTo>
                    <a:pt x="183" y="305"/>
                  </a:lnTo>
                  <a:lnTo>
                    <a:pt x="179" y="305"/>
                  </a:lnTo>
                  <a:lnTo>
                    <a:pt x="179" y="303"/>
                  </a:lnTo>
                  <a:lnTo>
                    <a:pt x="173" y="303"/>
                  </a:lnTo>
                  <a:lnTo>
                    <a:pt x="165" y="301"/>
                  </a:lnTo>
                  <a:lnTo>
                    <a:pt x="164" y="301"/>
                  </a:lnTo>
                  <a:lnTo>
                    <a:pt x="162" y="295"/>
                  </a:lnTo>
                  <a:lnTo>
                    <a:pt x="156" y="294"/>
                  </a:lnTo>
                  <a:lnTo>
                    <a:pt x="154" y="292"/>
                  </a:lnTo>
                  <a:lnTo>
                    <a:pt x="160" y="288"/>
                  </a:lnTo>
                  <a:lnTo>
                    <a:pt x="160" y="278"/>
                  </a:lnTo>
                  <a:lnTo>
                    <a:pt x="152" y="272"/>
                  </a:lnTo>
                  <a:lnTo>
                    <a:pt x="146" y="271"/>
                  </a:lnTo>
                  <a:lnTo>
                    <a:pt x="144" y="272"/>
                  </a:lnTo>
                  <a:lnTo>
                    <a:pt x="142" y="269"/>
                  </a:lnTo>
                  <a:lnTo>
                    <a:pt x="144" y="265"/>
                  </a:lnTo>
                  <a:lnTo>
                    <a:pt x="142" y="267"/>
                  </a:lnTo>
                  <a:lnTo>
                    <a:pt x="139" y="265"/>
                  </a:lnTo>
                  <a:lnTo>
                    <a:pt x="137" y="263"/>
                  </a:lnTo>
                  <a:lnTo>
                    <a:pt x="135" y="255"/>
                  </a:lnTo>
                  <a:lnTo>
                    <a:pt x="129" y="259"/>
                  </a:lnTo>
                  <a:lnTo>
                    <a:pt x="125" y="255"/>
                  </a:lnTo>
                  <a:lnTo>
                    <a:pt x="125" y="251"/>
                  </a:lnTo>
                  <a:lnTo>
                    <a:pt x="119" y="255"/>
                  </a:lnTo>
                  <a:lnTo>
                    <a:pt x="116" y="249"/>
                  </a:lnTo>
                  <a:lnTo>
                    <a:pt x="110" y="247"/>
                  </a:lnTo>
                  <a:lnTo>
                    <a:pt x="104" y="244"/>
                  </a:lnTo>
                  <a:lnTo>
                    <a:pt x="104" y="238"/>
                  </a:lnTo>
                  <a:lnTo>
                    <a:pt x="106" y="232"/>
                  </a:lnTo>
                  <a:lnTo>
                    <a:pt x="102" y="230"/>
                  </a:lnTo>
                  <a:lnTo>
                    <a:pt x="104" y="228"/>
                  </a:lnTo>
                  <a:lnTo>
                    <a:pt x="102" y="226"/>
                  </a:lnTo>
                  <a:lnTo>
                    <a:pt x="102" y="224"/>
                  </a:lnTo>
                  <a:lnTo>
                    <a:pt x="108" y="221"/>
                  </a:lnTo>
                  <a:lnTo>
                    <a:pt x="102" y="221"/>
                  </a:lnTo>
                  <a:lnTo>
                    <a:pt x="104" y="217"/>
                  </a:lnTo>
                  <a:lnTo>
                    <a:pt x="102" y="215"/>
                  </a:lnTo>
                  <a:lnTo>
                    <a:pt x="98" y="217"/>
                  </a:lnTo>
                  <a:lnTo>
                    <a:pt x="98" y="213"/>
                  </a:lnTo>
                  <a:lnTo>
                    <a:pt x="96" y="217"/>
                  </a:lnTo>
                  <a:lnTo>
                    <a:pt x="94" y="213"/>
                  </a:lnTo>
                  <a:lnTo>
                    <a:pt x="93" y="215"/>
                  </a:lnTo>
                  <a:lnTo>
                    <a:pt x="91" y="211"/>
                  </a:lnTo>
                  <a:lnTo>
                    <a:pt x="87" y="213"/>
                  </a:lnTo>
                  <a:lnTo>
                    <a:pt x="89" y="211"/>
                  </a:lnTo>
                  <a:lnTo>
                    <a:pt x="85" y="209"/>
                  </a:lnTo>
                  <a:lnTo>
                    <a:pt x="83" y="201"/>
                  </a:lnTo>
                  <a:lnTo>
                    <a:pt x="81" y="198"/>
                  </a:lnTo>
                  <a:lnTo>
                    <a:pt x="79" y="199"/>
                  </a:lnTo>
                  <a:lnTo>
                    <a:pt x="75" y="201"/>
                  </a:lnTo>
                  <a:lnTo>
                    <a:pt x="77" y="205"/>
                  </a:lnTo>
                  <a:lnTo>
                    <a:pt x="73" y="207"/>
                  </a:lnTo>
                  <a:lnTo>
                    <a:pt x="71" y="209"/>
                  </a:lnTo>
                  <a:lnTo>
                    <a:pt x="70" y="211"/>
                  </a:lnTo>
                  <a:lnTo>
                    <a:pt x="68" y="211"/>
                  </a:lnTo>
                  <a:lnTo>
                    <a:pt x="60" y="211"/>
                  </a:lnTo>
                  <a:lnTo>
                    <a:pt x="60" y="207"/>
                  </a:lnTo>
                  <a:lnTo>
                    <a:pt x="56" y="205"/>
                  </a:lnTo>
                  <a:lnTo>
                    <a:pt x="58" y="199"/>
                  </a:lnTo>
                  <a:lnTo>
                    <a:pt x="56" y="196"/>
                  </a:lnTo>
                  <a:lnTo>
                    <a:pt x="54" y="190"/>
                  </a:lnTo>
                  <a:lnTo>
                    <a:pt x="52" y="186"/>
                  </a:lnTo>
                  <a:lnTo>
                    <a:pt x="48" y="180"/>
                  </a:lnTo>
                  <a:lnTo>
                    <a:pt x="48" y="178"/>
                  </a:lnTo>
                  <a:lnTo>
                    <a:pt x="45" y="176"/>
                  </a:lnTo>
                  <a:lnTo>
                    <a:pt x="45" y="173"/>
                  </a:lnTo>
                  <a:lnTo>
                    <a:pt x="41" y="169"/>
                  </a:lnTo>
                  <a:lnTo>
                    <a:pt x="41" y="163"/>
                  </a:lnTo>
                  <a:lnTo>
                    <a:pt x="37" y="155"/>
                  </a:lnTo>
                  <a:lnTo>
                    <a:pt x="41" y="155"/>
                  </a:lnTo>
                  <a:lnTo>
                    <a:pt x="41" y="153"/>
                  </a:lnTo>
                  <a:lnTo>
                    <a:pt x="39" y="153"/>
                  </a:lnTo>
                  <a:lnTo>
                    <a:pt x="35" y="144"/>
                  </a:lnTo>
                  <a:lnTo>
                    <a:pt x="35" y="142"/>
                  </a:lnTo>
                  <a:lnTo>
                    <a:pt x="27" y="138"/>
                  </a:lnTo>
                  <a:lnTo>
                    <a:pt x="22" y="136"/>
                  </a:lnTo>
                  <a:lnTo>
                    <a:pt x="18" y="132"/>
                  </a:lnTo>
                  <a:lnTo>
                    <a:pt x="16" y="132"/>
                  </a:lnTo>
                  <a:lnTo>
                    <a:pt x="14" y="128"/>
                  </a:lnTo>
                  <a:lnTo>
                    <a:pt x="10" y="126"/>
                  </a:lnTo>
                  <a:lnTo>
                    <a:pt x="0" y="126"/>
                  </a:lnTo>
                  <a:lnTo>
                    <a:pt x="4" y="125"/>
                  </a:lnTo>
                  <a:lnTo>
                    <a:pt x="10" y="119"/>
                  </a:lnTo>
                  <a:lnTo>
                    <a:pt x="6" y="115"/>
                  </a:lnTo>
                  <a:lnTo>
                    <a:pt x="6" y="109"/>
                  </a:lnTo>
                  <a:lnTo>
                    <a:pt x="14" y="105"/>
                  </a:lnTo>
                  <a:lnTo>
                    <a:pt x="22" y="103"/>
                  </a:lnTo>
                  <a:lnTo>
                    <a:pt x="25" y="100"/>
                  </a:lnTo>
                  <a:lnTo>
                    <a:pt x="25" y="98"/>
                  </a:lnTo>
                  <a:lnTo>
                    <a:pt x="29" y="98"/>
                  </a:lnTo>
                  <a:lnTo>
                    <a:pt x="31" y="94"/>
                  </a:lnTo>
                  <a:lnTo>
                    <a:pt x="41" y="90"/>
                  </a:lnTo>
                  <a:lnTo>
                    <a:pt x="41" y="88"/>
                  </a:lnTo>
                  <a:lnTo>
                    <a:pt x="33" y="80"/>
                  </a:lnTo>
                  <a:lnTo>
                    <a:pt x="35" y="73"/>
                  </a:lnTo>
                  <a:lnTo>
                    <a:pt x="37" y="71"/>
                  </a:lnTo>
                  <a:lnTo>
                    <a:pt x="41" y="65"/>
                  </a:lnTo>
                  <a:lnTo>
                    <a:pt x="39" y="61"/>
                  </a:lnTo>
                  <a:lnTo>
                    <a:pt x="41" y="53"/>
                  </a:lnTo>
                  <a:lnTo>
                    <a:pt x="37" y="48"/>
                  </a:lnTo>
                  <a:lnTo>
                    <a:pt x="29" y="42"/>
                  </a:lnTo>
                  <a:lnTo>
                    <a:pt x="27" y="40"/>
                  </a:lnTo>
                  <a:lnTo>
                    <a:pt x="31" y="34"/>
                  </a:lnTo>
                  <a:lnTo>
                    <a:pt x="37" y="34"/>
                  </a:lnTo>
                  <a:lnTo>
                    <a:pt x="45" y="40"/>
                  </a:lnTo>
                  <a:lnTo>
                    <a:pt x="52" y="36"/>
                  </a:lnTo>
                  <a:lnTo>
                    <a:pt x="58" y="30"/>
                  </a:lnTo>
                  <a:lnTo>
                    <a:pt x="62" y="27"/>
                  </a:lnTo>
                  <a:lnTo>
                    <a:pt x="68" y="27"/>
                  </a:lnTo>
                  <a:lnTo>
                    <a:pt x="70" y="25"/>
                  </a:lnTo>
                  <a:lnTo>
                    <a:pt x="75" y="25"/>
                  </a:lnTo>
                  <a:lnTo>
                    <a:pt x="79" y="23"/>
                  </a:lnTo>
                  <a:lnTo>
                    <a:pt x="81" y="15"/>
                  </a:lnTo>
                  <a:lnTo>
                    <a:pt x="81" y="13"/>
                  </a:lnTo>
                  <a:lnTo>
                    <a:pt x="89" y="9"/>
                  </a:lnTo>
                  <a:lnTo>
                    <a:pt x="93" y="7"/>
                  </a:lnTo>
                  <a:lnTo>
                    <a:pt x="100" y="7"/>
                  </a:lnTo>
                  <a:lnTo>
                    <a:pt x="110" y="4"/>
                  </a:lnTo>
                  <a:lnTo>
                    <a:pt x="114" y="5"/>
                  </a:lnTo>
                  <a:lnTo>
                    <a:pt x="116" y="7"/>
                  </a:lnTo>
                  <a:lnTo>
                    <a:pt x="118" y="9"/>
                  </a:lnTo>
                  <a:lnTo>
                    <a:pt x="129" y="7"/>
                  </a:lnTo>
                  <a:lnTo>
                    <a:pt x="133" y="2"/>
                  </a:lnTo>
                  <a:lnTo>
                    <a:pt x="131" y="0"/>
                  </a:lnTo>
                  <a:lnTo>
                    <a:pt x="135" y="0"/>
                  </a:lnTo>
                  <a:lnTo>
                    <a:pt x="137" y="0"/>
                  </a:lnTo>
                  <a:lnTo>
                    <a:pt x="139" y="0"/>
                  </a:lnTo>
                  <a:lnTo>
                    <a:pt x="137" y="5"/>
                  </a:lnTo>
                  <a:lnTo>
                    <a:pt x="137" y="11"/>
                  </a:lnTo>
                  <a:lnTo>
                    <a:pt x="139" y="15"/>
                  </a:lnTo>
                  <a:lnTo>
                    <a:pt x="142" y="15"/>
                  </a:lnTo>
                  <a:lnTo>
                    <a:pt x="146" y="17"/>
                  </a:lnTo>
                  <a:lnTo>
                    <a:pt x="148" y="23"/>
                  </a:lnTo>
                  <a:lnTo>
                    <a:pt x="150" y="27"/>
                  </a:lnTo>
                  <a:lnTo>
                    <a:pt x="156" y="28"/>
                  </a:lnTo>
                  <a:lnTo>
                    <a:pt x="160" y="27"/>
                  </a:lnTo>
                  <a:lnTo>
                    <a:pt x="164" y="30"/>
                  </a:lnTo>
                  <a:lnTo>
                    <a:pt x="165" y="28"/>
                  </a:lnTo>
                  <a:lnTo>
                    <a:pt x="169" y="28"/>
                  </a:lnTo>
                  <a:lnTo>
                    <a:pt x="171" y="34"/>
                  </a:lnTo>
                  <a:lnTo>
                    <a:pt x="167" y="38"/>
                  </a:lnTo>
                  <a:lnTo>
                    <a:pt x="171" y="38"/>
                  </a:lnTo>
                  <a:lnTo>
                    <a:pt x="173" y="34"/>
                  </a:lnTo>
                  <a:lnTo>
                    <a:pt x="179" y="38"/>
                  </a:lnTo>
                  <a:lnTo>
                    <a:pt x="181" y="42"/>
                  </a:lnTo>
                  <a:lnTo>
                    <a:pt x="183" y="40"/>
                  </a:lnTo>
                  <a:lnTo>
                    <a:pt x="185" y="44"/>
                  </a:lnTo>
                  <a:lnTo>
                    <a:pt x="187" y="44"/>
                  </a:lnTo>
                  <a:lnTo>
                    <a:pt x="189" y="48"/>
                  </a:lnTo>
                  <a:lnTo>
                    <a:pt x="192" y="46"/>
                  </a:lnTo>
                  <a:lnTo>
                    <a:pt x="192" y="42"/>
                  </a:lnTo>
                  <a:lnTo>
                    <a:pt x="196" y="40"/>
                  </a:lnTo>
                  <a:lnTo>
                    <a:pt x="200" y="40"/>
                  </a:lnTo>
                  <a:lnTo>
                    <a:pt x="202" y="42"/>
                  </a:lnTo>
                  <a:lnTo>
                    <a:pt x="206" y="40"/>
                  </a:lnTo>
                  <a:lnTo>
                    <a:pt x="210" y="40"/>
                  </a:lnTo>
                  <a:lnTo>
                    <a:pt x="213" y="36"/>
                  </a:lnTo>
                  <a:lnTo>
                    <a:pt x="219" y="32"/>
                  </a:lnTo>
                  <a:lnTo>
                    <a:pt x="225" y="30"/>
                  </a:lnTo>
                  <a:lnTo>
                    <a:pt x="227" y="28"/>
                  </a:lnTo>
                  <a:lnTo>
                    <a:pt x="229" y="30"/>
                  </a:lnTo>
                  <a:lnTo>
                    <a:pt x="231" y="28"/>
                  </a:lnTo>
                  <a:lnTo>
                    <a:pt x="233" y="30"/>
                  </a:lnTo>
                  <a:lnTo>
                    <a:pt x="238" y="36"/>
                  </a:lnTo>
                  <a:lnTo>
                    <a:pt x="237" y="40"/>
                  </a:lnTo>
                  <a:lnTo>
                    <a:pt x="237" y="42"/>
                  </a:lnTo>
                  <a:lnTo>
                    <a:pt x="244" y="46"/>
                  </a:lnTo>
                  <a:lnTo>
                    <a:pt x="246" y="52"/>
                  </a:lnTo>
                  <a:lnTo>
                    <a:pt x="250" y="53"/>
                  </a:lnTo>
                  <a:lnTo>
                    <a:pt x="248" y="61"/>
                  </a:lnTo>
                  <a:lnTo>
                    <a:pt x="258" y="67"/>
                  </a:lnTo>
                  <a:lnTo>
                    <a:pt x="256" y="71"/>
                  </a:lnTo>
                  <a:lnTo>
                    <a:pt x="258" y="71"/>
                  </a:lnTo>
                  <a:lnTo>
                    <a:pt x="263" y="71"/>
                  </a:lnTo>
                  <a:lnTo>
                    <a:pt x="263" y="67"/>
                  </a:lnTo>
                  <a:lnTo>
                    <a:pt x="265" y="69"/>
                  </a:lnTo>
                  <a:lnTo>
                    <a:pt x="269" y="63"/>
                  </a:lnTo>
                  <a:lnTo>
                    <a:pt x="271" y="67"/>
                  </a:lnTo>
                  <a:lnTo>
                    <a:pt x="275" y="61"/>
                  </a:lnTo>
                  <a:lnTo>
                    <a:pt x="281" y="63"/>
                  </a:lnTo>
                  <a:lnTo>
                    <a:pt x="283" y="63"/>
                  </a:lnTo>
                  <a:lnTo>
                    <a:pt x="284" y="59"/>
                  </a:lnTo>
                  <a:lnTo>
                    <a:pt x="290" y="59"/>
                  </a:lnTo>
                  <a:lnTo>
                    <a:pt x="290" y="55"/>
                  </a:lnTo>
                  <a:lnTo>
                    <a:pt x="298" y="53"/>
                  </a:lnTo>
                  <a:lnTo>
                    <a:pt x="300" y="59"/>
                  </a:lnTo>
                  <a:lnTo>
                    <a:pt x="298" y="65"/>
                  </a:lnTo>
                  <a:lnTo>
                    <a:pt x="300" y="67"/>
                  </a:lnTo>
                  <a:lnTo>
                    <a:pt x="296" y="71"/>
                  </a:lnTo>
                  <a:lnTo>
                    <a:pt x="290" y="73"/>
                  </a:lnTo>
                  <a:lnTo>
                    <a:pt x="288" y="80"/>
                  </a:lnTo>
                  <a:lnTo>
                    <a:pt x="290" y="84"/>
                  </a:lnTo>
                  <a:lnTo>
                    <a:pt x="298" y="7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55" name="Freeform 32">
              <a:extLst>
                <a:ext uri="{FF2B5EF4-FFF2-40B4-BE49-F238E27FC236}">
                  <a16:creationId xmlns:a16="http://schemas.microsoft.com/office/drawing/2014/main" id="{B79EA765-10CD-4B3B-A077-C774F11BB4B7}"/>
                </a:ext>
              </a:extLst>
            </p:cNvPr>
            <p:cNvSpPr>
              <a:spLocks/>
            </p:cNvSpPr>
            <p:nvPr/>
          </p:nvSpPr>
          <p:spPr bwMode="gray">
            <a:xfrm>
              <a:off x="4973639" y="2287588"/>
              <a:ext cx="23813" cy="20638"/>
            </a:xfrm>
            <a:custGeom>
              <a:avLst/>
              <a:gdLst>
                <a:gd name="T0" fmla="*/ 13 w 15"/>
                <a:gd name="T1" fmla="*/ 4 h 13"/>
                <a:gd name="T2" fmla="*/ 15 w 15"/>
                <a:gd name="T3" fmla="*/ 7 h 13"/>
                <a:gd name="T4" fmla="*/ 13 w 15"/>
                <a:gd name="T5" fmla="*/ 11 h 13"/>
                <a:gd name="T6" fmla="*/ 9 w 15"/>
                <a:gd name="T7" fmla="*/ 13 h 13"/>
                <a:gd name="T8" fmla="*/ 4 w 15"/>
                <a:gd name="T9" fmla="*/ 11 h 13"/>
                <a:gd name="T10" fmla="*/ 0 w 15"/>
                <a:gd name="T11" fmla="*/ 5 h 13"/>
                <a:gd name="T12" fmla="*/ 0 w 15"/>
                <a:gd name="T13" fmla="*/ 4 h 13"/>
                <a:gd name="T14" fmla="*/ 6 w 15"/>
                <a:gd name="T15" fmla="*/ 0 h 13"/>
                <a:gd name="T16" fmla="*/ 9 w 15"/>
                <a:gd name="T17" fmla="*/ 2 h 13"/>
                <a:gd name="T18" fmla="*/ 7 w 15"/>
                <a:gd name="T19" fmla="*/ 2 h 13"/>
                <a:gd name="T20" fmla="*/ 11 w 15"/>
                <a:gd name="T21" fmla="*/ 2 h 13"/>
                <a:gd name="T22" fmla="*/ 9 w 15"/>
                <a:gd name="T23" fmla="*/ 4 h 13"/>
                <a:gd name="T24" fmla="*/ 11 w 15"/>
                <a:gd name="T25" fmla="*/ 4 h 13"/>
                <a:gd name="T26" fmla="*/ 13 w 15"/>
                <a:gd name="T2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3">
                  <a:moveTo>
                    <a:pt x="13" y="4"/>
                  </a:moveTo>
                  <a:lnTo>
                    <a:pt x="15" y="7"/>
                  </a:lnTo>
                  <a:lnTo>
                    <a:pt x="13" y="11"/>
                  </a:lnTo>
                  <a:lnTo>
                    <a:pt x="9" y="13"/>
                  </a:lnTo>
                  <a:lnTo>
                    <a:pt x="4" y="11"/>
                  </a:lnTo>
                  <a:lnTo>
                    <a:pt x="0" y="5"/>
                  </a:lnTo>
                  <a:lnTo>
                    <a:pt x="0" y="4"/>
                  </a:lnTo>
                  <a:lnTo>
                    <a:pt x="6" y="0"/>
                  </a:lnTo>
                  <a:lnTo>
                    <a:pt x="9" y="2"/>
                  </a:lnTo>
                  <a:lnTo>
                    <a:pt x="7" y="2"/>
                  </a:lnTo>
                  <a:lnTo>
                    <a:pt x="11" y="2"/>
                  </a:lnTo>
                  <a:lnTo>
                    <a:pt x="9" y="4"/>
                  </a:lnTo>
                  <a:lnTo>
                    <a:pt x="11" y="4"/>
                  </a:lnTo>
                  <a:lnTo>
                    <a:pt x="13" y="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56" name="Freeform 33">
              <a:extLst>
                <a:ext uri="{FF2B5EF4-FFF2-40B4-BE49-F238E27FC236}">
                  <a16:creationId xmlns:a16="http://schemas.microsoft.com/office/drawing/2014/main" id="{B00CF3A2-4672-48E4-99EE-AB70113213A7}"/>
                </a:ext>
              </a:extLst>
            </p:cNvPr>
            <p:cNvSpPr>
              <a:spLocks/>
            </p:cNvSpPr>
            <p:nvPr/>
          </p:nvSpPr>
          <p:spPr bwMode="gray">
            <a:xfrm>
              <a:off x="4979989" y="2616200"/>
              <a:ext cx="80963" cy="82550"/>
            </a:xfrm>
            <a:custGeom>
              <a:avLst/>
              <a:gdLst>
                <a:gd name="T0" fmla="*/ 38 w 51"/>
                <a:gd name="T1" fmla="*/ 2 h 52"/>
                <a:gd name="T2" fmla="*/ 42 w 51"/>
                <a:gd name="T3" fmla="*/ 6 h 52"/>
                <a:gd name="T4" fmla="*/ 40 w 51"/>
                <a:gd name="T5" fmla="*/ 8 h 52"/>
                <a:gd name="T6" fmla="*/ 38 w 51"/>
                <a:gd name="T7" fmla="*/ 8 h 52"/>
                <a:gd name="T8" fmla="*/ 38 w 51"/>
                <a:gd name="T9" fmla="*/ 12 h 52"/>
                <a:gd name="T10" fmla="*/ 42 w 51"/>
                <a:gd name="T11" fmla="*/ 12 h 52"/>
                <a:gd name="T12" fmla="*/ 40 w 51"/>
                <a:gd name="T13" fmla="*/ 12 h 52"/>
                <a:gd name="T14" fmla="*/ 42 w 51"/>
                <a:gd name="T15" fmla="*/ 12 h 52"/>
                <a:gd name="T16" fmla="*/ 42 w 51"/>
                <a:gd name="T17" fmla="*/ 14 h 52"/>
                <a:gd name="T18" fmla="*/ 44 w 51"/>
                <a:gd name="T19" fmla="*/ 14 h 52"/>
                <a:gd name="T20" fmla="*/ 48 w 51"/>
                <a:gd name="T21" fmla="*/ 19 h 52"/>
                <a:gd name="T22" fmla="*/ 51 w 51"/>
                <a:gd name="T23" fmla="*/ 17 h 52"/>
                <a:gd name="T24" fmla="*/ 49 w 51"/>
                <a:gd name="T25" fmla="*/ 27 h 52"/>
                <a:gd name="T26" fmla="*/ 51 w 51"/>
                <a:gd name="T27" fmla="*/ 29 h 52"/>
                <a:gd name="T28" fmla="*/ 48 w 51"/>
                <a:gd name="T29" fmla="*/ 35 h 52"/>
                <a:gd name="T30" fmla="*/ 51 w 51"/>
                <a:gd name="T31" fmla="*/ 40 h 52"/>
                <a:gd name="T32" fmla="*/ 49 w 51"/>
                <a:gd name="T33" fmla="*/ 42 h 52"/>
                <a:gd name="T34" fmla="*/ 46 w 51"/>
                <a:gd name="T35" fmla="*/ 42 h 52"/>
                <a:gd name="T36" fmla="*/ 40 w 51"/>
                <a:gd name="T37" fmla="*/ 44 h 52"/>
                <a:gd name="T38" fmla="*/ 42 w 51"/>
                <a:gd name="T39" fmla="*/ 48 h 52"/>
                <a:gd name="T40" fmla="*/ 40 w 51"/>
                <a:gd name="T41" fmla="*/ 52 h 52"/>
                <a:gd name="T42" fmla="*/ 34 w 51"/>
                <a:gd name="T43" fmla="*/ 52 h 52"/>
                <a:gd name="T44" fmla="*/ 32 w 51"/>
                <a:gd name="T45" fmla="*/ 50 h 52"/>
                <a:gd name="T46" fmla="*/ 28 w 51"/>
                <a:gd name="T47" fmla="*/ 48 h 52"/>
                <a:gd name="T48" fmla="*/ 26 w 51"/>
                <a:gd name="T49" fmla="*/ 44 h 52"/>
                <a:gd name="T50" fmla="*/ 28 w 51"/>
                <a:gd name="T51" fmla="*/ 42 h 52"/>
                <a:gd name="T52" fmla="*/ 26 w 51"/>
                <a:gd name="T53" fmla="*/ 40 h 52"/>
                <a:gd name="T54" fmla="*/ 21 w 51"/>
                <a:gd name="T55" fmla="*/ 40 h 52"/>
                <a:gd name="T56" fmla="*/ 17 w 51"/>
                <a:gd name="T57" fmla="*/ 37 h 52"/>
                <a:gd name="T58" fmla="*/ 17 w 51"/>
                <a:gd name="T59" fmla="*/ 40 h 52"/>
                <a:gd name="T60" fmla="*/ 13 w 51"/>
                <a:gd name="T61" fmla="*/ 39 h 52"/>
                <a:gd name="T62" fmla="*/ 9 w 51"/>
                <a:gd name="T63" fmla="*/ 40 h 52"/>
                <a:gd name="T64" fmla="*/ 5 w 51"/>
                <a:gd name="T65" fmla="*/ 40 h 52"/>
                <a:gd name="T66" fmla="*/ 3 w 51"/>
                <a:gd name="T67" fmla="*/ 42 h 52"/>
                <a:gd name="T68" fmla="*/ 3 w 51"/>
                <a:gd name="T69" fmla="*/ 39 h 52"/>
                <a:gd name="T70" fmla="*/ 0 w 51"/>
                <a:gd name="T71" fmla="*/ 35 h 52"/>
                <a:gd name="T72" fmla="*/ 0 w 51"/>
                <a:gd name="T73" fmla="*/ 33 h 52"/>
                <a:gd name="T74" fmla="*/ 2 w 51"/>
                <a:gd name="T75" fmla="*/ 33 h 52"/>
                <a:gd name="T76" fmla="*/ 5 w 51"/>
                <a:gd name="T77" fmla="*/ 27 h 52"/>
                <a:gd name="T78" fmla="*/ 9 w 51"/>
                <a:gd name="T79" fmla="*/ 29 h 52"/>
                <a:gd name="T80" fmla="*/ 11 w 51"/>
                <a:gd name="T81" fmla="*/ 27 h 52"/>
                <a:gd name="T82" fmla="*/ 9 w 51"/>
                <a:gd name="T83" fmla="*/ 25 h 52"/>
                <a:gd name="T84" fmla="*/ 11 w 51"/>
                <a:gd name="T85" fmla="*/ 23 h 52"/>
                <a:gd name="T86" fmla="*/ 13 w 51"/>
                <a:gd name="T87" fmla="*/ 19 h 52"/>
                <a:gd name="T88" fmla="*/ 11 w 51"/>
                <a:gd name="T89" fmla="*/ 17 h 52"/>
                <a:gd name="T90" fmla="*/ 13 w 51"/>
                <a:gd name="T91" fmla="*/ 15 h 52"/>
                <a:gd name="T92" fmla="*/ 11 w 51"/>
                <a:gd name="T93" fmla="*/ 14 h 52"/>
                <a:gd name="T94" fmla="*/ 11 w 51"/>
                <a:gd name="T95" fmla="*/ 8 h 52"/>
                <a:gd name="T96" fmla="*/ 17 w 51"/>
                <a:gd name="T97" fmla="*/ 6 h 52"/>
                <a:gd name="T98" fmla="*/ 21 w 51"/>
                <a:gd name="T99" fmla="*/ 6 h 52"/>
                <a:gd name="T100" fmla="*/ 23 w 51"/>
                <a:gd name="T101" fmla="*/ 2 h 52"/>
                <a:gd name="T102" fmla="*/ 26 w 51"/>
                <a:gd name="T103" fmla="*/ 0 h 52"/>
                <a:gd name="T104" fmla="*/ 32 w 51"/>
                <a:gd name="T105" fmla="*/ 2 h 52"/>
                <a:gd name="T106" fmla="*/ 32 w 51"/>
                <a:gd name="T107" fmla="*/ 6 h 52"/>
                <a:gd name="T108" fmla="*/ 38 w 51"/>
                <a:gd name="T109"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 h="52">
                  <a:moveTo>
                    <a:pt x="38" y="2"/>
                  </a:moveTo>
                  <a:lnTo>
                    <a:pt x="42" y="6"/>
                  </a:lnTo>
                  <a:lnTo>
                    <a:pt x="40" y="8"/>
                  </a:lnTo>
                  <a:lnTo>
                    <a:pt x="38" y="8"/>
                  </a:lnTo>
                  <a:lnTo>
                    <a:pt x="38" y="12"/>
                  </a:lnTo>
                  <a:lnTo>
                    <a:pt x="42" y="12"/>
                  </a:lnTo>
                  <a:lnTo>
                    <a:pt x="40" y="12"/>
                  </a:lnTo>
                  <a:lnTo>
                    <a:pt x="42" y="12"/>
                  </a:lnTo>
                  <a:lnTo>
                    <a:pt x="42" y="14"/>
                  </a:lnTo>
                  <a:lnTo>
                    <a:pt x="44" y="14"/>
                  </a:lnTo>
                  <a:lnTo>
                    <a:pt x="48" y="19"/>
                  </a:lnTo>
                  <a:lnTo>
                    <a:pt x="51" y="17"/>
                  </a:lnTo>
                  <a:lnTo>
                    <a:pt x="49" y="27"/>
                  </a:lnTo>
                  <a:lnTo>
                    <a:pt x="51" y="29"/>
                  </a:lnTo>
                  <a:lnTo>
                    <a:pt x="48" y="35"/>
                  </a:lnTo>
                  <a:lnTo>
                    <a:pt x="51" y="40"/>
                  </a:lnTo>
                  <a:lnTo>
                    <a:pt x="49" y="42"/>
                  </a:lnTo>
                  <a:lnTo>
                    <a:pt x="46" y="42"/>
                  </a:lnTo>
                  <a:lnTo>
                    <a:pt x="40" y="44"/>
                  </a:lnTo>
                  <a:lnTo>
                    <a:pt x="42" y="48"/>
                  </a:lnTo>
                  <a:lnTo>
                    <a:pt x="40" y="52"/>
                  </a:lnTo>
                  <a:lnTo>
                    <a:pt x="34" y="52"/>
                  </a:lnTo>
                  <a:lnTo>
                    <a:pt x="32" y="50"/>
                  </a:lnTo>
                  <a:lnTo>
                    <a:pt x="28" y="48"/>
                  </a:lnTo>
                  <a:lnTo>
                    <a:pt x="26" y="44"/>
                  </a:lnTo>
                  <a:lnTo>
                    <a:pt x="28" y="42"/>
                  </a:lnTo>
                  <a:lnTo>
                    <a:pt x="26" y="40"/>
                  </a:lnTo>
                  <a:lnTo>
                    <a:pt x="21" y="40"/>
                  </a:lnTo>
                  <a:lnTo>
                    <a:pt x="17" y="37"/>
                  </a:lnTo>
                  <a:lnTo>
                    <a:pt x="17" y="40"/>
                  </a:lnTo>
                  <a:lnTo>
                    <a:pt x="13" y="39"/>
                  </a:lnTo>
                  <a:lnTo>
                    <a:pt x="9" y="40"/>
                  </a:lnTo>
                  <a:lnTo>
                    <a:pt x="5" y="40"/>
                  </a:lnTo>
                  <a:lnTo>
                    <a:pt x="3" y="42"/>
                  </a:lnTo>
                  <a:lnTo>
                    <a:pt x="3" y="39"/>
                  </a:lnTo>
                  <a:lnTo>
                    <a:pt x="0" y="35"/>
                  </a:lnTo>
                  <a:lnTo>
                    <a:pt x="0" y="33"/>
                  </a:lnTo>
                  <a:lnTo>
                    <a:pt x="2" y="33"/>
                  </a:lnTo>
                  <a:lnTo>
                    <a:pt x="5" y="27"/>
                  </a:lnTo>
                  <a:lnTo>
                    <a:pt x="9" y="29"/>
                  </a:lnTo>
                  <a:lnTo>
                    <a:pt x="11" y="27"/>
                  </a:lnTo>
                  <a:lnTo>
                    <a:pt x="9" y="25"/>
                  </a:lnTo>
                  <a:lnTo>
                    <a:pt x="11" y="23"/>
                  </a:lnTo>
                  <a:lnTo>
                    <a:pt x="13" y="19"/>
                  </a:lnTo>
                  <a:lnTo>
                    <a:pt x="11" y="17"/>
                  </a:lnTo>
                  <a:lnTo>
                    <a:pt x="13" y="15"/>
                  </a:lnTo>
                  <a:lnTo>
                    <a:pt x="11" y="14"/>
                  </a:lnTo>
                  <a:lnTo>
                    <a:pt x="11" y="8"/>
                  </a:lnTo>
                  <a:lnTo>
                    <a:pt x="17" y="6"/>
                  </a:lnTo>
                  <a:lnTo>
                    <a:pt x="21" y="6"/>
                  </a:lnTo>
                  <a:lnTo>
                    <a:pt x="23" y="2"/>
                  </a:lnTo>
                  <a:lnTo>
                    <a:pt x="26" y="0"/>
                  </a:lnTo>
                  <a:lnTo>
                    <a:pt x="32" y="2"/>
                  </a:lnTo>
                  <a:lnTo>
                    <a:pt x="32" y="6"/>
                  </a:lnTo>
                  <a:lnTo>
                    <a:pt x="38" y="2"/>
                  </a:lnTo>
                  <a:close/>
                </a:path>
              </a:pathLst>
            </a:custGeom>
            <a:solidFill>
              <a:schemeClr val="accent3"/>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57" name="Freeform 34">
              <a:extLst>
                <a:ext uri="{FF2B5EF4-FFF2-40B4-BE49-F238E27FC236}">
                  <a16:creationId xmlns:a16="http://schemas.microsoft.com/office/drawing/2014/main" id="{6D83D36A-0F9E-4369-849E-B2C8D400E630}"/>
                </a:ext>
              </a:extLst>
            </p:cNvPr>
            <p:cNvSpPr>
              <a:spLocks/>
            </p:cNvSpPr>
            <p:nvPr/>
          </p:nvSpPr>
          <p:spPr bwMode="gray">
            <a:xfrm>
              <a:off x="4592639" y="2262188"/>
              <a:ext cx="527050" cy="568325"/>
            </a:xfrm>
            <a:custGeom>
              <a:avLst/>
              <a:gdLst>
                <a:gd name="T0" fmla="*/ 313 w 332"/>
                <a:gd name="T1" fmla="*/ 85 h 358"/>
                <a:gd name="T2" fmla="*/ 290 w 332"/>
                <a:gd name="T3" fmla="*/ 106 h 358"/>
                <a:gd name="T4" fmla="*/ 280 w 332"/>
                <a:gd name="T5" fmla="*/ 137 h 358"/>
                <a:gd name="T6" fmla="*/ 278 w 332"/>
                <a:gd name="T7" fmla="*/ 160 h 358"/>
                <a:gd name="T8" fmla="*/ 278 w 332"/>
                <a:gd name="T9" fmla="*/ 187 h 358"/>
                <a:gd name="T10" fmla="*/ 284 w 332"/>
                <a:gd name="T11" fmla="*/ 215 h 358"/>
                <a:gd name="T12" fmla="*/ 267 w 332"/>
                <a:gd name="T13" fmla="*/ 225 h 358"/>
                <a:gd name="T14" fmla="*/ 255 w 332"/>
                <a:gd name="T15" fmla="*/ 246 h 358"/>
                <a:gd name="T16" fmla="*/ 247 w 332"/>
                <a:gd name="T17" fmla="*/ 262 h 358"/>
                <a:gd name="T18" fmla="*/ 270 w 332"/>
                <a:gd name="T19" fmla="*/ 263 h 358"/>
                <a:gd name="T20" fmla="*/ 284 w 332"/>
                <a:gd name="T21" fmla="*/ 267 h 358"/>
                <a:gd name="T22" fmla="*/ 309 w 332"/>
                <a:gd name="T23" fmla="*/ 275 h 358"/>
                <a:gd name="T24" fmla="*/ 309 w 332"/>
                <a:gd name="T25" fmla="*/ 290 h 358"/>
                <a:gd name="T26" fmla="*/ 311 w 332"/>
                <a:gd name="T27" fmla="*/ 302 h 358"/>
                <a:gd name="T28" fmla="*/ 315 w 332"/>
                <a:gd name="T29" fmla="*/ 317 h 358"/>
                <a:gd name="T30" fmla="*/ 307 w 332"/>
                <a:gd name="T31" fmla="*/ 327 h 358"/>
                <a:gd name="T32" fmla="*/ 292 w 332"/>
                <a:gd name="T33" fmla="*/ 336 h 358"/>
                <a:gd name="T34" fmla="*/ 274 w 332"/>
                <a:gd name="T35" fmla="*/ 338 h 358"/>
                <a:gd name="T36" fmla="*/ 265 w 332"/>
                <a:gd name="T37" fmla="*/ 348 h 358"/>
                <a:gd name="T38" fmla="*/ 246 w 332"/>
                <a:gd name="T39" fmla="*/ 354 h 358"/>
                <a:gd name="T40" fmla="*/ 249 w 332"/>
                <a:gd name="T41" fmla="*/ 327 h 358"/>
                <a:gd name="T42" fmla="*/ 236 w 332"/>
                <a:gd name="T43" fmla="*/ 298 h 358"/>
                <a:gd name="T44" fmla="*/ 213 w 332"/>
                <a:gd name="T45" fmla="*/ 319 h 358"/>
                <a:gd name="T46" fmla="*/ 205 w 332"/>
                <a:gd name="T47" fmla="*/ 308 h 358"/>
                <a:gd name="T48" fmla="*/ 182 w 332"/>
                <a:gd name="T49" fmla="*/ 300 h 358"/>
                <a:gd name="T50" fmla="*/ 182 w 332"/>
                <a:gd name="T51" fmla="*/ 313 h 358"/>
                <a:gd name="T52" fmla="*/ 171 w 332"/>
                <a:gd name="T53" fmla="*/ 323 h 358"/>
                <a:gd name="T54" fmla="*/ 163 w 332"/>
                <a:gd name="T55" fmla="*/ 335 h 358"/>
                <a:gd name="T56" fmla="*/ 151 w 332"/>
                <a:gd name="T57" fmla="*/ 321 h 358"/>
                <a:gd name="T58" fmla="*/ 155 w 332"/>
                <a:gd name="T59" fmla="*/ 311 h 358"/>
                <a:gd name="T60" fmla="*/ 159 w 332"/>
                <a:gd name="T61" fmla="*/ 302 h 358"/>
                <a:gd name="T62" fmla="*/ 150 w 332"/>
                <a:gd name="T63" fmla="*/ 285 h 358"/>
                <a:gd name="T64" fmla="*/ 132 w 332"/>
                <a:gd name="T65" fmla="*/ 271 h 358"/>
                <a:gd name="T66" fmla="*/ 109 w 332"/>
                <a:gd name="T67" fmla="*/ 252 h 358"/>
                <a:gd name="T68" fmla="*/ 105 w 332"/>
                <a:gd name="T69" fmla="*/ 214 h 358"/>
                <a:gd name="T70" fmla="*/ 92 w 332"/>
                <a:gd name="T71" fmla="*/ 192 h 358"/>
                <a:gd name="T72" fmla="*/ 82 w 332"/>
                <a:gd name="T73" fmla="*/ 181 h 358"/>
                <a:gd name="T74" fmla="*/ 57 w 332"/>
                <a:gd name="T75" fmla="*/ 179 h 358"/>
                <a:gd name="T76" fmla="*/ 31 w 332"/>
                <a:gd name="T77" fmla="*/ 171 h 358"/>
                <a:gd name="T78" fmla="*/ 4 w 332"/>
                <a:gd name="T79" fmla="*/ 164 h 358"/>
                <a:gd name="T80" fmla="*/ 13 w 332"/>
                <a:gd name="T81" fmla="*/ 131 h 358"/>
                <a:gd name="T82" fmla="*/ 6 w 332"/>
                <a:gd name="T83" fmla="*/ 119 h 358"/>
                <a:gd name="T84" fmla="*/ 32 w 332"/>
                <a:gd name="T85" fmla="*/ 104 h 358"/>
                <a:gd name="T86" fmla="*/ 59 w 332"/>
                <a:gd name="T87" fmla="*/ 114 h 358"/>
                <a:gd name="T88" fmla="*/ 71 w 332"/>
                <a:gd name="T89" fmla="*/ 125 h 358"/>
                <a:gd name="T90" fmla="*/ 75 w 332"/>
                <a:gd name="T91" fmla="*/ 133 h 358"/>
                <a:gd name="T92" fmla="*/ 88 w 332"/>
                <a:gd name="T93" fmla="*/ 146 h 358"/>
                <a:gd name="T94" fmla="*/ 96 w 332"/>
                <a:gd name="T95" fmla="*/ 133 h 358"/>
                <a:gd name="T96" fmla="*/ 115 w 332"/>
                <a:gd name="T97" fmla="*/ 131 h 358"/>
                <a:gd name="T98" fmla="*/ 140 w 332"/>
                <a:gd name="T99" fmla="*/ 123 h 358"/>
                <a:gd name="T100" fmla="*/ 169 w 332"/>
                <a:gd name="T101" fmla="*/ 123 h 358"/>
                <a:gd name="T102" fmla="*/ 180 w 332"/>
                <a:gd name="T103" fmla="*/ 108 h 358"/>
                <a:gd name="T104" fmla="*/ 184 w 332"/>
                <a:gd name="T105" fmla="*/ 85 h 358"/>
                <a:gd name="T106" fmla="*/ 205 w 332"/>
                <a:gd name="T107" fmla="*/ 85 h 358"/>
                <a:gd name="T108" fmla="*/ 224 w 332"/>
                <a:gd name="T109" fmla="*/ 89 h 358"/>
                <a:gd name="T110" fmla="*/ 221 w 332"/>
                <a:gd name="T111" fmla="*/ 77 h 358"/>
                <a:gd name="T112" fmla="*/ 240 w 332"/>
                <a:gd name="T113" fmla="*/ 62 h 358"/>
                <a:gd name="T114" fmla="*/ 259 w 332"/>
                <a:gd name="T115" fmla="*/ 62 h 358"/>
                <a:gd name="T116" fmla="*/ 257 w 332"/>
                <a:gd name="T117" fmla="*/ 29 h 358"/>
                <a:gd name="T118" fmla="*/ 247 w 332"/>
                <a:gd name="T119" fmla="*/ 4 h 358"/>
                <a:gd name="T120" fmla="*/ 272 w 332"/>
                <a:gd name="T121" fmla="*/ 14 h 358"/>
                <a:gd name="T122" fmla="*/ 284 w 332"/>
                <a:gd name="T123" fmla="*/ 43 h 358"/>
                <a:gd name="T124" fmla="*/ 313 w 332"/>
                <a:gd name="T125" fmla="*/ 56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2" h="358">
                  <a:moveTo>
                    <a:pt x="330" y="60"/>
                  </a:moveTo>
                  <a:lnTo>
                    <a:pt x="332" y="62"/>
                  </a:lnTo>
                  <a:lnTo>
                    <a:pt x="330" y="69"/>
                  </a:lnTo>
                  <a:lnTo>
                    <a:pt x="328" y="69"/>
                  </a:lnTo>
                  <a:lnTo>
                    <a:pt x="322" y="77"/>
                  </a:lnTo>
                  <a:lnTo>
                    <a:pt x="320" y="81"/>
                  </a:lnTo>
                  <a:lnTo>
                    <a:pt x="317" y="85"/>
                  </a:lnTo>
                  <a:lnTo>
                    <a:pt x="313" y="85"/>
                  </a:lnTo>
                  <a:lnTo>
                    <a:pt x="311" y="89"/>
                  </a:lnTo>
                  <a:lnTo>
                    <a:pt x="313" y="91"/>
                  </a:lnTo>
                  <a:lnTo>
                    <a:pt x="305" y="94"/>
                  </a:lnTo>
                  <a:lnTo>
                    <a:pt x="299" y="96"/>
                  </a:lnTo>
                  <a:lnTo>
                    <a:pt x="297" y="96"/>
                  </a:lnTo>
                  <a:lnTo>
                    <a:pt x="295" y="100"/>
                  </a:lnTo>
                  <a:lnTo>
                    <a:pt x="292" y="102"/>
                  </a:lnTo>
                  <a:lnTo>
                    <a:pt x="290" y="106"/>
                  </a:lnTo>
                  <a:lnTo>
                    <a:pt x="290" y="112"/>
                  </a:lnTo>
                  <a:lnTo>
                    <a:pt x="284" y="114"/>
                  </a:lnTo>
                  <a:lnTo>
                    <a:pt x="288" y="117"/>
                  </a:lnTo>
                  <a:lnTo>
                    <a:pt x="284" y="119"/>
                  </a:lnTo>
                  <a:lnTo>
                    <a:pt x="282" y="125"/>
                  </a:lnTo>
                  <a:lnTo>
                    <a:pt x="280" y="127"/>
                  </a:lnTo>
                  <a:lnTo>
                    <a:pt x="278" y="131"/>
                  </a:lnTo>
                  <a:lnTo>
                    <a:pt x="280" y="137"/>
                  </a:lnTo>
                  <a:lnTo>
                    <a:pt x="278" y="139"/>
                  </a:lnTo>
                  <a:lnTo>
                    <a:pt x="278" y="141"/>
                  </a:lnTo>
                  <a:lnTo>
                    <a:pt x="276" y="148"/>
                  </a:lnTo>
                  <a:lnTo>
                    <a:pt x="276" y="152"/>
                  </a:lnTo>
                  <a:lnTo>
                    <a:pt x="274" y="156"/>
                  </a:lnTo>
                  <a:lnTo>
                    <a:pt x="276" y="158"/>
                  </a:lnTo>
                  <a:lnTo>
                    <a:pt x="278" y="156"/>
                  </a:lnTo>
                  <a:lnTo>
                    <a:pt x="278" y="160"/>
                  </a:lnTo>
                  <a:lnTo>
                    <a:pt x="280" y="164"/>
                  </a:lnTo>
                  <a:lnTo>
                    <a:pt x="278" y="165"/>
                  </a:lnTo>
                  <a:lnTo>
                    <a:pt x="280" y="169"/>
                  </a:lnTo>
                  <a:lnTo>
                    <a:pt x="276" y="173"/>
                  </a:lnTo>
                  <a:lnTo>
                    <a:pt x="280" y="177"/>
                  </a:lnTo>
                  <a:lnTo>
                    <a:pt x="278" y="181"/>
                  </a:lnTo>
                  <a:lnTo>
                    <a:pt x="280" y="185"/>
                  </a:lnTo>
                  <a:lnTo>
                    <a:pt x="278" y="187"/>
                  </a:lnTo>
                  <a:lnTo>
                    <a:pt x="278" y="190"/>
                  </a:lnTo>
                  <a:lnTo>
                    <a:pt x="276" y="194"/>
                  </a:lnTo>
                  <a:lnTo>
                    <a:pt x="278" y="196"/>
                  </a:lnTo>
                  <a:lnTo>
                    <a:pt x="276" y="200"/>
                  </a:lnTo>
                  <a:lnTo>
                    <a:pt x="280" y="202"/>
                  </a:lnTo>
                  <a:lnTo>
                    <a:pt x="278" y="208"/>
                  </a:lnTo>
                  <a:lnTo>
                    <a:pt x="282" y="210"/>
                  </a:lnTo>
                  <a:lnTo>
                    <a:pt x="284" y="215"/>
                  </a:lnTo>
                  <a:lnTo>
                    <a:pt x="286" y="221"/>
                  </a:lnTo>
                  <a:lnTo>
                    <a:pt x="286" y="223"/>
                  </a:lnTo>
                  <a:lnTo>
                    <a:pt x="282" y="223"/>
                  </a:lnTo>
                  <a:lnTo>
                    <a:pt x="282" y="225"/>
                  </a:lnTo>
                  <a:lnTo>
                    <a:pt x="276" y="229"/>
                  </a:lnTo>
                  <a:lnTo>
                    <a:pt x="276" y="225"/>
                  </a:lnTo>
                  <a:lnTo>
                    <a:pt x="270" y="223"/>
                  </a:lnTo>
                  <a:lnTo>
                    <a:pt x="267" y="225"/>
                  </a:lnTo>
                  <a:lnTo>
                    <a:pt x="265" y="229"/>
                  </a:lnTo>
                  <a:lnTo>
                    <a:pt x="261" y="229"/>
                  </a:lnTo>
                  <a:lnTo>
                    <a:pt x="255" y="231"/>
                  </a:lnTo>
                  <a:lnTo>
                    <a:pt x="255" y="237"/>
                  </a:lnTo>
                  <a:lnTo>
                    <a:pt x="257" y="238"/>
                  </a:lnTo>
                  <a:lnTo>
                    <a:pt x="255" y="240"/>
                  </a:lnTo>
                  <a:lnTo>
                    <a:pt x="257" y="242"/>
                  </a:lnTo>
                  <a:lnTo>
                    <a:pt x="255" y="246"/>
                  </a:lnTo>
                  <a:lnTo>
                    <a:pt x="253" y="248"/>
                  </a:lnTo>
                  <a:lnTo>
                    <a:pt x="255" y="250"/>
                  </a:lnTo>
                  <a:lnTo>
                    <a:pt x="253" y="252"/>
                  </a:lnTo>
                  <a:lnTo>
                    <a:pt x="249" y="250"/>
                  </a:lnTo>
                  <a:lnTo>
                    <a:pt x="246" y="256"/>
                  </a:lnTo>
                  <a:lnTo>
                    <a:pt x="244" y="256"/>
                  </a:lnTo>
                  <a:lnTo>
                    <a:pt x="244" y="258"/>
                  </a:lnTo>
                  <a:lnTo>
                    <a:pt x="247" y="262"/>
                  </a:lnTo>
                  <a:lnTo>
                    <a:pt x="247" y="265"/>
                  </a:lnTo>
                  <a:lnTo>
                    <a:pt x="249" y="263"/>
                  </a:lnTo>
                  <a:lnTo>
                    <a:pt x="253" y="263"/>
                  </a:lnTo>
                  <a:lnTo>
                    <a:pt x="257" y="262"/>
                  </a:lnTo>
                  <a:lnTo>
                    <a:pt x="261" y="263"/>
                  </a:lnTo>
                  <a:lnTo>
                    <a:pt x="261" y="260"/>
                  </a:lnTo>
                  <a:lnTo>
                    <a:pt x="265" y="263"/>
                  </a:lnTo>
                  <a:lnTo>
                    <a:pt x="270" y="263"/>
                  </a:lnTo>
                  <a:lnTo>
                    <a:pt x="272" y="265"/>
                  </a:lnTo>
                  <a:lnTo>
                    <a:pt x="270" y="267"/>
                  </a:lnTo>
                  <a:lnTo>
                    <a:pt x="272" y="271"/>
                  </a:lnTo>
                  <a:lnTo>
                    <a:pt x="276" y="273"/>
                  </a:lnTo>
                  <a:lnTo>
                    <a:pt x="278" y="275"/>
                  </a:lnTo>
                  <a:lnTo>
                    <a:pt x="284" y="275"/>
                  </a:lnTo>
                  <a:lnTo>
                    <a:pt x="286" y="271"/>
                  </a:lnTo>
                  <a:lnTo>
                    <a:pt x="284" y="267"/>
                  </a:lnTo>
                  <a:lnTo>
                    <a:pt x="290" y="265"/>
                  </a:lnTo>
                  <a:lnTo>
                    <a:pt x="293" y="265"/>
                  </a:lnTo>
                  <a:lnTo>
                    <a:pt x="295" y="263"/>
                  </a:lnTo>
                  <a:lnTo>
                    <a:pt x="299" y="267"/>
                  </a:lnTo>
                  <a:lnTo>
                    <a:pt x="303" y="267"/>
                  </a:lnTo>
                  <a:lnTo>
                    <a:pt x="305" y="273"/>
                  </a:lnTo>
                  <a:lnTo>
                    <a:pt x="309" y="271"/>
                  </a:lnTo>
                  <a:lnTo>
                    <a:pt x="309" y="275"/>
                  </a:lnTo>
                  <a:lnTo>
                    <a:pt x="311" y="275"/>
                  </a:lnTo>
                  <a:lnTo>
                    <a:pt x="313" y="275"/>
                  </a:lnTo>
                  <a:lnTo>
                    <a:pt x="311" y="277"/>
                  </a:lnTo>
                  <a:lnTo>
                    <a:pt x="311" y="279"/>
                  </a:lnTo>
                  <a:lnTo>
                    <a:pt x="309" y="281"/>
                  </a:lnTo>
                  <a:lnTo>
                    <a:pt x="309" y="287"/>
                  </a:lnTo>
                  <a:lnTo>
                    <a:pt x="311" y="288"/>
                  </a:lnTo>
                  <a:lnTo>
                    <a:pt x="309" y="290"/>
                  </a:lnTo>
                  <a:lnTo>
                    <a:pt x="317" y="292"/>
                  </a:lnTo>
                  <a:lnTo>
                    <a:pt x="315" y="294"/>
                  </a:lnTo>
                  <a:lnTo>
                    <a:pt x="315" y="298"/>
                  </a:lnTo>
                  <a:lnTo>
                    <a:pt x="311" y="296"/>
                  </a:lnTo>
                  <a:lnTo>
                    <a:pt x="311" y="300"/>
                  </a:lnTo>
                  <a:lnTo>
                    <a:pt x="313" y="298"/>
                  </a:lnTo>
                  <a:lnTo>
                    <a:pt x="317" y="300"/>
                  </a:lnTo>
                  <a:lnTo>
                    <a:pt x="311" y="302"/>
                  </a:lnTo>
                  <a:lnTo>
                    <a:pt x="311" y="304"/>
                  </a:lnTo>
                  <a:lnTo>
                    <a:pt x="313" y="306"/>
                  </a:lnTo>
                  <a:lnTo>
                    <a:pt x="311" y="310"/>
                  </a:lnTo>
                  <a:lnTo>
                    <a:pt x="309" y="308"/>
                  </a:lnTo>
                  <a:lnTo>
                    <a:pt x="309" y="311"/>
                  </a:lnTo>
                  <a:lnTo>
                    <a:pt x="311" y="311"/>
                  </a:lnTo>
                  <a:lnTo>
                    <a:pt x="309" y="315"/>
                  </a:lnTo>
                  <a:lnTo>
                    <a:pt x="315" y="317"/>
                  </a:lnTo>
                  <a:lnTo>
                    <a:pt x="313" y="319"/>
                  </a:lnTo>
                  <a:lnTo>
                    <a:pt x="315" y="319"/>
                  </a:lnTo>
                  <a:lnTo>
                    <a:pt x="313" y="321"/>
                  </a:lnTo>
                  <a:lnTo>
                    <a:pt x="313" y="325"/>
                  </a:lnTo>
                  <a:lnTo>
                    <a:pt x="315" y="325"/>
                  </a:lnTo>
                  <a:lnTo>
                    <a:pt x="311" y="327"/>
                  </a:lnTo>
                  <a:lnTo>
                    <a:pt x="309" y="325"/>
                  </a:lnTo>
                  <a:lnTo>
                    <a:pt x="307" y="327"/>
                  </a:lnTo>
                  <a:lnTo>
                    <a:pt x="309" y="329"/>
                  </a:lnTo>
                  <a:lnTo>
                    <a:pt x="307" y="333"/>
                  </a:lnTo>
                  <a:lnTo>
                    <a:pt x="305" y="333"/>
                  </a:lnTo>
                  <a:lnTo>
                    <a:pt x="301" y="331"/>
                  </a:lnTo>
                  <a:lnTo>
                    <a:pt x="299" y="333"/>
                  </a:lnTo>
                  <a:lnTo>
                    <a:pt x="301" y="335"/>
                  </a:lnTo>
                  <a:lnTo>
                    <a:pt x="293" y="335"/>
                  </a:lnTo>
                  <a:lnTo>
                    <a:pt x="292" y="336"/>
                  </a:lnTo>
                  <a:lnTo>
                    <a:pt x="288" y="338"/>
                  </a:lnTo>
                  <a:lnTo>
                    <a:pt x="286" y="340"/>
                  </a:lnTo>
                  <a:lnTo>
                    <a:pt x="286" y="338"/>
                  </a:lnTo>
                  <a:lnTo>
                    <a:pt x="282" y="342"/>
                  </a:lnTo>
                  <a:lnTo>
                    <a:pt x="278" y="338"/>
                  </a:lnTo>
                  <a:lnTo>
                    <a:pt x="274" y="342"/>
                  </a:lnTo>
                  <a:lnTo>
                    <a:pt x="276" y="340"/>
                  </a:lnTo>
                  <a:lnTo>
                    <a:pt x="274" y="338"/>
                  </a:lnTo>
                  <a:lnTo>
                    <a:pt x="274" y="342"/>
                  </a:lnTo>
                  <a:lnTo>
                    <a:pt x="270" y="344"/>
                  </a:lnTo>
                  <a:lnTo>
                    <a:pt x="270" y="342"/>
                  </a:lnTo>
                  <a:lnTo>
                    <a:pt x="269" y="342"/>
                  </a:lnTo>
                  <a:lnTo>
                    <a:pt x="261" y="338"/>
                  </a:lnTo>
                  <a:lnTo>
                    <a:pt x="259" y="342"/>
                  </a:lnTo>
                  <a:lnTo>
                    <a:pt x="265" y="344"/>
                  </a:lnTo>
                  <a:lnTo>
                    <a:pt x="265" y="348"/>
                  </a:lnTo>
                  <a:lnTo>
                    <a:pt x="263" y="348"/>
                  </a:lnTo>
                  <a:lnTo>
                    <a:pt x="261" y="346"/>
                  </a:lnTo>
                  <a:lnTo>
                    <a:pt x="257" y="348"/>
                  </a:lnTo>
                  <a:lnTo>
                    <a:pt x="253" y="358"/>
                  </a:lnTo>
                  <a:lnTo>
                    <a:pt x="249" y="354"/>
                  </a:lnTo>
                  <a:lnTo>
                    <a:pt x="249" y="356"/>
                  </a:lnTo>
                  <a:lnTo>
                    <a:pt x="246" y="356"/>
                  </a:lnTo>
                  <a:lnTo>
                    <a:pt x="246" y="354"/>
                  </a:lnTo>
                  <a:lnTo>
                    <a:pt x="244" y="352"/>
                  </a:lnTo>
                  <a:lnTo>
                    <a:pt x="247" y="352"/>
                  </a:lnTo>
                  <a:lnTo>
                    <a:pt x="244" y="348"/>
                  </a:lnTo>
                  <a:lnTo>
                    <a:pt x="246" y="346"/>
                  </a:lnTo>
                  <a:lnTo>
                    <a:pt x="247" y="336"/>
                  </a:lnTo>
                  <a:lnTo>
                    <a:pt x="249" y="336"/>
                  </a:lnTo>
                  <a:lnTo>
                    <a:pt x="249" y="329"/>
                  </a:lnTo>
                  <a:lnTo>
                    <a:pt x="249" y="327"/>
                  </a:lnTo>
                  <a:lnTo>
                    <a:pt x="249" y="319"/>
                  </a:lnTo>
                  <a:lnTo>
                    <a:pt x="253" y="311"/>
                  </a:lnTo>
                  <a:lnTo>
                    <a:pt x="255" y="304"/>
                  </a:lnTo>
                  <a:lnTo>
                    <a:pt x="249" y="300"/>
                  </a:lnTo>
                  <a:lnTo>
                    <a:pt x="244" y="294"/>
                  </a:lnTo>
                  <a:lnTo>
                    <a:pt x="238" y="296"/>
                  </a:lnTo>
                  <a:lnTo>
                    <a:pt x="240" y="298"/>
                  </a:lnTo>
                  <a:lnTo>
                    <a:pt x="236" y="298"/>
                  </a:lnTo>
                  <a:lnTo>
                    <a:pt x="236" y="302"/>
                  </a:lnTo>
                  <a:lnTo>
                    <a:pt x="234" y="304"/>
                  </a:lnTo>
                  <a:lnTo>
                    <a:pt x="230" y="306"/>
                  </a:lnTo>
                  <a:lnTo>
                    <a:pt x="228" y="306"/>
                  </a:lnTo>
                  <a:lnTo>
                    <a:pt x="224" y="310"/>
                  </a:lnTo>
                  <a:lnTo>
                    <a:pt x="222" y="310"/>
                  </a:lnTo>
                  <a:lnTo>
                    <a:pt x="222" y="317"/>
                  </a:lnTo>
                  <a:lnTo>
                    <a:pt x="213" y="319"/>
                  </a:lnTo>
                  <a:lnTo>
                    <a:pt x="209" y="323"/>
                  </a:lnTo>
                  <a:lnTo>
                    <a:pt x="209" y="315"/>
                  </a:lnTo>
                  <a:lnTo>
                    <a:pt x="199" y="315"/>
                  </a:lnTo>
                  <a:lnTo>
                    <a:pt x="201" y="313"/>
                  </a:lnTo>
                  <a:lnTo>
                    <a:pt x="205" y="313"/>
                  </a:lnTo>
                  <a:lnTo>
                    <a:pt x="199" y="310"/>
                  </a:lnTo>
                  <a:lnTo>
                    <a:pt x="201" y="308"/>
                  </a:lnTo>
                  <a:lnTo>
                    <a:pt x="205" y="308"/>
                  </a:lnTo>
                  <a:lnTo>
                    <a:pt x="203" y="302"/>
                  </a:lnTo>
                  <a:lnTo>
                    <a:pt x="199" y="302"/>
                  </a:lnTo>
                  <a:lnTo>
                    <a:pt x="198" y="308"/>
                  </a:lnTo>
                  <a:lnTo>
                    <a:pt x="198" y="304"/>
                  </a:lnTo>
                  <a:lnTo>
                    <a:pt x="192" y="304"/>
                  </a:lnTo>
                  <a:lnTo>
                    <a:pt x="188" y="300"/>
                  </a:lnTo>
                  <a:lnTo>
                    <a:pt x="184" y="300"/>
                  </a:lnTo>
                  <a:lnTo>
                    <a:pt x="182" y="300"/>
                  </a:lnTo>
                  <a:lnTo>
                    <a:pt x="190" y="306"/>
                  </a:lnTo>
                  <a:lnTo>
                    <a:pt x="188" y="308"/>
                  </a:lnTo>
                  <a:lnTo>
                    <a:pt x="184" y="308"/>
                  </a:lnTo>
                  <a:lnTo>
                    <a:pt x="190" y="311"/>
                  </a:lnTo>
                  <a:lnTo>
                    <a:pt x="188" y="315"/>
                  </a:lnTo>
                  <a:lnTo>
                    <a:pt x="186" y="317"/>
                  </a:lnTo>
                  <a:lnTo>
                    <a:pt x="182" y="317"/>
                  </a:lnTo>
                  <a:lnTo>
                    <a:pt x="182" y="313"/>
                  </a:lnTo>
                  <a:lnTo>
                    <a:pt x="178" y="311"/>
                  </a:lnTo>
                  <a:lnTo>
                    <a:pt x="176" y="313"/>
                  </a:lnTo>
                  <a:lnTo>
                    <a:pt x="171" y="313"/>
                  </a:lnTo>
                  <a:lnTo>
                    <a:pt x="173" y="315"/>
                  </a:lnTo>
                  <a:lnTo>
                    <a:pt x="174" y="315"/>
                  </a:lnTo>
                  <a:lnTo>
                    <a:pt x="171" y="317"/>
                  </a:lnTo>
                  <a:lnTo>
                    <a:pt x="169" y="321"/>
                  </a:lnTo>
                  <a:lnTo>
                    <a:pt x="171" y="323"/>
                  </a:lnTo>
                  <a:lnTo>
                    <a:pt x="169" y="329"/>
                  </a:lnTo>
                  <a:lnTo>
                    <a:pt x="173" y="331"/>
                  </a:lnTo>
                  <a:lnTo>
                    <a:pt x="171" y="335"/>
                  </a:lnTo>
                  <a:lnTo>
                    <a:pt x="174" y="336"/>
                  </a:lnTo>
                  <a:lnTo>
                    <a:pt x="174" y="338"/>
                  </a:lnTo>
                  <a:lnTo>
                    <a:pt x="173" y="338"/>
                  </a:lnTo>
                  <a:lnTo>
                    <a:pt x="169" y="340"/>
                  </a:lnTo>
                  <a:lnTo>
                    <a:pt x="163" y="335"/>
                  </a:lnTo>
                  <a:lnTo>
                    <a:pt x="157" y="336"/>
                  </a:lnTo>
                  <a:lnTo>
                    <a:pt x="150" y="335"/>
                  </a:lnTo>
                  <a:lnTo>
                    <a:pt x="150" y="331"/>
                  </a:lnTo>
                  <a:lnTo>
                    <a:pt x="144" y="329"/>
                  </a:lnTo>
                  <a:lnTo>
                    <a:pt x="144" y="327"/>
                  </a:lnTo>
                  <a:lnTo>
                    <a:pt x="146" y="325"/>
                  </a:lnTo>
                  <a:lnTo>
                    <a:pt x="150" y="327"/>
                  </a:lnTo>
                  <a:lnTo>
                    <a:pt x="151" y="321"/>
                  </a:lnTo>
                  <a:lnTo>
                    <a:pt x="148" y="321"/>
                  </a:lnTo>
                  <a:lnTo>
                    <a:pt x="148" y="319"/>
                  </a:lnTo>
                  <a:lnTo>
                    <a:pt x="151" y="319"/>
                  </a:lnTo>
                  <a:lnTo>
                    <a:pt x="150" y="315"/>
                  </a:lnTo>
                  <a:lnTo>
                    <a:pt x="153" y="315"/>
                  </a:lnTo>
                  <a:lnTo>
                    <a:pt x="153" y="313"/>
                  </a:lnTo>
                  <a:lnTo>
                    <a:pt x="155" y="313"/>
                  </a:lnTo>
                  <a:lnTo>
                    <a:pt x="155" y="311"/>
                  </a:lnTo>
                  <a:lnTo>
                    <a:pt x="153" y="310"/>
                  </a:lnTo>
                  <a:lnTo>
                    <a:pt x="150" y="313"/>
                  </a:lnTo>
                  <a:lnTo>
                    <a:pt x="150" y="310"/>
                  </a:lnTo>
                  <a:lnTo>
                    <a:pt x="146" y="310"/>
                  </a:lnTo>
                  <a:lnTo>
                    <a:pt x="146" y="308"/>
                  </a:lnTo>
                  <a:lnTo>
                    <a:pt x="151" y="306"/>
                  </a:lnTo>
                  <a:lnTo>
                    <a:pt x="155" y="300"/>
                  </a:lnTo>
                  <a:lnTo>
                    <a:pt x="159" y="302"/>
                  </a:lnTo>
                  <a:lnTo>
                    <a:pt x="159" y="304"/>
                  </a:lnTo>
                  <a:lnTo>
                    <a:pt x="163" y="304"/>
                  </a:lnTo>
                  <a:lnTo>
                    <a:pt x="163" y="302"/>
                  </a:lnTo>
                  <a:lnTo>
                    <a:pt x="157" y="298"/>
                  </a:lnTo>
                  <a:lnTo>
                    <a:pt x="159" y="294"/>
                  </a:lnTo>
                  <a:lnTo>
                    <a:pt x="153" y="292"/>
                  </a:lnTo>
                  <a:lnTo>
                    <a:pt x="155" y="288"/>
                  </a:lnTo>
                  <a:lnTo>
                    <a:pt x="150" y="285"/>
                  </a:lnTo>
                  <a:lnTo>
                    <a:pt x="148" y="283"/>
                  </a:lnTo>
                  <a:lnTo>
                    <a:pt x="146" y="283"/>
                  </a:lnTo>
                  <a:lnTo>
                    <a:pt x="142" y="277"/>
                  </a:lnTo>
                  <a:lnTo>
                    <a:pt x="138" y="277"/>
                  </a:lnTo>
                  <a:lnTo>
                    <a:pt x="134" y="275"/>
                  </a:lnTo>
                  <a:lnTo>
                    <a:pt x="130" y="275"/>
                  </a:lnTo>
                  <a:lnTo>
                    <a:pt x="128" y="273"/>
                  </a:lnTo>
                  <a:lnTo>
                    <a:pt x="132" y="271"/>
                  </a:lnTo>
                  <a:lnTo>
                    <a:pt x="130" y="269"/>
                  </a:lnTo>
                  <a:lnTo>
                    <a:pt x="127" y="267"/>
                  </a:lnTo>
                  <a:lnTo>
                    <a:pt x="127" y="265"/>
                  </a:lnTo>
                  <a:lnTo>
                    <a:pt x="123" y="265"/>
                  </a:lnTo>
                  <a:lnTo>
                    <a:pt x="119" y="262"/>
                  </a:lnTo>
                  <a:lnTo>
                    <a:pt x="115" y="260"/>
                  </a:lnTo>
                  <a:lnTo>
                    <a:pt x="115" y="254"/>
                  </a:lnTo>
                  <a:lnTo>
                    <a:pt x="109" y="252"/>
                  </a:lnTo>
                  <a:lnTo>
                    <a:pt x="107" y="248"/>
                  </a:lnTo>
                  <a:lnTo>
                    <a:pt x="107" y="240"/>
                  </a:lnTo>
                  <a:lnTo>
                    <a:pt x="103" y="233"/>
                  </a:lnTo>
                  <a:lnTo>
                    <a:pt x="105" y="229"/>
                  </a:lnTo>
                  <a:lnTo>
                    <a:pt x="103" y="227"/>
                  </a:lnTo>
                  <a:lnTo>
                    <a:pt x="100" y="219"/>
                  </a:lnTo>
                  <a:lnTo>
                    <a:pt x="103" y="217"/>
                  </a:lnTo>
                  <a:lnTo>
                    <a:pt x="105" y="214"/>
                  </a:lnTo>
                  <a:lnTo>
                    <a:pt x="105" y="210"/>
                  </a:lnTo>
                  <a:lnTo>
                    <a:pt x="98" y="210"/>
                  </a:lnTo>
                  <a:lnTo>
                    <a:pt x="98" y="204"/>
                  </a:lnTo>
                  <a:lnTo>
                    <a:pt x="92" y="202"/>
                  </a:lnTo>
                  <a:lnTo>
                    <a:pt x="92" y="198"/>
                  </a:lnTo>
                  <a:lnTo>
                    <a:pt x="94" y="196"/>
                  </a:lnTo>
                  <a:lnTo>
                    <a:pt x="90" y="196"/>
                  </a:lnTo>
                  <a:lnTo>
                    <a:pt x="92" y="192"/>
                  </a:lnTo>
                  <a:lnTo>
                    <a:pt x="94" y="190"/>
                  </a:lnTo>
                  <a:lnTo>
                    <a:pt x="94" y="187"/>
                  </a:lnTo>
                  <a:lnTo>
                    <a:pt x="96" y="183"/>
                  </a:lnTo>
                  <a:lnTo>
                    <a:pt x="92" y="183"/>
                  </a:lnTo>
                  <a:lnTo>
                    <a:pt x="90" y="187"/>
                  </a:lnTo>
                  <a:lnTo>
                    <a:pt x="86" y="185"/>
                  </a:lnTo>
                  <a:lnTo>
                    <a:pt x="86" y="179"/>
                  </a:lnTo>
                  <a:lnTo>
                    <a:pt x="82" y="181"/>
                  </a:lnTo>
                  <a:lnTo>
                    <a:pt x="82" y="183"/>
                  </a:lnTo>
                  <a:lnTo>
                    <a:pt x="79" y="183"/>
                  </a:lnTo>
                  <a:lnTo>
                    <a:pt x="77" y="185"/>
                  </a:lnTo>
                  <a:lnTo>
                    <a:pt x="73" y="185"/>
                  </a:lnTo>
                  <a:lnTo>
                    <a:pt x="73" y="181"/>
                  </a:lnTo>
                  <a:lnTo>
                    <a:pt x="65" y="187"/>
                  </a:lnTo>
                  <a:lnTo>
                    <a:pt x="59" y="185"/>
                  </a:lnTo>
                  <a:lnTo>
                    <a:pt x="57" y="179"/>
                  </a:lnTo>
                  <a:lnTo>
                    <a:pt x="54" y="179"/>
                  </a:lnTo>
                  <a:lnTo>
                    <a:pt x="52" y="181"/>
                  </a:lnTo>
                  <a:lnTo>
                    <a:pt x="48" y="179"/>
                  </a:lnTo>
                  <a:lnTo>
                    <a:pt x="48" y="175"/>
                  </a:lnTo>
                  <a:lnTo>
                    <a:pt x="46" y="171"/>
                  </a:lnTo>
                  <a:lnTo>
                    <a:pt x="36" y="167"/>
                  </a:lnTo>
                  <a:lnTo>
                    <a:pt x="32" y="167"/>
                  </a:lnTo>
                  <a:lnTo>
                    <a:pt x="31" y="171"/>
                  </a:lnTo>
                  <a:lnTo>
                    <a:pt x="25" y="171"/>
                  </a:lnTo>
                  <a:lnTo>
                    <a:pt x="21" y="169"/>
                  </a:lnTo>
                  <a:lnTo>
                    <a:pt x="17" y="169"/>
                  </a:lnTo>
                  <a:lnTo>
                    <a:pt x="15" y="175"/>
                  </a:lnTo>
                  <a:lnTo>
                    <a:pt x="11" y="175"/>
                  </a:lnTo>
                  <a:lnTo>
                    <a:pt x="9" y="169"/>
                  </a:lnTo>
                  <a:lnTo>
                    <a:pt x="8" y="165"/>
                  </a:lnTo>
                  <a:lnTo>
                    <a:pt x="4" y="164"/>
                  </a:lnTo>
                  <a:lnTo>
                    <a:pt x="4" y="162"/>
                  </a:lnTo>
                  <a:lnTo>
                    <a:pt x="6" y="160"/>
                  </a:lnTo>
                  <a:lnTo>
                    <a:pt x="9" y="160"/>
                  </a:lnTo>
                  <a:lnTo>
                    <a:pt x="13" y="154"/>
                  </a:lnTo>
                  <a:lnTo>
                    <a:pt x="9" y="150"/>
                  </a:lnTo>
                  <a:lnTo>
                    <a:pt x="11" y="142"/>
                  </a:lnTo>
                  <a:lnTo>
                    <a:pt x="11" y="139"/>
                  </a:lnTo>
                  <a:lnTo>
                    <a:pt x="13" y="131"/>
                  </a:lnTo>
                  <a:lnTo>
                    <a:pt x="13" y="129"/>
                  </a:lnTo>
                  <a:lnTo>
                    <a:pt x="11" y="127"/>
                  </a:lnTo>
                  <a:lnTo>
                    <a:pt x="9" y="129"/>
                  </a:lnTo>
                  <a:lnTo>
                    <a:pt x="4" y="129"/>
                  </a:lnTo>
                  <a:lnTo>
                    <a:pt x="0" y="129"/>
                  </a:lnTo>
                  <a:lnTo>
                    <a:pt x="0" y="127"/>
                  </a:lnTo>
                  <a:lnTo>
                    <a:pt x="2" y="119"/>
                  </a:lnTo>
                  <a:lnTo>
                    <a:pt x="6" y="119"/>
                  </a:lnTo>
                  <a:lnTo>
                    <a:pt x="9" y="116"/>
                  </a:lnTo>
                  <a:lnTo>
                    <a:pt x="8" y="112"/>
                  </a:lnTo>
                  <a:lnTo>
                    <a:pt x="4" y="112"/>
                  </a:lnTo>
                  <a:lnTo>
                    <a:pt x="6" y="108"/>
                  </a:lnTo>
                  <a:lnTo>
                    <a:pt x="9" y="110"/>
                  </a:lnTo>
                  <a:lnTo>
                    <a:pt x="17" y="112"/>
                  </a:lnTo>
                  <a:lnTo>
                    <a:pt x="25" y="106"/>
                  </a:lnTo>
                  <a:lnTo>
                    <a:pt x="32" y="104"/>
                  </a:lnTo>
                  <a:lnTo>
                    <a:pt x="36" y="102"/>
                  </a:lnTo>
                  <a:lnTo>
                    <a:pt x="40" y="106"/>
                  </a:lnTo>
                  <a:lnTo>
                    <a:pt x="44" y="106"/>
                  </a:lnTo>
                  <a:lnTo>
                    <a:pt x="44" y="108"/>
                  </a:lnTo>
                  <a:lnTo>
                    <a:pt x="48" y="108"/>
                  </a:lnTo>
                  <a:lnTo>
                    <a:pt x="50" y="112"/>
                  </a:lnTo>
                  <a:lnTo>
                    <a:pt x="56" y="117"/>
                  </a:lnTo>
                  <a:lnTo>
                    <a:pt x="59" y="114"/>
                  </a:lnTo>
                  <a:lnTo>
                    <a:pt x="63" y="116"/>
                  </a:lnTo>
                  <a:lnTo>
                    <a:pt x="65" y="112"/>
                  </a:lnTo>
                  <a:lnTo>
                    <a:pt x="67" y="116"/>
                  </a:lnTo>
                  <a:lnTo>
                    <a:pt x="65" y="117"/>
                  </a:lnTo>
                  <a:lnTo>
                    <a:pt x="67" y="119"/>
                  </a:lnTo>
                  <a:lnTo>
                    <a:pt x="65" y="123"/>
                  </a:lnTo>
                  <a:lnTo>
                    <a:pt x="69" y="123"/>
                  </a:lnTo>
                  <a:lnTo>
                    <a:pt x="71" y="125"/>
                  </a:lnTo>
                  <a:lnTo>
                    <a:pt x="71" y="127"/>
                  </a:lnTo>
                  <a:lnTo>
                    <a:pt x="73" y="121"/>
                  </a:lnTo>
                  <a:lnTo>
                    <a:pt x="75" y="119"/>
                  </a:lnTo>
                  <a:lnTo>
                    <a:pt x="77" y="121"/>
                  </a:lnTo>
                  <a:lnTo>
                    <a:pt x="77" y="125"/>
                  </a:lnTo>
                  <a:lnTo>
                    <a:pt x="80" y="129"/>
                  </a:lnTo>
                  <a:lnTo>
                    <a:pt x="77" y="131"/>
                  </a:lnTo>
                  <a:lnTo>
                    <a:pt x="75" y="133"/>
                  </a:lnTo>
                  <a:lnTo>
                    <a:pt x="77" y="137"/>
                  </a:lnTo>
                  <a:lnTo>
                    <a:pt x="71" y="139"/>
                  </a:lnTo>
                  <a:lnTo>
                    <a:pt x="75" y="142"/>
                  </a:lnTo>
                  <a:lnTo>
                    <a:pt x="79" y="144"/>
                  </a:lnTo>
                  <a:lnTo>
                    <a:pt x="77" y="146"/>
                  </a:lnTo>
                  <a:lnTo>
                    <a:pt x="79" y="152"/>
                  </a:lnTo>
                  <a:lnTo>
                    <a:pt x="86" y="150"/>
                  </a:lnTo>
                  <a:lnTo>
                    <a:pt x="88" y="146"/>
                  </a:lnTo>
                  <a:lnTo>
                    <a:pt x="84" y="144"/>
                  </a:lnTo>
                  <a:lnTo>
                    <a:pt x="84" y="142"/>
                  </a:lnTo>
                  <a:lnTo>
                    <a:pt x="88" y="142"/>
                  </a:lnTo>
                  <a:lnTo>
                    <a:pt x="88" y="137"/>
                  </a:lnTo>
                  <a:lnTo>
                    <a:pt x="92" y="139"/>
                  </a:lnTo>
                  <a:lnTo>
                    <a:pt x="92" y="135"/>
                  </a:lnTo>
                  <a:lnTo>
                    <a:pt x="94" y="133"/>
                  </a:lnTo>
                  <a:lnTo>
                    <a:pt x="96" y="133"/>
                  </a:lnTo>
                  <a:lnTo>
                    <a:pt x="96" y="129"/>
                  </a:lnTo>
                  <a:lnTo>
                    <a:pt x="100" y="127"/>
                  </a:lnTo>
                  <a:lnTo>
                    <a:pt x="103" y="125"/>
                  </a:lnTo>
                  <a:lnTo>
                    <a:pt x="103" y="123"/>
                  </a:lnTo>
                  <a:lnTo>
                    <a:pt x="109" y="127"/>
                  </a:lnTo>
                  <a:lnTo>
                    <a:pt x="109" y="129"/>
                  </a:lnTo>
                  <a:lnTo>
                    <a:pt x="113" y="127"/>
                  </a:lnTo>
                  <a:lnTo>
                    <a:pt x="115" y="131"/>
                  </a:lnTo>
                  <a:lnTo>
                    <a:pt x="121" y="129"/>
                  </a:lnTo>
                  <a:lnTo>
                    <a:pt x="123" y="127"/>
                  </a:lnTo>
                  <a:lnTo>
                    <a:pt x="127" y="127"/>
                  </a:lnTo>
                  <a:lnTo>
                    <a:pt x="128" y="129"/>
                  </a:lnTo>
                  <a:lnTo>
                    <a:pt x="130" y="123"/>
                  </a:lnTo>
                  <a:lnTo>
                    <a:pt x="134" y="123"/>
                  </a:lnTo>
                  <a:lnTo>
                    <a:pt x="136" y="121"/>
                  </a:lnTo>
                  <a:lnTo>
                    <a:pt x="140" y="123"/>
                  </a:lnTo>
                  <a:lnTo>
                    <a:pt x="144" y="121"/>
                  </a:lnTo>
                  <a:lnTo>
                    <a:pt x="146" y="129"/>
                  </a:lnTo>
                  <a:lnTo>
                    <a:pt x="150" y="129"/>
                  </a:lnTo>
                  <a:lnTo>
                    <a:pt x="151" y="131"/>
                  </a:lnTo>
                  <a:lnTo>
                    <a:pt x="157" y="131"/>
                  </a:lnTo>
                  <a:lnTo>
                    <a:pt x="163" y="129"/>
                  </a:lnTo>
                  <a:lnTo>
                    <a:pt x="165" y="129"/>
                  </a:lnTo>
                  <a:lnTo>
                    <a:pt x="169" y="123"/>
                  </a:lnTo>
                  <a:lnTo>
                    <a:pt x="174" y="125"/>
                  </a:lnTo>
                  <a:lnTo>
                    <a:pt x="176" y="121"/>
                  </a:lnTo>
                  <a:lnTo>
                    <a:pt x="180" y="121"/>
                  </a:lnTo>
                  <a:lnTo>
                    <a:pt x="188" y="116"/>
                  </a:lnTo>
                  <a:lnTo>
                    <a:pt x="182" y="114"/>
                  </a:lnTo>
                  <a:lnTo>
                    <a:pt x="182" y="112"/>
                  </a:lnTo>
                  <a:lnTo>
                    <a:pt x="180" y="110"/>
                  </a:lnTo>
                  <a:lnTo>
                    <a:pt x="180" y="108"/>
                  </a:lnTo>
                  <a:lnTo>
                    <a:pt x="184" y="108"/>
                  </a:lnTo>
                  <a:lnTo>
                    <a:pt x="182" y="100"/>
                  </a:lnTo>
                  <a:lnTo>
                    <a:pt x="186" y="98"/>
                  </a:lnTo>
                  <a:lnTo>
                    <a:pt x="184" y="98"/>
                  </a:lnTo>
                  <a:lnTo>
                    <a:pt x="190" y="91"/>
                  </a:lnTo>
                  <a:lnTo>
                    <a:pt x="184" y="87"/>
                  </a:lnTo>
                  <a:lnTo>
                    <a:pt x="186" y="87"/>
                  </a:lnTo>
                  <a:lnTo>
                    <a:pt x="184" y="85"/>
                  </a:lnTo>
                  <a:lnTo>
                    <a:pt x="190" y="89"/>
                  </a:lnTo>
                  <a:lnTo>
                    <a:pt x="198" y="91"/>
                  </a:lnTo>
                  <a:lnTo>
                    <a:pt x="199" y="89"/>
                  </a:lnTo>
                  <a:lnTo>
                    <a:pt x="198" y="87"/>
                  </a:lnTo>
                  <a:lnTo>
                    <a:pt x="199" y="85"/>
                  </a:lnTo>
                  <a:lnTo>
                    <a:pt x="201" y="89"/>
                  </a:lnTo>
                  <a:lnTo>
                    <a:pt x="203" y="89"/>
                  </a:lnTo>
                  <a:lnTo>
                    <a:pt x="205" y="85"/>
                  </a:lnTo>
                  <a:lnTo>
                    <a:pt x="203" y="83"/>
                  </a:lnTo>
                  <a:lnTo>
                    <a:pt x="207" y="81"/>
                  </a:lnTo>
                  <a:lnTo>
                    <a:pt x="209" y="83"/>
                  </a:lnTo>
                  <a:lnTo>
                    <a:pt x="207" y="85"/>
                  </a:lnTo>
                  <a:lnTo>
                    <a:pt x="211" y="87"/>
                  </a:lnTo>
                  <a:lnTo>
                    <a:pt x="211" y="91"/>
                  </a:lnTo>
                  <a:lnTo>
                    <a:pt x="219" y="94"/>
                  </a:lnTo>
                  <a:lnTo>
                    <a:pt x="224" y="89"/>
                  </a:lnTo>
                  <a:lnTo>
                    <a:pt x="228" y="85"/>
                  </a:lnTo>
                  <a:lnTo>
                    <a:pt x="228" y="83"/>
                  </a:lnTo>
                  <a:lnTo>
                    <a:pt x="232" y="81"/>
                  </a:lnTo>
                  <a:lnTo>
                    <a:pt x="230" y="79"/>
                  </a:lnTo>
                  <a:lnTo>
                    <a:pt x="226" y="79"/>
                  </a:lnTo>
                  <a:lnTo>
                    <a:pt x="228" y="77"/>
                  </a:lnTo>
                  <a:lnTo>
                    <a:pt x="226" y="75"/>
                  </a:lnTo>
                  <a:lnTo>
                    <a:pt x="221" y="77"/>
                  </a:lnTo>
                  <a:lnTo>
                    <a:pt x="221" y="73"/>
                  </a:lnTo>
                  <a:lnTo>
                    <a:pt x="228" y="73"/>
                  </a:lnTo>
                  <a:lnTo>
                    <a:pt x="230" y="69"/>
                  </a:lnTo>
                  <a:lnTo>
                    <a:pt x="234" y="69"/>
                  </a:lnTo>
                  <a:lnTo>
                    <a:pt x="236" y="68"/>
                  </a:lnTo>
                  <a:lnTo>
                    <a:pt x="242" y="64"/>
                  </a:lnTo>
                  <a:lnTo>
                    <a:pt x="242" y="62"/>
                  </a:lnTo>
                  <a:lnTo>
                    <a:pt x="240" y="62"/>
                  </a:lnTo>
                  <a:lnTo>
                    <a:pt x="242" y="56"/>
                  </a:lnTo>
                  <a:lnTo>
                    <a:pt x="246" y="54"/>
                  </a:lnTo>
                  <a:lnTo>
                    <a:pt x="246" y="56"/>
                  </a:lnTo>
                  <a:lnTo>
                    <a:pt x="249" y="56"/>
                  </a:lnTo>
                  <a:lnTo>
                    <a:pt x="253" y="54"/>
                  </a:lnTo>
                  <a:lnTo>
                    <a:pt x="257" y="60"/>
                  </a:lnTo>
                  <a:lnTo>
                    <a:pt x="257" y="62"/>
                  </a:lnTo>
                  <a:lnTo>
                    <a:pt x="259" y="62"/>
                  </a:lnTo>
                  <a:lnTo>
                    <a:pt x="261" y="62"/>
                  </a:lnTo>
                  <a:lnTo>
                    <a:pt x="259" y="54"/>
                  </a:lnTo>
                  <a:lnTo>
                    <a:pt x="261" y="50"/>
                  </a:lnTo>
                  <a:lnTo>
                    <a:pt x="259" y="48"/>
                  </a:lnTo>
                  <a:lnTo>
                    <a:pt x="263" y="46"/>
                  </a:lnTo>
                  <a:lnTo>
                    <a:pt x="259" y="43"/>
                  </a:lnTo>
                  <a:lnTo>
                    <a:pt x="263" y="37"/>
                  </a:lnTo>
                  <a:lnTo>
                    <a:pt x="257" y="29"/>
                  </a:lnTo>
                  <a:lnTo>
                    <a:pt x="253" y="29"/>
                  </a:lnTo>
                  <a:lnTo>
                    <a:pt x="253" y="27"/>
                  </a:lnTo>
                  <a:lnTo>
                    <a:pt x="255" y="23"/>
                  </a:lnTo>
                  <a:lnTo>
                    <a:pt x="253" y="20"/>
                  </a:lnTo>
                  <a:lnTo>
                    <a:pt x="255" y="16"/>
                  </a:lnTo>
                  <a:lnTo>
                    <a:pt x="255" y="12"/>
                  </a:lnTo>
                  <a:lnTo>
                    <a:pt x="247" y="8"/>
                  </a:lnTo>
                  <a:lnTo>
                    <a:pt x="247" y="4"/>
                  </a:lnTo>
                  <a:lnTo>
                    <a:pt x="253" y="0"/>
                  </a:lnTo>
                  <a:lnTo>
                    <a:pt x="253" y="4"/>
                  </a:lnTo>
                  <a:lnTo>
                    <a:pt x="257" y="8"/>
                  </a:lnTo>
                  <a:lnTo>
                    <a:pt x="263" y="4"/>
                  </a:lnTo>
                  <a:lnTo>
                    <a:pt x="265" y="12"/>
                  </a:lnTo>
                  <a:lnTo>
                    <a:pt x="267" y="14"/>
                  </a:lnTo>
                  <a:lnTo>
                    <a:pt x="270" y="16"/>
                  </a:lnTo>
                  <a:lnTo>
                    <a:pt x="272" y="14"/>
                  </a:lnTo>
                  <a:lnTo>
                    <a:pt x="270" y="18"/>
                  </a:lnTo>
                  <a:lnTo>
                    <a:pt x="272" y="21"/>
                  </a:lnTo>
                  <a:lnTo>
                    <a:pt x="274" y="20"/>
                  </a:lnTo>
                  <a:lnTo>
                    <a:pt x="280" y="21"/>
                  </a:lnTo>
                  <a:lnTo>
                    <a:pt x="288" y="27"/>
                  </a:lnTo>
                  <a:lnTo>
                    <a:pt x="288" y="37"/>
                  </a:lnTo>
                  <a:lnTo>
                    <a:pt x="282" y="41"/>
                  </a:lnTo>
                  <a:lnTo>
                    <a:pt x="284" y="43"/>
                  </a:lnTo>
                  <a:lnTo>
                    <a:pt x="290" y="44"/>
                  </a:lnTo>
                  <a:lnTo>
                    <a:pt x="292" y="50"/>
                  </a:lnTo>
                  <a:lnTo>
                    <a:pt x="293" y="50"/>
                  </a:lnTo>
                  <a:lnTo>
                    <a:pt x="301" y="52"/>
                  </a:lnTo>
                  <a:lnTo>
                    <a:pt x="307" y="52"/>
                  </a:lnTo>
                  <a:lnTo>
                    <a:pt x="307" y="54"/>
                  </a:lnTo>
                  <a:lnTo>
                    <a:pt x="311" y="54"/>
                  </a:lnTo>
                  <a:lnTo>
                    <a:pt x="313" y="56"/>
                  </a:lnTo>
                  <a:lnTo>
                    <a:pt x="318" y="52"/>
                  </a:lnTo>
                  <a:lnTo>
                    <a:pt x="318" y="54"/>
                  </a:lnTo>
                  <a:lnTo>
                    <a:pt x="315" y="58"/>
                  </a:lnTo>
                  <a:lnTo>
                    <a:pt x="322" y="58"/>
                  </a:lnTo>
                  <a:lnTo>
                    <a:pt x="324" y="54"/>
                  </a:lnTo>
                  <a:lnTo>
                    <a:pt x="326" y="58"/>
                  </a:lnTo>
                  <a:lnTo>
                    <a:pt x="330" y="6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58" name="Freeform 39">
              <a:extLst>
                <a:ext uri="{FF2B5EF4-FFF2-40B4-BE49-F238E27FC236}">
                  <a16:creationId xmlns:a16="http://schemas.microsoft.com/office/drawing/2014/main" id="{FECE0EAC-9684-4C2B-83D3-81F6C94FA3C8}"/>
                </a:ext>
              </a:extLst>
            </p:cNvPr>
            <p:cNvSpPr>
              <a:spLocks/>
            </p:cNvSpPr>
            <p:nvPr/>
          </p:nvSpPr>
          <p:spPr bwMode="gray">
            <a:xfrm>
              <a:off x="7443789" y="2516188"/>
              <a:ext cx="984250" cy="484188"/>
            </a:xfrm>
            <a:custGeom>
              <a:avLst/>
              <a:gdLst>
                <a:gd name="T0" fmla="*/ 390 w 620"/>
                <a:gd name="T1" fmla="*/ 276 h 305"/>
                <a:gd name="T2" fmla="*/ 403 w 620"/>
                <a:gd name="T3" fmla="*/ 255 h 305"/>
                <a:gd name="T4" fmla="*/ 438 w 620"/>
                <a:gd name="T5" fmla="*/ 240 h 305"/>
                <a:gd name="T6" fmla="*/ 469 w 620"/>
                <a:gd name="T7" fmla="*/ 221 h 305"/>
                <a:gd name="T8" fmla="*/ 459 w 620"/>
                <a:gd name="T9" fmla="*/ 215 h 305"/>
                <a:gd name="T10" fmla="*/ 448 w 620"/>
                <a:gd name="T11" fmla="*/ 196 h 305"/>
                <a:gd name="T12" fmla="*/ 465 w 620"/>
                <a:gd name="T13" fmla="*/ 171 h 305"/>
                <a:gd name="T14" fmla="*/ 430 w 620"/>
                <a:gd name="T15" fmla="*/ 163 h 305"/>
                <a:gd name="T16" fmla="*/ 375 w 620"/>
                <a:gd name="T17" fmla="*/ 180 h 305"/>
                <a:gd name="T18" fmla="*/ 338 w 620"/>
                <a:gd name="T19" fmla="*/ 196 h 305"/>
                <a:gd name="T20" fmla="*/ 305 w 620"/>
                <a:gd name="T21" fmla="*/ 201 h 305"/>
                <a:gd name="T22" fmla="*/ 282 w 620"/>
                <a:gd name="T23" fmla="*/ 201 h 305"/>
                <a:gd name="T24" fmla="*/ 269 w 620"/>
                <a:gd name="T25" fmla="*/ 223 h 305"/>
                <a:gd name="T26" fmla="*/ 238 w 620"/>
                <a:gd name="T27" fmla="*/ 255 h 305"/>
                <a:gd name="T28" fmla="*/ 234 w 620"/>
                <a:gd name="T29" fmla="*/ 263 h 305"/>
                <a:gd name="T30" fmla="*/ 190 w 620"/>
                <a:gd name="T31" fmla="*/ 272 h 305"/>
                <a:gd name="T32" fmla="*/ 144 w 620"/>
                <a:gd name="T33" fmla="*/ 271 h 305"/>
                <a:gd name="T34" fmla="*/ 110 w 620"/>
                <a:gd name="T35" fmla="*/ 272 h 305"/>
                <a:gd name="T36" fmla="*/ 67 w 620"/>
                <a:gd name="T37" fmla="*/ 280 h 305"/>
                <a:gd name="T38" fmla="*/ 50 w 620"/>
                <a:gd name="T39" fmla="*/ 255 h 305"/>
                <a:gd name="T40" fmla="*/ 60 w 620"/>
                <a:gd name="T41" fmla="*/ 236 h 305"/>
                <a:gd name="T42" fmla="*/ 35 w 620"/>
                <a:gd name="T43" fmla="*/ 217 h 305"/>
                <a:gd name="T44" fmla="*/ 10 w 620"/>
                <a:gd name="T45" fmla="*/ 213 h 305"/>
                <a:gd name="T46" fmla="*/ 10 w 620"/>
                <a:gd name="T47" fmla="*/ 184 h 305"/>
                <a:gd name="T48" fmla="*/ 14 w 620"/>
                <a:gd name="T49" fmla="*/ 175 h 305"/>
                <a:gd name="T50" fmla="*/ 60 w 620"/>
                <a:gd name="T51" fmla="*/ 184 h 305"/>
                <a:gd name="T52" fmla="*/ 87 w 620"/>
                <a:gd name="T53" fmla="*/ 175 h 305"/>
                <a:gd name="T54" fmla="*/ 125 w 620"/>
                <a:gd name="T55" fmla="*/ 163 h 305"/>
                <a:gd name="T56" fmla="*/ 137 w 620"/>
                <a:gd name="T57" fmla="*/ 140 h 305"/>
                <a:gd name="T58" fmla="*/ 169 w 620"/>
                <a:gd name="T59" fmla="*/ 119 h 305"/>
                <a:gd name="T60" fmla="*/ 183 w 620"/>
                <a:gd name="T61" fmla="*/ 94 h 305"/>
                <a:gd name="T62" fmla="*/ 223 w 620"/>
                <a:gd name="T63" fmla="*/ 88 h 305"/>
                <a:gd name="T64" fmla="*/ 252 w 620"/>
                <a:gd name="T65" fmla="*/ 75 h 305"/>
                <a:gd name="T66" fmla="*/ 281 w 620"/>
                <a:gd name="T67" fmla="*/ 57 h 305"/>
                <a:gd name="T68" fmla="*/ 302 w 620"/>
                <a:gd name="T69" fmla="*/ 34 h 305"/>
                <a:gd name="T70" fmla="*/ 329 w 620"/>
                <a:gd name="T71" fmla="*/ 19 h 305"/>
                <a:gd name="T72" fmla="*/ 363 w 620"/>
                <a:gd name="T73" fmla="*/ 32 h 305"/>
                <a:gd name="T74" fmla="*/ 380 w 620"/>
                <a:gd name="T75" fmla="*/ 40 h 305"/>
                <a:gd name="T76" fmla="*/ 413 w 620"/>
                <a:gd name="T77" fmla="*/ 30 h 305"/>
                <a:gd name="T78" fmla="*/ 432 w 620"/>
                <a:gd name="T79" fmla="*/ 25 h 305"/>
                <a:gd name="T80" fmla="*/ 457 w 620"/>
                <a:gd name="T81" fmla="*/ 15 h 305"/>
                <a:gd name="T82" fmla="*/ 484 w 620"/>
                <a:gd name="T83" fmla="*/ 2 h 305"/>
                <a:gd name="T84" fmla="*/ 511 w 620"/>
                <a:gd name="T85" fmla="*/ 30 h 305"/>
                <a:gd name="T86" fmla="*/ 494 w 620"/>
                <a:gd name="T87" fmla="*/ 55 h 305"/>
                <a:gd name="T88" fmla="*/ 507 w 620"/>
                <a:gd name="T89" fmla="*/ 50 h 305"/>
                <a:gd name="T90" fmla="*/ 528 w 620"/>
                <a:gd name="T91" fmla="*/ 63 h 305"/>
                <a:gd name="T92" fmla="*/ 524 w 620"/>
                <a:gd name="T93" fmla="*/ 90 h 305"/>
                <a:gd name="T94" fmla="*/ 501 w 620"/>
                <a:gd name="T95" fmla="*/ 115 h 305"/>
                <a:gd name="T96" fmla="*/ 534 w 620"/>
                <a:gd name="T97" fmla="*/ 109 h 305"/>
                <a:gd name="T98" fmla="*/ 576 w 620"/>
                <a:gd name="T99" fmla="*/ 127 h 305"/>
                <a:gd name="T100" fmla="*/ 609 w 620"/>
                <a:gd name="T101" fmla="*/ 132 h 305"/>
                <a:gd name="T102" fmla="*/ 616 w 620"/>
                <a:gd name="T103" fmla="*/ 153 h 305"/>
                <a:gd name="T104" fmla="*/ 597 w 620"/>
                <a:gd name="T105" fmla="*/ 176 h 305"/>
                <a:gd name="T106" fmla="*/ 570 w 620"/>
                <a:gd name="T107" fmla="*/ 199 h 305"/>
                <a:gd name="T108" fmla="*/ 580 w 620"/>
                <a:gd name="T109" fmla="*/ 234 h 305"/>
                <a:gd name="T110" fmla="*/ 586 w 620"/>
                <a:gd name="T111" fmla="*/ 257 h 305"/>
                <a:gd name="T112" fmla="*/ 555 w 620"/>
                <a:gd name="T113" fmla="*/ 230 h 305"/>
                <a:gd name="T114" fmla="*/ 509 w 620"/>
                <a:gd name="T115" fmla="*/ 236 h 305"/>
                <a:gd name="T116" fmla="*/ 467 w 620"/>
                <a:gd name="T117" fmla="*/ 259 h 305"/>
                <a:gd name="T118" fmla="*/ 436 w 620"/>
                <a:gd name="T119" fmla="*/ 278 h 305"/>
                <a:gd name="T120" fmla="*/ 401 w 620"/>
                <a:gd name="T121" fmla="*/ 30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0" h="305">
                  <a:moveTo>
                    <a:pt x="390" y="301"/>
                  </a:moveTo>
                  <a:lnTo>
                    <a:pt x="388" y="296"/>
                  </a:lnTo>
                  <a:lnTo>
                    <a:pt x="390" y="292"/>
                  </a:lnTo>
                  <a:lnTo>
                    <a:pt x="388" y="290"/>
                  </a:lnTo>
                  <a:lnTo>
                    <a:pt x="386" y="284"/>
                  </a:lnTo>
                  <a:lnTo>
                    <a:pt x="384" y="284"/>
                  </a:lnTo>
                  <a:lnTo>
                    <a:pt x="390" y="280"/>
                  </a:lnTo>
                  <a:lnTo>
                    <a:pt x="390" y="276"/>
                  </a:lnTo>
                  <a:lnTo>
                    <a:pt x="388" y="274"/>
                  </a:lnTo>
                  <a:lnTo>
                    <a:pt x="388" y="271"/>
                  </a:lnTo>
                  <a:lnTo>
                    <a:pt x="386" y="269"/>
                  </a:lnTo>
                  <a:lnTo>
                    <a:pt x="386" y="265"/>
                  </a:lnTo>
                  <a:lnTo>
                    <a:pt x="390" y="263"/>
                  </a:lnTo>
                  <a:lnTo>
                    <a:pt x="392" y="265"/>
                  </a:lnTo>
                  <a:lnTo>
                    <a:pt x="396" y="259"/>
                  </a:lnTo>
                  <a:lnTo>
                    <a:pt x="403" y="255"/>
                  </a:lnTo>
                  <a:lnTo>
                    <a:pt x="413" y="255"/>
                  </a:lnTo>
                  <a:lnTo>
                    <a:pt x="415" y="249"/>
                  </a:lnTo>
                  <a:lnTo>
                    <a:pt x="415" y="246"/>
                  </a:lnTo>
                  <a:lnTo>
                    <a:pt x="419" y="240"/>
                  </a:lnTo>
                  <a:lnTo>
                    <a:pt x="423" y="238"/>
                  </a:lnTo>
                  <a:lnTo>
                    <a:pt x="428" y="244"/>
                  </a:lnTo>
                  <a:lnTo>
                    <a:pt x="436" y="242"/>
                  </a:lnTo>
                  <a:lnTo>
                    <a:pt x="438" y="240"/>
                  </a:lnTo>
                  <a:lnTo>
                    <a:pt x="442" y="240"/>
                  </a:lnTo>
                  <a:lnTo>
                    <a:pt x="451" y="236"/>
                  </a:lnTo>
                  <a:lnTo>
                    <a:pt x="457" y="236"/>
                  </a:lnTo>
                  <a:lnTo>
                    <a:pt x="461" y="238"/>
                  </a:lnTo>
                  <a:lnTo>
                    <a:pt x="461" y="236"/>
                  </a:lnTo>
                  <a:lnTo>
                    <a:pt x="467" y="234"/>
                  </a:lnTo>
                  <a:lnTo>
                    <a:pt x="472" y="228"/>
                  </a:lnTo>
                  <a:lnTo>
                    <a:pt x="469" y="221"/>
                  </a:lnTo>
                  <a:lnTo>
                    <a:pt x="467" y="223"/>
                  </a:lnTo>
                  <a:lnTo>
                    <a:pt x="467" y="221"/>
                  </a:lnTo>
                  <a:lnTo>
                    <a:pt x="467" y="223"/>
                  </a:lnTo>
                  <a:lnTo>
                    <a:pt x="463" y="221"/>
                  </a:lnTo>
                  <a:lnTo>
                    <a:pt x="461" y="223"/>
                  </a:lnTo>
                  <a:lnTo>
                    <a:pt x="459" y="221"/>
                  </a:lnTo>
                  <a:lnTo>
                    <a:pt x="457" y="223"/>
                  </a:lnTo>
                  <a:lnTo>
                    <a:pt x="459" y="215"/>
                  </a:lnTo>
                  <a:lnTo>
                    <a:pt x="459" y="209"/>
                  </a:lnTo>
                  <a:lnTo>
                    <a:pt x="453" y="207"/>
                  </a:lnTo>
                  <a:lnTo>
                    <a:pt x="451" y="205"/>
                  </a:lnTo>
                  <a:lnTo>
                    <a:pt x="453" y="203"/>
                  </a:lnTo>
                  <a:lnTo>
                    <a:pt x="449" y="203"/>
                  </a:lnTo>
                  <a:lnTo>
                    <a:pt x="448" y="199"/>
                  </a:lnTo>
                  <a:lnTo>
                    <a:pt x="449" y="198"/>
                  </a:lnTo>
                  <a:lnTo>
                    <a:pt x="448" y="196"/>
                  </a:lnTo>
                  <a:lnTo>
                    <a:pt x="449" y="194"/>
                  </a:lnTo>
                  <a:lnTo>
                    <a:pt x="446" y="192"/>
                  </a:lnTo>
                  <a:lnTo>
                    <a:pt x="449" y="186"/>
                  </a:lnTo>
                  <a:lnTo>
                    <a:pt x="455" y="178"/>
                  </a:lnTo>
                  <a:lnTo>
                    <a:pt x="459" y="176"/>
                  </a:lnTo>
                  <a:lnTo>
                    <a:pt x="461" y="175"/>
                  </a:lnTo>
                  <a:lnTo>
                    <a:pt x="465" y="173"/>
                  </a:lnTo>
                  <a:lnTo>
                    <a:pt x="465" y="171"/>
                  </a:lnTo>
                  <a:lnTo>
                    <a:pt x="469" y="163"/>
                  </a:lnTo>
                  <a:lnTo>
                    <a:pt x="467" y="163"/>
                  </a:lnTo>
                  <a:lnTo>
                    <a:pt x="463" y="163"/>
                  </a:lnTo>
                  <a:lnTo>
                    <a:pt x="461" y="163"/>
                  </a:lnTo>
                  <a:lnTo>
                    <a:pt x="453" y="163"/>
                  </a:lnTo>
                  <a:lnTo>
                    <a:pt x="444" y="163"/>
                  </a:lnTo>
                  <a:lnTo>
                    <a:pt x="436" y="163"/>
                  </a:lnTo>
                  <a:lnTo>
                    <a:pt x="430" y="163"/>
                  </a:lnTo>
                  <a:lnTo>
                    <a:pt x="426" y="167"/>
                  </a:lnTo>
                  <a:lnTo>
                    <a:pt x="421" y="173"/>
                  </a:lnTo>
                  <a:lnTo>
                    <a:pt x="415" y="175"/>
                  </a:lnTo>
                  <a:lnTo>
                    <a:pt x="407" y="176"/>
                  </a:lnTo>
                  <a:lnTo>
                    <a:pt x="400" y="173"/>
                  </a:lnTo>
                  <a:lnTo>
                    <a:pt x="392" y="175"/>
                  </a:lnTo>
                  <a:lnTo>
                    <a:pt x="388" y="176"/>
                  </a:lnTo>
                  <a:lnTo>
                    <a:pt x="375" y="180"/>
                  </a:lnTo>
                  <a:lnTo>
                    <a:pt x="371" y="184"/>
                  </a:lnTo>
                  <a:lnTo>
                    <a:pt x="367" y="184"/>
                  </a:lnTo>
                  <a:lnTo>
                    <a:pt x="359" y="186"/>
                  </a:lnTo>
                  <a:lnTo>
                    <a:pt x="353" y="188"/>
                  </a:lnTo>
                  <a:lnTo>
                    <a:pt x="352" y="186"/>
                  </a:lnTo>
                  <a:lnTo>
                    <a:pt x="348" y="192"/>
                  </a:lnTo>
                  <a:lnTo>
                    <a:pt x="344" y="192"/>
                  </a:lnTo>
                  <a:lnTo>
                    <a:pt x="338" y="196"/>
                  </a:lnTo>
                  <a:lnTo>
                    <a:pt x="332" y="196"/>
                  </a:lnTo>
                  <a:lnTo>
                    <a:pt x="332" y="198"/>
                  </a:lnTo>
                  <a:lnTo>
                    <a:pt x="329" y="199"/>
                  </a:lnTo>
                  <a:lnTo>
                    <a:pt x="323" y="201"/>
                  </a:lnTo>
                  <a:lnTo>
                    <a:pt x="321" y="201"/>
                  </a:lnTo>
                  <a:lnTo>
                    <a:pt x="315" y="203"/>
                  </a:lnTo>
                  <a:lnTo>
                    <a:pt x="309" y="207"/>
                  </a:lnTo>
                  <a:lnTo>
                    <a:pt x="305" y="201"/>
                  </a:lnTo>
                  <a:lnTo>
                    <a:pt x="300" y="205"/>
                  </a:lnTo>
                  <a:lnTo>
                    <a:pt x="292" y="203"/>
                  </a:lnTo>
                  <a:lnTo>
                    <a:pt x="292" y="201"/>
                  </a:lnTo>
                  <a:lnTo>
                    <a:pt x="288" y="203"/>
                  </a:lnTo>
                  <a:lnTo>
                    <a:pt x="286" y="201"/>
                  </a:lnTo>
                  <a:lnTo>
                    <a:pt x="288" y="199"/>
                  </a:lnTo>
                  <a:lnTo>
                    <a:pt x="286" y="198"/>
                  </a:lnTo>
                  <a:lnTo>
                    <a:pt x="282" y="201"/>
                  </a:lnTo>
                  <a:lnTo>
                    <a:pt x="284" y="203"/>
                  </a:lnTo>
                  <a:lnTo>
                    <a:pt x="284" y="205"/>
                  </a:lnTo>
                  <a:lnTo>
                    <a:pt x="286" y="207"/>
                  </a:lnTo>
                  <a:lnTo>
                    <a:pt x="286" y="211"/>
                  </a:lnTo>
                  <a:lnTo>
                    <a:pt x="284" y="213"/>
                  </a:lnTo>
                  <a:lnTo>
                    <a:pt x="277" y="215"/>
                  </a:lnTo>
                  <a:lnTo>
                    <a:pt x="277" y="217"/>
                  </a:lnTo>
                  <a:lnTo>
                    <a:pt x="269" y="223"/>
                  </a:lnTo>
                  <a:lnTo>
                    <a:pt x="267" y="228"/>
                  </a:lnTo>
                  <a:lnTo>
                    <a:pt x="259" y="232"/>
                  </a:lnTo>
                  <a:lnTo>
                    <a:pt x="256" y="234"/>
                  </a:lnTo>
                  <a:lnTo>
                    <a:pt x="254" y="238"/>
                  </a:lnTo>
                  <a:lnTo>
                    <a:pt x="248" y="242"/>
                  </a:lnTo>
                  <a:lnTo>
                    <a:pt x="244" y="248"/>
                  </a:lnTo>
                  <a:lnTo>
                    <a:pt x="240" y="251"/>
                  </a:lnTo>
                  <a:lnTo>
                    <a:pt x="238" y="255"/>
                  </a:lnTo>
                  <a:lnTo>
                    <a:pt x="240" y="255"/>
                  </a:lnTo>
                  <a:lnTo>
                    <a:pt x="242" y="261"/>
                  </a:lnTo>
                  <a:lnTo>
                    <a:pt x="238" y="261"/>
                  </a:lnTo>
                  <a:lnTo>
                    <a:pt x="236" y="263"/>
                  </a:lnTo>
                  <a:lnTo>
                    <a:pt x="236" y="261"/>
                  </a:lnTo>
                  <a:lnTo>
                    <a:pt x="236" y="263"/>
                  </a:lnTo>
                  <a:lnTo>
                    <a:pt x="234" y="261"/>
                  </a:lnTo>
                  <a:lnTo>
                    <a:pt x="234" y="263"/>
                  </a:lnTo>
                  <a:lnTo>
                    <a:pt x="231" y="265"/>
                  </a:lnTo>
                  <a:lnTo>
                    <a:pt x="225" y="271"/>
                  </a:lnTo>
                  <a:lnTo>
                    <a:pt x="215" y="272"/>
                  </a:lnTo>
                  <a:lnTo>
                    <a:pt x="210" y="272"/>
                  </a:lnTo>
                  <a:lnTo>
                    <a:pt x="206" y="274"/>
                  </a:lnTo>
                  <a:lnTo>
                    <a:pt x="202" y="272"/>
                  </a:lnTo>
                  <a:lnTo>
                    <a:pt x="194" y="272"/>
                  </a:lnTo>
                  <a:lnTo>
                    <a:pt x="190" y="272"/>
                  </a:lnTo>
                  <a:lnTo>
                    <a:pt x="181" y="272"/>
                  </a:lnTo>
                  <a:lnTo>
                    <a:pt x="177" y="272"/>
                  </a:lnTo>
                  <a:lnTo>
                    <a:pt x="173" y="274"/>
                  </a:lnTo>
                  <a:lnTo>
                    <a:pt x="165" y="276"/>
                  </a:lnTo>
                  <a:lnTo>
                    <a:pt x="163" y="276"/>
                  </a:lnTo>
                  <a:lnTo>
                    <a:pt x="156" y="276"/>
                  </a:lnTo>
                  <a:lnTo>
                    <a:pt x="146" y="272"/>
                  </a:lnTo>
                  <a:lnTo>
                    <a:pt x="144" y="271"/>
                  </a:lnTo>
                  <a:lnTo>
                    <a:pt x="144" y="269"/>
                  </a:lnTo>
                  <a:lnTo>
                    <a:pt x="140" y="267"/>
                  </a:lnTo>
                  <a:lnTo>
                    <a:pt x="131" y="265"/>
                  </a:lnTo>
                  <a:lnTo>
                    <a:pt x="123" y="265"/>
                  </a:lnTo>
                  <a:lnTo>
                    <a:pt x="117" y="263"/>
                  </a:lnTo>
                  <a:lnTo>
                    <a:pt x="115" y="265"/>
                  </a:lnTo>
                  <a:lnTo>
                    <a:pt x="115" y="269"/>
                  </a:lnTo>
                  <a:lnTo>
                    <a:pt x="110" y="272"/>
                  </a:lnTo>
                  <a:lnTo>
                    <a:pt x="100" y="271"/>
                  </a:lnTo>
                  <a:lnTo>
                    <a:pt x="96" y="272"/>
                  </a:lnTo>
                  <a:lnTo>
                    <a:pt x="91" y="276"/>
                  </a:lnTo>
                  <a:lnTo>
                    <a:pt x="83" y="274"/>
                  </a:lnTo>
                  <a:lnTo>
                    <a:pt x="79" y="276"/>
                  </a:lnTo>
                  <a:lnTo>
                    <a:pt x="79" y="278"/>
                  </a:lnTo>
                  <a:lnTo>
                    <a:pt x="73" y="276"/>
                  </a:lnTo>
                  <a:lnTo>
                    <a:pt x="67" y="280"/>
                  </a:lnTo>
                  <a:lnTo>
                    <a:pt x="62" y="280"/>
                  </a:lnTo>
                  <a:lnTo>
                    <a:pt x="60" y="278"/>
                  </a:lnTo>
                  <a:lnTo>
                    <a:pt x="60" y="272"/>
                  </a:lnTo>
                  <a:lnTo>
                    <a:pt x="58" y="269"/>
                  </a:lnTo>
                  <a:lnTo>
                    <a:pt x="54" y="265"/>
                  </a:lnTo>
                  <a:lnTo>
                    <a:pt x="56" y="263"/>
                  </a:lnTo>
                  <a:lnTo>
                    <a:pt x="50" y="261"/>
                  </a:lnTo>
                  <a:lnTo>
                    <a:pt x="50" y="255"/>
                  </a:lnTo>
                  <a:lnTo>
                    <a:pt x="50" y="253"/>
                  </a:lnTo>
                  <a:lnTo>
                    <a:pt x="50" y="249"/>
                  </a:lnTo>
                  <a:lnTo>
                    <a:pt x="56" y="244"/>
                  </a:lnTo>
                  <a:lnTo>
                    <a:pt x="54" y="242"/>
                  </a:lnTo>
                  <a:lnTo>
                    <a:pt x="52" y="240"/>
                  </a:lnTo>
                  <a:lnTo>
                    <a:pt x="56" y="238"/>
                  </a:lnTo>
                  <a:lnTo>
                    <a:pt x="60" y="238"/>
                  </a:lnTo>
                  <a:lnTo>
                    <a:pt x="60" y="236"/>
                  </a:lnTo>
                  <a:lnTo>
                    <a:pt x="56" y="234"/>
                  </a:lnTo>
                  <a:lnTo>
                    <a:pt x="52" y="228"/>
                  </a:lnTo>
                  <a:lnTo>
                    <a:pt x="54" y="224"/>
                  </a:lnTo>
                  <a:lnTo>
                    <a:pt x="50" y="219"/>
                  </a:lnTo>
                  <a:lnTo>
                    <a:pt x="50" y="215"/>
                  </a:lnTo>
                  <a:lnTo>
                    <a:pt x="43" y="217"/>
                  </a:lnTo>
                  <a:lnTo>
                    <a:pt x="39" y="217"/>
                  </a:lnTo>
                  <a:lnTo>
                    <a:pt x="35" y="217"/>
                  </a:lnTo>
                  <a:lnTo>
                    <a:pt x="31" y="215"/>
                  </a:lnTo>
                  <a:lnTo>
                    <a:pt x="29" y="217"/>
                  </a:lnTo>
                  <a:lnTo>
                    <a:pt x="23" y="217"/>
                  </a:lnTo>
                  <a:lnTo>
                    <a:pt x="18" y="215"/>
                  </a:lnTo>
                  <a:lnTo>
                    <a:pt x="18" y="213"/>
                  </a:lnTo>
                  <a:lnTo>
                    <a:pt x="16" y="213"/>
                  </a:lnTo>
                  <a:lnTo>
                    <a:pt x="12" y="215"/>
                  </a:lnTo>
                  <a:lnTo>
                    <a:pt x="10" y="213"/>
                  </a:lnTo>
                  <a:lnTo>
                    <a:pt x="8" y="211"/>
                  </a:lnTo>
                  <a:lnTo>
                    <a:pt x="8" y="209"/>
                  </a:lnTo>
                  <a:lnTo>
                    <a:pt x="4" y="209"/>
                  </a:lnTo>
                  <a:lnTo>
                    <a:pt x="2" y="203"/>
                  </a:lnTo>
                  <a:lnTo>
                    <a:pt x="4" y="201"/>
                  </a:lnTo>
                  <a:lnTo>
                    <a:pt x="2" y="198"/>
                  </a:lnTo>
                  <a:lnTo>
                    <a:pt x="10" y="192"/>
                  </a:lnTo>
                  <a:lnTo>
                    <a:pt x="10" y="184"/>
                  </a:lnTo>
                  <a:lnTo>
                    <a:pt x="8" y="178"/>
                  </a:lnTo>
                  <a:lnTo>
                    <a:pt x="2" y="178"/>
                  </a:lnTo>
                  <a:lnTo>
                    <a:pt x="0" y="175"/>
                  </a:lnTo>
                  <a:lnTo>
                    <a:pt x="4" y="175"/>
                  </a:lnTo>
                  <a:lnTo>
                    <a:pt x="4" y="173"/>
                  </a:lnTo>
                  <a:lnTo>
                    <a:pt x="6" y="175"/>
                  </a:lnTo>
                  <a:lnTo>
                    <a:pt x="6" y="173"/>
                  </a:lnTo>
                  <a:lnTo>
                    <a:pt x="14" y="175"/>
                  </a:lnTo>
                  <a:lnTo>
                    <a:pt x="18" y="180"/>
                  </a:lnTo>
                  <a:lnTo>
                    <a:pt x="27" y="180"/>
                  </a:lnTo>
                  <a:lnTo>
                    <a:pt x="35" y="186"/>
                  </a:lnTo>
                  <a:lnTo>
                    <a:pt x="37" y="188"/>
                  </a:lnTo>
                  <a:lnTo>
                    <a:pt x="41" y="188"/>
                  </a:lnTo>
                  <a:lnTo>
                    <a:pt x="50" y="190"/>
                  </a:lnTo>
                  <a:lnTo>
                    <a:pt x="52" y="190"/>
                  </a:lnTo>
                  <a:lnTo>
                    <a:pt x="60" y="184"/>
                  </a:lnTo>
                  <a:lnTo>
                    <a:pt x="64" y="180"/>
                  </a:lnTo>
                  <a:lnTo>
                    <a:pt x="69" y="178"/>
                  </a:lnTo>
                  <a:lnTo>
                    <a:pt x="75" y="176"/>
                  </a:lnTo>
                  <a:lnTo>
                    <a:pt x="75" y="173"/>
                  </a:lnTo>
                  <a:lnTo>
                    <a:pt x="77" y="173"/>
                  </a:lnTo>
                  <a:lnTo>
                    <a:pt x="81" y="182"/>
                  </a:lnTo>
                  <a:lnTo>
                    <a:pt x="85" y="180"/>
                  </a:lnTo>
                  <a:lnTo>
                    <a:pt x="87" y="175"/>
                  </a:lnTo>
                  <a:lnTo>
                    <a:pt x="91" y="180"/>
                  </a:lnTo>
                  <a:lnTo>
                    <a:pt x="92" y="175"/>
                  </a:lnTo>
                  <a:lnTo>
                    <a:pt x="98" y="178"/>
                  </a:lnTo>
                  <a:lnTo>
                    <a:pt x="102" y="175"/>
                  </a:lnTo>
                  <a:lnTo>
                    <a:pt x="106" y="175"/>
                  </a:lnTo>
                  <a:lnTo>
                    <a:pt x="112" y="169"/>
                  </a:lnTo>
                  <a:lnTo>
                    <a:pt x="117" y="167"/>
                  </a:lnTo>
                  <a:lnTo>
                    <a:pt x="125" y="163"/>
                  </a:lnTo>
                  <a:lnTo>
                    <a:pt x="125" y="155"/>
                  </a:lnTo>
                  <a:lnTo>
                    <a:pt x="119" y="151"/>
                  </a:lnTo>
                  <a:lnTo>
                    <a:pt x="121" y="142"/>
                  </a:lnTo>
                  <a:lnTo>
                    <a:pt x="125" y="142"/>
                  </a:lnTo>
                  <a:lnTo>
                    <a:pt x="127" y="142"/>
                  </a:lnTo>
                  <a:lnTo>
                    <a:pt x="129" y="142"/>
                  </a:lnTo>
                  <a:lnTo>
                    <a:pt x="133" y="138"/>
                  </a:lnTo>
                  <a:lnTo>
                    <a:pt x="137" y="140"/>
                  </a:lnTo>
                  <a:lnTo>
                    <a:pt x="142" y="138"/>
                  </a:lnTo>
                  <a:lnTo>
                    <a:pt x="146" y="138"/>
                  </a:lnTo>
                  <a:lnTo>
                    <a:pt x="148" y="136"/>
                  </a:lnTo>
                  <a:lnTo>
                    <a:pt x="148" y="130"/>
                  </a:lnTo>
                  <a:lnTo>
                    <a:pt x="154" y="130"/>
                  </a:lnTo>
                  <a:lnTo>
                    <a:pt x="156" y="127"/>
                  </a:lnTo>
                  <a:lnTo>
                    <a:pt x="162" y="127"/>
                  </a:lnTo>
                  <a:lnTo>
                    <a:pt x="169" y="119"/>
                  </a:lnTo>
                  <a:lnTo>
                    <a:pt x="173" y="123"/>
                  </a:lnTo>
                  <a:lnTo>
                    <a:pt x="179" y="121"/>
                  </a:lnTo>
                  <a:lnTo>
                    <a:pt x="179" y="119"/>
                  </a:lnTo>
                  <a:lnTo>
                    <a:pt x="181" y="111"/>
                  </a:lnTo>
                  <a:lnTo>
                    <a:pt x="179" y="103"/>
                  </a:lnTo>
                  <a:lnTo>
                    <a:pt x="179" y="100"/>
                  </a:lnTo>
                  <a:lnTo>
                    <a:pt x="181" y="96"/>
                  </a:lnTo>
                  <a:lnTo>
                    <a:pt x="183" y="94"/>
                  </a:lnTo>
                  <a:lnTo>
                    <a:pt x="188" y="88"/>
                  </a:lnTo>
                  <a:lnTo>
                    <a:pt x="192" y="86"/>
                  </a:lnTo>
                  <a:lnTo>
                    <a:pt x="196" y="88"/>
                  </a:lnTo>
                  <a:lnTo>
                    <a:pt x="200" y="86"/>
                  </a:lnTo>
                  <a:lnTo>
                    <a:pt x="210" y="86"/>
                  </a:lnTo>
                  <a:lnTo>
                    <a:pt x="219" y="84"/>
                  </a:lnTo>
                  <a:lnTo>
                    <a:pt x="221" y="84"/>
                  </a:lnTo>
                  <a:lnTo>
                    <a:pt x="223" y="88"/>
                  </a:lnTo>
                  <a:lnTo>
                    <a:pt x="225" y="86"/>
                  </a:lnTo>
                  <a:lnTo>
                    <a:pt x="231" y="86"/>
                  </a:lnTo>
                  <a:lnTo>
                    <a:pt x="238" y="80"/>
                  </a:lnTo>
                  <a:lnTo>
                    <a:pt x="238" y="78"/>
                  </a:lnTo>
                  <a:lnTo>
                    <a:pt x="244" y="78"/>
                  </a:lnTo>
                  <a:lnTo>
                    <a:pt x="250" y="77"/>
                  </a:lnTo>
                  <a:lnTo>
                    <a:pt x="252" y="78"/>
                  </a:lnTo>
                  <a:lnTo>
                    <a:pt x="252" y="75"/>
                  </a:lnTo>
                  <a:lnTo>
                    <a:pt x="259" y="71"/>
                  </a:lnTo>
                  <a:lnTo>
                    <a:pt x="261" y="73"/>
                  </a:lnTo>
                  <a:lnTo>
                    <a:pt x="263" y="73"/>
                  </a:lnTo>
                  <a:lnTo>
                    <a:pt x="263" y="67"/>
                  </a:lnTo>
                  <a:lnTo>
                    <a:pt x="267" y="63"/>
                  </a:lnTo>
                  <a:lnTo>
                    <a:pt x="277" y="61"/>
                  </a:lnTo>
                  <a:lnTo>
                    <a:pt x="281" y="59"/>
                  </a:lnTo>
                  <a:lnTo>
                    <a:pt x="281" y="57"/>
                  </a:lnTo>
                  <a:lnTo>
                    <a:pt x="288" y="57"/>
                  </a:lnTo>
                  <a:lnTo>
                    <a:pt x="294" y="52"/>
                  </a:lnTo>
                  <a:lnTo>
                    <a:pt x="300" y="48"/>
                  </a:lnTo>
                  <a:lnTo>
                    <a:pt x="296" y="46"/>
                  </a:lnTo>
                  <a:lnTo>
                    <a:pt x="296" y="42"/>
                  </a:lnTo>
                  <a:lnTo>
                    <a:pt x="290" y="40"/>
                  </a:lnTo>
                  <a:lnTo>
                    <a:pt x="292" y="34"/>
                  </a:lnTo>
                  <a:lnTo>
                    <a:pt x="302" y="34"/>
                  </a:lnTo>
                  <a:lnTo>
                    <a:pt x="304" y="30"/>
                  </a:lnTo>
                  <a:lnTo>
                    <a:pt x="309" y="30"/>
                  </a:lnTo>
                  <a:lnTo>
                    <a:pt x="309" y="29"/>
                  </a:lnTo>
                  <a:lnTo>
                    <a:pt x="313" y="29"/>
                  </a:lnTo>
                  <a:lnTo>
                    <a:pt x="315" y="25"/>
                  </a:lnTo>
                  <a:lnTo>
                    <a:pt x="319" y="27"/>
                  </a:lnTo>
                  <a:lnTo>
                    <a:pt x="325" y="21"/>
                  </a:lnTo>
                  <a:lnTo>
                    <a:pt x="329" y="19"/>
                  </a:lnTo>
                  <a:lnTo>
                    <a:pt x="336" y="15"/>
                  </a:lnTo>
                  <a:lnTo>
                    <a:pt x="340" y="19"/>
                  </a:lnTo>
                  <a:lnTo>
                    <a:pt x="342" y="25"/>
                  </a:lnTo>
                  <a:lnTo>
                    <a:pt x="346" y="29"/>
                  </a:lnTo>
                  <a:lnTo>
                    <a:pt x="346" y="32"/>
                  </a:lnTo>
                  <a:lnTo>
                    <a:pt x="355" y="30"/>
                  </a:lnTo>
                  <a:lnTo>
                    <a:pt x="357" y="32"/>
                  </a:lnTo>
                  <a:lnTo>
                    <a:pt x="363" y="32"/>
                  </a:lnTo>
                  <a:lnTo>
                    <a:pt x="367" y="36"/>
                  </a:lnTo>
                  <a:lnTo>
                    <a:pt x="369" y="38"/>
                  </a:lnTo>
                  <a:lnTo>
                    <a:pt x="369" y="34"/>
                  </a:lnTo>
                  <a:lnTo>
                    <a:pt x="367" y="32"/>
                  </a:lnTo>
                  <a:lnTo>
                    <a:pt x="367" y="30"/>
                  </a:lnTo>
                  <a:lnTo>
                    <a:pt x="371" y="34"/>
                  </a:lnTo>
                  <a:lnTo>
                    <a:pt x="378" y="34"/>
                  </a:lnTo>
                  <a:lnTo>
                    <a:pt x="380" y="40"/>
                  </a:lnTo>
                  <a:lnTo>
                    <a:pt x="390" y="38"/>
                  </a:lnTo>
                  <a:lnTo>
                    <a:pt x="396" y="42"/>
                  </a:lnTo>
                  <a:lnTo>
                    <a:pt x="396" y="38"/>
                  </a:lnTo>
                  <a:lnTo>
                    <a:pt x="400" y="36"/>
                  </a:lnTo>
                  <a:lnTo>
                    <a:pt x="407" y="36"/>
                  </a:lnTo>
                  <a:lnTo>
                    <a:pt x="411" y="36"/>
                  </a:lnTo>
                  <a:lnTo>
                    <a:pt x="411" y="30"/>
                  </a:lnTo>
                  <a:lnTo>
                    <a:pt x="413" y="30"/>
                  </a:lnTo>
                  <a:lnTo>
                    <a:pt x="417" y="30"/>
                  </a:lnTo>
                  <a:lnTo>
                    <a:pt x="415" y="34"/>
                  </a:lnTo>
                  <a:lnTo>
                    <a:pt x="421" y="36"/>
                  </a:lnTo>
                  <a:lnTo>
                    <a:pt x="423" y="34"/>
                  </a:lnTo>
                  <a:lnTo>
                    <a:pt x="421" y="30"/>
                  </a:lnTo>
                  <a:lnTo>
                    <a:pt x="428" y="30"/>
                  </a:lnTo>
                  <a:lnTo>
                    <a:pt x="430" y="30"/>
                  </a:lnTo>
                  <a:lnTo>
                    <a:pt x="432" y="25"/>
                  </a:lnTo>
                  <a:lnTo>
                    <a:pt x="436" y="27"/>
                  </a:lnTo>
                  <a:lnTo>
                    <a:pt x="440" y="27"/>
                  </a:lnTo>
                  <a:lnTo>
                    <a:pt x="442" y="29"/>
                  </a:lnTo>
                  <a:lnTo>
                    <a:pt x="446" y="27"/>
                  </a:lnTo>
                  <a:lnTo>
                    <a:pt x="446" y="17"/>
                  </a:lnTo>
                  <a:lnTo>
                    <a:pt x="448" y="15"/>
                  </a:lnTo>
                  <a:lnTo>
                    <a:pt x="455" y="11"/>
                  </a:lnTo>
                  <a:lnTo>
                    <a:pt x="457" y="15"/>
                  </a:lnTo>
                  <a:lnTo>
                    <a:pt x="459" y="15"/>
                  </a:lnTo>
                  <a:lnTo>
                    <a:pt x="463" y="15"/>
                  </a:lnTo>
                  <a:lnTo>
                    <a:pt x="469" y="11"/>
                  </a:lnTo>
                  <a:lnTo>
                    <a:pt x="472" y="9"/>
                  </a:lnTo>
                  <a:lnTo>
                    <a:pt x="476" y="5"/>
                  </a:lnTo>
                  <a:lnTo>
                    <a:pt x="476" y="0"/>
                  </a:lnTo>
                  <a:lnTo>
                    <a:pt x="480" y="0"/>
                  </a:lnTo>
                  <a:lnTo>
                    <a:pt x="484" y="2"/>
                  </a:lnTo>
                  <a:lnTo>
                    <a:pt x="486" y="5"/>
                  </a:lnTo>
                  <a:lnTo>
                    <a:pt x="492" y="11"/>
                  </a:lnTo>
                  <a:lnTo>
                    <a:pt x="494" y="17"/>
                  </a:lnTo>
                  <a:lnTo>
                    <a:pt x="499" y="25"/>
                  </a:lnTo>
                  <a:lnTo>
                    <a:pt x="503" y="25"/>
                  </a:lnTo>
                  <a:lnTo>
                    <a:pt x="511" y="19"/>
                  </a:lnTo>
                  <a:lnTo>
                    <a:pt x="515" y="23"/>
                  </a:lnTo>
                  <a:lnTo>
                    <a:pt x="511" y="30"/>
                  </a:lnTo>
                  <a:lnTo>
                    <a:pt x="499" y="32"/>
                  </a:lnTo>
                  <a:lnTo>
                    <a:pt x="495" y="34"/>
                  </a:lnTo>
                  <a:lnTo>
                    <a:pt x="494" y="40"/>
                  </a:lnTo>
                  <a:lnTo>
                    <a:pt x="486" y="42"/>
                  </a:lnTo>
                  <a:lnTo>
                    <a:pt x="490" y="44"/>
                  </a:lnTo>
                  <a:lnTo>
                    <a:pt x="490" y="50"/>
                  </a:lnTo>
                  <a:lnTo>
                    <a:pt x="494" y="54"/>
                  </a:lnTo>
                  <a:lnTo>
                    <a:pt x="494" y="55"/>
                  </a:lnTo>
                  <a:lnTo>
                    <a:pt x="490" y="55"/>
                  </a:lnTo>
                  <a:lnTo>
                    <a:pt x="490" y="59"/>
                  </a:lnTo>
                  <a:lnTo>
                    <a:pt x="492" y="61"/>
                  </a:lnTo>
                  <a:lnTo>
                    <a:pt x="497" y="59"/>
                  </a:lnTo>
                  <a:lnTo>
                    <a:pt x="499" y="55"/>
                  </a:lnTo>
                  <a:lnTo>
                    <a:pt x="501" y="55"/>
                  </a:lnTo>
                  <a:lnTo>
                    <a:pt x="503" y="52"/>
                  </a:lnTo>
                  <a:lnTo>
                    <a:pt x="507" y="50"/>
                  </a:lnTo>
                  <a:lnTo>
                    <a:pt x="511" y="46"/>
                  </a:lnTo>
                  <a:lnTo>
                    <a:pt x="520" y="46"/>
                  </a:lnTo>
                  <a:lnTo>
                    <a:pt x="526" y="42"/>
                  </a:lnTo>
                  <a:lnTo>
                    <a:pt x="528" y="44"/>
                  </a:lnTo>
                  <a:lnTo>
                    <a:pt x="524" y="50"/>
                  </a:lnTo>
                  <a:lnTo>
                    <a:pt x="522" y="54"/>
                  </a:lnTo>
                  <a:lnTo>
                    <a:pt x="528" y="55"/>
                  </a:lnTo>
                  <a:lnTo>
                    <a:pt x="528" y="63"/>
                  </a:lnTo>
                  <a:lnTo>
                    <a:pt x="532" y="67"/>
                  </a:lnTo>
                  <a:lnTo>
                    <a:pt x="538" y="75"/>
                  </a:lnTo>
                  <a:lnTo>
                    <a:pt x="536" y="80"/>
                  </a:lnTo>
                  <a:lnTo>
                    <a:pt x="530" y="80"/>
                  </a:lnTo>
                  <a:lnTo>
                    <a:pt x="528" y="84"/>
                  </a:lnTo>
                  <a:lnTo>
                    <a:pt x="524" y="84"/>
                  </a:lnTo>
                  <a:lnTo>
                    <a:pt x="522" y="84"/>
                  </a:lnTo>
                  <a:lnTo>
                    <a:pt x="524" y="90"/>
                  </a:lnTo>
                  <a:lnTo>
                    <a:pt x="517" y="90"/>
                  </a:lnTo>
                  <a:lnTo>
                    <a:pt x="517" y="96"/>
                  </a:lnTo>
                  <a:lnTo>
                    <a:pt x="517" y="98"/>
                  </a:lnTo>
                  <a:lnTo>
                    <a:pt x="509" y="100"/>
                  </a:lnTo>
                  <a:lnTo>
                    <a:pt x="505" y="103"/>
                  </a:lnTo>
                  <a:lnTo>
                    <a:pt x="509" y="107"/>
                  </a:lnTo>
                  <a:lnTo>
                    <a:pt x="509" y="109"/>
                  </a:lnTo>
                  <a:lnTo>
                    <a:pt x="501" y="115"/>
                  </a:lnTo>
                  <a:lnTo>
                    <a:pt x="507" y="117"/>
                  </a:lnTo>
                  <a:lnTo>
                    <a:pt x="513" y="117"/>
                  </a:lnTo>
                  <a:lnTo>
                    <a:pt x="515" y="123"/>
                  </a:lnTo>
                  <a:lnTo>
                    <a:pt x="517" y="123"/>
                  </a:lnTo>
                  <a:lnTo>
                    <a:pt x="519" y="119"/>
                  </a:lnTo>
                  <a:lnTo>
                    <a:pt x="522" y="115"/>
                  </a:lnTo>
                  <a:lnTo>
                    <a:pt x="526" y="115"/>
                  </a:lnTo>
                  <a:lnTo>
                    <a:pt x="534" y="109"/>
                  </a:lnTo>
                  <a:lnTo>
                    <a:pt x="542" y="109"/>
                  </a:lnTo>
                  <a:lnTo>
                    <a:pt x="545" y="111"/>
                  </a:lnTo>
                  <a:lnTo>
                    <a:pt x="551" y="115"/>
                  </a:lnTo>
                  <a:lnTo>
                    <a:pt x="553" y="119"/>
                  </a:lnTo>
                  <a:lnTo>
                    <a:pt x="561" y="121"/>
                  </a:lnTo>
                  <a:lnTo>
                    <a:pt x="565" y="117"/>
                  </a:lnTo>
                  <a:lnTo>
                    <a:pt x="568" y="123"/>
                  </a:lnTo>
                  <a:lnTo>
                    <a:pt x="576" y="127"/>
                  </a:lnTo>
                  <a:lnTo>
                    <a:pt x="584" y="123"/>
                  </a:lnTo>
                  <a:lnTo>
                    <a:pt x="588" y="121"/>
                  </a:lnTo>
                  <a:lnTo>
                    <a:pt x="590" y="125"/>
                  </a:lnTo>
                  <a:lnTo>
                    <a:pt x="597" y="128"/>
                  </a:lnTo>
                  <a:lnTo>
                    <a:pt x="599" y="128"/>
                  </a:lnTo>
                  <a:lnTo>
                    <a:pt x="603" y="130"/>
                  </a:lnTo>
                  <a:lnTo>
                    <a:pt x="607" y="130"/>
                  </a:lnTo>
                  <a:lnTo>
                    <a:pt x="609" y="132"/>
                  </a:lnTo>
                  <a:lnTo>
                    <a:pt x="616" y="136"/>
                  </a:lnTo>
                  <a:lnTo>
                    <a:pt x="616" y="142"/>
                  </a:lnTo>
                  <a:lnTo>
                    <a:pt x="613" y="144"/>
                  </a:lnTo>
                  <a:lnTo>
                    <a:pt x="614" y="146"/>
                  </a:lnTo>
                  <a:lnTo>
                    <a:pt x="609" y="151"/>
                  </a:lnTo>
                  <a:lnTo>
                    <a:pt x="611" y="153"/>
                  </a:lnTo>
                  <a:lnTo>
                    <a:pt x="618" y="151"/>
                  </a:lnTo>
                  <a:lnTo>
                    <a:pt x="616" y="153"/>
                  </a:lnTo>
                  <a:lnTo>
                    <a:pt x="618" y="157"/>
                  </a:lnTo>
                  <a:lnTo>
                    <a:pt x="620" y="157"/>
                  </a:lnTo>
                  <a:lnTo>
                    <a:pt x="616" y="165"/>
                  </a:lnTo>
                  <a:lnTo>
                    <a:pt x="618" y="171"/>
                  </a:lnTo>
                  <a:lnTo>
                    <a:pt x="614" y="173"/>
                  </a:lnTo>
                  <a:lnTo>
                    <a:pt x="609" y="169"/>
                  </a:lnTo>
                  <a:lnTo>
                    <a:pt x="603" y="171"/>
                  </a:lnTo>
                  <a:lnTo>
                    <a:pt x="597" y="176"/>
                  </a:lnTo>
                  <a:lnTo>
                    <a:pt x="595" y="178"/>
                  </a:lnTo>
                  <a:lnTo>
                    <a:pt x="588" y="184"/>
                  </a:lnTo>
                  <a:lnTo>
                    <a:pt x="588" y="188"/>
                  </a:lnTo>
                  <a:lnTo>
                    <a:pt x="584" y="186"/>
                  </a:lnTo>
                  <a:lnTo>
                    <a:pt x="580" y="186"/>
                  </a:lnTo>
                  <a:lnTo>
                    <a:pt x="576" y="194"/>
                  </a:lnTo>
                  <a:lnTo>
                    <a:pt x="570" y="196"/>
                  </a:lnTo>
                  <a:lnTo>
                    <a:pt x="570" y="199"/>
                  </a:lnTo>
                  <a:lnTo>
                    <a:pt x="566" y="201"/>
                  </a:lnTo>
                  <a:lnTo>
                    <a:pt x="566" y="205"/>
                  </a:lnTo>
                  <a:lnTo>
                    <a:pt x="570" y="211"/>
                  </a:lnTo>
                  <a:lnTo>
                    <a:pt x="566" y="219"/>
                  </a:lnTo>
                  <a:lnTo>
                    <a:pt x="572" y="223"/>
                  </a:lnTo>
                  <a:lnTo>
                    <a:pt x="572" y="226"/>
                  </a:lnTo>
                  <a:lnTo>
                    <a:pt x="578" y="234"/>
                  </a:lnTo>
                  <a:lnTo>
                    <a:pt x="580" y="234"/>
                  </a:lnTo>
                  <a:lnTo>
                    <a:pt x="584" y="240"/>
                  </a:lnTo>
                  <a:lnTo>
                    <a:pt x="588" y="242"/>
                  </a:lnTo>
                  <a:lnTo>
                    <a:pt x="588" y="244"/>
                  </a:lnTo>
                  <a:lnTo>
                    <a:pt x="593" y="251"/>
                  </a:lnTo>
                  <a:lnTo>
                    <a:pt x="595" y="255"/>
                  </a:lnTo>
                  <a:lnTo>
                    <a:pt x="591" y="257"/>
                  </a:lnTo>
                  <a:lnTo>
                    <a:pt x="588" y="257"/>
                  </a:lnTo>
                  <a:lnTo>
                    <a:pt x="586" y="257"/>
                  </a:lnTo>
                  <a:lnTo>
                    <a:pt x="582" y="255"/>
                  </a:lnTo>
                  <a:lnTo>
                    <a:pt x="576" y="251"/>
                  </a:lnTo>
                  <a:lnTo>
                    <a:pt x="566" y="249"/>
                  </a:lnTo>
                  <a:lnTo>
                    <a:pt x="563" y="248"/>
                  </a:lnTo>
                  <a:lnTo>
                    <a:pt x="565" y="240"/>
                  </a:lnTo>
                  <a:lnTo>
                    <a:pt x="561" y="238"/>
                  </a:lnTo>
                  <a:lnTo>
                    <a:pt x="561" y="236"/>
                  </a:lnTo>
                  <a:lnTo>
                    <a:pt x="555" y="230"/>
                  </a:lnTo>
                  <a:lnTo>
                    <a:pt x="547" y="228"/>
                  </a:lnTo>
                  <a:lnTo>
                    <a:pt x="542" y="230"/>
                  </a:lnTo>
                  <a:lnTo>
                    <a:pt x="536" y="228"/>
                  </a:lnTo>
                  <a:lnTo>
                    <a:pt x="534" y="234"/>
                  </a:lnTo>
                  <a:lnTo>
                    <a:pt x="526" y="236"/>
                  </a:lnTo>
                  <a:lnTo>
                    <a:pt x="517" y="234"/>
                  </a:lnTo>
                  <a:lnTo>
                    <a:pt x="515" y="236"/>
                  </a:lnTo>
                  <a:lnTo>
                    <a:pt x="509" y="236"/>
                  </a:lnTo>
                  <a:lnTo>
                    <a:pt x="503" y="238"/>
                  </a:lnTo>
                  <a:lnTo>
                    <a:pt x="497" y="238"/>
                  </a:lnTo>
                  <a:lnTo>
                    <a:pt x="490" y="240"/>
                  </a:lnTo>
                  <a:lnTo>
                    <a:pt x="480" y="244"/>
                  </a:lnTo>
                  <a:lnTo>
                    <a:pt x="474" y="248"/>
                  </a:lnTo>
                  <a:lnTo>
                    <a:pt x="472" y="251"/>
                  </a:lnTo>
                  <a:lnTo>
                    <a:pt x="471" y="253"/>
                  </a:lnTo>
                  <a:lnTo>
                    <a:pt x="467" y="259"/>
                  </a:lnTo>
                  <a:lnTo>
                    <a:pt x="465" y="263"/>
                  </a:lnTo>
                  <a:lnTo>
                    <a:pt x="457" y="267"/>
                  </a:lnTo>
                  <a:lnTo>
                    <a:pt x="451" y="265"/>
                  </a:lnTo>
                  <a:lnTo>
                    <a:pt x="448" y="269"/>
                  </a:lnTo>
                  <a:lnTo>
                    <a:pt x="446" y="272"/>
                  </a:lnTo>
                  <a:lnTo>
                    <a:pt x="444" y="278"/>
                  </a:lnTo>
                  <a:lnTo>
                    <a:pt x="442" y="280"/>
                  </a:lnTo>
                  <a:lnTo>
                    <a:pt x="436" y="278"/>
                  </a:lnTo>
                  <a:lnTo>
                    <a:pt x="432" y="282"/>
                  </a:lnTo>
                  <a:lnTo>
                    <a:pt x="428" y="288"/>
                  </a:lnTo>
                  <a:lnTo>
                    <a:pt x="423" y="286"/>
                  </a:lnTo>
                  <a:lnTo>
                    <a:pt x="419" y="288"/>
                  </a:lnTo>
                  <a:lnTo>
                    <a:pt x="417" y="294"/>
                  </a:lnTo>
                  <a:lnTo>
                    <a:pt x="411" y="299"/>
                  </a:lnTo>
                  <a:lnTo>
                    <a:pt x="403" y="303"/>
                  </a:lnTo>
                  <a:lnTo>
                    <a:pt x="401" y="301"/>
                  </a:lnTo>
                  <a:lnTo>
                    <a:pt x="396" y="305"/>
                  </a:lnTo>
                  <a:lnTo>
                    <a:pt x="392" y="303"/>
                  </a:lnTo>
                  <a:lnTo>
                    <a:pt x="392" y="301"/>
                  </a:lnTo>
                  <a:lnTo>
                    <a:pt x="390" y="30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59" name="Freeform 40">
              <a:extLst>
                <a:ext uri="{FF2B5EF4-FFF2-40B4-BE49-F238E27FC236}">
                  <a16:creationId xmlns:a16="http://schemas.microsoft.com/office/drawing/2014/main" id="{EDE8ED6B-3D0B-4F7D-B178-FAB4CC16ED55}"/>
                </a:ext>
              </a:extLst>
            </p:cNvPr>
            <p:cNvSpPr>
              <a:spLocks/>
            </p:cNvSpPr>
            <p:nvPr/>
          </p:nvSpPr>
          <p:spPr bwMode="gray">
            <a:xfrm>
              <a:off x="7145339" y="3092451"/>
              <a:ext cx="506414" cy="192088"/>
            </a:xfrm>
            <a:custGeom>
              <a:avLst/>
              <a:gdLst>
                <a:gd name="T0" fmla="*/ 267 w 319"/>
                <a:gd name="T1" fmla="*/ 117 h 121"/>
                <a:gd name="T2" fmla="*/ 254 w 319"/>
                <a:gd name="T3" fmla="*/ 109 h 121"/>
                <a:gd name="T4" fmla="*/ 246 w 319"/>
                <a:gd name="T5" fmla="*/ 107 h 121"/>
                <a:gd name="T6" fmla="*/ 231 w 319"/>
                <a:gd name="T7" fmla="*/ 103 h 121"/>
                <a:gd name="T8" fmla="*/ 206 w 319"/>
                <a:gd name="T9" fmla="*/ 103 h 121"/>
                <a:gd name="T10" fmla="*/ 192 w 319"/>
                <a:gd name="T11" fmla="*/ 109 h 121"/>
                <a:gd name="T12" fmla="*/ 186 w 319"/>
                <a:gd name="T13" fmla="*/ 103 h 121"/>
                <a:gd name="T14" fmla="*/ 173 w 319"/>
                <a:gd name="T15" fmla="*/ 107 h 121"/>
                <a:gd name="T16" fmla="*/ 154 w 319"/>
                <a:gd name="T17" fmla="*/ 100 h 121"/>
                <a:gd name="T18" fmla="*/ 135 w 319"/>
                <a:gd name="T19" fmla="*/ 100 h 121"/>
                <a:gd name="T20" fmla="*/ 102 w 319"/>
                <a:gd name="T21" fmla="*/ 103 h 121"/>
                <a:gd name="T22" fmla="*/ 87 w 319"/>
                <a:gd name="T23" fmla="*/ 103 h 121"/>
                <a:gd name="T24" fmla="*/ 60 w 319"/>
                <a:gd name="T25" fmla="*/ 103 h 121"/>
                <a:gd name="T26" fmla="*/ 37 w 319"/>
                <a:gd name="T27" fmla="*/ 98 h 121"/>
                <a:gd name="T28" fmla="*/ 16 w 319"/>
                <a:gd name="T29" fmla="*/ 90 h 121"/>
                <a:gd name="T30" fmla="*/ 0 w 319"/>
                <a:gd name="T31" fmla="*/ 82 h 121"/>
                <a:gd name="T32" fmla="*/ 10 w 319"/>
                <a:gd name="T33" fmla="*/ 67 h 121"/>
                <a:gd name="T34" fmla="*/ 23 w 319"/>
                <a:gd name="T35" fmla="*/ 57 h 121"/>
                <a:gd name="T36" fmla="*/ 14 w 319"/>
                <a:gd name="T37" fmla="*/ 48 h 121"/>
                <a:gd name="T38" fmla="*/ 17 w 319"/>
                <a:gd name="T39" fmla="*/ 36 h 121"/>
                <a:gd name="T40" fmla="*/ 21 w 319"/>
                <a:gd name="T41" fmla="*/ 27 h 121"/>
                <a:gd name="T42" fmla="*/ 39 w 319"/>
                <a:gd name="T43" fmla="*/ 19 h 121"/>
                <a:gd name="T44" fmla="*/ 64 w 319"/>
                <a:gd name="T45" fmla="*/ 11 h 121"/>
                <a:gd name="T46" fmla="*/ 79 w 319"/>
                <a:gd name="T47" fmla="*/ 19 h 121"/>
                <a:gd name="T48" fmla="*/ 87 w 319"/>
                <a:gd name="T49" fmla="*/ 23 h 121"/>
                <a:gd name="T50" fmla="*/ 108 w 319"/>
                <a:gd name="T51" fmla="*/ 21 h 121"/>
                <a:gd name="T52" fmla="*/ 125 w 319"/>
                <a:gd name="T53" fmla="*/ 25 h 121"/>
                <a:gd name="T54" fmla="*/ 135 w 319"/>
                <a:gd name="T55" fmla="*/ 30 h 121"/>
                <a:gd name="T56" fmla="*/ 142 w 319"/>
                <a:gd name="T57" fmla="*/ 29 h 121"/>
                <a:gd name="T58" fmla="*/ 150 w 319"/>
                <a:gd name="T59" fmla="*/ 44 h 121"/>
                <a:gd name="T60" fmla="*/ 163 w 319"/>
                <a:gd name="T61" fmla="*/ 30 h 121"/>
                <a:gd name="T62" fmla="*/ 183 w 319"/>
                <a:gd name="T63" fmla="*/ 29 h 121"/>
                <a:gd name="T64" fmla="*/ 177 w 319"/>
                <a:gd name="T65" fmla="*/ 25 h 121"/>
                <a:gd name="T66" fmla="*/ 183 w 319"/>
                <a:gd name="T67" fmla="*/ 17 h 121"/>
                <a:gd name="T68" fmla="*/ 194 w 319"/>
                <a:gd name="T69" fmla="*/ 17 h 121"/>
                <a:gd name="T70" fmla="*/ 204 w 319"/>
                <a:gd name="T71" fmla="*/ 19 h 121"/>
                <a:gd name="T72" fmla="*/ 207 w 319"/>
                <a:gd name="T73" fmla="*/ 6 h 121"/>
                <a:gd name="T74" fmla="*/ 227 w 319"/>
                <a:gd name="T75" fmla="*/ 11 h 121"/>
                <a:gd name="T76" fmla="*/ 248 w 319"/>
                <a:gd name="T77" fmla="*/ 7 h 121"/>
                <a:gd name="T78" fmla="*/ 261 w 319"/>
                <a:gd name="T79" fmla="*/ 9 h 121"/>
                <a:gd name="T80" fmla="*/ 257 w 319"/>
                <a:gd name="T81" fmla="*/ 23 h 121"/>
                <a:gd name="T82" fmla="*/ 252 w 319"/>
                <a:gd name="T83" fmla="*/ 42 h 121"/>
                <a:gd name="T84" fmla="*/ 267 w 319"/>
                <a:gd name="T85" fmla="*/ 42 h 121"/>
                <a:gd name="T86" fmla="*/ 279 w 319"/>
                <a:gd name="T87" fmla="*/ 48 h 121"/>
                <a:gd name="T88" fmla="*/ 294 w 319"/>
                <a:gd name="T89" fmla="*/ 61 h 121"/>
                <a:gd name="T90" fmla="*/ 302 w 319"/>
                <a:gd name="T91" fmla="*/ 63 h 121"/>
                <a:gd name="T92" fmla="*/ 298 w 319"/>
                <a:gd name="T93" fmla="*/ 77 h 121"/>
                <a:gd name="T94" fmla="*/ 302 w 319"/>
                <a:gd name="T95" fmla="*/ 75 h 121"/>
                <a:gd name="T96" fmla="*/ 311 w 319"/>
                <a:gd name="T97" fmla="*/ 80 h 121"/>
                <a:gd name="T98" fmla="*/ 315 w 319"/>
                <a:gd name="T99" fmla="*/ 92 h 121"/>
                <a:gd name="T100" fmla="*/ 315 w 319"/>
                <a:gd name="T101" fmla="*/ 100 h 121"/>
                <a:gd name="T102" fmla="*/ 290 w 319"/>
                <a:gd name="T103" fmla="*/ 111 h 121"/>
                <a:gd name="T104" fmla="*/ 280 w 319"/>
                <a:gd name="T105" fmla="*/ 11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9" h="121">
                  <a:moveTo>
                    <a:pt x="277" y="121"/>
                  </a:moveTo>
                  <a:lnTo>
                    <a:pt x="273" y="119"/>
                  </a:lnTo>
                  <a:lnTo>
                    <a:pt x="271" y="117"/>
                  </a:lnTo>
                  <a:lnTo>
                    <a:pt x="267" y="117"/>
                  </a:lnTo>
                  <a:lnTo>
                    <a:pt x="267" y="115"/>
                  </a:lnTo>
                  <a:lnTo>
                    <a:pt x="263" y="115"/>
                  </a:lnTo>
                  <a:lnTo>
                    <a:pt x="255" y="111"/>
                  </a:lnTo>
                  <a:lnTo>
                    <a:pt x="254" y="109"/>
                  </a:lnTo>
                  <a:lnTo>
                    <a:pt x="255" y="109"/>
                  </a:lnTo>
                  <a:lnTo>
                    <a:pt x="254" y="107"/>
                  </a:lnTo>
                  <a:lnTo>
                    <a:pt x="252" y="109"/>
                  </a:lnTo>
                  <a:lnTo>
                    <a:pt x="246" y="107"/>
                  </a:lnTo>
                  <a:lnTo>
                    <a:pt x="246" y="105"/>
                  </a:lnTo>
                  <a:lnTo>
                    <a:pt x="240" y="102"/>
                  </a:lnTo>
                  <a:lnTo>
                    <a:pt x="232" y="102"/>
                  </a:lnTo>
                  <a:lnTo>
                    <a:pt x="231" y="103"/>
                  </a:lnTo>
                  <a:lnTo>
                    <a:pt x="225" y="102"/>
                  </a:lnTo>
                  <a:lnTo>
                    <a:pt x="215" y="103"/>
                  </a:lnTo>
                  <a:lnTo>
                    <a:pt x="211" y="103"/>
                  </a:lnTo>
                  <a:lnTo>
                    <a:pt x="206" y="103"/>
                  </a:lnTo>
                  <a:lnTo>
                    <a:pt x="206" y="107"/>
                  </a:lnTo>
                  <a:lnTo>
                    <a:pt x="200" y="105"/>
                  </a:lnTo>
                  <a:lnTo>
                    <a:pt x="200" y="107"/>
                  </a:lnTo>
                  <a:lnTo>
                    <a:pt x="192" y="109"/>
                  </a:lnTo>
                  <a:lnTo>
                    <a:pt x="192" y="107"/>
                  </a:lnTo>
                  <a:lnTo>
                    <a:pt x="190" y="107"/>
                  </a:lnTo>
                  <a:lnTo>
                    <a:pt x="190" y="103"/>
                  </a:lnTo>
                  <a:lnTo>
                    <a:pt x="186" y="103"/>
                  </a:lnTo>
                  <a:lnTo>
                    <a:pt x="184" y="105"/>
                  </a:lnTo>
                  <a:lnTo>
                    <a:pt x="175" y="107"/>
                  </a:lnTo>
                  <a:lnTo>
                    <a:pt x="175" y="105"/>
                  </a:lnTo>
                  <a:lnTo>
                    <a:pt x="173" y="107"/>
                  </a:lnTo>
                  <a:lnTo>
                    <a:pt x="169" y="103"/>
                  </a:lnTo>
                  <a:lnTo>
                    <a:pt x="163" y="103"/>
                  </a:lnTo>
                  <a:lnTo>
                    <a:pt x="158" y="102"/>
                  </a:lnTo>
                  <a:lnTo>
                    <a:pt x="154" y="100"/>
                  </a:lnTo>
                  <a:lnTo>
                    <a:pt x="150" y="102"/>
                  </a:lnTo>
                  <a:lnTo>
                    <a:pt x="146" y="100"/>
                  </a:lnTo>
                  <a:lnTo>
                    <a:pt x="138" y="102"/>
                  </a:lnTo>
                  <a:lnTo>
                    <a:pt x="135" y="100"/>
                  </a:lnTo>
                  <a:lnTo>
                    <a:pt x="127" y="102"/>
                  </a:lnTo>
                  <a:lnTo>
                    <a:pt x="117" y="103"/>
                  </a:lnTo>
                  <a:lnTo>
                    <a:pt x="110" y="105"/>
                  </a:lnTo>
                  <a:lnTo>
                    <a:pt x="102" y="103"/>
                  </a:lnTo>
                  <a:lnTo>
                    <a:pt x="96" y="105"/>
                  </a:lnTo>
                  <a:lnTo>
                    <a:pt x="90" y="103"/>
                  </a:lnTo>
                  <a:lnTo>
                    <a:pt x="89" y="102"/>
                  </a:lnTo>
                  <a:lnTo>
                    <a:pt x="87" y="103"/>
                  </a:lnTo>
                  <a:lnTo>
                    <a:pt x="81" y="103"/>
                  </a:lnTo>
                  <a:lnTo>
                    <a:pt x="73" y="103"/>
                  </a:lnTo>
                  <a:lnTo>
                    <a:pt x="65" y="105"/>
                  </a:lnTo>
                  <a:lnTo>
                    <a:pt x="60" y="103"/>
                  </a:lnTo>
                  <a:lnTo>
                    <a:pt x="56" y="102"/>
                  </a:lnTo>
                  <a:lnTo>
                    <a:pt x="48" y="102"/>
                  </a:lnTo>
                  <a:lnTo>
                    <a:pt x="46" y="100"/>
                  </a:lnTo>
                  <a:lnTo>
                    <a:pt x="37" y="98"/>
                  </a:lnTo>
                  <a:lnTo>
                    <a:pt x="33" y="98"/>
                  </a:lnTo>
                  <a:lnTo>
                    <a:pt x="25" y="94"/>
                  </a:lnTo>
                  <a:lnTo>
                    <a:pt x="19" y="92"/>
                  </a:lnTo>
                  <a:lnTo>
                    <a:pt x="16" y="90"/>
                  </a:lnTo>
                  <a:lnTo>
                    <a:pt x="12" y="88"/>
                  </a:lnTo>
                  <a:lnTo>
                    <a:pt x="6" y="92"/>
                  </a:lnTo>
                  <a:lnTo>
                    <a:pt x="2" y="90"/>
                  </a:lnTo>
                  <a:lnTo>
                    <a:pt x="0" y="82"/>
                  </a:lnTo>
                  <a:lnTo>
                    <a:pt x="0" y="77"/>
                  </a:lnTo>
                  <a:lnTo>
                    <a:pt x="2" y="73"/>
                  </a:lnTo>
                  <a:lnTo>
                    <a:pt x="8" y="71"/>
                  </a:lnTo>
                  <a:lnTo>
                    <a:pt x="10" y="67"/>
                  </a:lnTo>
                  <a:lnTo>
                    <a:pt x="8" y="63"/>
                  </a:lnTo>
                  <a:lnTo>
                    <a:pt x="10" y="59"/>
                  </a:lnTo>
                  <a:lnTo>
                    <a:pt x="14" y="61"/>
                  </a:lnTo>
                  <a:lnTo>
                    <a:pt x="23" y="57"/>
                  </a:lnTo>
                  <a:lnTo>
                    <a:pt x="21" y="54"/>
                  </a:lnTo>
                  <a:lnTo>
                    <a:pt x="19" y="54"/>
                  </a:lnTo>
                  <a:lnTo>
                    <a:pt x="16" y="50"/>
                  </a:lnTo>
                  <a:lnTo>
                    <a:pt x="14" y="48"/>
                  </a:lnTo>
                  <a:lnTo>
                    <a:pt x="10" y="42"/>
                  </a:lnTo>
                  <a:lnTo>
                    <a:pt x="12" y="42"/>
                  </a:lnTo>
                  <a:lnTo>
                    <a:pt x="16" y="38"/>
                  </a:lnTo>
                  <a:lnTo>
                    <a:pt x="17" y="36"/>
                  </a:lnTo>
                  <a:lnTo>
                    <a:pt x="16" y="32"/>
                  </a:lnTo>
                  <a:lnTo>
                    <a:pt x="21" y="30"/>
                  </a:lnTo>
                  <a:lnTo>
                    <a:pt x="23" y="27"/>
                  </a:lnTo>
                  <a:lnTo>
                    <a:pt x="21" y="27"/>
                  </a:lnTo>
                  <a:lnTo>
                    <a:pt x="23" y="25"/>
                  </a:lnTo>
                  <a:lnTo>
                    <a:pt x="27" y="25"/>
                  </a:lnTo>
                  <a:lnTo>
                    <a:pt x="35" y="17"/>
                  </a:lnTo>
                  <a:lnTo>
                    <a:pt x="39" y="19"/>
                  </a:lnTo>
                  <a:lnTo>
                    <a:pt x="44" y="17"/>
                  </a:lnTo>
                  <a:lnTo>
                    <a:pt x="50" y="17"/>
                  </a:lnTo>
                  <a:lnTo>
                    <a:pt x="58" y="13"/>
                  </a:lnTo>
                  <a:lnTo>
                    <a:pt x="64" y="11"/>
                  </a:lnTo>
                  <a:lnTo>
                    <a:pt x="67" y="13"/>
                  </a:lnTo>
                  <a:lnTo>
                    <a:pt x="67" y="11"/>
                  </a:lnTo>
                  <a:lnTo>
                    <a:pt x="71" y="11"/>
                  </a:lnTo>
                  <a:lnTo>
                    <a:pt x="79" y="19"/>
                  </a:lnTo>
                  <a:lnTo>
                    <a:pt x="77" y="23"/>
                  </a:lnTo>
                  <a:lnTo>
                    <a:pt x="83" y="19"/>
                  </a:lnTo>
                  <a:lnTo>
                    <a:pt x="87" y="19"/>
                  </a:lnTo>
                  <a:lnTo>
                    <a:pt x="87" y="23"/>
                  </a:lnTo>
                  <a:lnTo>
                    <a:pt x="89" y="21"/>
                  </a:lnTo>
                  <a:lnTo>
                    <a:pt x="96" y="19"/>
                  </a:lnTo>
                  <a:lnTo>
                    <a:pt x="102" y="21"/>
                  </a:lnTo>
                  <a:lnTo>
                    <a:pt x="108" y="21"/>
                  </a:lnTo>
                  <a:lnTo>
                    <a:pt x="113" y="21"/>
                  </a:lnTo>
                  <a:lnTo>
                    <a:pt x="121" y="19"/>
                  </a:lnTo>
                  <a:lnTo>
                    <a:pt x="123" y="21"/>
                  </a:lnTo>
                  <a:lnTo>
                    <a:pt x="125" y="25"/>
                  </a:lnTo>
                  <a:lnTo>
                    <a:pt x="129" y="25"/>
                  </a:lnTo>
                  <a:lnTo>
                    <a:pt x="127" y="34"/>
                  </a:lnTo>
                  <a:lnTo>
                    <a:pt x="133" y="30"/>
                  </a:lnTo>
                  <a:lnTo>
                    <a:pt x="135" y="30"/>
                  </a:lnTo>
                  <a:lnTo>
                    <a:pt x="133" y="32"/>
                  </a:lnTo>
                  <a:lnTo>
                    <a:pt x="133" y="34"/>
                  </a:lnTo>
                  <a:lnTo>
                    <a:pt x="138" y="32"/>
                  </a:lnTo>
                  <a:lnTo>
                    <a:pt x="142" y="29"/>
                  </a:lnTo>
                  <a:lnTo>
                    <a:pt x="148" y="29"/>
                  </a:lnTo>
                  <a:lnTo>
                    <a:pt x="146" y="38"/>
                  </a:lnTo>
                  <a:lnTo>
                    <a:pt x="146" y="44"/>
                  </a:lnTo>
                  <a:lnTo>
                    <a:pt x="150" y="44"/>
                  </a:lnTo>
                  <a:lnTo>
                    <a:pt x="156" y="42"/>
                  </a:lnTo>
                  <a:lnTo>
                    <a:pt x="156" y="40"/>
                  </a:lnTo>
                  <a:lnTo>
                    <a:pt x="161" y="32"/>
                  </a:lnTo>
                  <a:lnTo>
                    <a:pt x="163" y="30"/>
                  </a:lnTo>
                  <a:lnTo>
                    <a:pt x="171" y="29"/>
                  </a:lnTo>
                  <a:lnTo>
                    <a:pt x="175" y="30"/>
                  </a:lnTo>
                  <a:lnTo>
                    <a:pt x="177" y="29"/>
                  </a:lnTo>
                  <a:lnTo>
                    <a:pt x="183" y="29"/>
                  </a:lnTo>
                  <a:lnTo>
                    <a:pt x="184" y="25"/>
                  </a:lnTo>
                  <a:lnTo>
                    <a:pt x="181" y="29"/>
                  </a:lnTo>
                  <a:lnTo>
                    <a:pt x="177" y="29"/>
                  </a:lnTo>
                  <a:lnTo>
                    <a:pt x="177" y="25"/>
                  </a:lnTo>
                  <a:lnTo>
                    <a:pt x="181" y="25"/>
                  </a:lnTo>
                  <a:lnTo>
                    <a:pt x="184" y="21"/>
                  </a:lnTo>
                  <a:lnTo>
                    <a:pt x="181" y="23"/>
                  </a:lnTo>
                  <a:lnTo>
                    <a:pt x="183" y="17"/>
                  </a:lnTo>
                  <a:lnTo>
                    <a:pt x="186" y="15"/>
                  </a:lnTo>
                  <a:lnTo>
                    <a:pt x="190" y="9"/>
                  </a:lnTo>
                  <a:lnTo>
                    <a:pt x="194" y="11"/>
                  </a:lnTo>
                  <a:lnTo>
                    <a:pt x="194" y="17"/>
                  </a:lnTo>
                  <a:lnTo>
                    <a:pt x="192" y="21"/>
                  </a:lnTo>
                  <a:lnTo>
                    <a:pt x="196" y="23"/>
                  </a:lnTo>
                  <a:lnTo>
                    <a:pt x="200" y="23"/>
                  </a:lnTo>
                  <a:lnTo>
                    <a:pt x="204" y="19"/>
                  </a:lnTo>
                  <a:lnTo>
                    <a:pt x="206" y="9"/>
                  </a:lnTo>
                  <a:lnTo>
                    <a:pt x="206" y="7"/>
                  </a:lnTo>
                  <a:lnTo>
                    <a:pt x="206" y="6"/>
                  </a:lnTo>
                  <a:lnTo>
                    <a:pt x="207" y="6"/>
                  </a:lnTo>
                  <a:lnTo>
                    <a:pt x="215" y="0"/>
                  </a:lnTo>
                  <a:lnTo>
                    <a:pt x="221" y="4"/>
                  </a:lnTo>
                  <a:lnTo>
                    <a:pt x="221" y="9"/>
                  </a:lnTo>
                  <a:lnTo>
                    <a:pt x="227" y="11"/>
                  </a:lnTo>
                  <a:lnTo>
                    <a:pt x="232" y="9"/>
                  </a:lnTo>
                  <a:lnTo>
                    <a:pt x="240" y="9"/>
                  </a:lnTo>
                  <a:lnTo>
                    <a:pt x="246" y="7"/>
                  </a:lnTo>
                  <a:lnTo>
                    <a:pt x="248" y="7"/>
                  </a:lnTo>
                  <a:lnTo>
                    <a:pt x="254" y="6"/>
                  </a:lnTo>
                  <a:lnTo>
                    <a:pt x="259" y="6"/>
                  </a:lnTo>
                  <a:lnTo>
                    <a:pt x="265" y="6"/>
                  </a:lnTo>
                  <a:lnTo>
                    <a:pt x="261" y="9"/>
                  </a:lnTo>
                  <a:lnTo>
                    <a:pt x="254" y="15"/>
                  </a:lnTo>
                  <a:lnTo>
                    <a:pt x="250" y="19"/>
                  </a:lnTo>
                  <a:lnTo>
                    <a:pt x="250" y="23"/>
                  </a:lnTo>
                  <a:lnTo>
                    <a:pt x="257" y="23"/>
                  </a:lnTo>
                  <a:lnTo>
                    <a:pt x="252" y="27"/>
                  </a:lnTo>
                  <a:lnTo>
                    <a:pt x="250" y="32"/>
                  </a:lnTo>
                  <a:lnTo>
                    <a:pt x="250" y="38"/>
                  </a:lnTo>
                  <a:lnTo>
                    <a:pt x="252" y="42"/>
                  </a:lnTo>
                  <a:lnTo>
                    <a:pt x="252" y="48"/>
                  </a:lnTo>
                  <a:lnTo>
                    <a:pt x="257" y="44"/>
                  </a:lnTo>
                  <a:lnTo>
                    <a:pt x="261" y="44"/>
                  </a:lnTo>
                  <a:lnTo>
                    <a:pt x="267" y="42"/>
                  </a:lnTo>
                  <a:lnTo>
                    <a:pt x="273" y="42"/>
                  </a:lnTo>
                  <a:lnTo>
                    <a:pt x="275" y="40"/>
                  </a:lnTo>
                  <a:lnTo>
                    <a:pt x="280" y="44"/>
                  </a:lnTo>
                  <a:lnTo>
                    <a:pt x="279" y="48"/>
                  </a:lnTo>
                  <a:lnTo>
                    <a:pt x="282" y="48"/>
                  </a:lnTo>
                  <a:lnTo>
                    <a:pt x="286" y="54"/>
                  </a:lnTo>
                  <a:lnTo>
                    <a:pt x="292" y="55"/>
                  </a:lnTo>
                  <a:lnTo>
                    <a:pt x="294" y="61"/>
                  </a:lnTo>
                  <a:lnTo>
                    <a:pt x="298" y="61"/>
                  </a:lnTo>
                  <a:lnTo>
                    <a:pt x="302" y="57"/>
                  </a:lnTo>
                  <a:lnTo>
                    <a:pt x="303" y="59"/>
                  </a:lnTo>
                  <a:lnTo>
                    <a:pt x="302" y="63"/>
                  </a:lnTo>
                  <a:lnTo>
                    <a:pt x="294" y="69"/>
                  </a:lnTo>
                  <a:lnTo>
                    <a:pt x="294" y="71"/>
                  </a:lnTo>
                  <a:lnTo>
                    <a:pt x="296" y="71"/>
                  </a:lnTo>
                  <a:lnTo>
                    <a:pt x="298" y="77"/>
                  </a:lnTo>
                  <a:lnTo>
                    <a:pt x="300" y="77"/>
                  </a:lnTo>
                  <a:lnTo>
                    <a:pt x="300" y="75"/>
                  </a:lnTo>
                  <a:lnTo>
                    <a:pt x="302" y="77"/>
                  </a:lnTo>
                  <a:lnTo>
                    <a:pt x="302" y="75"/>
                  </a:lnTo>
                  <a:lnTo>
                    <a:pt x="303" y="79"/>
                  </a:lnTo>
                  <a:lnTo>
                    <a:pt x="305" y="77"/>
                  </a:lnTo>
                  <a:lnTo>
                    <a:pt x="309" y="80"/>
                  </a:lnTo>
                  <a:lnTo>
                    <a:pt x="311" y="80"/>
                  </a:lnTo>
                  <a:lnTo>
                    <a:pt x="313" y="84"/>
                  </a:lnTo>
                  <a:lnTo>
                    <a:pt x="315" y="86"/>
                  </a:lnTo>
                  <a:lnTo>
                    <a:pt x="317" y="90"/>
                  </a:lnTo>
                  <a:lnTo>
                    <a:pt x="315" y="92"/>
                  </a:lnTo>
                  <a:lnTo>
                    <a:pt x="315" y="94"/>
                  </a:lnTo>
                  <a:lnTo>
                    <a:pt x="313" y="96"/>
                  </a:lnTo>
                  <a:lnTo>
                    <a:pt x="319" y="98"/>
                  </a:lnTo>
                  <a:lnTo>
                    <a:pt x="315" y="100"/>
                  </a:lnTo>
                  <a:lnTo>
                    <a:pt x="311" y="100"/>
                  </a:lnTo>
                  <a:lnTo>
                    <a:pt x="303" y="103"/>
                  </a:lnTo>
                  <a:lnTo>
                    <a:pt x="298" y="111"/>
                  </a:lnTo>
                  <a:lnTo>
                    <a:pt x="290" y="111"/>
                  </a:lnTo>
                  <a:lnTo>
                    <a:pt x="284" y="109"/>
                  </a:lnTo>
                  <a:lnTo>
                    <a:pt x="280" y="117"/>
                  </a:lnTo>
                  <a:lnTo>
                    <a:pt x="282" y="117"/>
                  </a:lnTo>
                  <a:lnTo>
                    <a:pt x="280" y="117"/>
                  </a:lnTo>
                  <a:lnTo>
                    <a:pt x="277" y="12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60" name="Freeform 41">
              <a:extLst>
                <a:ext uri="{FF2B5EF4-FFF2-40B4-BE49-F238E27FC236}">
                  <a16:creationId xmlns:a16="http://schemas.microsoft.com/office/drawing/2014/main" id="{265EFD10-4D7B-422D-A343-4C576BF6F375}"/>
                </a:ext>
              </a:extLst>
            </p:cNvPr>
            <p:cNvSpPr>
              <a:spLocks/>
            </p:cNvSpPr>
            <p:nvPr/>
          </p:nvSpPr>
          <p:spPr bwMode="gray">
            <a:xfrm>
              <a:off x="7131051" y="2774950"/>
              <a:ext cx="1062039" cy="658813"/>
            </a:xfrm>
            <a:custGeom>
              <a:avLst/>
              <a:gdLst>
                <a:gd name="T0" fmla="*/ 554 w 669"/>
                <a:gd name="T1" fmla="*/ 109 h 415"/>
                <a:gd name="T2" fmla="*/ 522 w 669"/>
                <a:gd name="T3" fmla="*/ 136 h 415"/>
                <a:gd name="T4" fmla="*/ 508 w 669"/>
                <a:gd name="T5" fmla="*/ 142 h 415"/>
                <a:gd name="T6" fmla="*/ 493 w 669"/>
                <a:gd name="T7" fmla="*/ 159 h 415"/>
                <a:gd name="T8" fmla="*/ 474 w 669"/>
                <a:gd name="T9" fmla="*/ 177 h 415"/>
                <a:gd name="T10" fmla="*/ 453 w 669"/>
                <a:gd name="T11" fmla="*/ 204 h 415"/>
                <a:gd name="T12" fmla="*/ 431 w 669"/>
                <a:gd name="T13" fmla="*/ 230 h 415"/>
                <a:gd name="T14" fmla="*/ 422 w 669"/>
                <a:gd name="T15" fmla="*/ 232 h 415"/>
                <a:gd name="T16" fmla="*/ 393 w 669"/>
                <a:gd name="T17" fmla="*/ 254 h 415"/>
                <a:gd name="T18" fmla="*/ 395 w 669"/>
                <a:gd name="T19" fmla="*/ 290 h 415"/>
                <a:gd name="T20" fmla="*/ 374 w 669"/>
                <a:gd name="T21" fmla="*/ 325 h 415"/>
                <a:gd name="T22" fmla="*/ 362 w 669"/>
                <a:gd name="T23" fmla="*/ 342 h 415"/>
                <a:gd name="T24" fmla="*/ 353 w 669"/>
                <a:gd name="T25" fmla="*/ 371 h 415"/>
                <a:gd name="T26" fmla="*/ 337 w 669"/>
                <a:gd name="T27" fmla="*/ 388 h 415"/>
                <a:gd name="T28" fmla="*/ 314 w 669"/>
                <a:gd name="T29" fmla="*/ 390 h 415"/>
                <a:gd name="T30" fmla="*/ 289 w 669"/>
                <a:gd name="T31" fmla="*/ 415 h 415"/>
                <a:gd name="T32" fmla="*/ 268 w 669"/>
                <a:gd name="T33" fmla="*/ 390 h 415"/>
                <a:gd name="T34" fmla="*/ 272 w 669"/>
                <a:gd name="T35" fmla="*/ 352 h 415"/>
                <a:gd name="T36" fmla="*/ 282 w 669"/>
                <a:gd name="T37" fmla="*/ 336 h 415"/>
                <a:gd name="T38" fmla="*/ 286 w 669"/>
                <a:gd name="T39" fmla="*/ 325 h 415"/>
                <a:gd name="T40" fmla="*/ 320 w 669"/>
                <a:gd name="T41" fmla="*/ 300 h 415"/>
                <a:gd name="T42" fmla="*/ 320 w 669"/>
                <a:gd name="T43" fmla="*/ 280 h 415"/>
                <a:gd name="T44" fmla="*/ 305 w 669"/>
                <a:gd name="T45" fmla="*/ 271 h 415"/>
                <a:gd name="T46" fmla="*/ 295 w 669"/>
                <a:gd name="T47" fmla="*/ 254 h 415"/>
                <a:gd name="T48" fmla="*/ 261 w 669"/>
                <a:gd name="T49" fmla="*/ 248 h 415"/>
                <a:gd name="T50" fmla="*/ 270 w 669"/>
                <a:gd name="T51" fmla="*/ 209 h 415"/>
                <a:gd name="T52" fmla="*/ 230 w 669"/>
                <a:gd name="T53" fmla="*/ 209 h 415"/>
                <a:gd name="T54" fmla="*/ 205 w 669"/>
                <a:gd name="T55" fmla="*/ 223 h 415"/>
                <a:gd name="T56" fmla="*/ 190 w 669"/>
                <a:gd name="T57" fmla="*/ 225 h 415"/>
                <a:gd name="T58" fmla="*/ 172 w 669"/>
                <a:gd name="T59" fmla="*/ 230 h 415"/>
                <a:gd name="T60" fmla="*/ 147 w 669"/>
                <a:gd name="T61" fmla="*/ 232 h 415"/>
                <a:gd name="T62" fmla="*/ 130 w 669"/>
                <a:gd name="T63" fmla="*/ 219 h 415"/>
                <a:gd name="T64" fmla="*/ 86 w 669"/>
                <a:gd name="T65" fmla="*/ 223 h 415"/>
                <a:gd name="T66" fmla="*/ 48 w 669"/>
                <a:gd name="T67" fmla="*/ 219 h 415"/>
                <a:gd name="T68" fmla="*/ 25 w 669"/>
                <a:gd name="T69" fmla="*/ 238 h 415"/>
                <a:gd name="T70" fmla="*/ 19 w 669"/>
                <a:gd name="T71" fmla="*/ 259 h 415"/>
                <a:gd name="T72" fmla="*/ 13 w 669"/>
                <a:gd name="T73" fmla="*/ 265 h 415"/>
                <a:gd name="T74" fmla="*/ 17 w 669"/>
                <a:gd name="T75" fmla="*/ 252 h 415"/>
                <a:gd name="T76" fmla="*/ 13 w 669"/>
                <a:gd name="T77" fmla="*/ 215 h 415"/>
                <a:gd name="T78" fmla="*/ 0 w 669"/>
                <a:gd name="T79" fmla="*/ 194 h 415"/>
                <a:gd name="T80" fmla="*/ 5 w 669"/>
                <a:gd name="T81" fmla="*/ 179 h 415"/>
                <a:gd name="T82" fmla="*/ 19 w 669"/>
                <a:gd name="T83" fmla="*/ 154 h 415"/>
                <a:gd name="T84" fmla="*/ 36 w 669"/>
                <a:gd name="T85" fmla="*/ 134 h 415"/>
                <a:gd name="T86" fmla="*/ 76 w 669"/>
                <a:gd name="T87" fmla="*/ 115 h 415"/>
                <a:gd name="T88" fmla="*/ 121 w 669"/>
                <a:gd name="T89" fmla="*/ 129 h 415"/>
                <a:gd name="T90" fmla="*/ 172 w 669"/>
                <a:gd name="T91" fmla="*/ 129 h 415"/>
                <a:gd name="T92" fmla="*/ 222 w 669"/>
                <a:gd name="T93" fmla="*/ 121 h 415"/>
                <a:gd name="T94" fmla="*/ 259 w 669"/>
                <a:gd name="T95" fmla="*/ 117 h 415"/>
                <a:gd name="T96" fmla="*/ 307 w 669"/>
                <a:gd name="T97" fmla="*/ 109 h 415"/>
                <a:gd name="T98" fmla="*/ 343 w 669"/>
                <a:gd name="T99" fmla="*/ 109 h 415"/>
                <a:gd name="T100" fmla="*/ 399 w 669"/>
                <a:gd name="T101" fmla="*/ 109 h 415"/>
                <a:gd name="T102" fmla="*/ 433 w 669"/>
                <a:gd name="T103" fmla="*/ 98 h 415"/>
                <a:gd name="T104" fmla="*/ 451 w 669"/>
                <a:gd name="T105" fmla="*/ 75 h 415"/>
                <a:gd name="T106" fmla="*/ 483 w 669"/>
                <a:gd name="T107" fmla="*/ 44 h 415"/>
                <a:gd name="T108" fmla="*/ 489 w 669"/>
                <a:gd name="T109" fmla="*/ 40 h 415"/>
                <a:gd name="T110" fmla="*/ 529 w 669"/>
                <a:gd name="T111" fmla="*/ 33 h 415"/>
                <a:gd name="T112" fmla="*/ 572 w 669"/>
                <a:gd name="T113" fmla="*/ 17 h 415"/>
                <a:gd name="T114" fmla="*/ 633 w 669"/>
                <a:gd name="T115" fmla="*/ 0 h 415"/>
                <a:gd name="T116" fmla="*/ 658 w 669"/>
                <a:gd name="T117" fmla="*/ 12 h 415"/>
                <a:gd name="T118" fmla="*/ 646 w 669"/>
                <a:gd name="T119" fmla="*/ 40 h 415"/>
                <a:gd name="T120" fmla="*/ 660 w 669"/>
                <a:gd name="T121" fmla="*/ 58 h 415"/>
                <a:gd name="T122" fmla="*/ 654 w 669"/>
                <a:gd name="T123" fmla="*/ 73 h 415"/>
                <a:gd name="T124" fmla="*/ 612 w 669"/>
                <a:gd name="T125" fmla="*/ 86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9" h="415">
                  <a:moveTo>
                    <a:pt x="583" y="102"/>
                  </a:moveTo>
                  <a:lnTo>
                    <a:pt x="581" y="100"/>
                  </a:lnTo>
                  <a:lnTo>
                    <a:pt x="577" y="104"/>
                  </a:lnTo>
                  <a:lnTo>
                    <a:pt x="573" y="106"/>
                  </a:lnTo>
                  <a:lnTo>
                    <a:pt x="572" y="109"/>
                  </a:lnTo>
                  <a:lnTo>
                    <a:pt x="564" y="113"/>
                  </a:lnTo>
                  <a:lnTo>
                    <a:pt x="560" y="113"/>
                  </a:lnTo>
                  <a:lnTo>
                    <a:pt x="558" y="111"/>
                  </a:lnTo>
                  <a:lnTo>
                    <a:pt x="554" y="109"/>
                  </a:lnTo>
                  <a:lnTo>
                    <a:pt x="549" y="113"/>
                  </a:lnTo>
                  <a:lnTo>
                    <a:pt x="543" y="121"/>
                  </a:lnTo>
                  <a:lnTo>
                    <a:pt x="543" y="123"/>
                  </a:lnTo>
                  <a:lnTo>
                    <a:pt x="541" y="125"/>
                  </a:lnTo>
                  <a:lnTo>
                    <a:pt x="541" y="127"/>
                  </a:lnTo>
                  <a:lnTo>
                    <a:pt x="535" y="131"/>
                  </a:lnTo>
                  <a:lnTo>
                    <a:pt x="533" y="129"/>
                  </a:lnTo>
                  <a:lnTo>
                    <a:pt x="529" y="133"/>
                  </a:lnTo>
                  <a:lnTo>
                    <a:pt x="522" y="136"/>
                  </a:lnTo>
                  <a:lnTo>
                    <a:pt x="520" y="133"/>
                  </a:lnTo>
                  <a:lnTo>
                    <a:pt x="518" y="134"/>
                  </a:lnTo>
                  <a:lnTo>
                    <a:pt x="520" y="138"/>
                  </a:lnTo>
                  <a:lnTo>
                    <a:pt x="516" y="138"/>
                  </a:lnTo>
                  <a:lnTo>
                    <a:pt x="516" y="140"/>
                  </a:lnTo>
                  <a:lnTo>
                    <a:pt x="516" y="136"/>
                  </a:lnTo>
                  <a:lnTo>
                    <a:pt x="514" y="136"/>
                  </a:lnTo>
                  <a:lnTo>
                    <a:pt x="510" y="138"/>
                  </a:lnTo>
                  <a:lnTo>
                    <a:pt x="508" y="142"/>
                  </a:lnTo>
                  <a:lnTo>
                    <a:pt x="504" y="142"/>
                  </a:lnTo>
                  <a:lnTo>
                    <a:pt x="504" y="144"/>
                  </a:lnTo>
                  <a:lnTo>
                    <a:pt x="499" y="148"/>
                  </a:lnTo>
                  <a:lnTo>
                    <a:pt x="501" y="150"/>
                  </a:lnTo>
                  <a:lnTo>
                    <a:pt x="499" y="156"/>
                  </a:lnTo>
                  <a:lnTo>
                    <a:pt x="497" y="156"/>
                  </a:lnTo>
                  <a:lnTo>
                    <a:pt x="495" y="158"/>
                  </a:lnTo>
                  <a:lnTo>
                    <a:pt x="493" y="158"/>
                  </a:lnTo>
                  <a:lnTo>
                    <a:pt x="493" y="159"/>
                  </a:lnTo>
                  <a:lnTo>
                    <a:pt x="491" y="161"/>
                  </a:lnTo>
                  <a:lnTo>
                    <a:pt x="489" y="163"/>
                  </a:lnTo>
                  <a:lnTo>
                    <a:pt x="485" y="159"/>
                  </a:lnTo>
                  <a:lnTo>
                    <a:pt x="487" y="152"/>
                  </a:lnTo>
                  <a:lnTo>
                    <a:pt x="483" y="154"/>
                  </a:lnTo>
                  <a:lnTo>
                    <a:pt x="481" y="158"/>
                  </a:lnTo>
                  <a:lnTo>
                    <a:pt x="478" y="159"/>
                  </a:lnTo>
                  <a:lnTo>
                    <a:pt x="474" y="167"/>
                  </a:lnTo>
                  <a:lnTo>
                    <a:pt x="474" y="177"/>
                  </a:lnTo>
                  <a:lnTo>
                    <a:pt x="466" y="179"/>
                  </a:lnTo>
                  <a:lnTo>
                    <a:pt x="462" y="186"/>
                  </a:lnTo>
                  <a:lnTo>
                    <a:pt x="460" y="186"/>
                  </a:lnTo>
                  <a:lnTo>
                    <a:pt x="458" y="192"/>
                  </a:lnTo>
                  <a:lnTo>
                    <a:pt x="454" y="196"/>
                  </a:lnTo>
                  <a:lnTo>
                    <a:pt x="456" y="198"/>
                  </a:lnTo>
                  <a:lnTo>
                    <a:pt x="454" y="200"/>
                  </a:lnTo>
                  <a:lnTo>
                    <a:pt x="454" y="202"/>
                  </a:lnTo>
                  <a:lnTo>
                    <a:pt x="453" y="204"/>
                  </a:lnTo>
                  <a:lnTo>
                    <a:pt x="454" y="207"/>
                  </a:lnTo>
                  <a:lnTo>
                    <a:pt x="451" y="209"/>
                  </a:lnTo>
                  <a:lnTo>
                    <a:pt x="451" y="215"/>
                  </a:lnTo>
                  <a:lnTo>
                    <a:pt x="453" y="221"/>
                  </a:lnTo>
                  <a:lnTo>
                    <a:pt x="449" y="225"/>
                  </a:lnTo>
                  <a:lnTo>
                    <a:pt x="441" y="230"/>
                  </a:lnTo>
                  <a:lnTo>
                    <a:pt x="439" y="229"/>
                  </a:lnTo>
                  <a:lnTo>
                    <a:pt x="433" y="234"/>
                  </a:lnTo>
                  <a:lnTo>
                    <a:pt x="431" y="230"/>
                  </a:lnTo>
                  <a:lnTo>
                    <a:pt x="433" y="223"/>
                  </a:lnTo>
                  <a:lnTo>
                    <a:pt x="431" y="217"/>
                  </a:lnTo>
                  <a:lnTo>
                    <a:pt x="430" y="217"/>
                  </a:lnTo>
                  <a:lnTo>
                    <a:pt x="431" y="219"/>
                  </a:lnTo>
                  <a:lnTo>
                    <a:pt x="430" y="219"/>
                  </a:lnTo>
                  <a:lnTo>
                    <a:pt x="422" y="225"/>
                  </a:lnTo>
                  <a:lnTo>
                    <a:pt x="424" y="230"/>
                  </a:lnTo>
                  <a:lnTo>
                    <a:pt x="424" y="229"/>
                  </a:lnTo>
                  <a:lnTo>
                    <a:pt x="422" y="232"/>
                  </a:lnTo>
                  <a:lnTo>
                    <a:pt x="416" y="232"/>
                  </a:lnTo>
                  <a:lnTo>
                    <a:pt x="414" y="238"/>
                  </a:lnTo>
                  <a:lnTo>
                    <a:pt x="407" y="242"/>
                  </a:lnTo>
                  <a:lnTo>
                    <a:pt x="407" y="246"/>
                  </a:lnTo>
                  <a:lnTo>
                    <a:pt x="405" y="246"/>
                  </a:lnTo>
                  <a:lnTo>
                    <a:pt x="401" y="250"/>
                  </a:lnTo>
                  <a:lnTo>
                    <a:pt x="397" y="252"/>
                  </a:lnTo>
                  <a:lnTo>
                    <a:pt x="397" y="254"/>
                  </a:lnTo>
                  <a:lnTo>
                    <a:pt x="393" y="254"/>
                  </a:lnTo>
                  <a:lnTo>
                    <a:pt x="393" y="255"/>
                  </a:lnTo>
                  <a:lnTo>
                    <a:pt x="387" y="261"/>
                  </a:lnTo>
                  <a:lnTo>
                    <a:pt x="383" y="263"/>
                  </a:lnTo>
                  <a:lnTo>
                    <a:pt x="389" y="269"/>
                  </a:lnTo>
                  <a:lnTo>
                    <a:pt x="389" y="273"/>
                  </a:lnTo>
                  <a:lnTo>
                    <a:pt x="397" y="275"/>
                  </a:lnTo>
                  <a:lnTo>
                    <a:pt x="399" y="280"/>
                  </a:lnTo>
                  <a:lnTo>
                    <a:pt x="395" y="284"/>
                  </a:lnTo>
                  <a:lnTo>
                    <a:pt x="395" y="290"/>
                  </a:lnTo>
                  <a:lnTo>
                    <a:pt x="389" y="296"/>
                  </a:lnTo>
                  <a:lnTo>
                    <a:pt x="385" y="303"/>
                  </a:lnTo>
                  <a:lnTo>
                    <a:pt x="385" y="309"/>
                  </a:lnTo>
                  <a:lnTo>
                    <a:pt x="380" y="317"/>
                  </a:lnTo>
                  <a:lnTo>
                    <a:pt x="376" y="317"/>
                  </a:lnTo>
                  <a:lnTo>
                    <a:pt x="374" y="319"/>
                  </a:lnTo>
                  <a:lnTo>
                    <a:pt x="374" y="323"/>
                  </a:lnTo>
                  <a:lnTo>
                    <a:pt x="376" y="321"/>
                  </a:lnTo>
                  <a:lnTo>
                    <a:pt x="374" y="325"/>
                  </a:lnTo>
                  <a:lnTo>
                    <a:pt x="376" y="327"/>
                  </a:lnTo>
                  <a:lnTo>
                    <a:pt x="372" y="328"/>
                  </a:lnTo>
                  <a:lnTo>
                    <a:pt x="374" y="330"/>
                  </a:lnTo>
                  <a:lnTo>
                    <a:pt x="372" y="332"/>
                  </a:lnTo>
                  <a:lnTo>
                    <a:pt x="372" y="336"/>
                  </a:lnTo>
                  <a:lnTo>
                    <a:pt x="368" y="338"/>
                  </a:lnTo>
                  <a:lnTo>
                    <a:pt x="368" y="342"/>
                  </a:lnTo>
                  <a:lnTo>
                    <a:pt x="364" y="346"/>
                  </a:lnTo>
                  <a:lnTo>
                    <a:pt x="362" y="342"/>
                  </a:lnTo>
                  <a:lnTo>
                    <a:pt x="359" y="342"/>
                  </a:lnTo>
                  <a:lnTo>
                    <a:pt x="359" y="350"/>
                  </a:lnTo>
                  <a:lnTo>
                    <a:pt x="355" y="353"/>
                  </a:lnTo>
                  <a:lnTo>
                    <a:pt x="359" y="357"/>
                  </a:lnTo>
                  <a:lnTo>
                    <a:pt x="355" y="365"/>
                  </a:lnTo>
                  <a:lnTo>
                    <a:pt x="359" y="367"/>
                  </a:lnTo>
                  <a:lnTo>
                    <a:pt x="353" y="369"/>
                  </a:lnTo>
                  <a:lnTo>
                    <a:pt x="355" y="371"/>
                  </a:lnTo>
                  <a:lnTo>
                    <a:pt x="353" y="371"/>
                  </a:lnTo>
                  <a:lnTo>
                    <a:pt x="351" y="376"/>
                  </a:lnTo>
                  <a:lnTo>
                    <a:pt x="353" y="378"/>
                  </a:lnTo>
                  <a:lnTo>
                    <a:pt x="351" y="384"/>
                  </a:lnTo>
                  <a:lnTo>
                    <a:pt x="349" y="386"/>
                  </a:lnTo>
                  <a:lnTo>
                    <a:pt x="349" y="388"/>
                  </a:lnTo>
                  <a:lnTo>
                    <a:pt x="345" y="386"/>
                  </a:lnTo>
                  <a:lnTo>
                    <a:pt x="339" y="388"/>
                  </a:lnTo>
                  <a:lnTo>
                    <a:pt x="337" y="386"/>
                  </a:lnTo>
                  <a:lnTo>
                    <a:pt x="337" y="388"/>
                  </a:lnTo>
                  <a:lnTo>
                    <a:pt x="332" y="388"/>
                  </a:lnTo>
                  <a:lnTo>
                    <a:pt x="328" y="390"/>
                  </a:lnTo>
                  <a:lnTo>
                    <a:pt x="328" y="386"/>
                  </a:lnTo>
                  <a:lnTo>
                    <a:pt x="326" y="384"/>
                  </a:lnTo>
                  <a:lnTo>
                    <a:pt x="324" y="380"/>
                  </a:lnTo>
                  <a:lnTo>
                    <a:pt x="322" y="375"/>
                  </a:lnTo>
                  <a:lnTo>
                    <a:pt x="320" y="376"/>
                  </a:lnTo>
                  <a:lnTo>
                    <a:pt x="316" y="386"/>
                  </a:lnTo>
                  <a:lnTo>
                    <a:pt x="314" y="390"/>
                  </a:lnTo>
                  <a:lnTo>
                    <a:pt x="314" y="392"/>
                  </a:lnTo>
                  <a:lnTo>
                    <a:pt x="309" y="396"/>
                  </a:lnTo>
                  <a:lnTo>
                    <a:pt x="307" y="394"/>
                  </a:lnTo>
                  <a:lnTo>
                    <a:pt x="305" y="403"/>
                  </a:lnTo>
                  <a:lnTo>
                    <a:pt x="299" y="403"/>
                  </a:lnTo>
                  <a:lnTo>
                    <a:pt x="297" y="411"/>
                  </a:lnTo>
                  <a:lnTo>
                    <a:pt x="291" y="413"/>
                  </a:lnTo>
                  <a:lnTo>
                    <a:pt x="291" y="415"/>
                  </a:lnTo>
                  <a:lnTo>
                    <a:pt x="289" y="415"/>
                  </a:lnTo>
                  <a:lnTo>
                    <a:pt x="286" y="415"/>
                  </a:lnTo>
                  <a:lnTo>
                    <a:pt x="284" y="409"/>
                  </a:lnTo>
                  <a:lnTo>
                    <a:pt x="286" y="403"/>
                  </a:lnTo>
                  <a:lnTo>
                    <a:pt x="280" y="403"/>
                  </a:lnTo>
                  <a:lnTo>
                    <a:pt x="274" y="403"/>
                  </a:lnTo>
                  <a:lnTo>
                    <a:pt x="272" y="403"/>
                  </a:lnTo>
                  <a:lnTo>
                    <a:pt x="264" y="403"/>
                  </a:lnTo>
                  <a:lnTo>
                    <a:pt x="266" y="398"/>
                  </a:lnTo>
                  <a:lnTo>
                    <a:pt x="268" y="390"/>
                  </a:lnTo>
                  <a:lnTo>
                    <a:pt x="270" y="388"/>
                  </a:lnTo>
                  <a:lnTo>
                    <a:pt x="268" y="382"/>
                  </a:lnTo>
                  <a:lnTo>
                    <a:pt x="264" y="380"/>
                  </a:lnTo>
                  <a:lnTo>
                    <a:pt x="264" y="376"/>
                  </a:lnTo>
                  <a:lnTo>
                    <a:pt x="266" y="375"/>
                  </a:lnTo>
                  <a:lnTo>
                    <a:pt x="266" y="367"/>
                  </a:lnTo>
                  <a:lnTo>
                    <a:pt x="266" y="359"/>
                  </a:lnTo>
                  <a:lnTo>
                    <a:pt x="270" y="353"/>
                  </a:lnTo>
                  <a:lnTo>
                    <a:pt x="272" y="352"/>
                  </a:lnTo>
                  <a:lnTo>
                    <a:pt x="270" y="350"/>
                  </a:lnTo>
                  <a:lnTo>
                    <a:pt x="272" y="346"/>
                  </a:lnTo>
                  <a:lnTo>
                    <a:pt x="270" y="340"/>
                  </a:lnTo>
                  <a:lnTo>
                    <a:pt x="268" y="340"/>
                  </a:lnTo>
                  <a:lnTo>
                    <a:pt x="266" y="338"/>
                  </a:lnTo>
                  <a:lnTo>
                    <a:pt x="266" y="334"/>
                  </a:lnTo>
                  <a:lnTo>
                    <a:pt x="272" y="330"/>
                  </a:lnTo>
                  <a:lnTo>
                    <a:pt x="278" y="334"/>
                  </a:lnTo>
                  <a:lnTo>
                    <a:pt x="282" y="336"/>
                  </a:lnTo>
                  <a:lnTo>
                    <a:pt x="282" y="338"/>
                  </a:lnTo>
                  <a:lnTo>
                    <a:pt x="288" y="338"/>
                  </a:lnTo>
                  <a:lnTo>
                    <a:pt x="289" y="336"/>
                  </a:lnTo>
                  <a:lnTo>
                    <a:pt x="293" y="336"/>
                  </a:lnTo>
                  <a:lnTo>
                    <a:pt x="293" y="332"/>
                  </a:lnTo>
                  <a:lnTo>
                    <a:pt x="293" y="327"/>
                  </a:lnTo>
                  <a:lnTo>
                    <a:pt x="289" y="328"/>
                  </a:lnTo>
                  <a:lnTo>
                    <a:pt x="291" y="327"/>
                  </a:lnTo>
                  <a:lnTo>
                    <a:pt x="286" y="325"/>
                  </a:lnTo>
                  <a:lnTo>
                    <a:pt x="286" y="321"/>
                  </a:lnTo>
                  <a:lnTo>
                    <a:pt x="289" y="317"/>
                  </a:lnTo>
                  <a:lnTo>
                    <a:pt x="291" y="317"/>
                  </a:lnTo>
                  <a:lnTo>
                    <a:pt x="289" y="317"/>
                  </a:lnTo>
                  <a:lnTo>
                    <a:pt x="293" y="309"/>
                  </a:lnTo>
                  <a:lnTo>
                    <a:pt x="299" y="311"/>
                  </a:lnTo>
                  <a:lnTo>
                    <a:pt x="307" y="311"/>
                  </a:lnTo>
                  <a:lnTo>
                    <a:pt x="312" y="303"/>
                  </a:lnTo>
                  <a:lnTo>
                    <a:pt x="320" y="300"/>
                  </a:lnTo>
                  <a:lnTo>
                    <a:pt x="324" y="300"/>
                  </a:lnTo>
                  <a:lnTo>
                    <a:pt x="328" y="298"/>
                  </a:lnTo>
                  <a:lnTo>
                    <a:pt x="322" y="296"/>
                  </a:lnTo>
                  <a:lnTo>
                    <a:pt x="324" y="294"/>
                  </a:lnTo>
                  <a:lnTo>
                    <a:pt x="324" y="292"/>
                  </a:lnTo>
                  <a:lnTo>
                    <a:pt x="326" y="290"/>
                  </a:lnTo>
                  <a:lnTo>
                    <a:pt x="324" y="286"/>
                  </a:lnTo>
                  <a:lnTo>
                    <a:pt x="322" y="284"/>
                  </a:lnTo>
                  <a:lnTo>
                    <a:pt x="320" y="280"/>
                  </a:lnTo>
                  <a:lnTo>
                    <a:pt x="318" y="280"/>
                  </a:lnTo>
                  <a:lnTo>
                    <a:pt x="314" y="277"/>
                  </a:lnTo>
                  <a:lnTo>
                    <a:pt x="312" y="279"/>
                  </a:lnTo>
                  <a:lnTo>
                    <a:pt x="311" y="275"/>
                  </a:lnTo>
                  <a:lnTo>
                    <a:pt x="311" y="277"/>
                  </a:lnTo>
                  <a:lnTo>
                    <a:pt x="309" y="275"/>
                  </a:lnTo>
                  <a:lnTo>
                    <a:pt x="309" y="277"/>
                  </a:lnTo>
                  <a:lnTo>
                    <a:pt x="307" y="277"/>
                  </a:lnTo>
                  <a:lnTo>
                    <a:pt x="305" y="271"/>
                  </a:lnTo>
                  <a:lnTo>
                    <a:pt x="303" y="271"/>
                  </a:lnTo>
                  <a:lnTo>
                    <a:pt x="303" y="269"/>
                  </a:lnTo>
                  <a:lnTo>
                    <a:pt x="311" y="263"/>
                  </a:lnTo>
                  <a:lnTo>
                    <a:pt x="312" y="259"/>
                  </a:lnTo>
                  <a:lnTo>
                    <a:pt x="311" y="257"/>
                  </a:lnTo>
                  <a:lnTo>
                    <a:pt x="307" y="261"/>
                  </a:lnTo>
                  <a:lnTo>
                    <a:pt x="303" y="261"/>
                  </a:lnTo>
                  <a:lnTo>
                    <a:pt x="301" y="255"/>
                  </a:lnTo>
                  <a:lnTo>
                    <a:pt x="295" y="254"/>
                  </a:lnTo>
                  <a:lnTo>
                    <a:pt x="291" y="248"/>
                  </a:lnTo>
                  <a:lnTo>
                    <a:pt x="288" y="248"/>
                  </a:lnTo>
                  <a:lnTo>
                    <a:pt x="289" y="244"/>
                  </a:lnTo>
                  <a:lnTo>
                    <a:pt x="284" y="240"/>
                  </a:lnTo>
                  <a:lnTo>
                    <a:pt x="282" y="242"/>
                  </a:lnTo>
                  <a:lnTo>
                    <a:pt x="276" y="242"/>
                  </a:lnTo>
                  <a:lnTo>
                    <a:pt x="270" y="244"/>
                  </a:lnTo>
                  <a:lnTo>
                    <a:pt x="266" y="244"/>
                  </a:lnTo>
                  <a:lnTo>
                    <a:pt x="261" y="248"/>
                  </a:lnTo>
                  <a:lnTo>
                    <a:pt x="261" y="242"/>
                  </a:lnTo>
                  <a:lnTo>
                    <a:pt x="259" y="238"/>
                  </a:lnTo>
                  <a:lnTo>
                    <a:pt x="259" y="232"/>
                  </a:lnTo>
                  <a:lnTo>
                    <a:pt x="261" y="227"/>
                  </a:lnTo>
                  <a:lnTo>
                    <a:pt x="266" y="223"/>
                  </a:lnTo>
                  <a:lnTo>
                    <a:pt x="259" y="223"/>
                  </a:lnTo>
                  <a:lnTo>
                    <a:pt x="259" y="219"/>
                  </a:lnTo>
                  <a:lnTo>
                    <a:pt x="263" y="215"/>
                  </a:lnTo>
                  <a:lnTo>
                    <a:pt x="270" y="209"/>
                  </a:lnTo>
                  <a:lnTo>
                    <a:pt x="274" y="206"/>
                  </a:lnTo>
                  <a:lnTo>
                    <a:pt x="268" y="206"/>
                  </a:lnTo>
                  <a:lnTo>
                    <a:pt x="263" y="206"/>
                  </a:lnTo>
                  <a:lnTo>
                    <a:pt x="257" y="207"/>
                  </a:lnTo>
                  <a:lnTo>
                    <a:pt x="255" y="207"/>
                  </a:lnTo>
                  <a:lnTo>
                    <a:pt x="249" y="209"/>
                  </a:lnTo>
                  <a:lnTo>
                    <a:pt x="241" y="209"/>
                  </a:lnTo>
                  <a:lnTo>
                    <a:pt x="236" y="211"/>
                  </a:lnTo>
                  <a:lnTo>
                    <a:pt x="230" y="209"/>
                  </a:lnTo>
                  <a:lnTo>
                    <a:pt x="230" y="204"/>
                  </a:lnTo>
                  <a:lnTo>
                    <a:pt x="224" y="200"/>
                  </a:lnTo>
                  <a:lnTo>
                    <a:pt x="216" y="206"/>
                  </a:lnTo>
                  <a:lnTo>
                    <a:pt x="215" y="206"/>
                  </a:lnTo>
                  <a:lnTo>
                    <a:pt x="215" y="207"/>
                  </a:lnTo>
                  <a:lnTo>
                    <a:pt x="215" y="209"/>
                  </a:lnTo>
                  <a:lnTo>
                    <a:pt x="213" y="219"/>
                  </a:lnTo>
                  <a:lnTo>
                    <a:pt x="209" y="223"/>
                  </a:lnTo>
                  <a:lnTo>
                    <a:pt x="205" y="223"/>
                  </a:lnTo>
                  <a:lnTo>
                    <a:pt x="201" y="221"/>
                  </a:lnTo>
                  <a:lnTo>
                    <a:pt x="203" y="217"/>
                  </a:lnTo>
                  <a:lnTo>
                    <a:pt x="203" y="211"/>
                  </a:lnTo>
                  <a:lnTo>
                    <a:pt x="199" y="209"/>
                  </a:lnTo>
                  <a:lnTo>
                    <a:pt x="195" y="215"/>
                  </a:lnTo>
                  <a:lnTo>
                    <a:pt x="192" y="217"/>
                  </a:lnTo>
                  <a:lnTo>
                    <a:pt x="190" y="223"/>
                  </a:lnTo>
                  <a:lnTo>
                    <a:pt x="193" y="221"/>
                  </a:lnTo>
                  <a:lnTo>
                    <a:pt x="190" y="225"/>
                  </a:lnTo>
                  <a:lnTo>
                    <a:pt x="186" y="225"/>
                  </a:lnTo>
                  <a:lnTo>
                    <a:pt x="186" y="229"/>
                  </a:lnTo>
                  <a:lnTo>
                    <a:pt x="190" y="229"/>
                  </a:lnTo>
                  <a:lnTo>
                    <a:pt x="193" y="225"/>
                  </a:lnTo>
                  <a:lnTo>
                    <a:pt x="192" y="229"/>
                  </a:lnTo>
                  <a:lnTo>
                    <a:pt x="186" y="229"/>
                  </a:lnTo>
                  <a:lnTo>
                    <a:pt x="184" y="230"/>
                  </a:lnTo>
                  <a:lnTo>
                    <a:pt x="180" y="229"/>
                  </a:lnTo>
                  <a:lnTo>
                    <a:pt x="172" y="230"/>
                  </a:lnTo>
                  <a:lnTo>
                    <a:pt x="170" y="232"/>
                  </a:lnTo>
                  <a:lnTo>
                    <a:pt x="165" y="240"/>
                  </a:lnTo>
                  <a:lnTo>
                    <a:pt x="165" y="242"/>
                  </a:lnTo>
                  <a:lnTo>
                    <a:pt x="159" y="244"/>
                  </a:lnTo>
                  <a:lnTo>
                    <a:pt x="155" y="244"/>
                  </a:lnTo>
                  <a:lnTo>
                    <a:pt x="155" y="238"/>
                  </a:lnTo>
                  <a:lnTo>
                    <a:pt x="157" y="229"/>
                  </a:lnTo>
                  <a:lnTo>
                    <a:pt x="151" y="229"/>
                  </a:lnTo>
                  <a:lnTo>
                    <a:pt x="147" y="232"/>
                  </a:lnTo>
                  <a:lnTo>
                    <a:pt x="142" y="234"/>
                  </a:lnTo>
                  <a:lnTo>
                    <a:pt x="142" y="232"/>
                  </a:lnTo>
                  <a:lnTo>
                    <a:pt x="144" y="230"/>
                  </a:lnTo>
                  <a:lnTo>
                    <a:pt x="142" y="230"/>
                  </a:lnTo>
                  <a:lnTo>
                    <a:pt x="136" y="234"/>
                  </a:lnTo>
                  <a:lnTo>
                    <a:pt x="138" y="225"/>
                  </a:lnTo>
                  <a:lnTo>
                    <a:pt x="134" y="225"/>
                  </a:lnTo>
                  <a:lnTo>
                    <a:pt x="132" y="221"/>
                  </a:lnTo>
                  <a:lnTo>
                    <a:pt x="130" y="219"/>
                  </a:lnTo>
                  <a:lnTo>
                    <a:pt x="122" y="221"/>
                  </a:lnTo>
                  <a:lnTo>
                    <a:pt x="117" y="221"/>
                  </a:lnTo>
                  <a:lnTo>
                    <a:pt x="111" y="221"/>
                  </a:lnTo>
                  <a:lnTo>
                    <a:pt x="105" y="219"/>
                  </a:lnTo>
                  <a:lnTo>
                    <a:pt x="98" y="221"/>
                  </a:lnTo>
                  <a:lnTo>
                    <a:pt x="96" y="223"/>
                  </a:lnTo>
                  <a:lnTo>
                    <a:pt x="96" y="219"/>
                  </a:lnTo>
                  <a:lnTo>
                    <a:pt x="92" y="219"/>
                  </a:lnTo>
                  <a:lnTo>
                    <a:pt x="86" y="223"/>
                  </a:lnTo>
                  <a:lnTo>
                    <a:pt x="88" y="219"/>
                  </a:lnTo>
                  <a:lnTo>
                    <a:pt x="80" y="211"/>
                  </a:lnTo>
                  <a:lnTo>
                    <a:pt x="76" y="211"/>
                  </a:lnTo>
                  <a:lnTo>
                    <a:pt x="76" y="213"/>
                  </a:lnTo>
                  <a:lnTo>
                    <a:pt x="73" y="211"/>
                  </a:lnTo>
                  <a:lnTo>
                    <a:pt x="67" y="213"/>
                  </a:lnTo>
                  <a:lnTo>
                    <a:pt x="59" y="217"/>
                  </a:lnTo>
                  <a:lnTo>
                    <a:pt x="53" y="217"/>
                  </a:lnTo>
                  <a:lnTo>
                    <a:pt x="48" y="219"/>
                  </a:lnTo>
                  <a:lnTo>
                    <a:pt x="44" y="217"/>
                  </a:lnTo>
                  <a:lnTo>
                    <a:pt x="36" y="225"/>
                  </a:lnTo>
                  <a:lnTo>
                    <a:pt x="32" y="225"/>
                  </a:lnTo>
                  <a:lnTo>
                    <a:pt x="30" y="227"/>
                  </a:lnTo>
                  <a:lnTo>
                    <a:pt x="32" y="227"/>
                  </a:lnTo>
                  <a:lnTo>
                    <a:pt x="30" y="230"/>
                  </a:lnTo>
                  <a:lnTo>
                    <a:pt x="25" y="232"/>
                  </a:lnTo>
                  <a:lnTo>
                    <a:pt x="26" y="236"/>
                  </a:lnTo>
                  <a:lnTo>
                    <a:pt x="25" y="238"/>
                  </a:lnTo>
                  <a:lnTo>
                    <a:pt x="21" y="242"/>
                  </a:lnTo>
                  <a:lnTo>
                    <a:pt x="19" y="242"/>
                  </a:lnTo>
                  <a:lnTo>
                    <a:pt x="23" y="248"/>
                  </a:lnTo>
                  <a:lnTo>
                    <a:pt x="25" y="250"/>
                  </a:lnTo>
                  <a:lnTo>
                    <a:pt x="28" y="254"/>
                  </a:lnTo>
                  <a:lnTo>
                    <a:pt x="30" y="254"/>
                  </a:lnTo>
                  <a:lnTo>
                    <a:pt x="32" y="257"/>
                  </a:lnTo>
                  <a:lnTo>
                    <a:pt x="23" y="261"/>
                  </a:lnTo>
                  <a:lnTo>
                    <a:pt x="19" y="259"/>
                  </a:lnTo>
                  <a:lnTo>
                    <a:pt x="17" y="263"/>
                  </a:lnTo>
                  <a:lnTo>
                    <a:pt x="19" y="267"/>
                  </a:lnTo>
                  <a:lnTo>
                    <a:pt x="17" y="271"/>
                  </a:lnTo>
                  <a:lnTo>
                    <a:pt x="11" y="273"/>
                  </a:lnTo>
                  <a:lnTo>
                    <a:pt x="13" y="271"/>
                  </a:lnTo>
                  <a:lnTo>
                    <a:pt x="11" y="269"/>
                  </a:lnTo>
                  <a:lnTo>
                    <a:pt x="13" y="269"/>
                  </a:lnTo>
                  <a:lnTo>
                    <a:pt x="11" y="265"/>
                  </a:lnTo>
                  <a:lnTo>
                    <a:pt x="13" y="265"/>
                  </a:lnTo>
                  <a:lnTo>
                    <a:pt x="15" y="263"/>
                  </a:lnTo>
                  <a:lnTo>
                    <a:pt x="13" y="261"/>
                  </a:lnTo>
                  <a:lnTo>
                    <a:pt x="15" y="261"/>
                  </a:lnTo>
                  <a:lnTo>
                    <a:pt x="15" y="259"/>
                  </a:lnTo>
                  <a:lnTo>
                    <a:pt x="17" y="259"/>
                  </a:lnTo>
                  <a:lnTo>
                    <a:pt x="15" y="257"/>
                  </a:lnTo>
                  <a:lnTo>
                    <a:pt x="17" y="255"/>
                  </a:lnTo>
                  <a:lnTo>
                    <a:pt x="15" y="255"/>
                  </a:lnTo>
                  <a:lnTo>
                    <a:pt x="17" y="252"/>
                  </a:lnTo>
                  <a:lnTo>
                    <a:pt x="13" y="248"/>
                  </a:lnTo>
                  <a:lnTo>
                    <a:pt x="9" y="240"/>
                  </a:lnTo>
                  <a:lnTo>
                    <a:pt x="9" y="236"/>
                  </a:lnTo>
                  <a:lnTo>
                    <a:pt x="9" y="230"/>
                  </a:lnTo>
                  <a:lnTo>
                    <a:pt x="11" y="225"/>
                  </a:lnTo>
                  <a:lnTo>
                    <a:pt x="15" y="219"/>
                  </a:lnTo>
                  <a:lnTo>
                    <a:pt x="13" y="217"/>
                  </a:lnTo>
                  <a:lnTo>
                    <a:pt x="9" y="217"/>
                  </a:lnTo>
                  <a:lnTo>
                    <a:pt x="13" y="215"/>
                  </a:lnTo>
                  <a:lnTo>
                    <a:pt x="13" y="213"/>
                  </a:lnTo>
                  <a:lnTo>
                    <a:pt x="9" y="209"/>
                  </a:lnTo>
                  <a:lnTo>
                    <a:pt x="5" y="207"/>
                  </a:lnTo>
                  <a:lnTo>
                    <a:pt x="5" y="206"/>
                  </a:lnTo>
                  <a:lnTo>
                    <a:pt x="7" y="204"/>
                  </a:lnTo>
                  <a:lnTo>
                    <a:pt x="7" y="202"/>
                  </a:lnTo>
                  <a:lnTo>
                    <a:pt x="3" y="198"/>
                  </a:lnTo>
                  <a:lnTo>
                    <a:pt x="3" y="194"/>
                  </a:lnTo>
                  <a:lnTo>
                    <a:pt x="0" y="194"/>
                  </a:lnTo>
                  <a:lnTo>
                    <a:pt x="0" y="192"/>
                  </a:lnTo>
                  <a:lnTo>
                    <a:pt x="3" y="190"/>
                  </a:lnTo>
                  <a:lnTo>
                    <a:pt x="0" y="190"/>
                  </a:lnTo>
                  <a:lnTo>
                    <a:pt x="2" y="186"/>
                  </a:lnTo>
                  <a:lnTo>
                    <a:pt x="0" y="184"/>
                  </a:lnTo>
                  <a:lnTo>
                    <a:pt x="3" y="184"/>
                  </a:lnTo>
                  <a:lnTo>
                    <a:pt x="2" y="181"/>
                  </a:lnTo>
                  <a:lnTo>
                    <a:pt x="5" y="182"/>
                  </a:lnTo>
                  <a:lnTo>
                    <a:pt x="5" y="179"/>
                  </a:lnTo>
                  <a:lnTo>
                    <a:pt x="7" y="179"/>
                  </a:lnTo>
                  <a:lnTo>
                    <a:pt x="7" y="175"/>
                  </a:lnTo>
                  <a:lnTo>
                    <a:pt x="13" y="171"/>
                  </a:lnTo>
                  <a:lnTo>
                    <a:pt x="15" y="171"/>
                  </a:lnTo>
                  <a:lnTo>
                    <a:pt x="17" y="169"/>
                  </a:lnTo>
                  <a:lnTo>
                    <a:pt x="15" y="165"/>
                  </a:lnTo>
                  <a:lnTo>
                    <a:pt x="17" y="165"/>
                  </a:lnTo>
                  <a:lnTo>
                    <a:pt x="15" y="163"/>
                  </a:lnTo>
                  <a:lnTo>
                    <a:pt x="19" y="154"/>
                  </a:lnTo>
                  <a:lnTo>
                    <a:pt x="21" y="154"/>
                  </a:lnTo>
                  <a:lnTo>
                    <a:pt x="19" y="148"/>
                  </a:lnTo>
                  <a:lnTo>
                    <a:pt x="19" y="140"/>
                  </a:lnTo>
                  <a:lnTo>
                    <a:pt x="17" y="136"/>
                  </a:lnTo>
                  <a:lnTo>
                    <a:pt x="17" y="133"/>
                  </a:lnTo>
                  <a:lnTo>
                    <a:pt x="21" y="134"/>
                  </a:lnTo>
                  <a:lnTo>
                    <a:pt x="28" y="134"/>
                  </a:lnTo>
                  <a:lnTo>
                    <a:pt x="32" y="133"/>
                  </a:lnTo>
                  <a:lnTo>
                    <a:pt x="36" y="134"/>
                  </a:lnTo>
                  <a:lnTo>
                    <a:pt x="42" y="133"/>
                  </a:lnTo>
                  <a:lnTo>
                    <a:pt x="50" y="129"/>
                  </a:lnTo>
                  <a:lnTo>
                    <a:pt x="51" y="129"/>
                  </a:lnTo>
                  <a:lnTo>
                    <a:pt x="51" y="125"/>
                  </a:lnTo>
                  <a:lnTo>
                    <a:pt x="55" y="119"/>
                  </a:lnTo>
                  <a:lnTo>
                    <a:pt x="63" y="121"/>
                  </a:lnTo>
                  <a:lnTo>
                    <a:pt x="69" y="119"/>
                  </a:lnTo>
                  <a:lnTo>
                    <a:pt x="71" y="115"/>
                  </a:lnTo>
                  <a:lnTo>
                    <a:pt x="76" y="115"/>
                  </a:lnTo>
                  <a:lnTo>
                    <a:pt x="82" y="119"/>
                  </a:lnTo>
                  <a:lnTo>
                    <a:pt x="88" y="123"/>
                  </a:lnTo>
                  <a:lnTo>
                    <a:pt x="90" y="125"/>
                  </a:lnTo>
                  <a:lnTo>
                    <a:pt x="98" y="127"/>
                  </a:lnTo>
                  <a:lnTo>
                    <a:pt x="99" y="129"/>
                  </a:lnTo>
                  <a:lnTo>
                    <a:pt x="103" y="127"/>
                  </a:lnTo>
                  <a:lnTo>
                    <a:pt x="105" y="131"/>
                  </a:lnTo>
                  <a:lnTo>
                    <a:pt x="111" y="129"/>
                  </a:lnTo>
                  <a:lnTo>
                    <a:pt x="121" y="129"/>
                  </a:lnTo>
                  <a:lnTo>
                    <a:pt x="122" y="129"/>
                  </a:lnTo>
                  <a:lnTo>
                    <a:pt x="132" y="127"/>
                  </a:lnTo>
                  <a:lnTo>
                    <a:pt x="134" y="129"/>
                  </a:lnTo>
                  <a:lnTo>
                    <a:pt x="136" y="127"/>
                  </a:lnTo>
                  <a:lnTo>
                    <a:pt x="144" y="129"/>
                  </a:lnTo>
                  <a:lnTo>
                    <a:pt x="147" y="123"/>
                  </a:lnTo>
                  <a:lnTo>
                    <a:pt x="153" y="125"/>
                  </a:lnTo>
                  <a:lnTo>
                    <a:pt x="163" y="125"/>
                  </a:lnTo>
                  <a:lnTo>
                    <a:pt x="172" y="129"/>
                  </a:lnTo>
                  <a:lnTo>
                    <a:pt x="178" y="127"/>
                  </a:lnTo>
                  <a:lnTo>
                    <a:pt x="180" y="121"/>
                  </a:lnTo>
                  <a:lnTo>
                    <a:pt x="188" y="125"/>
                  </a:lnTo>
                  <a:lnTo>
                    <a:pt x="190" y="127"/>
                  </a:lnTo>
                  <a:lnTo>
                    <a:pt x="201" y="125"/>
                  </a:lnTo>
                  <a:lnTo>
                    <a:pt x="203" y="123"/>
                  </a:lnTo>
                  <a:lnTo>
                    <a:pt x="211" y="125"/>
                  </a:lnTo>
                  <a:lnTo>
                    <a:pt x="215" y="125"/>
                  </a:lnTo>
                  <a:lnTo>
                    <a:pt x="222" y="121"/>
                  </a:lnTo>
                  <a:lnTo>
                    <a:pt x="226" y="119"/>
                  </a:lnTo>
                  <a:lnTo>
                    <a:pt x="230" y="113"/>
                  </a:lnTo>
                  <a:lnTo>
                    <a:pt x="234" y="113"/>
                  </a:lnTo>
                  <a:lnTo>
                    <a:pt x="240" y="117"/>
                  </a:lnTo>
                  <a:lnTo>
                    <a:pt x="245" y="121"/>
                  </a:lnTo>
                  <a:lnTo>
                    <a:pt x="251" y="121"/>
                  </a:lnTo>
                  <a:lnTo>
                    <a:pt x="255" y="119"/>
                  </a:lnTo>
                  <a:lnTo>
                    <a:pt x="257" y="115"/>
                  </a:lnTo>
                  <a:lnTo>
                    <a:pt x="259" y="117"/>
                  </a:lnTo>
                  <a:lnTo>
                    <a:pt x="264" y="117"/>
                  </a:lnTo>
                  <a:lnTo>
                    <a:pt x="270" y="113"/>
                  </a:lnTo>
                  <a:lnTo>
                    <a:pt x="276" y="115"/>
                  </a:lnTo>
                  <a:lnTo>
                    <a:pt x="276" y="113"/>
                  </a:lnTo>
                  <a:lnTo>
                    <a:pt x="280" y="111"/>
                  </a:lnTo>
                  <a:lnTo>
                    <a:pt x="288" y="113"/>
                  </a:lnTo>
                  <a:lnTo>
                    <a:pt x="293" y="109"/>
                  </a:lnTo>
                  <a:lnTo>
                    <a:pt x="297" y="108"/>
                  </a:lnTo>
                  <a:lnTo>
                    <a:pt x="307" y="109"/>
                  </a:lnTo>
                  <a:lnTo>
                    <a:pt x="312" y="106"/>
                  </a:lnTo>
                  <a:lnTo>
                    <a:pt x="312" y="102"/>
                  </a:lnTo>
                  <a:lnTo>
                    <a:pt x="314" y="100"/>
                  </a:lnTo>
                  <a:lnTo>
                    <a:pt x="320" y="102"/>
                  </a:lnTo>
                  <a:lnTo>
                    <a:pt x="328" y="102"/>
                  </a:lnTo>
                  <a:lnTo>
                    <a:pt x="337" y="104"/>
                  </a:lnTo>
                  <a:lnTo>
                    <a:pt x="341" y="106"/>
                  </a:lnTo>
                  <a:lnTo>
                    <a:pt x="341" y="108"/>
                  </a:lnTo>
                  <a:lnTo>
                    <a:pt x="343" y="109"/>
                  </a:lnTo>
                  <a:lnTo>
                    <a:pt x="353" y="113"/>
                  </a:lnTo>
                  <a:lnTo>
                    <a:pt x="360" y="113"/>
                  </a:lnTo>
                  <a:lnTo>
                    <a:pt x="362" y="113"/>
                  </a:lnTo>
                  <a:lnTo>
                    <a:pt x="370" y="111"/>
                  </a:lnTo>
                  <a:lnTo>
                    <a:pt x="374" y="109"/>
                  </a:lnTo>
                  <a:lnTo>
                    <a:pt x="378" y="109"/>
                  </a:lnTo>
                  <a:lnTo>
                    <a:pt x="387" y="109"/>
                  </a:lnTo>
                  <a:lnTo>
                    <a:pt x="391" y="109"/>
                  </a:lnTo>
                  <a:lnTo>
                    <a:pt x="399" y="109"/>
                  </a:lnTo>
                  <a:lnTo>
                    <a:pt x="403" y="111"/>
                  </a:lnTo>
                  <a:lnTo>
                    <a:pt x="407" y="109"/>
                  </a:lnTo>
                  <a:lnTo>
                    <a:pt x="412" y="109"/>
                  </a:lnTo>
                  <a:lnTo>
                    <a:pt x="422" y="108"/>
                  </a:lnTo>
                  <a:lnTo>
                    <a:pt x="428" y="102"/>
                  </a:lnTo>
                  <a:lnTo>
                    <a:pt x="431" y="100"/>
                  </a:lnTo>
                  <a:lnTo>
                    <a:pt x="431" y="98"/>
                  </a:lnTo>
                  <a:lnTo>
                    <a:pt x="433" y="100"/>
                  </a:lnTo>
                  <a:lnTo>
                    <a:pt x="433" y="98"/>
                  </a:lnTo>
                  <a:lnTo>
                    <a:pt x="433" y="100"/>
                  </a:lnTo>
                  <a:lnTo>
                    <a:pt x="435" y="98"/>
                  </a:lnTo>
                  <a:lnTo>
                    <a:pt x="439" y="98"/>
                  </a:lnTo>
                  <a:lnTo>
                    <a:pt x="437" y="92"/>
                  </a:lnTo>
                  <a:lnTo>
                    <a:pt x="435" y="92"/>
                  </a:lnTo>
                  <a:lnTo>
                    <a:pt x="437" y="88"/>
                  </a:lnTo>
                  <a:lnTo>
                    <a:pt x="441" y="85"/>
                  </a:lnTo>
                  <a:lnTo>
                    <a:pt x="445" y="79"/>
                  </a:lnTo>
                  <a:lnTo>
                    <a:pt x="451" y="75"/>
                  </a:lnTo>
                  <a:lnTo>
                    <a:pt x="453" y="71"/>
                  </a:lnTo>
                  <a:lnTo>
                    <a:pt x="456" y="69"/>
                  </a:lnTo>
                  <a:lnTo>
                    <a:pt x="464" y="65"/>
                  </a:lnTo>
                  <a:lnTo>
                    <a:pt x="466" y="60"/>
                  </a:lnTo>
                  <a:lnTo>
                    <a:pt x="474" y="54"/>
                  </a:lnTo>
                  <a:lnTo>
                    <a:pt x="474" y="52"/>
                  </a:lnTo>
                  <a:lnTo>
                    <a:pt x="481" y="50"/>
                  </a:lnTo>
                  <a:lnTo>
                    <a:pt x="483" y="48"/>
                  </a:lnTo>
                  <a:lnTo>
                    <a:pt x="483" y="44"/>
                  </a:lnTo>
                  <a:lnTo>
                    <a:pt x="481" y="42"/>
                  </a:lnTo>
                  <a:lnTo>
                    <a:pt x="481" y="40"/>
                  </a:lnTo>
                  <a:lnTo>
                    <a:pt x="479" y="38"/>
                  </a:lnTo>
                  <a:lnTo>
                    <a:pt x="483" y="35"/>
                  </a:lnTo>
                  <a:lnTo>
                    <a:pt x="485" y="36"/>
                  </a:lnTo>
                  <a:lnTo>
                    <a:pt x="483" y="38"/>
                  </a:lnTo>
                  <a:lnTo>
                    <a:pt x="485" y="40"/>
                  </a:lnTo>
                  <a:lnTo>
                    <a:pt x="489" y="38"/>
                  </a:lnTo>
                  <a:lnTo>
                    <a:pt x="489" y="40"/>
                  </a:lnTo>
                  <a:lnTo>
                    <a:pt x="497" y="42"/>
                  </a:lnTo>
                  <a:lnTo>
                    <a:pt x="502" y="38"/>
                  </a:lnTo>
                  <a:lnTo>
                    <a:pt x="506" y="44"/>
                  </a:lnTo>
                  <a:lnTo>
                    <a:pt x="512" y="40"/>
                  </a:lnTo>
                  <a:lnTo>
                    <a:pt x="518" y="38"/>
                  </a:lnTo>
                  <a:lnTo>
                    <a:pt x="520" y="38"/>
                  </a:lnTo>
                  <a:lnTo>
                    <a:pt x="526" y="36"/>
                  </a:lnTo>
                  <a:lnTo>
                    <a:pt x="529" y="35"/>
                  </a:lnTo>
                  <a:lnTo>
                    <a:pt x="529" y="33"/>
                  </a:lnTo>
                  <a:lnTo>
                    <a:pt x="535" y="33"/>
                  </a:lnTo>
                  <a:lnTo>
                    <a:pt x="541" y="29"/>
                  </a:lnTo>
                  <a:lnTo>
                    <a:pt x="545" y="29"/>
                  </a:lnTo>
                  <a:lnTo>
                    <a:pt x="549" y="23"/>
                  </a:lnTo>
                  <a:lnTo>
                    <a:pt x="550" y="25"/>
                  </a:lnTo>
                  <a:lnTo>
                    <a:pt x="556" y="23"/>
                  </a:lnTo>
                  <a:lnTo>
                    <a:pt x="564" y="21"/>
                  </a:lnTo>
                  <a:lnTo>
                    <a:pt x="568" y="21"/>
                  </a:lnTo>
                  <a:lnTo>
                    <a:pt x="572" y="17"/>
                  </a:lnTo>
                  <a:lnTo>
                    <a:pt x="585" y="13"/>
                  </a:lnTo>
                  <a:lnTo>
                    <a:pt x="589" y="12"/>
                  </a:lnTo>
                  <a:lnTo>
                    <a:pt x="597" y="10"/>
                  </a:lnTo>
                  <a:lnTo>
                    <a:pt x="604" y="13"/>
                  </a:lnTo>
                  <a:lnTo>
                    <a:pt x="612" y="12"/>
                  </a:lnTo>
                  <a:lnTo>
                    <a:pt x="618" y="10"/>
                  </a:lnTo>
                  <a:lnTo>
                    <a:pt x="623" y="4"/>
                  </a:lnTo>
                  <a:lnTo>
                    <a:pt x="627" y="0"/>
                  </a:lnTo>
                  <a:lnTo>
                    <a:pt x="633" y="0"/>
                  </a:lnTo>
                  <a:lnTo>
                    <a:pt x="641" y="0"/>
                  </a:lnTo>
                  <a:lnTo>
                    <a:pt x="650" y="0"/>
                  </a:lnTo>
                  <a:lnTo>
                    <a:pt x="658" y="0"/>
                  </a:lnTo>
                  <a:lnTo>
                    <a:pt x="660" y="0"/>
                  </a:lnTo>
                  <a:lnTo>
                    <a:pt x="664" y="0"/>
                  </a:lnTo>
                  <a:lnTo>
                    <a:pt x="666" y="0"/>
                  </a:lnTo>
                  <a:lnTo>
                    <a:pt x="662" y="8"/>
                  </a:lnTo>
                  <a:lnTo>
                    <a:pt x="662" y="10"/>
                  </a:lnTo>
                  <a:lnTo>
                    <a:pt x="658" y="12"/>
                  </a:lnTo>
                  <a:lnTo>
                    <a:pt x="656" y="13"/>
                  </a:lnTo>
                  <a:lnTo>
                    <a:pt x="652" y="15"/>
                  </a:lnTo>
                  <a:lnTo>
                    <a:pt x="646" y="23"/>
                  </a:lnTo>
                  <a:lnTo>
                    <a:pt x="643" y="29"/>
                  </a:lnTo>
                  <a:lnTo>
                    <a:pt x="646" y="31"/>
                  </a:lnTo>
                  <a:lnTo>
                    <a:pt x="645" y="33"/>
                  </a:lnTo>
                  <a:lnTo>
                    <a:pt x="646" y="35"/>
                  </a:lnTo>
                  <a:lnTo>
                    <a:pt x="645" y="36"/>
                  </a:lnTo>
                  <a:lnTo>
                    <a:pt x="646" y="40"/>
                  </a:lnTo>
                  <a:lnTo>
                    <a:pt x="650" y="40"/>
                  </a:lnTo>
                  <a:lnTo>
                    <a:pt x="648" y="42"/>
                  </a:lnTo>
                  <a:lnTo>
                    <a:pt x="650" y="44"/>
                  </a:lnTo>
                  <a:lnTo>
                    <a:pt x="656" y="46"/>
                  </a:lnTo>
                  <a:lnTo>
                    <a:pt x="656" y="52"/>
                  </a:lnTo>
                  <a:lnTo>
                    <a:pt x="654" y="60"/>
                  </a:lnTo>
                  <a:lnTo>
                    <a:pt x="656" y="58"/>
                  </a:lnTo>
                  <a:lnTo>
                    <a:pt x="658" y="60"/>
                  </a:lnTo>
                  <a:lnTo>
                    <a:pt x="660" y="58"/>
                  </a:lnTo>
                  <a:lnTo>
                    <a:pt x="664" y="60"/>
                  </a:lnTo>
                  <a:lnTo>
                    <a:pt x="664" y="58"/>
                  </a:lnTo>
                  <a:lnTo>
                    <a:pt x="664" y="60"/>
                  </a:lnTo>
                  <a:lnTo>
                    <a:pt x="666" y="58"/>
                  </a:lnTo>
                  <a:lnTo>
                    <a:pt x="669" y="65"/>
                  </a:lnTo>
                  <a:lnTo>
                    <a:pt x="664" y="71"/>
                  </a:lnTo>
                  <a:lnTo>
                    <a:pt x="658" y="73"/>
                  </a:lnTo>
                  <a:lnTo>
                    <a:pt x="658" y="75"/>
                  </a:lnTo>
                  <a:lnTo>
                    <a:pt x="654" y="73"/>
                  </a:lnTo>
                  <a:lnTo>
                    <a:pt x="648" y="73"/>
                  </a:lnTo>
                  <a:lnTo>
                    <a:pt x="639" y="77"/>
                  </a:lnTo>
                  <a:lnTo>
                    <a:pt x="635" y="77"/>
                  </a:lnTo>
                  <a:lnTo>
                    <a:pt x="633" y="79"/>
                  </a:lnTo>
                  <a:lnTo>
                    <a:pt x="625" y="81"/>
                  </a:lnTo>
                  <a:lnTo>
                    <a:pt x="620" y="75"/>
                  </a:lnTo>
                  <a:lnTo>
                    <a:pt x="616" y="77"/>
                  </a:lnTo>
                  <a:lnTo>
                    <a:pt x="612" y="83"/>
                  </a:lnTo>
                  <a:lnTo>
                    <a:pt x="612" y="86"/>
                  </a:lnTo>
                  <a:lnTo>
                    <a:pt x="610" y="92"/>
                  </a:lnTo>
                  <a:lnTo>
                    <a:pt x="600" y="92"/>
                  </a:lnTo>
                  <a:lnTo>
                    <a:pt x="593" y="96"/>
                  </a:lnTo>
                  <a:lnTo>
                    <a:pt x="589" y="102"/>
                  </a:lnTo>
                  <a:lnTo>
                    <a:pt x="587" y="100"/>
                  </a:lnTo>
                  <a:lnTo>
                    <a:pt x="583" y="10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61" name="Freeform 42">
              <a:extLst>
                <a:ext uri="{FF2B5EF4-FFF2-40B4-BE49-F238E27FC236}">
                  <a16:creationId xmlns:a16="http://schemas.microsoft.com/office/drawing/2014/main" id="{692E8B77-5F0C-4D21-9348-1083BBD7DC36}"/>
                </a:ext>
              </a:extLst>
            </p:cNvPr>
            <p:cNvSpPr>
              <a:spLocks/>
            </p:cNvSpPr>
            <p:nvPr/>
          </p:nvSpPr>
          <p:spPr bwMode="gray">
            <a:xfrm>
              <a:off x="7739065" y="2933700"/>
              <a:ext cx="323850" cy="317499"/>
            </a:xfrm>
            <a:custGeom>
              <a:avLst/>
              <a:gdLst>
                <a:gd name="T0" fmla="*/ 202 w 204"/>
                <a:gd name="T1" fmla="*/ 8 h 200"/>
                <a:gd name="T2" fmla="*/ 204 w 204"/>
                <a:gd name="T3" fmla="*/ 17 h 200"/>
                <a:gd name="T4" fmla="*/ 202 w 204"/>
                <a:gd name="T5" fmla="*/ 27 h 200"/>
                <a:gd name="T6" fmla="*/ 204 w 204"/>
                <a:gd name="T7" fmla="*/ 38 h 200"/>
                <a:gd name="T8" fmla="*/ 194 w 204"/>
                <a:gd name="T9" fmla="*/ 50 h 200"/>
                <a:gd name="T10" fmla="*/ 185 w 204"/>
                <a:gd name="T11" fmla="*/ 65 h 200"/>
                <a:gd name="T12" fmla="*/ 187 w 204"/>
                <a:gd name="T13" fmla="*/ 75 h 200"/>
                <a:gd name="T14" fmla="*/ 190 w 204"/>
                <a:gd name="T15" fmla="*/ 90 h 200"/>
                <a:gd name="T16" fmla="*/ 190 w 204"/>
                <a:gd name="T17" fmla="*/ 100 h 200"/>
                <a:gd name="T18" fmla="*/ 198 w 204"/>
                <a:gd name="T19" fmla="*/ 106 h 200"/>
                <a:gd name="T20" fmla="*/ 187 w 204"/>
                <a:gd name="T21" fmla="*/ 119 h 200"/>
                <a:gd name="T22" fmla="*/ 179 w 204"/>
                <a:gd name="T23" fmla="*/ 127 h 200"/>
                <a:gd name="T24" fmla="*/ 177 w 204"/>
                <a:gd name="T25" fmla="*/ 144 h 200"/>
                <a:gd name="T26" fmla="*/ 169 w 204"/>
                <a:gd name="T27" fmla="*/ 157 h 200"/>
                <a:gd name="T28" fmla="*/ 160 w 204"/>
                <a:gd name="T29" fmla="*/ 169 h 200"/>
                <a:gd name="T30" fmla="*/ 146 w 204"/>
                <a:gd name="T31" fmla="*/ 173 h 200"/>
                <a:gd name="T32" fmla="*/ 131 w 204"/>
                <a:gd name="T33" fmla="*/ 163 h 200"/>
                <a:gd name="T34" fmla="*/ 133 w 204"/>
                <a:gd name="T35" fmla="*/ 152 h 200"/>
                <a:gd name="T36" fmla="*/ 131 w 204"/>
                <a:gd name="T37" fmla="*/ 150 h 200"/>
                <a:gd name="T38" fmla="*/ 118 w 204"/>
                <a:gd name="T39" fmla="*/ 157 h 200"/>
                <a:gd name="T40" fmla="*/ 104 w 204"/>
                <a:gd name="T41" fmla="*/ 169 h 200"/>
                <a:gd name="T42" fmla="*/ 91 w 204"/>
                <a:gd name="T43" fmla="*/ 165 h 200"/>
                <a:gd name="T44" fmla="*/ 87 w 204"/>
                <a:gd name="T45" fmla="*/ 165 h 200"/>
                <a:gd name="T46" fmla="*/ 73 w 204"/>
                <a:gd name="T47" fmla="*/ 157 h 200"/>
                <a:gd name="T48" fmla="*/ 68 w 204"/>
                <a:gd name="T49" fmla="*/ 161 h 200"/>
                <a:gd name="T50" fmla="*/ 54 w 204"/>
                <a:gd name="T51" fmla="*/ 161 h 200"/>
                <a:gd name="T52" fmla="*/ 47 w 204"/>
                <a:gd name="T53" fmla="*/ 167 h 200"/>
                <a:gd name="T54" fmla="*/ 47 w 204"/>
                <a:gd name="T55" fmla="*/ 177 h 200"/>
                <a:gd name="T56" fmla="*/ 39 w 204"/>
                <a:gd name="T57" fmla="*/ 182 h 200"/>
                <a:gd name="T58" fmla="*/ 33 w 204"/>
                <a:gd name="T59" fmla="*/ 192 h 200"/>
                <a:gd name="T60" fmla="*/ 25 w 204"/>
                <a:gd name="T61" fmla="*/ 196 h 200"/>
                <a:gd name="T62" fmla="*/ 12 w 204"/>
                <a:gd name="T63" fmla="*/ 190 h 200"/>
                <a:gd name="T64" fmla="*/ 14 w 204"/>
                <a:gd name="T65" fmla="*/ 175 h 200"/>
                <a:gd name="T66" fmla="*/ 0 w 204"/>
                <a:gd name="T67" fmla="*/ 163 h 200"/>
                <a:gd name="T68" fmla="*/ 10 w 204"/>
                <a:gd name="T69" fmla="*/ 154 h 200"/>
                <a:gd name="T70" fmla="*/ 18 w 204"/>
                <a:gd name="T71" fmla="*/ 150 h 200"/>
                <a:gd name="T72" fmla="*/ 24 w 204"/>
                <a:gd name="T73" fmla="*/ 142 h 200"/>
                <a:gd name="T74" fmla="*/ 39 w 204"/>
                <a:gd name="T75" fmla="*/ 132 h 200"/>
                <a:gd name="T76" fmla="*/ 39 w 204"/>
                <a:gd name="T77" fmla="*/ 125 h 200"/>
                <a:gd name="T78" fmla="*/ 47 w 204"/>
                <a:gd name="T79" fmla="*/ 117 h 200"/>
                <a:gd name="T80" fmla="*/ 48 w 204"/>
                <a:gd name="T81" fmla="*/ 130 h 200"/>
                <a:gd name="T82" fmla="*/ 58 w 204"/>
                <a:gd name="T83" fmla="*/ 130 h 200"/>
                <a:gd name="T84" fmla="*/ 68 w 204"/>
                <a:gd name="T85" fmla="*/ 115 h 200"/>
                <a:gd name="T86" fmla="*/ 70 w 204"/>
                <a:gd name="T87" fmla="*/ 104 h 200"/>
                <a:gd name="T88" fmla="*/ 73 w 204"/>
                <a:gd name="T89" fmla="*/ 98 h 200"/>
                <a:gd name="T90" fmla="*/ 77 w 204"/>
                <a:gd name="T91" fmla="*/ 86 h 200"/>
                <a:gd name="T92" fmla="*/ 91 w 204"/>
                <a:gd name="T93" fmla="*/ 77 h 200"/>
                <a:gd name="T94" fmla="*/ 98 w 204"/>
                <a:gd name="T95" fmla="*/ 58 h 200"/>
                <a:gd name="T96" fmla="*/ 102 w 204"/>
                <a:gd name="T97" fmla="*/ 59 h 200"/>
                <a:gd name="T98" fmla="*/ 110 w 204"/>
                <a:gd name="T99" fmla="*/ 59 h 200"/>
                <a:gd name="T100" fmla="*/ 114 w 204"/>
                <a:gd name="T101" fmla="*/ 56 h 200"/>
                <a:gd name="T102" fmla="*/ 116 w 204"/>
                <a:gd name="T103" fmla="*/ 48 h 200"/>
                <a:gd name="T104" fmla="*/ 125 w 204"/>
                <a:gd name="T105" fmla="*/ 42 h 200"/>
                <a:gd name="T106" fmla="*/ 133 w 204"/>
                <a:gd name="T107" fmla="*/ 36 h 200"/>
                <a:gd name="T108" fmla="*/ 137 w 204"/>
                <a:gd name="T109" fmla="*/ 38 h 200"/>
                <a:gd name="T110" fmla="*/ 139 w 204"/>
                <a:gd name="T111" fmla="*/ 36 h 200"/>
                <a:gd name="T112" fmla="*/ 152 w 204"/>
                <a:gd name="T113" fmla="*/ 31 h 200"/>
                <a:gd name="T114" fmla="*/ 160 w 204"/>
                <a:gd name="T115" fmla="*/ 23 h 200"/>
                <a:gd name="T116" fmla="*/ 171 w 204"/>
                <a:gd name="T117" fmla="*/ 9 h 200"/>
                <a:gd name="T118" fmla="*/ 181 w 204"/>
                <a:gd name="T119" fmla="*/ 13 h 200"/>
                <a:gd name="T120" fmla="*/ 194 w 204"/>
                <a:gd name="T121" fmla="*/ 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4" h="200">
                  <a:moveTo>
                    <a:pt x="200" y="2"/>
                  </a:moveTo>
                  <a:lnTo>
                    <a:pt x="200" y="6"/>
                  </a:lnTo>
                  <a:lnTo>
                    <a:pt x="202" y="8"/>
                  </a:lnTo>
                  <a:lnTo>
                    <a:pt x="202" y="11"/>
                  </a:lnTo>
                  <a:lnTo>
                    <a:pt x="204" y="13"/>
                  </a:lnTo>
                  <a:lnTo>
                    <a:pt x="204" y="17"/>
                  </a:lnTo>
                  <a:lnTo>
                    <a:pt x="198" y="21"/>
                  </a:lnTo>
                  <a:lnTo>
                    <a:pt x="200" y="21"/>
                  </a:lnTo>
                  <a:lnTo>
                    <a:pt x="202" y="27"/>
                  </a:lnTo>
                  <a:lnTo>
                    <a:pt x="204" y="29"/>
                  </a:lnTo>
                  <a:lnTo>
                    <a:pt x="202" y="33"/>
                  </a:lnTo>
                  <a:lnTo>
                    <a:pt x="204" y="38"/>
                  </a:lnTo>
                  <a:lnTo>
                    <a:pt x="202" y="42"/>
                  </a:lnTo>
                  <a:lnTo>
                    <a:pt x="194" y="46"/>
                  </a:lnTo>
                  <a:lnTo>
                    <a:pt x="194" y="50"/>
                  </a:lnTo>
                  <a:lnTo>
                    <a:pt x="190" y="54"/>
                  </a:lnTo>
                  <a:lnTo>
                    <a:pt x="190" y="58"/>
                  </a:lnTo>
                  <a:lnTo>
                    <a:pt x="185" y="65"/>
                  </a:lnTo>
                  <a:lnTo>
                    <a:pt x="190" y="67"/>
                  </a:lnTo>
                  <a:lnTo>
                    <a:pt x="189" y="71"/>
                  </a:lnTo>
                  <a:lnTo>
                    <a:pt x="187" y="75"/>
                  </a:lnTo>
                  <a:lnTo>
                    <a:pt x="185" y="81"/>
                  </a:lnTo>
                  <a:lnTo>
                    <a:pt x="189" y="88"/>
                  </a:lnTo>
                  <a:lnTo>
                    <a:pt x="190" y="90"/>
                  </a:lnTo>
                  <a:lnTo>
                    <a:pt x="189" y="96"/>
                  </a:lnTo>
                  <a:lnTo>
                    <a:pt x="190" y="98"/>
                  </a:lnTo>
                  <a:lnTo>
                    <a:pt x="190" y="100"/>
                  </a:lnTo>
                  <a:lnTo>
                    <a:pt x="190" y="102"/>
                  </a:lnTo>
                  <a:lnTo>
                    <a:pt x="196" y="104"/>
                  </a:lnTo>
                  <a:lnTo>
                    <a:pt x="198" y="106"/>
                  </a:lnTo>
                  <a:lnTo>
                    <a:pt x="194" y="111"/>
                  </a:lnTo>
                  <a:lnTo>
                    <a:pt x="190" y="115"/>
                  </a:lnTo>
                  <a:lnTo>
                    <a:pt x="187" y="119"/>
                  </a:lnTo>
                  <a:lnTo>
                    <a:pt x="183" y="119"/>
                  </a:lnTo>
                  <a:lnTo>
                    <a:pt x="179" y="125"/>
                  </a:lnTo>
                  <a:lnTo>
                    <a:pt x="179" y="127"/>
                  </a:lnTo>
                  <a:lnTo>
                    <a:pt x="183" y="136"/>
                  </a:lnTo>
                  <a:lnTo>
                    <a:pt x="183" y="142"/>
                  </a:lnTo>
                  <a:lnTo>
                    <a:pt x="177" y="144"/>
                  </a:lnTo>
                  <a:lnTo>
                    <a:pt x="177" y="148"/>
                  </a:lnTo>
                  <a:lnTo>
                    <a:pt x="171" y="154"/>
                  </a:lnTo>
                  <a:lnTo>
                    <a:pt x="169" y="157"/>
                  </a:lnTo>
                  <a:lnTo>
                    <a:pt x="167" y="161"/>
                  </a:lnTo>
                  <a:lnTo>
                    <a:pt x="160" y="163"/>
                  </a:lnTo>
                  <a:lnTo>
                    <a:pt x="160" y="169"/>
                  </a:lnTo>
                  <a:lnTo>
                    <a:pt x="154" y="167"/>
                  </a:lnTo>
                  <a:lnTo>
                    <a:pt x="148" y="169"/>
                  </a:lnTo>
                  <a:lnTo>
                    <a:pt x="146" y="173"/>
                  </a:lnTo>
                  <a:lnTo>
                    <a:pt x="137" y="171"/>
                  </a:lnTo>
                  <a:lnTo>
                    <a:pt x="129" y="167"/>
                  </a:lnTo>
                  <a:lnTo>
                    <a:pt x="131" y="163"/>
                  </a:lnTo>
                  <a:lnTo>
                    <a:pt x="131" y="159"/>
                  </a:lnTo>
                  <a:lnTo>
                    <a:pt x="135" y="154"/>
                  </a:lnTo>
                  <a:lnTo>
                    <a:pt x="133" y="152"/>
                  </a:lnTo>
                  <a:lnTo>
                    <a:pt x="135" y="148"/>
                  </a:lnTo>
                  <a:lnTo>
                    <a:pt x="133" y="146"/>
                  </a:lnTo>
                  <a:lnTo>
                    <a:pt x="131" y="150"/>
                  </a:lnTo>
                  <a:lnTo>
                    <a:pt x="125" y="155"/>
                  </a:lnTo>
                  <a:lnTo>
                    <a:pt x="121" y="155"/>
                  </a:lnTo>
                  <a:lnTo>
                    <a:pt x="118" y="157"/>
                  </a:lnTo>
                  <a:lnTo>
                    <a:pt x="116" y="163"/>
                  </a:lnTo>
                  <a:lnTo>
                    <a:pt x="112" y="163"/>
                  </a:lnTo>
                  <a:lnTo>
                    <a:pt x="104" y="169"/>
                  </a:lnTo>
                  <a:lnTo>
                    <a:pt x="102" y="167"/>
                  </a:lnTo>
                  <a:lnTo>
                    <a:pt x="95" y="169"/>
                  </a:lnTo>
                  <a:lnTo>
                    <a:pt x="91" y="165"/>
                  </a:lnTo>
                  <a:lnTo>
                    <a:pt x="93" y="161"/>
                  </a:lnTo>
                  <a:lnTo>
                    <a:pt x="89" y="161"/>
                  </a:lnTo>
                  <a:lnTo>
                    <a:pt x="87" y="165"/>
                  </a:lnTo>
                  <a:lnTo>
                    <a:pt x="81" y="165"/>
                  </a:lnTo>
                  <a:lnTo>
                    <a:pt x="81" y="161"/>
                  </a:lnTo>
                  <a:lnTo>
                    <a:pt x="73" y="157"/>
                  </a:lnTo>
                  <a:lnTo>
                    <a:pt x="71" y="161"/>
                  </a:lnTo>
                  <a:lnTo>
                    <a:pt x="70" y="159"/>
                  </a:lnTo>
                  <a:lnTo>
                    <a:pt x="68" y="161"/>
                  </a:lnTo>
                  <a:lnTo>
                    <a:pt x="60" y="161"/>
                  </a:lnTo>
                  <a:lnTo>
                    <a:pt x="56" y="161"/>
                  </a:lnTo>
                  <a:lnTo>
                    <a:pt x="54" y="161"/>
                  </a:lnTo>
                  <a:lnTo>
                    <a:pt x="52" y="163"/>
                  </a:lnTo>
                  <a:lnTo>
                    <a:pt x="47" y="163"/>
                  </a:lnTo>
                  <a:lnTo>
                    <a:pt x="47" y="167"/>
                  </a:lnTo>
                  <a:lnTo>
                    <a:pt x="50" y="167"/>
                  </a:lnTo>
                  <a:lnTo>
                    <a:pt x="50" y="171"/>
                  </a:lnTo>
                  <a:lnTo>
                    <a:pt x="47" y="177"/>
                  </a:lnTo>
                  <a:lnTo>
                    <a:pt x="45" y="179"/>
                  </a:lnTo>
                  <a:lnTo>
                    <a:pt x="41" y="182"/>
                  </a:lnTo>
                  <a:lnTo>
                    <a:pt x="39" y="182"/>
                  </a:lnTo>
                  <a:lnTo>
                    <a:pt x="37" y="186"/>
                  </a:lnTo>
                  <a:lnTo>
                    <a:pt x="35" y="186"/>
                  </a:lnTo>
                  <a:lnTo>
                    <a:pt x="33" y="192"/>
                  </a:lnTo>
                  <a:lnTo>
                    <a:pt x="29" y="200"/>
                  </a:lnTo>
                  <a:lnTo>
                    <a:pt x="27" y="200"/>
                  </a:lnTo>
                  <a:lnTo>
                    <a:pt x="25" y="196"/>
                  </a:lnTo>
                  <a:lnTo>
                    <a:pt x="18" y="196"/>
                  </a:lnTo>
                  <a:lnTo>
                    <a:pt x="18" y="192"/>
                  </a:lnTo>
                  <a:lnTo>
                    <a:pt x="12" y="190"/>
                  </a:lnTo>
                  <a:lnTo>
                    <a:pt x="12" y="184"/>
                  </a:lnTo>
                  <a:lnTo>
                    <a:pt x="16" y="180"/>
                  </a:lnTo>
                  <a:lnTo>
                    <a:pt x="14" y="175"/>
                  </a:lnTo>
                  <a:lnTo>
                    <a:pt x="6" y="173"/>
                  </a:lnTo>
                  <a:lnTo>
                    <a:pt x="6" y="169"/>
                  </a:lnTo>
                  <a:lnTo>
                    <a:pt x="0" y="163"/>
                  </a:lnTo>
                  <a:lnTo>
                    <a:pt x="4" y="161"/>
                  </a:lnTo>
                  <a:lnTo>
                    <a:pt x="10" y="155"/>
                  </a:lnTo>
                  <a:lnTo>
                    <a:pt x="10" y="154"/>
                  </a:lnTo>
                  <a:lnTo>
                    <a:pt x="14" y="154"/>
                  </a:lnTo>
                  <a:lnTo>
                    <a:pt x="14" y="152"/>
                  </a:lnTo>
                  <a:lnTo>
                    <a:pt x="18" y="150"/>
                  </a:lnTo>
                  <a:lnTo>
                    <a:pt x="22" y="146"/>
                  </a:lnTo>
                  <a:lnTo>
                    <a:pt x="24" y="146"/>
                  </a:lnTo>
                  <a:lnTo>
                    <a:pt x="24" y="142"/>
                  </a:lnTo>
                  <a:lnTo>
                    <a:pt x="31" y="138"/>
                  </a:lnTo>
                  <a:lnTo>
                    <a:pt x="33" y="132"/>
                  </a:lnTo>
                  <a:lnTo>
                    <a:pt x="39" y="132"/>
                  </a:lnTo>
                  <a:lnTo>
                    <a:pt x="41" y="129"/>
                  </a:lnTo>
                  <a:lnTo>
                    <a:pt x="41" y="130"/>
                  </a:lnTo>
                  <a:lnTo>
                    <a:pt x="39" y="125"/>
                  </a:lnTo>
                  <a:lnTo>
                    <a:pt x="47" y="119"/>
                  </a:lnTo>
                  <a:lnTo>
                    <a:pt x="48" y="119"/>
                  </a:lnTo>
                  <a:lnTo>
                    <a:pt x="47" y="117"/>
                  </a:lnTo>
                  <a:lnTo>
                    <a:pt x="48" y="117"/>
                  </a:lnTo>
                  <a:lnTo>
                    <a:pt x="50" y="123"/>
                  </a:lnTo>
                  <a:lnTo>
                    <a:pt x="48" y="130"/>
                  </a:lnTo>
                  <a:lnTo>
                    <a:pt x="50" y="134"/>
                  </a:lnTo>
                  <a:lnTo>
                    <a:pt x="56" y="129"/>
                  </a:lnTo>
                  <a:lnTo>
                    <a:pt x="58" y="130"/>
                  </a:lnTo>
                  <a:lnTo>
                    <a:pt x="66" y="125"/>
                  </a:lnTo>
                  <a:lnTo>
                    <a:pt x="70" y="121"/>
                  </a:lnTo>
                  <a:lnTo>
                    <a:pt x="68" y="115"/>
                  </a:lnTo>
                  <a:lnTo>
                    <a:pt x="68" y="109"/>
                  </a:lnTo>
                  <a:lnTo>
                    <a:pt x="71" y="107"/>
                  </a:lnTo>
                  <a:lnTo>
                    <a:pt x="70" y="104"/>
                  </a:lnTo>
                  <a:lnTo>
                    <a:pt x="71" y="102"/>
                  </a:lnTo>
                  <a:lnTo>
                    <a:pt x="71" y="100"/>
                  </a:lnTo>
                  <a:lnTo>
                    <a:pt x="73" y="98"/>
                  </a:lnTo>
                  <a:lnTo>
                    <a:pt x="71" y="96"/>
                  </a:lnTo>
                  <a:lnTo>
                    <a:pt x="75" y="92"/>
                  </a:lnTo>
                  <a:lnTo>
                    <a:pt x="77" y="86"/>
                  </a:lnTo>
                  <a:lnTo>
                    <a:pt x="79" y="86"/>
                  </a:lnTo>
                  <a:lnTo>
                    <a:pt x="83" y="79"/>
                  </a:lnTo>
                  <a:lnTo>
                    <a:pt x="91" y="77"/>
                  </a:lnTo>
                  <a:lnTo>
                    <a:pt x="91" y="67"/>
                  </a:lnTo>
                  <a:lnTo>
                    <a:pt x="95" y="59"/>
                  </a:lnTo>
                  <a:lnTo>
                    <a:pt x="98" y="58"/>
                  </a:lnTo>
                  <a:lnTo>
                    <a:pt x="100" y="54"/>
                  </a:lnTo>
                  <a:lnTo>
                    <a:pt x="104" y="52"/>
                  </a:lnTo>
                  <a:lnTo>
                    <a:pt x="102" y="59"/>
                  </a:lnTo>
                  <a:lnTo>
                    <a:pt x="106" y="63"/>
                  </a:lnTo>
                  <a:lnTo>
                    <a:pt x="108" y="61"/>
                  </a:lnTo>
                  <a:lnTo>
                    <a:pt x="110" y="59"/>
                  </a:lnTo>
                  <a:lnTo>
                    <a:pt x="110" y="58"/>
                  </a:lnTo>
                  <a:lnTo>
                    <a:pt x="112" y="58"/>
                  </a:lnTo>
                  <a:lnTo>
                    <a:pt x="114" y="56"/>
                  </a:lnTo>
                  <a:lnTo>
                    <a:pt x="116" y="56"/>
                  </a:lnTo>
                  <a:lnTo>
                    <a:pt x="118" y="50"/>
                  </a:lnTo>
                  <a:lnTo>
                    <a:pt x="116" y="48"/>
                  </a:lnTo>
                  <a:lnTo>
                    <a:pt x="121" y="44"/>
                  </a:lnTo>
                  <a:lnTo>
                    <a:pt x="121" y="42"/>
                  </a:lnTo>
                  <a:lnTo>
                    <a:pt x="125" y="42"/>
                  </a:lnTo>
                  <a:lnTo>
                    <a:pt x="127" y="38"/>
                  </a:lnTo>
                  <a:lnTo>
                    <a:pt x="131" y="36"/>
                  </a:lnTo>
                  <a:lnTo>
                    <a:pt x="133" y="36"/>
                  </a:lnTo>
                  <a:lnTo>
                    <a:pt x="133" y="40"/>
                  </a:lnTo>
                  <a:lnTo>
                    <a:pt x="133" y="38"/>
                  </a:lnTo>
                  <a:lnTo>
                    <a:pt x="137" y="38"/>
                  </a:lnTo>
                  <a:lnTo>
                    <a:pt x="135" y="34"/>
                  </a:lnTo>
                  <a:lnTo>
                    <a:pt x="137" y="33"/>
                  </a:lnTo>
                  <a:lnTo>
                    <a:pt x="139" y="36"/>
                  </a:lnTo>
                  <a:lnTo>
                    <a:pt x="146" y="33"/>
                  </a:lnTo>
                  <a:lnTo>
                    <a:pt x="150" y="29"/>
                  </a:lnTo>
                  <a:lnTo>
                    <a:pt x="152" y="31"/>
                  </a:lnTo>
                  <a:lnTo>
                    <a:pt x="158" y="27"/>
                  </a:lnTo>
                  <a:lnTo>
                    <a:pt x="158" y="25"/>
                  </a:lnTo>
                  <a:lnTo>
                    <a:pt x="160" y="23"/>
                  </a:lnTo>
                  <a:lnTo>
                    <a:pt x="160" y="21"/>
                  </a:lnTo>
                  <a:lnTo>
                    <a:pt x="166" y="13"/>
                  </a:lnTo>
                  <a:lnTo>
                    <a:pt x="171" y="9"/>
                  </a:lnTo>
                  <a:lnTo>
                    <a:pt x="175" y="11"/>
                  </a:lnTo>
                  <a:lnTo>
                    <a:pt x="177" y="13"/>
                  </a:lnTo>
                  <a:lnTo>
                    <a:pt x="181" y="13"/>
                  </a:lnTo>
                  <a:lnTo>
                    <a:pt x="189" y="9"/>
                  </a:lnTo>
                  <a:lnTo>
                    <a:pt x="190" y="6"/>
                  </a:lnTo>
                  <a:lnTo>
                    <a:pt x="194" y="4"/>
                  </a:lnTo>
                  <a:lnTo>
                    <a:pt x="198" y="0"/>
                  </a:lnTo>
                  <a:lnTo>
                    <a:pt x="200" y="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62" name="Freeform 43">
              <a:extLst>
                <a:ext uri="{FF2B5EF4-FFF2-40B4-BE49-F238E27FC236}">
                  <a16:creationId xmlns:a16="http://schemas.microsoft.com/office/drawing/2014/main" id="{E7BFF199-CE14-46DC-AAFB-6A72ADF8EE68}"/>
                </a:ext>
              </a:extLst>
            </p:cNvPr>
            <p:cNvSpPr>
              <a:spLocks/>
            </p:cNvSpPr>
            <p:nvPr/>
          </p:nvSpPr>
          <p:spPr bwMode="gray">
            <a:xfrm>
              <a:off x="7675564" y="3165475"/>
              <a:ext cx="304800" cy="320676"/>
            </a:xfrm>
            <a:custGeom>
              <a:avLst/>
              <a:gdLst>
                <a:gd name="T0" fmla="*/ 183 w 192"/>
                <a:gd name="T1" fmla="*/ 34 h 202"/>
                <a:gd name="T2" fmla="*/ 179 w 192"/>
                <a:gd name="T3" fmla="*/ 50 h 202"/>
                <a:gd name="T4" fmla="*/ 192 w 192"/>
                <a:gd name="T5" fmla="*/ 54 h 202"/>
                <a:gd name="T6" fmla="*/ 190 w 192"/>
                <a:gd name="T7" fmla="*/ 73 h 202"/>
                <a:gd name="T8" fmla="*/ 184 w 192"/>
                <a:gd name="T9" fmla="*/ 88 h 202"/>
                <a:gd name="T10" fmla="*/ 177 w 192"/>
                <a:gd name="T11" fmla="*/ 102 h 202"/>
                <a:gd name="T12" fmla="*/ 173 w 192"/>
                <a:gd name="T13" fmla="*/ 109 h 202"/>
                <a:gd name="T14" fmla="*/ 163 w 192"/>
                <a:gd name="T15" fmla="*/ 121 h 202"/>
                <a:gd name="T16" fmla="*/ 154 w 192"/>
                <a:gd name="T17" fmla="*/ 132 h 202"/>
                <a:gd name="T18" fmla="*/ 148 w 192"/>
                <a:gd name="T19" fmla="*/ 142 h 202"/>
                <a:gd name="T20" fmla="*/ 144 w 192"/>
                <a:gd name="T21" fmla="*/ 148 h 202"/>
                <a:gd name="T22" fmla="*/ 138 w 192"/>
                <a:gd name="T23" fmla="*/ 165 h 202"/>
                <a:gd name="T24" fmla="*/ 135 w 192"/>
                <a:gd name="T25" fmla="*/ 179 h 202"/>
                <a:gd name="T26" fmla="*/ 131 w 192"/>
                <a:gd name="T27" fmla="*/ 188 h 202"/>
                <a:gd name="T28" fmla="*/ 127 w 192"/>
                <a:gd name="T29" fmla="*/ 200 h 202"/>
                <a:gd name="T30" fmla="*/ 119 w 192"/>
                <a:gd name="T31" fmla="*/ 196 h 202"/>
                <a:gd name="T32" fmla="*/ 106 w 192"/>
                <a:gd name="T33" fmla="*/ 192 h 202"/>
                <a:gd name="T34" fmla="*/ 88 w 192"/>
                <a:gd name="T35" fmla="*/ 192 h 202"/>
                <a:gd name="T36" fmla="*/ 79 w 192"/>
                <a:gd name="T37" fmla="*/ 182 h 202"/>
                <a:gd name="T38" fmla="*/ 67 w 192"/>
                <a:gd name="T39" fmla="*/ 188 h 202"/>
                <a:gd name="T40" fmla="*/ 62 w 192"/>
                <a:gd name="T41" fmla="*/ 188 h 202"/>
                <a:gd name="T42" fmla="*/ 52 w 192"/>
                <a:gd name="T43" fmla="*/ 184 h 202"/>
                <a:gd name="T44" fmla="*/ 39 w 192"/>
                <a:gd name="T45" fmla="*/ 175 h 202"/>
                <a:gd name="T46" fmla="*/ 35 w 192"/>
                <a:gd name="T47" fmla="*/ 179 h 202"/>
                <a:gd name="T48" fmla="*/ 31 w 192"/>
                <a:gd name="T49" fmla="*/ 177 h 202"/>
                <a:gd name="T50" fmla="*/ 21 w 192"/>
                <a:gd name="T51" fmla="*/ 179 h 202"/>
                <a:gd name="T52" fmla="*/ 12 w 192"/>
                <a:gd name="T53" fmla="*/ 173 h 202"/>
                <a:gd name="T54" fmla="*/ 4 w 192"/>
                <a:gd name="T55" fmla="*/ 167 h 202"/>
                <a:gd name="T56" fmla="*/ 4 w 192"/>
                <a:gd name="T57" fmla="*/ 154 h 202"/>
                <a:gd name="T58" fmla="*/ 6 w 192"/>
                <a:gd name="T59" fmla="*/ 142 h 202"/>
                <a:gd name="T60" fmla="*/ 10 w 192"/>
                <a:gd name="T61" fmla="*/ 132 h 202"/>
                <a:gd name="T62" fmla="*/ 12 w 192"/>
                <a:gd name="T63" fmla="*/ 125 h 202"/>
                <a:gd name="T64" fmla="*/ 12 w 192"/>
                <a:gd name="T65" fmla="*/ 119 h 202"/>
                <a:gd name="T66" fmla="*/ 16 w 192"/>
                <a:gd name="T67" fmla="*/ 104 h 202"/>
                <a:gd name="T68" fmla="*/ 21 w 192"/>
                <a:gd name="T69" fmla="*/ 100 h 202"/>
                <a:gd name="T70" fmla="*/ 29 w 192"/>
                <a:gd name="T71" fmla="*/ 90 h 202"/>
                <a:gd name="T72" fmla="*/ 29 w 192"/>
                <a:gd name="T73" fmla="*/ 82 h 202"/>
                <a:gd name="T74" fmla="*/ 33 w 192"/>
                <a:gd name="T75" fmla="*/ 75 h 202"/>
                <a:gd name="T76" fmla="*/ 33 w 192"/>
                <a:gd name="T77" fmla="*/ 71 h 202"/>
                <a:gd name="T78" fmla="*/ 42 w 192"/>
                <a:gd name="T79" fmla="*/ 57 h 202"/>
                <a:gd name="T80" fmla="*/ 58 w 192"/>
                <a:gd name="T81" fmla="*/ 46 h 202"/>
                <a:gd name="T82" fmla="*/ 67 w 192"/>
                <a:gd name="T83" fmla="*/ 54 h 202"/>
                <a:gd name="T84" fmla="*/ 75 w 192"/>
                <a:gd name="T85" fmla="*/ 40 h 202"/>
                <a:gd name="T86" fmla="*/ 81 w 192"/>
                <a:gd name="T87" fmla="*/ 36 h 202"/>
                <a:gd name="T88" fmla="*/ 90 w 192"/>
                <a:gd name="T89" fmla="*/ 25 h 202"/>
                <a:gd name="T90" fmla="*/ 87 w 192"/>
                <a:gd name="T91" fmla="*/ 17 h 202"/>
                <a:gd name="T92" fmla="*/ 96 w 192"/>
                <a:gd name="T93" fmla="*/ 15 h 202"/>
                <a:gd name="T94" fmla="*/ 110 w 192"/>
                <a:gd name="T95" fmla="*/ 13 h 202"/>
                <a:gd name="T96" fmla="*/ 121 w 192"/>
                <a:gd name="T97" fmla="*/ 15 h 202"/>
                <a:gd name="T98" fmla="*/ 129 w 192"/>
                <a:gd name="T99" fmla="*/ 15 h 202"/>
                <a:gd name="T100" fmla="*/ 135 w 192"/>
                <a:gd name="T101" fmla="*/ 23 h 202"/>
                <a:gd name="T102" fmla="*/ 152 w 192"/>
                <a:gd name="T103" fmla="*/ 17 h 202"/>
                <a:gd name="T104" fmla="*/ 161 w 192"/>
                <a:gd name="T105" fmla="*/ 9 h 202"/>
                <a:gd name="T106" fmla="*/ 173 w 192"/>
                <a:gd name="T107" fmla="*/ 0 h 202"/>
                <a:gd name="T108" fmla="*/ 175 w 192"/>
                <a:gd name="T109" fmla="*/ 8 h 202"/>
                <a:gd name="T110" fmla="*/ 169 w 192"/>
                <a:gd name="T111" fmla="*/ 2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202">
                  <a:moveTo>
                    <a:pt x="186" y="27"/>
                  </a:moveTo>
                  <a:lnTo>
                    <a:pt x="183" y="31"/>
                  </a:lnTo>
                  <a:lnTo>
                    <a:pt x="183" y="34"/>
                  </a:lnTo>
                  <a:lnTo>
                    <a:pt x="177" y="40"/>
                  </a:lnTo>
                  <a:lnTo>
                    <a:pt x="175" y="46"/>
                  </a:lnTo>
                  <a:lnTo>
                    <a:pt x="179" y="50"/>
                  </a:lnTo>
                  <a:lnTo>
                    <a:pt x="181" y="50"/>
                  </a:lnTo>
                  <a:lnTo>
                    <a:pt x="186" y="52"/>
                  </a:lnTo>
                  <a:lnTo>
                    <a:pt x="192" y="54"/>
                  </a:lnTo>
                  <a:lnTo>
                    <a:pt x="192" y="61"/>
                  </a:lnTo>
                  <a:lnTo>
                    <a:pt x="190" y="63"/>
                  </a:lnTo>
                  <a:lnTo>
                    <a:pt x="190" y="73"/>
                  </a:lnTo>
                  <a:lnTo>
                    <a:pt x="186" y="79"/>
                  </a:lnTo>
                  <a:lnTo>
                    <a:pt x="186" y="82"/>
                  </a:lnTo>
                  <a:lnTo>
                    <a:pt x="184" y="88"/>
                  </a:lnTo>
                  <a:lnTo>
                    <a:pt x="177" y="94"/>
                  </a:lnTo>
                  <a:lnTo>
                    <a:pt x="177" y="98"/>
                  </a:lnTo>
                  <a:lnTo>
                    <a:pt x="177" y="102"/>
                  </a:lnTo>
                  <a:lnTo>
                    <a:pt x="175" y="107"/>
                  </a:lnTo>
                  <a:lnTo>
                    <a:pt x="173" y="107"/>
                  </a:lnTo>
                  <a:lnTo>
                    <a:pt x="173" y="109"/>
                  </a:lnTo>
                  <a:lnTo>
                    <a:pt x="169" y="107"/>
                  </a:lnTo>
                  <a:lnTo>
                    <a:pt x="167" y="115"/>
                  </a:lnTo>
                  <a:lnTo>
                    <a:pt x="163" y="121"/>
                  </a:lnTo>
                  <a:lnTo>
                    <a:pt x="159" y="125"/>
                  </a:lnTo>
                  <a:lnTo>
                    <a:pt x="156" y="132"/>
                  </a:lnTo>
                  <a:lnTo>
                    <a:pt x="154" y="132"/>
                  </a:lnTo>
                  <a:lnTo>
                    <a:pt x="154" y="138"/>
                  </a:lnTo>
                  <a:lnTo>
                    <a:pt x="152" y="140"/>
                  </a:lnTo>
                  <a:lnTo>
                    <a:pt x="148" y="142"/>
                  </a:lnTo>
                  <a:lnTo>
                    <a:pt x="150" y="144"/>
                  </a:lnTo>
                  <a:lnTo>
                    <a:pt x="148" y="148"/>
                  </a:lnTo>
                  <a:lnTo>
                    <a:pt x="144" y="148"/>
                  </a:lnTo>
                  <a:lnTo>
                    <a:pt x="144" y="154"/>
                  </a:lnTo>
                  <a:lnTo>
                    <a:pt x="140" y="159"/>
                  </a:lnTo>
                  <a:lnTo>
                    <a:pt x="138" y="165"/>
                  </a:lnTo>
                  <a:lnTo>
                    <a:pt x="136" y="167"/>
                  </a:lnTo>
                  <a:lnTo>
                    <a:pt x="136" y="175"/>
                  </a:lnTo>
                  <a:lnTo>
                    <a:pt x="135" y="179"/>
                  </a:lnTo>
                  <a:lnTo>
                    <a:pt x="135" y="177"/>
                  </a:lnTo>
                  <a:lnTo>
                    <a:pt x="135" y="180"/>
                  </a:lnTo>
                  <a:lnTo>
                    <a:pt x="131" y="188"/>
                  </a:lnTo>
                  <a:lnTo>
                    <a:pt x="131" y="190"/>
                  </a:lnTo>
                  <a:lnTo>
                    <a:pt x="127" y="192"/>
                  </a:lnTo>
                  <a:lnTo>
                    <a:pt x="127" y="200"/>
                  </a:lnTo>
                  <a:lnTo>
                    <a:pt x="125" y="202"/>
                  </a:lnTo>
                  <a:lnTo>
                    <a:pt x="123" y="202"/>
                  </a:lnTo>
                  <a:lnTo>
                    <a:pt x="119" y="196"/>
                  </a:lnTo>
                  <a:lnTo>
                    <a:pt x="115" y="196"/>
                  </a:lnTo>
                  <a:lnTo>
                    <a:pt x="111" y="192"/>
                  </a:lnTo>
                  <a:lnTo>
                    <a:pt x="106" y="192"/>
                  </a:lnTo>
                  <a:lnTo>
                    <a:pt x="102" y="190"/>
                  </a:lnTo>
                  <a:lnTo>
                    <a:pt x="92" y="192"/>
                  </a:lnTo>
                  <a:lnTo>
                    <a:pt x="88" y="192"/>
                  </a:lnTo>
                  <a:lnTo>
                    <a:pt x="85" y="184"/>
                  </a:lnTo>
                  <a:lnTo>
                    <a:pt x="79" y="184"/>
                  </a:lnTo>
                  <a:lnTo>
                    <a:pt x="79" y="182"/>
                  </a:lnTo>
                  <a:lnTo>
                    <a:pt x="75" y="184"/>
                  </a:lnTo>
                  <a:lnTo>
                    <a:pt x="69" y="182"/>
                  </a:lnTo>
                  <a:lnTo>
                    <a:pt x="67" y="188"/>
                  </a:lnTo>
                  <a:lnTo>
                    <a:pt x="65" y="188"/>
                  </a:lnTo>
                  <a:lnTo>
                    <a:pt x="64" y="186"/>
                  </a:lnTo>
                  <a:lnTo>
                    <a:pt x="62" y="188"/>
                  </a:lnTo>
                  <a:lnTo>
                    <a:pt x="56" y="190"/>
                  </a:lnTo>
                  <a:lnTo>
                    <a:pt x="52" y="186"/>
                  </a:lnTo>
                  <a:lnTo>
                    <a:pt x="52" y="184"/>
                  </a:lnTo>
                  <a:lnTo>
                    <a:pt x="50" y="182"/>
                  </a:lnTo>
                  <a:lnTo>
                    <a:pt x="46" y="175"/>
                  </a:lnTo>
                  <a:lnTo>
                    <a:pt x="39" y="175"/>
                  </a:lnTo>
                  <a:lnTo>
                    <a:pt x="40" y="179"/>
                  </a:lnTo>
                  <a:lnTo>
                    <a:pt x="39" y="179"/>
                  </a:lnTo>
                  <a:lnTo>
                    <a:pt x="35" y="179"/>
                  </a:lnTo>
                  <a:lnTo>
                    <a:pt x="31" y="182"/>
                  </a:lnTo>
                  <a:lnTo>
                    <a:pt x="31" y="179"/>
                  </a:lnTo>
                  <a:lnTo>
                    <a:pt x="31" y="177"/>
                  </a:lnTo>
                  <a:lnTo>
                    <a:pt x="27" y="175"/>
                  </a:lnTo>
                  <a:lnTo>
                    <a:pt x="25" y="179"/>
                  </a:lnTo>
                  <a:lnTo>
                    <a:pt x="21" y="179"/>
                  </a:lnTo>
                  <a:lnTo>
                    <a:pt x="19" y="175"/>
                  </a:lnTo>
                  <a:lnTo>
                    <a:pt x="14" y="180"/>
                  </a:lnTo>
                  <a:lnTo>
                    <a:pt x="12" y="173"/>
                  </a:lnTo>
                  <a:lnTo>
                    <a:pt x="8" y="175"/>
                  </a:lnTo>
                  <a:lnTo>
                    <a:pt x="0" y="173"/>
                  </a:lnTo>
                  <a:lnTo>
                    <a:pt x="4" y="167"/>
                  </a:lnTo>
                  <a:lnTo>
                    <a:pt x="4" y="163"/>
                  </a:lnTo>
                  <a:lnTo>
                    <a:pt x="6" y="161"/>
                  </a:lnTo>
                  <a:lnTo>
                    <a:pt x="4" y="154"/>
                  </a:lnTo>
                  <a:lnTo>
                    <a:pt x="8" y="148"/>
                  </a:lnTo>
                  <a:lnTo>
                    <a:pt x="6" y="146"/>
                  </a:lnTo>
                  <a:lnTo>
                    <a:pt x="6" y="142"/>
                  </a:lnTo>
                  <a:lnTo>
                    <a:pt x="6" y="140"/>
                  </a:lnTo>
                  <a:lnTo>
                    <a:pt x="8" y="138"/>
                  </a:lnTo>
                  <a:lnTo>
                    <a:pt x="10" y="132"/>
                  </a:lnTo>
                  <a:lnTo>
                    <a:pt x="8" y="130"/>
                  </a:lnTo>
                  <a:lnTo>
                    <a:pt x="10" y="125"/>
                  </a:lnTo>
                  <a:lnTo>
                    <a:pt x="12" y="125"/>
                  </a:lnTo>
                  <a:lnTo>
                    <a:pt x="10" y="123"/>
                  </a:lnTo>
                  <a:lnTo>
                    <a:pt x="16" y="121"/>
                  </a:lnTo>
                  <a:lnTo>
                    <a:pt x="12" y="119"/>
                  </a:lnTo>
                  <a:lnTo>
                    <a:pt x="16" y="111"/>
                  </a:lnTo>
                  <a:lnTo>
                    <a:pt x="12" y="107"/>
                  </a:lnTo>
                  <a:lnTo>
                    <a:pt x="16" y="104"/>
                  </a:lnTo>
                  <a:lnTo>
                    <a:pt x="16" y="96"/>
                  </a:lnTo>
                  <a:lnTo>
                    <a:pt x="19" y="96"/>
                  </a:lnTo>
                  <a:lnTo>
                    <a:pt x="21" y="100"/>
                  </a:lnTo>
                  <a:lnTo>
                    <a:pt x="25" y="96"/>
                  </a:lnTo>
                  <a:lnTo>
                    <a:pt x="25" y="92"/>
                  </a:lnTo>
                  <a:lnTo>
                    <a:pt x="29" y="90"/>
                  </a:lnTo>
                  <a:lnTo>
                    <a:pt x="29" y="86"/>
                  </a:lnTo>
                  <a:lnTo>
                    <a:pt x="31" y="84"/>
                  </a:lnTo>
                  <a:lnTo>
                    <a:pt x="29" y="82"/>
                  </a:lnTo>
                  <a:lnTo>
                    <a:pt x="33" y="81"/>
                  </a:lnTo>
                  <a:lnTo>
                    <a:pt x="31" y="79"/>
                  </a:lnTo>
                  <a:lnTo>
                    <a:pt x="33" y="75"/>
                  </a:lnTo>
                  <a:lnTo>
                    <a:pt x="31" y="77"/>
                  </a:lnTo>
                  <a:lnTo>
                    <a:pt x="31" y="73"/>
                  </a:lnTo>
                  <a:lnTo>
                    <a:pt x="33" y="71"/>
                  </a:lnTo>
                  <a:lnTo>
                    <a:pt x="37" y="71"/>
                  </a:lnTo>
                  <a:lnTo>
                    <a:pt x="42" y="63"/>
                  </a:lnTo>
                  <a:lnTo>
                    <a:pt x="42" y="57"/>
                  </a:lnTo>
                  <a:lnTo>
                    <a:pt x="46" y="50"/>
                  </a:lnTo>
                  <a:lnTo>
                    <a:pt x="52" y="44"/>
                  </a:lnTo>
                  <a:lnTo>
                    <a:pt x="58" y="46"/>
                  </a:lnTo>
                  <a:lnTo>
                    <a:pt x="58" y="50"/>
                  </a:lnTo>
                  <a:lnTo>
                    <a:pt x="65" y="50"/>
                  </a:lnTo>
                  <a:lnTo>
                    <a:pt x="67" y="54"/>
                  </a:lnTo>
                  <a:lnTo>
                    <a:pt x="69" y="54"/>
                  </a:lnTo>
                  <a:lnTo>
                    <a:pt x="73" y="46"/>
                  </a:lnTo>
                  <a:lnTo>
                    <a:pt x="75" y="40"/>
                  </a:lnTo>
                  <a:lnTo>
                    <a:pt x="77" y="40"/>
                  </a:lnTo>
                  <a:lnTo>
                    <a:pt x="79" y="36"/>
                  </a:lnTo>
                  <a:lnTo>
                    <a:pt x="81" y="36"/>
                  </a:lnTo>
                  <a:lnTo>
                    <a:pt x="85" y="33"/>
                  </a:lnTo>
                  <a:lnTo>
                    <a:pt x="87" y="31"/>
                  </a:lnTo>
                  <a:lnTo>
                    <a:pt x="90" y="25"/>
                  </a:lnTo>
                  <a:lnTo>
                    <a:pt x="90" y="21"/>
                  </a:lnTo>
                  <a:lnTo>
                    <a:pt x="87" y="21"/>
                  </a:lnTo>
                  <a:lnTo>
                    <a:pt x="87" y="17"/>
                  </a:lnTo>
                  <a:lnTo>
                    <a:pt x="92" y="17"/>
                  </a:lnTo>
                  <a:lnTo>
                    <a:pt x="94" y="15"/>
                  </a:lnTo>
                  <a:lnTo>
                    <a:pt x="96" y="15"/>
                  </a:lnTo>
                  <a:lnTo>
                    <a:pt x="100" y="15"/>
                  </a:lnTo>
                  <a:lnTo>
                    <a:pt x="108" y="15"/>
                  </a:lnTo>
                  <a:lnTo>
                    <a:pt x="110" y="13"/>
                  </a:lnTo>
                  <a:lnTo>
                    <a:pt x="111" y="15"/>
                  </a:lnTo>
                  <a:lnTo>
                    <a:pt x="113" y="11"/>
                  </a:lnTo>
                  <a:lnTo>
                    <a:pt x="121" y="15"/>
                  </a:lnTo>
                  <a:lnTo>
                    <a:pt x="121" y="19"/>
                  </a:lnTo>
                  <a:lnTo>
                    <a:pt x="127" y="19"/>
                  </a:lnTo>
                  <a:lnTo>
                    <a:pt x="129" y="15"/>
                  </a:lnTo>
                  <a:lnTo>
                    <a:pt x="133" y="15"/>
                  </a:lnTo>
                  <a:lnTo>
                    <a:pt x="131" y="19"/>
                  </a:lnTo>
                  <a:lnTo>
                    <a:pt x="135" y="23"/>
                  </a:lnTo>
                  <a:lnTo>
                    <a:pt x="142" y="21"/>
                  </a:lnTo>
                  <a:lnTo>
                    <a:pt x="144" y="23"/>
                  </a:lnTo>
                  <a:lnTo>
                    <a:pt x="152" y="17"/>
                  </a:lnTo>
                  <a:lnTo>
                    <a:pt x="156" y="17"/>
                  </a:lnTo>
                  <a:lnTo>
                    <a:pt x="158" y="11"/>
                  </a:lnTo>
                  <a:lnTo>
                    <a:pt x="161" y="9"/>
                  </a:lnTo>
                  <a:lnTo>
                    <a:pt x="165" y="9"/>
                  </a:lnTo>
                  <a:lnTo>
                    <a:pt x="171" y="4"/>
                  </a:lnTo>
                  <a:lnTo>
                    <a:pt x="173" y="0"/>
                  </a:lnTo>
                  <a:lnTo>
                    <a:pt x="175" y="2"/>
                  </a:lnTo>
                  <a:lnTo>
                    <a:pt x="173" y="6"/>
                  </a:lnTo>
                  <a:lnTo>
                    <a:pt x="175" y="8"/>
                  </a:lnTo>
                  <a:lnTo>
                    <a:pt x="171" y="13"/>
                  </a:lnTo>
                  <a:lnTo>
                    <a:pt x="171" y="17"/>
                  </a:lnTo>
                  <a:lnTo>
                    <a:pt x="169" y="21"/>
                  </a:lnTo>
                  <a:lnTo>
                    <a:pt x="177" y="25"/>
                  </a:lnTo>
                  <a:lnTo>
                    <a:pt x="186" y="2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63" name="Freeform 44">
              <a:extLst>
                <a:ext uri="{FF2B5EF4-FFF2-40B4-BE49-F238E27FC236}">
                  <a16:creationId xmlns:a16="http://schemas.microsoft.com/office/drawing/2014/main" id="{891F6D5E-0085-41C1-822A-48D1D572CFF2}"/>
                </a:ext>
              </a:extLst>
            </p:cNvPr>
            <p:cNvSpPr>
              <a:spLocks/>
            </p:cNvSpPr>
            <p:nvPr/>
          </p:nvSpPr>
          <p:spPr bwMode="gray">
            <a:xfrm>
              <a:off x="7367589" y="3367088"/>
              <a:ext cx="201613" cy="274638"/>
            </a:xfrm>
            <a:custGeom>
              <a:avLst/>
              <a:gdLst>
                <a:gd name="T0" fmla="*/ 119 w 127"/>
                <a:gd name="T1" fmla="*/ 9 h 173"/>
                <a:gd name="T2" fmla="*/ 117 w 127"/>
                <a:gd name="T3" fmla="*/ 25 h 173"/>
                <a:gd name="T4" fmla="*/ 123 w 127"/>
                <a:gd name="T5" fmla="*/ 32 h 173"/>
                <a:gd name="T6" fmla="*/ 125 w 127"/>
                <a:gd name="T7" fmla="*/ 50 h 173"/>
                <a:gd name="T8" fmla="*/ 127 w 127"/>
                <a:gd name="T9" fmla="*/ 67 h 173"/>
                <a:gd name="T10" fmla="*/ 121 w 127"/>
                <a:gd name="T11" fmla="*/ 73 h 173"/>
                <a:gd name="T12" fmla="*/ 119 w 127"/>
                <a:gd name="T13" fmla="*/ 88 h 173"/>
                <a:gd name="T14" fmla="*/ 114 w 127"/>
                <a:gd name="T15" fmla="*/ 96 h 173"/>
                <a:gd name="T16" fmla="*/ 108 w 127"/>
                <a:gd name="T17" fmla="*/ 86 h 173"/>
                <a:gd name="T18" fmla="*/ 98 w 127"/>
                <a:gd name="T19" fmla="*/ 92 h 173"/>
                <a:gd name="T20" fmla="*/ 91 w 127"/>
                <a:gd name="T21" fmla="*/ 94 h 173"/>
                <a:gd name="T22" fmla="*/ 85 w 127"/>
                <a:gd name="T23" fmla="*/ 90 h 173"/>
                <a:gd name="T24" fmla="*/ 87 w 127"/>
                <a:gd name="T25" fmla="*/ 105 h 173"/>
                <a:gd name="T26" fmla="*/ 83 w 127"/>
                <a:gd name="T27" fmla="*/ 115 h 173"/>
                <a:gd name="T28" fmla="*/ 73 w 127"/>
                <a:gd name="T29" fmla="*/ 123 h 173"/>
                <a:gd name="T30" fmla="*/ 66 w 127"/>
                <a:gd name="T31" fmla="*/ 136 h 173"/>
                <a:gd name="T32" fmla="*/ 69 w 127"/>
                <a:gd name="T33" fmla="*/ 148 h 173"/>
                <a:gd name="T34" fmla="*/ 69 w 127"/>
                <a:gd name="T35" fmla="*/ 159 h 173"/>
                <a:gd name="T36" fmla="*/ 66 w 127"/>
                <a:gd name="T37" fmla="*/ 161 h 173"/>
                <a:gd name="T38" fmla="*/ 52 w 127"/>
                <a:gd name="T39" fmla="*/ 167 h 173"/>
                <a:gd name="T40" fmla="*/ 48 w 127"/>
                <a:gd name="T41" fmla="*/ 171 h 173"/>
                <a:gd name="T42" fmla="*/ 43 w 127"/>
                <a:gd name="T43" fmla="*/ 167 h 173"/>
                <a:gd name="T44" fmla="*/ 39 w 127"/>
                <a:gd name="T45" fmla="*/ 161 h 173"/>
                <a:gd name="T46" fmla="*/ 39 w 127"/>
                <a:gd name="T47" fmla="*/ 149 h 173"/>
                <a:gd name="T48" fmla="*/ 35 w 127"/>
                <a:gd name="T49" fmla="*/ 149 h 173"/>
                <a:gd name="T50" fmla="*/ 35 w 127"/>
                <a:gd name="T51" fmla="*/ 144 h 173"/>
                <a:gd name="T52" fmla="*/ 31 w 127"/>
                <a:gd name="T53" fmla="*/ 140 h 173"/>
                <a:gd name="T54" fmla="*/ 27 w 127"/>
                <a:gd name="T55" fmla="*/ 136 h 173"/>
                <a:gd name="T56" fmla="*/ 27 w 127"/>
                <a:gd name="T57" fmla="*/ 138 h 173"/>
                <a:gd name="T58" fmla="*/ 25 w 127"/>
                <a:gd name="T59" fmla="*/ 155 h 173"/>
                <a:gd name="T60" fmla="*/ 21 w 127"/>
                <a:gd name="T61" fmla="*/ 157 h 173"/>
                <a:gd name="T62" fmla="*/ 18 w 127"/>
                <a:gd name="T63" fmla="*/ 140 h 173"/>
                <a:gd name="T64" fmla="*/ 14 w 127"/>
                <a:gd name="T65" fmla="*/ 130 h 173"/>
                <a:gd name="T66" fmla="*/ 14 w 127"/>
                <a:gd name="T67" fmla="*/ 123 h 173"/>
                <a:gd name="T68" fmla="*/ 6 w 127"/>
                <a:gd name="T69" fmla="*/ 109 h 173"/>
                <a:gd name="T70" fmla="*/ 2 w 127"/>
                <a:gd name="T71" fmla="*/ 100 h 173"/>
                <a:gd name="T72" fmla="*/ 4 w 127"/>
                <a:gd name="T73" fmla="*/ 94 h 173"/>
                <a:gd name="T74" fmla="*/ 0 w 127"/>
                <a:gd name="T75" fmla="*/ 88 h 173"/>
                <a:gd name="T76" fmla="*/ 8 w 127"/>
                <a:gd name="T77" fmla="*/ 82 h 173"/>
                <a:gd name="T78" fmla="*/ 12 w 127"/>
                <a:gd name="T79" fmla="*/ 61 h 173"/>
                <a:gd name="T80" fmla="*/ 23 w 127"/>
                <a:gd name="T81" fmla="*/ 55 h 173"/>
                <a:gd name="T82" fmla="*/ 25 w 127"/>
                <a:gd name="T83" fmla="*/ 46 h 173"/>
                <a:gd name="T84" fmla="*/ 41 w 127"/>
                <a:gd name="T85" fmla="*/ 50 h 173"/>
                <a:gd name="T86" fmla="*/ 52 w 127"/>
                <a:gd name="T87" fmla="*/ 40 h 173"/>
                <a:gd name="T88" fmla="*/ 64 w 127"/>
                <a:gd name="T89" fmla="*/ 42 h 173"/>
                <a:gd name="T90" fmla="*/ 71 w 127"/>
                <a:gd name="T91" fmla="*/ 34 h 173"/>
                <a:gd name="T92" fmla="*/ 79 w 127"/>
                <a:gd name="T93" fmla="*/ 42 h 173"/>
                <a:gd name="T94" fmla="*/ 83 w 127"/>
                <a:gd name="T95" fmla="*/ 38 h 173"/>
                <a:gd name="T96" fmla="*/ 87 w 127"/>
                <a:gd name="T97" fmla="*/ 19 h 173"/>
                <a:gd name="T98" fmla="*/ 87 w 127"/>
                <a:gd name="T99" fmla="*/ 17 h 173"/>
                <a:gd name="T100" fmla="*/ 92 w 127"/>
                <a:gd name="T101" fmla="*/ 15 h 173"/>
                <a:gd name="T102" fmla="*/ 104 w 127"/>
                <a:gd name="T103" fmla="*/ 5 h 173"/>
                <a:gd name="T104" fmla="*/ 115 w 127"/>
                <a:gd name="T105" fmla="*/ 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7" h="173">
                  <a:moveTo>
                    <a:pt x="115" y="3"/>
                  </a:moveTo>
                  <a:lnTo>
                    <a:pt x="115" y="7"/>
                  </a:lnTo>
                  <a:lnTo>
                    <a:pt x="119" y="9"/>
                  </a:lnTo>
                  <a:lnTo>
                    <a:pt x="121" y="15"/>
                  </a:lnTo>
                  <a:lnTo>
                    <a:pt x="119" y="17"/>
                  </a:lnTo>
                  <a:lnTo>
                    <a:pt x="117" y="25"/>
                  </a:lnTo>
                  <a:lnTo>
                    <a:pt x="115" y="30"/>
                  </a:lnTo>
                  <a:lnTo>
                    <a:pt x="123" y="30"/>
                  </a:lnTo>
                  <a:lnTo>
                    <a:pt x="123" y="32"/>
                  </a:lnTo>
                  <a:lnTo>
                    <a:pt x="125" y="34"/>
                  </a:lnTo>
                  <a:lnTo>
                    <a:pt x="127" y="42"/>
                  </a:lnTo>
                  <a:lnTo>
                    <a:pt x="125" y="50"/>
                  </a:lnTo>
                  <a:lnTo>
                    <a:pt x="127" y="59"/>
                  </a:lnTo>
                  <a:lnTo>
                    <a:pt x="123" y="63"/>
                  </a:lnTo>
                  <a:lnTo>
                    <a:pt x="127" y="67"/>
                  </a:lnTo>
                  <a:lnTo>
                    <a:pt x="125" y="71"/>
                  </a:lnTo>
                  <a:lnTo>
                    <a:pt x="125" y="75"/>
                  </a:lnTo>
                  <a:lnTo>
                    <a:pt x="121" y="73"/>
                  </a:lnTo>
                  <a:lnTo>
                    <a:pt x="119" y="76"/>
                  </a:lnTo>
                  <a:lnTo>
                    <a:pt x="119" y="82"/>
                  </a:lnTo>
                  <a:lnTo>
                    <a:pt x="119" y="88"/>
                  </a:lnTo>
                  <a:lnTo>
                    <a:pt x="115" y="88"/>
                  </a:lnTo>
                  <a:lnTo>
                    <a:pt x="115" y="90"/>
                  </a:lnTo>
                  <a:lnTo>
                    <a:pt x="114" y="96"/>
                  </a:lnTo>
                  <a:lnTo>
                    <a:pt x="112" y="90"/>
                  </a:lnTo>
                  <a:lnTo>
                    <a:pt x="110" y="88"/>
                  </a:lnTo>
                  <a:lnTo>
                    <a:pt x="108" y="86"/>
                  </a:lnTo>
                  <a:lnTo>
                    <a:pt x="106" y="86"/>
                  </a:lnTo>
                  <a:lnTo>
                    <a:pt x="102" y="90"/>
                  </a:lnTo>
                  <a:lnTo>
                    <a:pt x="98" y="92"/>
                  </a:lnTo>
                  <a:lnTo>
                    <a:pt x="98" y="96"/>
                  </a:lnTo>
                  <a:lnTo>
                    <a:pt x="96" y="96"/>
                  </a:lnTo>
                  <a:lnTo>
                    <a:pt x="91" y="94"/>
                  </a:lnTo>
                  <a:lnTo>
                    <a:pt x="89" y="86"/>
                  </a:lnTo>
                  <a:lnTo>
                    <a:pt x="85" y="86"/>
                  </a:lnTo>
                  <a:lnTo>
                    <a:pt x="85" y="90"/>
                  </a:lnTo>
                  <a:lnTo>
                    <a:pt x="83" y="92"/>
                  </a:lnTo>
                  <a:lnTo>
                    <a:pt x="85" y="98"/>
                  </a:lnTo>
                  <a:lnTo>
                    <a:pt x="87" y="105"/>
                  </a:lnTo>
                  <a:lnTo>
                    <a:pt x="85" y="109"/>
                  </a:lnTo>
                  <a:lnTo>
                    <a:pt x="87" y="115"/>
                  </a:lnTo>
                  <a:lnTo>
                    <a:pt x="83" y="115"/>
                  </a:lnTo>
                  <a:lnTo>
                    <a:pt x="83" y="119"/>
                  </a:lnTo>
                  <a:lnTo>
                    <a:pt x="79" y="119"/>
                  </a:lnTo>
                  <a:lnTo>
                    <a:pt x="73" y="123"/>
                  </a:lnTo>
                  <a:lnTo>
                    <a:pt x="73" y="126"/>
                  </a:lnTo>
                  <a:lnTo>
                    <a:pt x="67" y="132"/>
                  </a:lnTo>
                  <a:lnTo>
                    <a:pt x="66" y="136"/>
                  </a:lnTo>
                  <a:lnTo>
                    <a:pt x="67" y="142"/>
                  </a:lnTo>
                  <a:lnTo>
                    <a:pt x="67" y="146"/>
                  </a:lnTo>
                  <a:lnTo>
                    <a:pt x="69" y="148"/>
                  </a:lnTo>
                  <a:lnTo>
                    <a:pt x="69" y="155"/>
                  </a:lnTo>
                  <a:lnTo>
                    <a:pt x="71" y="155"/>
                  </a:lnTo>
                  <a:lnTo>
                    <a:pt x="69" y="159"/>
                  </a:lnTo>
                  <a:lnTo>
                    <a:pt x="66" y="159"/>
                  </a:lnTo>
                  <a:lnTo>
                    <a:pt x="66" y="163"/>
                  </a:lnTo>
                  <a:lnTo>
                    <a:pt x="66" y="161"/>
                  </a:lnTo>
                  <a:lnTo>
                    <a:pt x="60" y="167"/>
                  </a:lnTo>
                  <a:lnTo>
                    <a:pt x="56" y="169"/>
                  </a:lnTo>
                  <a:lnTo>
                    <a:pt x="52" y="167"/>
                  </a:lnTo>
                  <a:lnTo>
                    <a:pt x="48" y="173"/>
                  </a:lnTo>
                  <a:lnTo>
                    <a:pt x="46" y="171"/>
                  </a:lnTo>
                  <a:lnTo>
                    <a:pt x="48" y="171"/>
                  </a:lnTo>
                  <a:lnTo>
                    <a:pt x="48" y="169"/>
                  </a:lnTo>
                  <a:lnTo>
                    <a:pt x="44" y="171"/>
                  </a:lnTo>
                  <a:lnTo>
                    <a:pt x="43" y="167"/>
                  </a:lnTo>
                  <a:lnTo>
                    <a:pt x="41" y="167"/>
                  </a:lnTo>
                  <a:lnTo>
                    <a:pt x="43" y="163"/>
                  </a:lnTo>
                  <a:lnTo>
                    <a:pt x="39" y="161"/>
                  </a:lnTo>
                  <a:lnTo>
                    <a:pt x="39" y="155"/>
                  </a:lnTo>
                  <a:lnTo>
                    <a:pt x="37" y="151"/>
                  </a:lnTo>
                  <a:lnTo>
                    <a:pt x="39" y="149"/>
                  </a:lnTo>
                  <a:lnTo>
                    <a:pt x="37" y="151"/>
                  </a:lnTo>
                  <a:lnTo>
                    <a:pt x="37" y="149"/>
                  </a:lnTo>
                  <a:lnTo>
                    <a:pt x="35" y="149"/>
                  </a:lnTo>
                  <a:lnTo>
                    <a:pt x="37" y="146"/>
                  </a:lnTo>
                  <a:lnTo>
                    <a:pt x="33" y="144"/>
                  </a:lnTo>
                  <a:lnTo>
                    <a:pt x="35" y="144"/>
                  </a:lnTo>
                  <a:lnTo>
                    <a:pt x="31" y="142"/>
                  </a:lnTo>
                  <a:lnTo>
                    <a:pt x="33" y="142"/>
                  </a:lnTo>
                  <a:lnTo>
                    <a:pt x="31" y="140"/>
                  </a:lnTo>
                  <a:lnTo>
                    <a:pt x="31" y="138"/>
                  </a:lnTo>
                  <a:lnTo>
                    <a:pt x="27" y="138"/>
                  </a:lnTo>
                  <a:lnTo>
                    <a:pt x="27" y="136"/>
                  </a:lnTo>
                  <a:lnTo>
                    <a:pt x="27" y="138"/>
                  </a:lnTo>
                  <a:lnTo>
                    <a:pt x="25" y="138"/>
                  </a:lnTo>
                  <a:lnTo>
                    <a:pt x="27" y="138"/>
                  </a:lnTo>
                  <a:lnTo>
                    <a:pt x="23" y="146"/>
                  </a:lnTo>
                  <a:lnTo>
                    <a:pt x="25" y="153"/>
                  </a:lnTo>
                  <a:lnTo>
                    <a:pt x="25" y="155"/>
                  </a:lnTo>
                  <a:lnTo>
                    <a:pt x="27" y="159"/>
                  </a:lnTo>
                  <a:lnTo>
                    <a:pt x="25" y="159"/>
                  </a:lnTo>
                  <a:lnTo>
                    <a:pt x="21" y="157"/>
                  </a:lnTo>
                  <a:lnTo>
                    <a:pt x="18" y="151"/>
                  </a:lnTo>
                  <a:lnTo>
                    <a:pt x="18" y="146"/>
                  </a:lnTo>
                  <a:lnTo>
                    <a:pt x="18" y="140"/>
                  </a:lnTo>
                  <a:lnTo>
                    <a:pt x="16" y="136"/>
                  </a:lnTo>
                  <a:lnTo>
                    <a:pt x="16" y="132"/>
                  </a:lnTo>
                  <a:lnTo>
                    <a:pt x="14" y="130"/>
                  </a:lnTo>
                  <a:lnTo>
                    <a:pt x="16" y="126"/>
                  </a:lnTo>
                  <a:lnTo>
                    <a:pt x="14" y="126"/>
                  </a:lnTo>
                  <a:lnTo>
                    <a:pt x="14" y="123"/>
                  </a:lnTo>
                  <a:lnTo>
                    <a:pt x="10" y="117"/>
                  </a:lnTo>
                  <a:lnTo>
                    <a:pt x="10" y="113"/>
                  </a:lnTo>
                  <a:lnTo>
                    <a:pt x="6" y="109"/>
                  </a:lnTo>
                  <a:lnTo>
                    <a:pt x="6" y="107"/>
                  </a:lnTo>
                  <a:lnTo>
                    <a:pt x="4" y="105"/>
                  </a:lnTo>
                  <a:lnTo>
                    <a:pt x="2" y="100"/>
                  </a:lnTo>
                  <a:lnTo>
                    <a:pt x="0" y="96"/>
                  </a:lnTo>
                  <a:lnTo>
                    <a:pt x="0" y="94"/>
                  </a:lnTo>
                  <a:lnTo>
                    <a:pt x="4" y="94"/>
                  </a:lnTo>
                  <a:lnTo>
                    <a:pt x="4" y="92"/>
                  </a:lnTo>
                  <a:lnTo>
                    <a:pt x="0" y="92"/>
                  </a:lnTo>
                  <a:lnTo>
                    <a:pt x="0" y="88"/>
                  </a:lnTo>
                  <a:lnTo>
                    <a:pt x="2" y="84"/>
                  </a:lnTo>
                  <a:lnTo>
                    <a:pt x="6" y="84"/>
                  </a:lnTo>
                  <a:lnTo>
                    <a:pt x="8" y="82"/>
                  </a:lnTo>
                  <a:lnTo>
                    <a:pt x="10" y="75"/>
                  </a:lnTo>
                  <a:lnTo>
                    <a:pt x="8" y="69"/>
                  </a:lnTo>
                  <a:lnTo>
                    <a:pt x="12" y="61"/>
                  </a:lnTo>
                  <a:lnTo>
                    <a:pt x="16" y="57"/>
                  </a:lnTo>
                  <a:lnTo>
                    <a:pt x="25" y="59"/>
                  </a:lnTo>
                  <a:lnTo>
                    <a:pt x="23" y="55"/>
                  </a:lnTo>
                  <a:lnTo>
                    <a:pt x="25" y="55"/>
                  </a:lnTo>
                  <a:lnTo>
                    <a:pt x="27" y="52"/>
                  </a:lnTo>
                  <a:lnTo>
                    <a:pt x="25" y="46"/>
                  </a:lnTo>
                  <a:lnTo>
                    <a:pt x="29" y="46"/>
                  </a:lnTo>
                  <a:lnTo>
                    <a:pt x="31" y="46"/>
                  </a:lnTo>
                  <a:lnTo>
                    <a:pt x="41" y="50"/>
                  </a:lnTo>
                  <a:lnTo>
                    <a:pt x="48" y="50"/>
                  </a:lnTo>
                  <a:lnTo>
                    <a:pt x="52" y="46"/>
                  </a:lnTo>
                  <a:lnTo>
                    <a:pt x="52" y="40"/>
                  </a:lnTo>
                  <a:lnTo>
                    <a:pt x="54" y="32"/>
                  </a:lnTo>
                  <a:lnTo>
                    <a:pt x="58" y="40"/>
                  </a:lnTo>
                  <a:lnTo>
                    <a:pt x="64" y="42"/>
                  </a:lnTo>
                  <a:lnTo>
                    <a:pt x="66" y="40"/>
                  </a:lnTo>
                  <a:lnTo>
                    <a:pt x="66" y="32"/>
                  </a:lnTo>
                  <a:lnTo>
                    <a:pt x="71" y="34"/>
                  </a:lnTo>
                  <a:lnTo>
                    <a:pt x="75" y="32"/>
                  </a:lnTo>
                  <a:lnTo>
                    <a:pt x="75" y="36"/>
                  </a:lnTo>
                  <a:lnTo>
                    <a:pt x="79" y="42"/>
                  </a:lnTo>
                  <a:lnTo>
                    <a:pt x="81" y="42"/>
                  </a:lnTo>
                  <a:lnTo>
                    <a:pt x="83" y="40"/>
                  </a:lnTo>
                  <a:lnTo>
                    <a:pt x="83" y="38"/>
                  </a:lnTo>
                  <a:lnTo>
                    <a:pt x="85" y="28"/>
                  </a:lnTo>
                  <a:lnTo>
                    <a:pt x="83" y="21"/>
                  </a:lnTo>
                  <a:lnTo>
                    <a:pt x="87" y="19"/>
                  </a:lnTo>
                  <a:lnTo>
                    <a:pt x="89" y="23"/>
                  </a:lnTo>
                  <a:lnTo>
                    <a:pt x="91" y="21"/>
                  </a:lnTo>
                  <a:lnTo>
                    <a:pt x="87" y="17"/>
                  </a:lnTo>
                  <a:lnTo>
                    <a:pt x="89" y="15"/>
                  </a:lnTo>
                  <a:lnTo>
                    <a:pt x="91" y="17"/>
                  </a:lnTo>
                  <a:lnTo>
                    <a:pt x="92" y="15"/>
                  </a:lnTo>
                  <a:lnTo>
                    <a:pt x="102" y="17"/>
                  </a:lnTo>
                  <a:lnTo>
                    <a:pt x="106" y="11"/>
                  </a:lnTo>
                  <a:lnTo>
                    <a:pt x="104" y="5"/>
                  </a:lnTo>
                  <a:lnTo>
                    <a:pt x="108" y="0"/>
                  </a:lnTo>
                  <a:lnTo>
                    <a:pt x="110" y="0"/>
                  </a:lnTo>
                  <a:lnTo>
                    <a:pt x="115" y="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64" name="Freeform 45">
              <a:extLst>
                <a:ext uri="{FF2B5EF4-FFF2-40B4-BE49-F238E27FC236}">
                  <a16:creationId xmlns:a16="http://schemas.microsoft.com/office/drawing/2014/main" id="{BDB5C950-A5DA-4C5F-B911-6E3701E410C3}"/>
                </a:ext>
              </a:extLst>
            </p:cNvPr>
            <p:cNvSpPr>
              <a:spLocks/>
            </p:cNvSpPr>
            <p:nvPr/>
          </p:nvSpPr>
          <p:spPr bwMode="gray">
            <a:xfrm>
              <a:off x="7556501" y="3370263"/>
              <a:ext cx="198438" cy="441325"/>
            </a:xfrm>
            <a:custGeom>
              <a:avLst/>
              <a:gdLst>
                <a:gd name="T0" fmla="*/ 83 w 125"/>
                <a:gd name="T1" fmla="*/ 19 h 278"/>
                <a:gd name="T2" fmla="*/ 79 w 125"/>
                <a:gd name="T3" fmla="*/ 34 h 278"/>
                <a:gd name="T4" fmla="*/ 83 w 125"/>
                <a:gd name="T5" fmla="*/ 46 h 278"/>
                <a:gd name="T6" fmla="*/ 94 w 125"/>
                <a:gd name="T7" fmla="*/ 46 h 278"/>
                <a:gd name="T8" fmla="*/ 102 w 125"/>
                <a:gd name="T9" fmla="*/ 46 h 278"/>
                <a:gd name="T10" fmla="*/ 106 w 125"/>
                <a:gd name="T11" fmla="*/ 53 h 278"/>
                <a:gd name="T12" fmla="*/ 114 w 125"/>
                <a:gd name="T13" fmla="*/ 51 h 278"/>
                <a:gd name="T14" fmla="*/ 115 w 125"/>
                <a:gd name="T15" fmla="*/ 61 h 278"/>
                <a:gd name="T16" fmla="*/ 121 w 125"/>
                <a:gd name="T17" fmla="*/ 76 h 278"/>
                <a:gd name="T18" fmla="*/ 125 w 125"/>
                <a:gd name="T19" fmla="*/ 90 h 278"/>
                <a:gd name="T20" fmla="*/ 121 w 125"/>
                <a:gd name="T21" fmla="*/ 103 h 278"/>
                <a:gd name="T22" fmla="*/ 119 w 125"/>
                <a:gd name="T23" fmla="*/ 119 h 278"/>
                <a:gd name="T24" fmla="*/ 115 w 125"/>
                <a:gd name="T25" fmla="*/ 126 h 278"/>
                <a:gd name="T26" fmla="*/ 119 w 125"/>
                <a:gd name="T27" fmla="*/ 140 h 278"/>
                <a:gd name="T28" fmla="*/ 115 w 125"/>
                <a:gd name="T29" fmla="*/ 151 h 278"/>
                <a:gd name="T30" fmla="*/ 108 w 125"/>
                <a:gd name="T31" fmla="*/ 163 h 278"/>
                <a:gd name="T32" fmla="*/ 96 w 125"/>
                <a:gd name="T33" fmla="*/ 157 h 278"/>
                <a:gd name="T34" fmla="*/ 91 w 125"/>
                <a:gd name="T35" fmla="*/ 159 h 278"/>
                <a:gd name="T36" fmla="*/ 92 w 125"/>
                <a:gd name="T37" fmla="*/ 169 h 278"/>
                <a:gd name="T38" fmla="*/ 89 w 125"/>
                <a:gd name="T39" fmla="*/ 184 h 278"/>
                <a:gd name="T40" fmla="*/ 87 w 125"/>
                <a:gd name="T41" fmla="*/ 199 h 278"/>
                <a:gd name="T42" fmla="*/ 89 w 125"/>
                <a:gd name="T43" fmla="*/ 215 h 278"/>
                <a:gd name="T44" fmla="*/ 94 w 125"/>
                <a:gd name="T45" fmla="*/ 224 h 278"/>
                <a:gd name="T46" fmla="*/ 98 w 125"/>
                <a:gd name="T47" fmla="*/ 244 h 278"/>
                <a:gd name="T48" fmla="*/ 94 w 125"/>
                <a:gd name="T49" fmla="*/ 251 h 278"/>
                <a:gd name="T50" fmla="*/ 89 w 125"/>
                <a:gd name="T51" fmla="*/ 251 h 278"/>
                <a:gd name="T52" fmla="*/ 81 w 125"/>
                <a:gd name="T53" fmla="*/ 257 h 278"/>
                <a:gd name="T54" fmla="*/ 75 w 125"/>
                <a:gd name="T55" fmla="*/ 268 h 278"/>
                <a:gd name="T56" fmla="*/ 71 w 125"/>
                <a:gd name="T57" fmla="*/ 270 h 278"/>
                <a:gd name="T58" fmla="*/ 64 w 125"/>
                <a:gd name="T59" fmla="*/ 270 h 278"/>
                <a:gd name="T60" fmla="*/ 56 w 125"/>
                <a:gd name="T61" fmla="*/ 265 h 278"/>
                <a:gd name="T62" fmla="*/ 46 w 125"/>
                <a:gd name="T63" fmla="*/ 257 h 278"/>
                <a:gd name="T64" fmla="*/ 43 w 125"/>
                <a:gd name="T65" fmla="*/ 270 h 278"/>
                <a:gd name="T66" fmla="*/ 33 w 125"/>
                <a:gd name="T67" fmla="*/ 267 h 278"/>
                <a:gd name="T68" fmla="*/ 35 w 125"/>
                <a:gd name="T69" fmla="*/ 259 h 278"/>
                <a:gd name="T70" fmla="*/ 33 w 125"/>
                <a:gd name="T71" fmla="*/ 245 h 278"/>
                <a:gd name="T72" fmla="*/ 29 w 125"/>
                <a:gd name="T73" fmla="*/ 219 h 278"/>
                <a:gd name="T74" fmla="*/ 25 w 125"/>
                <a:gd name="T75" fmla="*/ 213 h 278"/>
                <a:gd name="T76" fmla="*/ 25 w 125"/>
                <a:gd name="T77" fmla="*/ 194 h 278"/>
                <a:gd name="T78" fmla="*/ 20 w 125"/>
                <a:gd name="T79" fmla="*/ 184 h 278"/>
                <a:gd name="T80" fmla="*/ 16 w 125"/>
                <a:gd name="T81" fmla="*/ 172 h 278"/>
                <a:gd name="T82" fmla="*/ 10 w 125"/>
                <a:gd name="T83" fmla="*/ 171 h 278"/>
                <a:gd name="T84" fmla="*/ 12 w 125"/>
                <a:gd name="T85" fmla="*/ 157 h 278"/>
                <a:gd name="T86" fmla="*/ 8 w 125"/>
                <a:gd name="T87" fmla="*/ 147 h 278"/>
                <a:gd name="T88" fmla="*/ 14 w 125"/>
                <a:gd name="T89" fmla="*/ 136 h 278"/>
                <a:gd name="T90" fmla="*/ 12 w 125"/>
                <a:gd name="T91" fmla="*/ 124 h 278"/>
                <a:gd name="T92" fmla="*/ 8 w 125"/>
                <a:gd name="T93" fmla="*/ 117 h 278"/>
                <a:gd name="T94" fmla="*/ 4 w 125"/>
                <a:gd name="T95" fmla="*/ 113 h 278"/>
                <a:gd name="T96" fmla="*/ 2 w 125"/>
                <a:gd name="T97" fmla="*/ 96 h 278"/>
                <a:gd name="T98" fmla="*/ 0 w 125"/>
                <a:gd name="T99" fmla="*/ 86 h 278"/>
                <a:gd name="T100" fmla="*/ 2 w 125"/>
                <a:gd name="T101" fmla="*/ 71 h 278"/>
                <a:gd name="T102" fmla="*/ 8 w 125"/>
                <a:gd name="T103" fmla="*/ 65 h 278"/>
                <a:gd name="T104" fmla="*/ 6 w 125"/>
                <a:gd name="T105" fmla="*/ 48 h 278"/>
                <a:gd name="T106" fmla="*/ 4 w 125"/>
                <a:gd name="T107" fmla="*/ 30 h 278"/>
                <a:gd name="T108" fmla="*/ 12 w 125"/>
                <a:gd name="T109" fmla="*/ 28 h 278"/>
                <a:gd name="T110" fmla="*/ 18 w 125"/>
                <a:gd name="T111" fmla="*/ 40 h 278"/>
                <a:gd name="T112" fmla="*/ 23 w 125"/>
                <a:gd name="T113" fmla="*/ 38 h 278"/>
                <a:gd name="T114" fmla="*/ 37 w 125"/>
                <a:gd name="T115" fmla="*/ 28 h 278"/>
                <a:gd name="T116" fmla="*/ 46 w 125"/>
                <a:gd name="T117" fmla="*/ 17 h 278"/>
                <a:gd name="T118" fmla="*/ 52 w 125"/>
                <a:gd name="T119" fmla="*/ 1 h 278"/>
                <a:gd name="T120" fmla="*/ 58 w 125"/>
                <a:gd name="T121" fmla="*/ 9 h 278"/>
                <a:gd name="T122" fmla="*/ 64 w 125"/>
                <a:gd name="T123" fmla="*/ 13 h 278"/>
                <a:gd name="T124" fmla="*/ 71 w 125"/>
                <a:gd name="T125" fmla="*/ 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 h="278">
                  <a:moveTo>
                    <a:pt x="81" y="13"/>
                  </a:moveTo>
                  <a:lnTo>
                    <a:pt x="81" y="17"/>
                  </a:lnTo>
                  <a:lnTo>
                    <a:pt x="83" y="19"/>
                  </a:lnTo>
                  <a:lnTo>
                    <a:pt x="79" y="25"/>
                  </a:lnTo>
                  <a:lnTo>
                    <a:pt x="81" y="32"/>
                  </a:lnTo>
                  <a:lnTo>
                    <a:pt x="79" y="34"/>
                  </a:lnTo>
                  <a:lnTo>
                    <a:pt x="79" y="38"/>
                  </a:lnTo>
                  <a:lnTo>
                    <a:pt x="75" y="44"/>
                  </a:lnTo>
                  <a:lnTo>
                    <a:pt x="83" y="46"/>
                  </a:lnTo>
                  <a:lnTo>
                    <a:pt x="87" y="44"/>
                  </a:lnTo>
                  <a:lnTo>
                    <a:pt x="89" y="51"/>
                  </a:lnTo>
                  <a:lnTo>
                    <a:pt x="94" y="46"/>
                  </a:lnTo>
                  <a:lnTo>
                    <a:pt x="96" y="50"/>
                  </a:lnTo>
                  <a:lnTo>
                    <a:pt x="100" y="50"/>
                  </a:lnTo>
                  <a:lnTo>
                    <a:pt x="102" y="46"/>
                  </a:lnTo>
                  <a:lnTo>
                    <a:pt x="106" y="48"/>
                  </a:lnTo>
                  <a:lnTo>
                    <a:pt x="106" y="50"/>
                  </a:lnTo>
                  <a:lnTo>
                    <a:pt x="106" y="53"/>
                  </a:lnTo>
                  <a:lnTo>
                    <a:pt x="110" y="50"/>
                  </a:lnTo>
                  <a:lnTo>
                    <a:pt x="114" y="50"/>
                  </a:lnTo>
                  <a:lnTo>
                    <a:pt x="114" y="51"/>
                  </a:lnTo>
                  <a:lnTo>
                    <a:pt x="115" y="53"/>
                  </a:lnTo>
                  <a:lnTo>
                    <a:pt x="114" y="57"/>
                  </a:lnTo>
                  <a:lnTo>
                    <a:pt x="115" y="61"/>
                  </a:lnTo>
                  <a:lnTo>
                    <a:pt x="121" y="63"/>
                  </a:lnTo>
                  <a:lnTo>
                    <a:pt x="119" y="73"/>
                  </a:lnTo>
                  <a:lnTo>
                    <a:pt x="121" y="76"/>
                  </a:lnTo>
                  <a:lnTo>
                    <a:pt x="121" y="82"/>
                  </a:lnTo>
                  <a:lnTo>
                    <a:pt x="121" y="88"/>
                  </a:lnTo>
                  <a:lnTo>
                    <a:pt x="125" y="90"/>
                  </a:lnTo>
                  <a:lnTo>
                    <a:pt x="123" y="94"/>
                  </a:lnTo>
                  <a:lnTo>
                    <a:pt x="123" y="99"/>
                  </a:lnTo>
                  <a:lnTo>
                    <a:pt x="121" y="103"/>
                  </a:lnTo>
                  <a:lnTo>
                    <a:pt x="123" y="105"/>
                  </a:lnTo>
                  <a:lnTo>
                    <a:pt x="119" y="109"/>
                  </a:lnTo>
                  <a:lnTo>
                    <a:pt x="119" y="119"/>
                  </a:lnTo>
                  <a:lnTo>
                    <a:pt x="121" y="122"/>
                  </a:lnTo>
                  <a:lnTo>
                    <a:pt x="119" y="124"/>
                  </a:lnTo>
                  <a:lnTo>
                    <a:pt x="115" y="126"/>
                  </a:lnTo>
                  <a:lnTo>
                    <a:pt x="117" y="128"/>
                  </a:lnTo>
                  <a:lnTo>
                    <a:pt x="117" y="136"/>
                  </a:lnTo>
                  <a:lnTo>
                    <a:pt x="119" y="140"/>
                  </a:lnTo>
                  <a:lnTo>
                    <a:pt x="117" y="147"/>
                  </a:lnTo>
                  <a:lnTo>
                    <a:pt x="119" y="149"/>
                  </a:lnTo>
                  <a:lnTo>
                    <a:pt x="115" y="151"/>
                  </a:lnTo>
                  <a:lnTo>
                    <a:pt x="114" y="155"/>
                  </a:lnTo>
                  <a:lnTo>
                    <a:pt x="115" y="157"/>
                  </a:lnTo>
                  <a:lnTo>
                    <a:pt x="108" y="163"/>
                  </a:lnTo>
                  <a:lnTo>
                    <a:pt x="102" y="163"/>
                  </a:lnTo>
                  <a:lnTo>
                    <a:pt x="100" y="159"/>
                  </a:lnTo>
                  <a:lnTo>
                    <a:pt x="96" y="157"/>
                  </a:lnTo>
                  <a:lnTo>
                    <a:pt x="94" y="159"/>
                  </a:lnTo>
                  <a:lnTo>
                    <a:pt x="92" y="157"/>
                  </a:lnTo>
                  <a:lnTo>
                    <a:pt x="91" y="159"/>
                  </a:lnTo>
                  <a:lnTo>
                    <a:pt x="91" y="163"/>
                  </a:lnTo>
                  <a:lnTo>
                    <a:pt x="92" y="165"/>
                  </a:lnTo>
                  <a:lnTo>
                    <a:pt x="92" y="169"/>
                  </a:lnTo>
                  <a:lnTo>
                    <a:pt x="94" y="174"/>
                  </a:lnTo>
                  <a:lnTo>
                    <a:pt x="91" y="174"/>
                  </a:lnTo>
                  <a:lnTo>
                    <a:pt x="89" y="184"/>
                  </a:lnTo>
                  <a:lnTo>
                    <a:pt x="87" y="186"/>
                  </a:lnTo>
                  <a:lnTo>
                    <a:pt x="89" y="192"/>
                  </a:lnTo>
                  <a:lnTo>
                    <a:pt x="87" y="199"/>
                  </a:lnTo>
                  <a:lnTo>
                    <a:pt x="89" y="203"/>
                  </a:lnTo>
                  <a:lnTo>
                    <a:pt x="92" y="209"/>
                  </a:lnTo>
                  <a:lnTo>
                    <a:pt x="89" y="215"/>
                  </a:lnTo>
                  <a:lnTo>
                    <a:pt x="91" y="217"/>
                  </a:lnTo>
                  <a:lnTo>
                    <a:pt x="92" y="222"/>
                  </a:lnTo>
                  <a:lnTo>
                    <a:pt x="94" y="224"/>
                  </a:lnTo>
                  <a:lnTo>
                    <a:pt x="96" y="226"/>
                  </a:lnTo>
                  <a:lnTo>
                    <a:pt x="96" y="236"/>
                  </a:lnTo>
                  <a:lnTo>
                    <a:pt x="98" y="244"/>
                  </a:lnTo>
                  <a:lnTo>
                    <a:pt x="96" y="245"/>
                  </a:lnTo>
                  <a:lnTo>
                    <a:pt x="92" y="245"/>
                  </a:lnTo>
                  <a:lnTo>
                    <a:pt x="94" y="251"/>
                  </a:lnTo>
                  <a:lnTo>
                    <a:pt x="92" y="253"/>
                  </a:lnTo>
                  <a:lnTo>
                    <a:pt x="91" y="253"/>
                  </a:lnTo>
                  <a:lnTo>
                    <a:pt x="89" y="251"/>
                  </a:lnTo>
                  <a:lnTo>
                    <a:pt x="81" y="251"/>
                  </a:lnTo>
                  <a:lnTo>
                    <a:pt x="81" y="255"/>
                  </a:lnTo>
                  <a:lnTo>
                    <a:pt x="81" y="257"/>
                  </a:lnTo>
                  <a:lnTo>
                    <a:pt x="83" y="261"/>
                  </a:lnTo>
                  <a:lnTo>
                    <a:pt x="77" y="263"/>
                  </a:lnTo>
                  <a:lnTo>
                    <a:pt x="75" y="268"/>
                  </a:lnTo>
                  <a:lnTo>
                    <a:pt x="77" y="274"/>
                  </a:lnTo>
                  <a:lnTo>
                    <a:pt x="73" y="274"/>
                  </a:lnTo>
                  <a:lnTo>
                    <a:pt x="71" y="270"/>
                  </a:lnTo>
                  <a:lnTo>
                    <a:pt x="66" y="278"/>
                  </a:lnTo>
                  <a:lnTo>
                    <a:pt x="64" y="272"/>
                  </a:lnTo>
                  <a:lnTo>
                    <a:pt x="64" y="270"/>
                  </a:lnTo>
                  <a:lnTo>
                    <a:pt x="64" y="268"/>
                  </a:lnTo>
                  <a:lnTo>
                    <a:pt x="60" y="265"/>
                  </a:lnTo>
                  <a:lnTo>
                    <a:pt x="56" y="265"/>
                  </a:lnTo>
                  <a:lnTo>
                    <a:pt x="56" y="261"/>
                  </a:lnTo>
                  <a:lnTo>
                    <a:pt x="52" y="261"/>
                  </a:lnTo>
                  <a:lnTo>
                    <a:pt x="46" y="257"/>
                  </a:lnTo>
                  <a:lnTo>
                    <a:pt x="44" y="257"/>
                  </a:lnTo>
                  <a:lnTo>
                    <a:pt x="43" y="263"/>
                  </a:lnTo>
                  <a:lnTo>
                    <a:pt x="43" y="270"/>
                  </a:lnTo>
                  <a:lnTo>
                    <a:pt x="39" y="270"/>
                  </a:lnTo>
                  <a:lnTo>
                    <a:pt x="35" y="274"/>
                  </a:lnTo>
                  <a:lnTo>
                    <a:pt x="33" y="267"/>
                  </a:lnTo>
                  <a:lnTo>
                    <a:pt x="29" y="259"/>
                  </a:lnTo>
                  <a:lnTo>
                    <a:pt x="31" y="257"/>
                  </a:lnTo>
                  <a:lnTo>
                    <a:pt x="35" y="259"/>
                  </a:lnTo>
                  <a:lnTo>
                    <a:pt x="35" y="255"/>
                  </a:lnTo>
                  <a:lnTo>
                    <a:pt x="33" y="249"/>
                  </a:lnTo>
                  <a:lnTo>
                    <a:pt x="33" y="245"/>
                  </a:lnTo>
                  <a:lnTo>
                    <a:pt x="31" y="238"/>
                  </a:lnTo>
                  <a:lnTo>
                    <a:pt x="29" y="228"/>
                  </a:lnTo>
                  <a:lnTo>
                    <a:pt x="29" y="219"/>
                  </a:lnTo>
                  <a:lnTo>
                    <a:pt x="27" y="219"/>
                  </a:lnTo>
                  <a:lnTo>
                    <a:pt x="29" y="217"/>
                  </a:lnTo>
                  <a:lnTo>
                    <a:pt x="25" y="213"/>
                  </a:lnTo>
                  <a:lnTo>
                    <a:pt x="27" y="211"/>
                  </a:lnTo>
                  <a:lnTo>
                    <a:pt x="27" y="201"/>
                  </a:lnTo>
                  <a:lnTo>
                    <a:pt x="25" y="194"/>
                  </a:lnTo>
                  <a:lnTo>
                    <a:pt x="21" y="192"/>
                  </a:lnTo>
                  <a:lnTo>
                    <a:pt x="21" y="186"/>
                  </a:lnTo>
                  <a:lnTo>
                    <a:pt x="20" y="184"/>
                  </a:lnTo>
                  <a:lnTo>
                    <a:pt x="20" y="180"/>
                  </a:lnTo>
                  <a:lnTo>
                    <a:pt x="18" y="176"/>
                  </a:lnTo>
                  <a:lnTo>
                    <a:pt x="16" y="172"/>
                  </a:lnTo>
                  <a:lnTo>
                    <a:pt x="14" y="174"/>
                  </a:lnTo>
                  <a:lnTo>
                    <a:pt x="14" y="172"/>
                  </a:lnTo>
                  <a:lnTo>
                    <a:pt x="10" y="171"/>
                  </a:lnTo>
                  <a:lnTo>
                    <a:pt x="12" y="165"/>
                  </a:lnTo>
                  <a:lnTo>
                    <a:pt x="12" y="161"/>
                  </a:lnTo>
                  <a:lnTo>
                    <a:pt x="12" y="157"/>
                  </a:lnTo>
                  <a:lnTo>
                    <a:pt x="8" y="153"/>
                  </a:lnTo>
                  <a:lnTo>
                    <a:pt x="10" y="151"/>
                  </a:lnTo>
                  <a:lnTo>
                    <a:pt x="8" y="147"/>
                  </a:lnTo>
                  <a:lnTo>
                    <a:pt x="8" y="140"/>
                  </a:lnTo>
                  <a:lnTo>
                    <a:pt x="12" y="134"/>
                  </a:lnTo>
                  <a:lnTo>
                    <a:pt x="14" y="136"/>
                  </a:lnTo>
                  <a:lnTo>
                    <a:pt x="12" y="130"/>
                  </a:lnTo>
                  <a:lnTo>
                    <a:pt x="10" y="128"/>
                  </a:lnTo>
                  <a:lnTo>
                    <a:pt x="12" y="124"/>
                  </a:lnTo>
                  <a:lnTo>
                    <a:pt x="10" y="124"/>
                  </a:lnTo>
                  <a:lnTo>
                    <a:pt x="10" y="119"/>
                  </a:lnTo>
                  <a:lnTo>
                    <a:pt x="8" y="117"/>
                  </a:lnTo>
                  <a:lnTo>
                    <a:pt x="6" y="117"/>
                  </a:lnTo>
                  <a:lnTo>
                    <a:pt x="6" y="113"/>
                  </a:lnTo>
                  <a:lnTo>
                    <a:pt x="4" y="113"/>
                  </a:lnTo>
                  <a:lnTo>
                    <a:pt x="4" y="103"/>
                  </a:lnTo>
                  <a:lnTo>
                    <a:pt x="2" y="99"/>
                  </a:lnTo>
                  <a:lnTo>
                    <a:pt x="2" y="96"/>
                  </a:lnTo>
                  <a:lnTo>
                    <a:pt x="0" y="94"/>
                  </a:lnTo>
                  <a:lnTo>
                    <a:pt x="2" y="88"/>
                  </a:lnTo>
                  <a:lnTo>
                    <a:pt x="0" y="86"/>
                  </a:lnTo>
                  <a:lnTo>
                    <a:pt x="0" y="80"/>
                  </a:lnTo>
                  <a:lnTo>
                    <a:pt x="0" y="74"/>
                  </a:lnTo>
                  <a:lnTo>
                    <a:pt x="2" y="71"/>
                  </a:lnTo>
                  <a:lnTo>
                    <a:pt x="6" y="73"/>
                  </a:lnTo>
                  <a:lnTo>
                    <a:pt x="6" y="69"/>
                  </a:lnTo>
                  <a:lnTo>
                    <a:pt x="8" y="65"/>
                  </a:lnTo>
                  <a:lnTo>
                    <a:pt x="4" y="61"/>
                  </a:lnTo>
                  <a:lnTo>
                    <a:pt x="8" y="57"/>
                  </a:lnTo>
                  <a:lnTo>
                    <a:pt x="6" y="48"/>
                  </a:lnTo>
                  <a:lnTo>
                    <a:pt x="8" y="40"/>
                  </a:lnTo>
                  <a:lnTo>
                    <a:pt x="6" y="32"/>
                  </a:lnTo>
                  <a:lnTo>
                    <a:pt x="4" y="30"/>
                  </a:lnTo>
                  <a:lnTo>
                    <a:pt x="4" y="28"/>
                  </a:lnTo>
                  <a:lnTo>
                    <a:pt x="6" y="28"/>
                  </a:lnTo>
                  <a:lnTo>
                    <a:pt x="12" y="28"/>
                  </a:lnTo>
                  <a:lnTo>
                    <a:pt x="18" y="28"/>
                  </a:lnTo>
                  <a:lnTo>
                    <a:pt x="16" y="34"/>
                  </a:lnTo>
                  <a:lnTo>
                    <a:pt x="18" y="40"/>
                  </a:lnTo>
                  <a:lnTo>
                    <a:pt x="21" y="40"/>
                  </a:lnTo>
                  <a:lnTo>
                    <a:pt x="23" y="40"/>
                  </a:lnTo>
                  <a:lnTo>
                    <a:pt x="23" y="38"/>
                  </a:lnTo>
                  <a:lnTo>
                    <a:pt x="29" y="36"/>
                  </a:lnTo>
                  <a:lnTo>
                    <a:pt x="31" y="28"/>
                  </a:lnTo>
                  <a:lnTo>
                    <a:pt x="37" y="28"/>
                  </a:lnTo>
                  <a:lnTo>
                    <a:pt x="39" y="19"/>
                  </a:lnTo>
                  <a:lnTo>
                    <a:pt x="41" y="21"/>
                  </a:lnTo>
                  <a:lnTo>
                    <a:pt x="46" y="17"/>
                  </a:lnTo>
                  <a:lnTo>
                    <a:pt x="46" y="15"/>
                  </a:lnTo>
                  <a:lnTo>
                    <a:pt x="48" y="11"/>
                  </a:lnTo>
                  <a:lnTo>
                    <a:pt x="52" y="1"/>
                  </a:lnTo>
                  <a:lnTo>
                    <a:pt x="54" y="0"/>
                  </a:lnTo>
                  <a:lnTo>
                    <a:pt x="56" y="5"/>
                  </a:lnTo>
                  <a:lnTo>
                    <a:pt x="58" y="9"/>
                  </a:lnTo>
                  <a:lnTo>
                    <a:pt x="60" y="11"/>
                  </a:lnTo>
                  <a:lnTo>
                    <a:pt x="60" y="15"/>
                  </a:lnTo>
                  <a:lnTo>
                    <a:pt x="64" y="13"/>
                  </a:lnTo>
                  <a:lnTo>
                    <a:pt x="69" y="13"/>
                  </a:lnTo>
                  <a:lnTo>
                    <a:pt x="69" y="11"/>
                  </a:lnTo>
                  <a:lnTo>
                    <a:pt x="71" y="13"/>
                  </a:lnTo>
                  <a:lnTo>
                    <a:pt x="77" y="11"/>
                  </a:lnTo>
                  <a:lnTo>
                    <a:pt x="81" y="1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grpSp>
          <p:nvGrpSpPr>
            <p:cNvPr id="65" name="Group 64">
              <a:extLst>
                <a:ext uri="{FF2B5EF4-FFF2-40B4-BE49-F238E27FC236}">
                  <a16:creationId xmlns:a16="http://schemas.microsoft.com/office/drawing/2014/main" id="{DBDD2211-04B2-43D3-9F09-91D17BF778AE}"/>
                </a:ext>
              </a:extLst>
            </p:cNvPr>
            <p:cNvGrpSpPr/>
            <p:nvPr/>
          </p:nvGrpSpPr>
          <p:grpSpPr bwMode="gray">
            <a:xfrm>
              <a:off x="4324350" y="1201737"/>
              <a:ext cx="4103688" cy="1798639"/>
              <a:chOff x="4324350" y="1201737"/>
              <a:chExt cx="4103688" cy="1798639"/>
            </a:xfrm>
          </p:grpSpPr>
          <p:sp>
            <p:nvSpPr>
              <p:cNvPr id="66" name="Freeform 233">
                <a:extLst>
                  <a:ext uri="{FF2B5EF4-FFF2-40B4-BE49-F238E27FC236}">
                    <a16:creationId xmlns:a16="http://schemas.microsoft.com/office/drawing/2014/main" id="{A01C297E-05B9-4D44-9505-10092352E48F}"/>
                  </a:ext>
                </a:extLst>
              </p:cNvPr>
              <p:cNvSpPr>
                <a:spLocks/>
              </p:cNvSpPr>
              <p:nvPr/>
            </p:nvSpPr>
            <p:spPr bwMode="gray">
              <a:xfrm>
                <a:off x="5219700" y="1390650"/>
                <a:ext cx="396875" cy="603250"/>
              </a:xfrm>
              <a:custGeom>
                <a:avLst/>
                <a:gdLst>
                  <a:gd name="T0" fmla="*/ 23 w 250"/>
                  <a:gd name="T1" fmla="*/ 38 h 380"/>
                  <a:gd name="T2" fmla="*/ 42 w 250"/>
                  <a:gd name="T3" fmla="*/ 29 h 380"/>
                  <a:gd name="T4" fmla="*/ 65 w 250"/>
                  <a:gd name="T5" fmla="*/ 19 h 380"/>
                  <a:gd name="T6" fmla="*/ 94 w 250"/>
                  <a:gd name="T7" fmla="*/ 6 h 380"/>
                  <a:gd name="T8" fmla="*/ 123 w 250"/>
                  <a:gd name="T9" fmla="*/ 6 h 380"/>
                  <a:gd name="T10" fmla="*/ 154 w 250"/>
                  <a:gd name="T11" fmla="*/ 2 h 380"/>
                  <a:gd name="T12" fmla="*/ 161 w 250"/>
                  <a:gd name="T13" fmla="*/ 13 h 380"/>
                  <a:gd name="T14" fmla="*/ 179 w 250"/>
                  <a:gd name="T15" fmla="*/ 25 h 380"/>
                  <a:gd name="T16" fmla="*/ 196 w 250"/>
                  <a:gd name="T17" fmla="*/ 44 h 380"/>
                  <a:gd name="T18" fmla="*/ 209 w 250"/>
                  <a:gd name="T19" fmla="*/ 48 h 380"/>
                  <a:gd name="T20" fmla="*/ 227 w 250"/>
                  <a:gd name="T21" fmla="*/ 61 h 380"/>
                  <a:gd name="T22" fmla="*/ 244 w 250"/>
                  <a:gd name="T23" fmla="*/ 52 h 380"/>
                  <a:gd name="T24" fmla="*/ 242 w 250"/>
                  <a:gd name="T25" fmla="*/ 73 h 380"/>
                  <a:gd name="T26" fmla="*/ 236 w 250"/>
                  <a:gd name="T27" fmla="*/ 92 h 380"/>
                  <a:gd name="T28" fmla="*/ 231 w 250"/>
                  <a:gd name="T29" fmla="*/ 113 h 380"/>
                  <a:gd name="T30" fmla="*/ 219 w 250"/>
                  <a:gd name="T31" fmla="*/ 132 h 380"/>
                  <a:gd name="T32" fmla="*/ 208 w 250"/>
                  <a:gd name="T33" fmla="*/ 144 h 380"/>
                  <a:gd name="T34" fmla="*/ 183 w 250"/>
                  <a:gd name="T35" fmla="*/ 161 h 380"/>
                  <a:gd name="T36" fmla="*/ 171 w 250"/>
                  <a:gd name="T37" fmla="*/ 171 h 380"/>
                  <a:gd name="T38" fmla="*/ 158 w 250"/>
                  <a:gd name="T39" fmla="*/ 169 h 380"/>
                  <a:gd name="T40" fmla="*/ 158 w 250"/>
                  <a:gd name="T41" fmla="*/ 192 h 380"/>
                  <a:gd name="T42" fmla="*/ 144 w 250"/>
                  <a:gd name="T43" fmla="*/ 217 h 380"/>
                  <a:gd name="T44" fmla="*/ 123 w 250"/>
                  <a:gd name="T45" fmla="*/ 215 h 380"/>
                  <a:gd name="T46" fmla="*/ 92 w 250"/>
                  <a:gd name="T47" fmla="*/ 217 h 380"/>
                  <a:gd name="T48" fmla="*/ 104 w 250"/>
                  <a:gd name="T49" fmla="*/ 248 h 380"/>
                  <a:gd name="T50" fmla="*/ 102 w 250"/>
                  <a:gd name="T51" fmla="*/ 257 h 380"/>
                  <a:gd name="T52" fmla="*/ 94 w 250"/>
                  <a:gd name="T53" fmla="*/ 269 h 380"/>
                  <a:gd name="T54" fmla="*/ 98 w 250"/>
                  <a:gd name="T55" fmla="*/ 288 h 380"/>
                  <a:gd name="T56" fmla="*/ 106 w 250"/>
                  <a:gd name="T57" fmla="*/ 300 h 380"/>
                  <a:gd name="T58" fmla="*/ 131 w 250"/>
                  <a:gd name="T59" fmla="*/ 305 h 380"/>
                  <a:gd name="T60" fmla="*/ 138 w 250"/>
                  <a:gd name="T61" fmla="*/ 313 h 380"/>
                  <a:gd name="T62" fmla="*/ 136 w 250"/>
                  <a:gd name="T63" fmla="*/ 332 h 380"/>
                  <a:gd name="T64" fmla="*/ 154 w 250"/>
                  <a:gd name="T65" fmla="*/ 357 h 380"/>
                  <a:gd name="T66" fmla="*/ 136 w 250"/>
                  <a:gd name="T67" fmla="*/ 373 h 380"/>
                  <a:gd name="T68" fmla="*/ 125 w 250"/>
                  <a:gd name="T69" fmla="*/ 369 h 380"/>
                  <a:gd name="T70" fmla="*/ 125 w 250"/>
                  <a:gd name="T71" fmla="*/ 348 h 380"/>
                  <a:gd name="T72" fmla="*/ 123 w 250"/>
                  <a:gd name="T73" fmla="*/ 330 h 380"/>
                  <a:gd name="T74" fmla="*/ 115 w 250"/>
                  <a:gd name="T75" fmla="*/ 307 h 380"/>
                  <a:gd name="T76" fmla="*/ 102 w 250"/>
                  <a:gd name="T77" fmla="*/ 296 h 380"/>
                  <a:gd name="T78" fmla="*/ 89 w 250"/>
                  <a:gd name="T79" fmla="*/ 280 h 380"/>
                  <a:gd name="T80" fmla="*/ 71 w 250"/>
                  <a:gd name="T81" fmla="*/ 263 h 380"/>
                  <a:gd name="T82" fmla="*/ 75 w 250"/>
                  <a:gd name="T83" fmla="*/ 248 h 380"/>
                  <a:gd name="T84" fmla="*/ 75 w 250"/>
                  <a:gd name="T85" fmla="*/ 229 h 380"/>
                  <a:gd name="T86" fmla="*/ 71 w 250"/>
                  <a:gd name="T87" fmla="*/ 213 h 380"/>
                  <a:gd name="T88" fmla="*/ 81 w 250"/>
                  <a:gd name="T89" fmla="*/ 202 h 380"/>
                  <a:gd name="T90" fmla="*/ 94 w 250"/>
                  <a:gd name="T91" fmla="*/ 200 h 380"/>
                  <a:gd name="T92" fmla="*/ 106 w 250"/>
                  <a:gd name="T93" fmla="*/ 182 h 380"/>
                  <a:gd name="T94" fmla="*/ 92 w 250"/>
                  <a:gd name="T95" fmla="*/ 177 h 380"/>
                  <a:gd name="T96" fmla="*/ 79 w 250"/>
                  <a:gd name="T97" fmla="*/ 163 h 380"/>
                  <a:gd name="T98" fmla="*/ 62 w 250"/>
                  <a:gd name="T99" fmla="*/ 161 h 380"/>
                  <a:gd name="T100" fmla="*/ 46 w 250"/>
                  <a:gd name="T101" fmla="*/ 157 h 380"/>
                  <a:gd name="T102" fmla="*/ 29 w 250"/>
                  <a:gd name="T103" fmla="*/ 148 h 380"/>
                  <a:gd name="T104" fmla="*/ 25 w 250"/>
                  <a:gd name="T105" fmla="*/ 132 h 380"/>
                  <a:gd name="T106" fmla="*/ 21 w 250"/>
                  <a:gd name="T107" fmla="*/ 115 h 380"/>
                  <a:gd name="T108" fmla="*/ 17 w 250"/>
                  <a:gd name="T109" fmla="*/ 100 h 380"/>
                  <a:gd name="T110" fmla="*/ 8 w 250"/>
                  <a:gd name="T111" fmla="*/ 96 h 380"/>
                  <a:gd name="T112" fmla="*/ 6 w 250"/>
                  <a:gd name="T113" fmla="*/ 77 h 380"/>
                  <a:gd name="T114" fmla="*/ 10 w 250"/>
                  <a:gd name="T115" fmla="*/ 54 h 380"/>
                  <a:gd name="T116" fmla="*/ 0 w 250"/>
                  <a:gd name="T117"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0" h="380">
                    <a:moveTo>
                      <a:pt x="0" y="48"/>
                    </a:moveTo>
                    <a:lnTo>
                      <a:pt x="19" y="48"/>
                    </a:lnTo>
                    <a:lnTo>
                      <a:pt x="21" y="46"/>
                    </a:lnTo>
                    <a:lnTo>
                      <a:pt x="23" y="38"/>
                    </a:lnTo>
                    <a:lnTo>
                      <a:pt x="25" y="36"/>
                    </a:lnTo>
                    <a:lnTo>
                      <a:pt x="29" y="35"/>
                    </a:lnTo>
                    <a:lnTo>
                      <a:pt x="33" y="35"/>
                    </a:lnTo>
                    <a:lnTo>
                      <a:pt x="42" y="29"/>
                    </a:lnTo>
                    <a:lnTo>
                      <a:pt x="50" y="25"/>
                    </a:lnTo>
                    <a:lnTo>
                      <a:pt x="52" y="23"/>
                    </a:lnTo>
                    <a:lnTo>
                      <a:pt x="62" y="21"/>
                    </a:lnTo>
                    <a:lnTo>
                      <a:pt x="65" y="19"/>
                    </a:lnTo>
                    <a:lnTo>
                      <a:pt x="75" y="13"/>
                    </a:lnTo>
                    <a:lnTo>
                      <a:pt x="81" y="8"/>
                    </a:lnTo>
                    <a:lnTo>
                      <a:pt x="92" y="6"/>
                    </a:lnTo>
                    <a:lnTo>
                      <a:pt x="94" y="6"/>
                    </a:lnTo>
                    <a:lnTo>
                      <a:pt x="100" y="8"/>
                    </a:lnTo>
                    <a:lnTo>
                      <a:pt x="106" y="8"/>
                    </a:lnTo>
                    <a:lnTo>
                      <a:pt x="113" y="8"/>
                    </a:lnTo>
                    <a:lnTo>
                      <a:pt x="123" y="6"/>
                    </a:lnTo>
                    <a:lnTo>
                      <a:pt x="129" y="6"/>
                    </a:lnTo>
                    <a:lnTo>
                      <a:pt x="136" y="6"/>
                    </a:lnTo>
                    <a:lnTo>
                      <a:pt x="142" y="0"/>
                    </a:lnTo>
                    <a:lnTo>
                      <a:pt x="154" y="2"/>
                    </a:lnTo>
                    <a:lnTo>
                      <a:pt x="156" y="0"/>
                    </a:lnTo>
                    <a:lnTo>
                      <a:pt x="158" y="2"/>
                    </a:lnTo>
                    <a:lnTo>
                      <a:pt x="158" y="11"/>
                    </a:lnTo>
                    <a:lnTo>
                      <a:pt x="161" y="13"/>
                    </a:lnTo>
                    <a:lnTo>
                      <a:pt x="167" y="11"/>
                    </a:lnTo>
                    <a:lnTo>
                      <a:pt x="169" y="13"/>
                    </a:lnTo>
                    <a:lnTo>
                      <a:pt x="175" y="19"/>
                    </a:lnTo>
                    <a:lnTo>
                      <a:pt x="179" y="25"/>
                    </a:lnTo>
                    <a:lnTo>
                      <a:pt x="181" y="31"/>
                    </a:lnTo>
                    <a:lnTo>
                      <a:pt x="183" y="35"/>
                    </a:lnTo>
                    <a:lnTo>
                      <a:pt x="192" y="36"/>
                    </a:lnTo>
                    <a:lnTo>
                      <a:pt x="196" y="44"/>
                    </a:lnTo>
                    <a:lnTo>
                      <a:pt x="200" y="44"/>
                    </a:lnTo>
                    <a:lnTo>
                      <a:pt x="206" y="42"/>
                    </a:lnTo>
                    <a:lnTo>
                      <a:pt x="208" y="44"/>
                    </a:lnTo>
                    <a:lnTo>
                      <a:pt x="209" y="48"/>
                    </a:lnTo>
                    <a:lnTo>
                      <a:pt x="211" y="52"/>
                    </a:lnTo>
                    <a:lnTo>
                      <a:pt x="213" y="58"/>
                    </a:lnTo>
                    <a:lnTo>
                      <a:pt x="217" y="63"/>
                    </a:lnTo>
                    <a:lnTo>
                      <a:pt x="227" y="61"/>
                    </a:lnTo>
                    <a:lnTo>
                      <a:pt x="227" y="56"/>
                    </a:lnTo>
                    <a:lnTo>
                      <a:pt x="232" y="54"/>
                    </a:lnTo>
                    <a:lnTo>
                      <a:pt x="234" y="48"/>
                    </a:lnTo>
                    <a:lnTo>
                      <a:pt x="244" y="52"/>
                    </a:lnTo>
                    <a:lnTo>
                      <a:pt x="250" y="58"/>
                    </a:lnTo>
                    <a:lnTo>
                      <a:pt x="248" y="61"/>
                    </a:lnTo>
                    <a:lnTo>
                      <a:pt x="244" y="67"/>
                    </a:lnTo>
                    <a:lnTo>
                      <a:pt x="242" y="73"/>
                    </a:lnTo>
                    <a:lnTo>
                      <a:pt x="242" y="77"/>
                    </a:lnTo>
                    <a:lnTo>
                      <a:pt x="240" y="84"/>
                    </a:lnTo>
                    <a:lnTo>
                      <a:pt x="240" y="86"/>
                    </a:lnTo>
                    <a:lnTo>
                      <a:pt x="236" y="92"/>
                    </a:lnTo>
                    <a:lnTo>
                      <a:pt x="234" y="96"/>
                    </a:lnTo>
                    <a:lnTo>
                      <a:pt x="232" y="100"/>
                    </a:lnTo>
                    <a:lnTo>
                      <a:pt x="231" y="108"/>
                    </a:lnTo>
                    <a:lnTo>
                      <a:pt x="231" y="113"/>
                    </a:lnTo>
                    <a:lnTo>
                      <a:pt x="231" y="119"/>
                    </a:lnTo>
                    <a:lnTo>
                      <a:pt x="229" y="125"/>
                    </a:lnTo>
                    <a:lnTo>
                      <a:pt x="223" y="129"/>
                    </a:lnTo>
                    <a:lnTo>
                      <a:pt x="219" y="132"/>
                    </a:lnTo>
                    <a:lnTo>
                      <a:pt x="215" y="138"/>
                    </a:lnTo>
                    <a:lnTo>
                      <a:pt x="215" y="144"/>
                    </a:lnTo>
                    <a:lnTo>
                      <a:pt x="213" y="144"/>
                    </a:lnTo>
                    <a:lnTo>
                      <a:pt x="208" y="144"/>
                    </a:lnTo>
                    <a:lnTo>
                      <a:pt x="198" y="146"/>
                    </a:lnTo>
                    <a:lnTo>
                      <a:pt x="192" y="154"/>
                    </a:lnTo>
                    <a:lnTo>
                      <a:pt x="183" y="157"/>
                    </a:lnTo>
                    <a:lnTo>
                      <a:pt x="183" y="161"/>
                    </a:lnTo>
                    <a:lnTo>
                      <a:pt x="181" y="163"/>
                    </a:lnTo>
                    <a:lnTo>
                      <a:pt x="183" y="167"/>
                    </a:lnTo>
                    <a:lnTo>
                      <a:pt x="181" y="169"/>
                    </a:lnTo>
                    <a:lnTo>
                      <a:pt x="171" y="171"/>
                    </a:lnTo>
                    <a:lnTo>
                      <a:pt x="167" y="169"/>
                    </a:lnTo>
                    <a:lnTo>
                      <a:pt x="161" y="165"/>
                    </a:lnTo>
                    <a:lnTo>
                      <a:pt x="158" y="167"/>
                    </a:lnTo>
                    <a:lnTo>
                      <a:pt x="158" y="169"/>
                    </a:lnTo>
                    <a:lnTo>
                      <a:pt x="161" y="173"/>
                    </a:lnTo>
                    <a:lnTo>
                      <a:pt x="163" y="180"/>
                    </a:lnTo>
                    <a:lnTo>
                      <a:pt x="163" y="184"/>
                    </a:lnTo>
                    <a:lnTo>
                      <a:pt x="158" y="192"/>
                    </a:lnTo>
                    <a:lnTo>
                      <a:pt x="156" y="202"/>
                    </a:lnTo>
                    <a:lnTo>
                      <a:pt x="150" y="205"/>
                    </a:lnTo>
                    <a:lnTo>
                      <a:pt x="146" y="215"/>
                    </a:lnTo>
                    <a:lnTo>
                      <a:pt x="144" y="217"/>
                    </a:lnTo>
                    <a:lnTo>
                      <a:pt x="142" y="217"/>
                    </a:lnTo>
                    <a:lnTo>
                      <a:pt x="131" y="215"/>
                    </a:lnTo>
                    <a:lnTo>
                      <a:pt x="129" y="215"/>
                    </a:lnTo>
                    <a:lnTo>
                      <a:pt x="123" y="215"/>
                    </a:lnTo>
                    <a:lnTo>
                      <a:pt x="113" y="217"/>
                    </a:lnTo>
                    <a:lnTo>
                      <a:pt x="108" y="217"/>
                    </a:lnTo>
                    <a:lnTo>
                      <a:pt x="100" y="213"/>
                    </a:lnTo>
                    <a:lnTo>
                      <a:pt x="92" y="217"/>
                    </a:lnTo>
                    <a:lnTo>
                      <a:pt x="92" y="221"/>
                    </a:lnTo>
                    <a:lnTo>
                      <a:pt x="98" y="232"/>
                    </a:lnTo>
                    <a:lnTo>
                      <a:pt x="100" y="238"/>
                    </a:lnTo>
                    <a:lnTo>
                      <a:pt x="104" y="248"/>
                    </a:lnTo>
                    <a:lnTo>
                      <a:pt x="108" y="253"/>
                    </a:lnTo>
                    <a:lnTo>
                      <a:pt x="110" y="255"/>
                    </a:lnTo>
                    <a:lnTo>
                      <a:pt x="108" y="257"/>
                    </a:lnTo>
                    <a:lnTo>
                      <a:pt x="102" y="257"/>
                    </a:lnTo>
                    <a:lnTo>
                      <a:pt x="96" y="259"/>
                    </a:lnTo>
                    <a:lnTo>
                      <a:pt x="92" y="259"/>
                    </a:lnTo>
                    <a:lnTo>
                      <a:pt x="89" y="261"/>
                    </a:lnTo>
                    <a:lnTo>
                      <a:pt x="94" y="269"/>
                    </a:lnTo>
                    <a:lnTo>
                      <a:pt x="92" y="273"/>
                    </a:lnTo>
                    <a:lnTo>
                      <a:pt x="92" y="278"/>
                    </a:lnTo>
                    <a:lnTo>
                      <a:pt x="92" y="282"/>
                    </a:lnTo>
                    <a:lnTo>
                      <a:pt x="98" y="288"/>
                    </a:lnTo>
                    <a:lnTo>
                      <a:pt x="100" y="288"/>
                    </a:lnTo>
                    <a:lnTo>
                      <a:pt x="102" y="290"/>
                    </a:lnTo>
                    <a:lnTo>
                      <a:pt x="106" y="292"/>
                    </a:lnTo>
                    <a:lnTo>
                      <a:pt x="106" y="300"/>
                    </a:lnTo>
                    <a:lnTo>
                      <a:pt x="112" y="303"/>
                    </a:lnTo>
                    <a:lnTo>
                      <a:pt x="117" y="303"/>
                    </a:lnTo>
                    <a:lnTo>
                      <a:pt x="119" y="303"/>
                    </a:lnTo>
                    <a:lnTo>
                      <a:pt x="131" y="305"/>
                    </a:lnTo>
                    <a:lnTo>
                      <a:pt x="138" y="305"/>
                    </a:lnTo>
                    <a:lnTo>
                      <a:pt x="140" y="305"/>
                    </a:lnTo>
                    <a:lnTo>
                      <a:pt x="140" y="309"/>
                    </a:lnTo>
                    <a:lnTo>
                      <a:pt x="138" y="313"/>
                    </a:lnTo>
                    <a:lnTo>
                      <a:pt x="135" y="319"/>
                    </a:lnTo>
                    <a:lnTo>
                      <a:pt x="135" y="321"/>
                    </a:lnTo>
                    <a:lnTo>
                      <a:pt x="133" y="326"/>
                    </a:lnTo>
                    <a:lnTo>
                      <a:pt x="136" y="332"/>
                    </a:lnTo>
                    <a:lnTo>
                      <a:pt x="144" y="336"/>
                    </a:lnTo>
                    <a:lnTo>
                      <a:pt x="146" y="346"/>
                    </a:lnTo>
                    <a:lnTo>
                      <a:pt x="150" y="350"/>
                    </a:lnTo>
                    <a:lnTo>
                      <a:pt x="154" y="357"/>
                    </a:lnTo>
                    <a:lnTo>
                      <a:pt x="154" y="361"/>
                    </a:lnTo>
                    <a:lnTo>
                      <a:pt x="152" y="367"/>
                    </a:lnTo>
                    <a:lnTo>
                      <a:pt x="142" y="371"/>
                    </a:lnTo>
                    <a:lnTo>
                      <a:pt x="136" y="373"/>
                    </a:lnTo>
                    <a:lnTo>
                      <a:pt x="131" y="376"/>
                    </a:lnTo>
                    <a:lnTo>
                      <a:pt x="127" y="380"/>
                    </a:lnTo>
                    <a:lnTo>
                      <a:pt x="121" y="376"/>
                    </a:lnTo>
                    <a:lnTo>
                      <a:pt x="125" y="369"/>
                    </a:lnTo>
                    <a:lnTo>
                      <a:pt x="125" y="365"/>
                    </a:lnTo>
                    <a:lnTo>
                      <a:pt x="123" y="359"/>
                    </a:lnTo>
                    <a:lnTo>
                      <a:pt x="127" y="355"/>
                    </a:lnTo>
                    <a:lnTo>
                      <a:pt x="125" y="348"/>
                    </a:lnTo>
                    <a:lnTo>
                      <a:pt x="119" y="348"/>
                    </a:lnTo>
                    <a:lnTo>
                      <a:pt x="121" y="342"/>
                    </a:lnTo>
                    <a:lnTo>
                      <a:pt x="119" y="336"/>
                    </a:lnTo>
                    <a:lnTo>
                      <a:pt x="123" y="330"/>
                    </a:lnTo>
                    <a:lnTo>
                      <a:pt x="115" y="326"/>
                    </a:lnTo>
                    <a:lnTo>
                      <a:pt x="113" y="323"/>
                    </a:lnTo>
                    <a:lnTo>
                      <a:pt x="112" y="313"/>
                    </a:lnTo>
                    <a:lnTo>
                      <a:pt x="115" y="307"/>
                    </a:lnTo>
                    <a:lnTo>
                      <a:pt x="112" y="303"/>
                    </a:lnTo>
                    <a:lnTo>
                      <a:pt x="106" y="300"/>
                    </a:lnTo>
                    <a:lnTo>
                      <a:pt x="106" y="298"/>
                    </a:lnTo>
                    <a:lnTo>
                      <a:pt x="102" y="296"/>
                    </a:lnTo>
                    <a:lnTo>
                      <a:pt x="100" y="290"/>
                    </a:lnTo>
                    <a:lnTo>
                      <a:pt x="96" y="290"/>
                    </a:lnTo>
                    <a:lnTo>
                      <a:pt x="92" y="282"/>
                    </a:lnTo>
                    <a:lnTo>
                      <a:pt x="89" y="280"/>
                    </a:lnTo>
                    <a:lnTo>
                      <a:pt x="83" y="278"/>
                    </a:lnTo>
                    <a:lnTo>
                      <a:pt x="79" y="273"/>
                    </a:lnTo>
                    <a:lnTo>
                      <a:pt x="75" y="269"/>
                    </a:lnTo>
                    <a:lnTo>
                      <a:pt x="71" y="263"/>
                    </a:lnTo>
                    <a:lnTo>
                      <a:pt x="75" y="257"/>
                    </a:lnTo>
                    <a:lnTo>
                      <a:pt x="69" y="257"/>
                    </a:lnTo>
                    <a:lnTo>
                      <a:pt x="67" y="253"/>
                    </a:lnTo>
                    <a:lnTo>
                      <a:pt x="75" y="248"/>
                    </a:lnTo>
                    <a:lnTo>
                      <a:pt x="77" y="244"/>
                    </a:lnTo>
                    <a:lnTo>
                      <a:pt x="75" y="240"/>
                    </a:lnTo>
                    <a:lnTo>
                      <a:pt x="77" y="234"/>
                    </a:lnTo>
                    <a:lnTo>
                      <a:pt x="75" y="229"/>
                    </a:lnTo>
                    <a:lnTo>
                      <a:pt x="77" y="227"/>
                    </a:lnTo>
                    <a:lnTo>
                      <a:pt x="73" y="225"/>
                    </a:lnTo>
                    <a:lnTo>
                      <a:pt x="75" y="217"/>
                    </a:lnTo>
                    <a:lnTo>
                      <a:pt x="71" y="213"/>
                    </a:lnTo>
                    <a:lnTo>
                      <a:pt x="65" y="213"/>
                    </a:lnTo>
                    <a:lnTo>
                      <a:pt x="67" y="207"/>
                    </a:lnTo>
                    <a:lnTo>
                      <a:pt x="75" y="205"/>
                    </a:lnTo>
                    <a:lnTo>
                      <a:pt x="81" y="202"/>
                    </a:lnTo>
                    <a:lnTo>
                      <a:pt x="85" y="204"/>
                    </a:lnTo>
                    <a:lnTo>
                      <a:pt x="89" y="198"/>
                    </a:lnTo>
                    <a:lnTo>
                      <a:pt x="92" y="202"/>
                    </a:lnTo>
                    <a:lnTo>
                      <a:pt x="94" y="200"/>
                    </a:lnTo>
                    <a:lnTo>
                      <a:pt x="96" y="192"/>
                    </a:lnTo>
                    <a:lnTo>
                      <a:pt x="98" y="190"/>
                    </a:lnTo>
                    <a:lnTo>
                      <a:pt x="102" y="182"/>
                    </a:lnTo>
                    <a:lnTo>
                      <a:pt x="106" y="182"/>
                    </a:lnTo>
                    <a:lnTo>
                      <a:pt x="108" y="180"/>
                    </a:lnTo>
                    <a:lnTo>
                      <a:pt x="102" y="179"/>
                    </a:lnTo>
                    <a:lnTo>
                      <a:pt x="98" y="175"/>
                    </a:lnTo>
                    <a:lnTo>
                      <a:pt x="92" y="177"/>
                    </a:lnTo>
                    <a:lnTo>
                      <a:pt x="89" y="171"/>
                    </a:lnTo>
                    <a:lnTo>
                      <a:pt x="79" y="169"/>
                    </a:lnTo>
                    <a:lnTo>
                      <a:pt x="77" y="167"/>
                    </a:lnTo>
                    <a:lnTo>
                      <a:pt x="79" y="163"/>
                    </a:lnTo>
                    <a:lnTo>
                      <a:pt x="75" y="161"/>
                    </a:lnTo>
                    <a:lnTo>
                      <a:pt x="73" y="159"/>
                    </a:lnTo>
                    <a:lnTo>
                      <a:pt x="64" y="157"/>
                    </a:lnTo>
                    <a:lnTo>
                      <a:pt x="62" y="161"/>
                    </a:lnTo>
                    <a:lnTo>
                      <a:pt x="58" y="159"/>
                    </a:lnTo>
                    <a:lnTo>
                      <a:pt x="58" y="154"/>
                    </a:lnTo>
                    <a:lnTo>
                      <a:pt x="52" y="154"/>
                    </a:lnTo>
                    <a:lnTo>
                      <a:pt x="46" y="157"/>
                    </a:lnTo>
                    <a:lnTo>
                      <a:pt x="44" y="152"/>
                    </a:lnTo>
                    <a:lnTo>
                      <a:pt x="41" y="150"/>
                    </a:lnTo>
                    <a:lnTo>
                      <a:pt x="37" y="152"/>
                    </a:lnTo>
                    <a:lnTo>
                      <a:pt x="29" y="148"/>
                    </a:lnTo>
                    <a:lnTo>
                      <a:pt x="29" y="144"/>
                    </a:lnTo>
                    <a:lnTo>
                      <a:pt x="29" y="140"/>
                    </a:lnTo>
                    <a:lnTo>
                      <a:pt x="23" y="136"/>
                    </a:lnTo>
                    <a:lnTo>
                      <a:pt x="25" y="132"/>
                    </a:lnTo>
                    <a:lnTo>
                      <a:pt x="25" y="123"/>
                    </a:lnTo>
                    <a:lnTo>
                      <a:pt x="27" y="121"/>
                    </a:lnTo>
                    <a:lnTo>
                      <a:pt x="23" y="119"/>
                    </a:lnTo>
                    <a:lnTo>
                      <a:pt x="21" y="115"/>
                    </a:lnTo>
                    <a:lnTo>
                      <a:pt x="23" y="111"/>
                    </a:lnTo>
                    <a:lnTo>
                      <a:pt x="19" y="109"/>
                    </a:lnTo>
                    <a:lnTo>
                      <a:pt x="16" y="104"/>
                    </a:lnTo>
                    <a:lnTo>
                      <a:pt x="17" y="100"/>
                    </a:lnTo>
                    <a:lnTo>
                      <a:pt x="17" y="98"/>
                    </a:lnTo>
                    <a:lnTo>
                      <a:pt x="16" y="96"/>
                    </a:lnTo>
                    <a:lnTo>
                      <a:pt x="12" y="98"/>
                    </a:lnTo>
                    <a:lnTo>
                      <a:pt x="8" y="96"/>
                    </a:lnTo>
                    <a:lnTo>
                      <a:pt x="10" y="88"/>
                    </a:lnTo>
                    <a:lnTo>
                      <a:pt x="4" y="83"/>
                    </a:lnTo>
                    <a:lnTo>
                      <a:pt x="6" y="79"/>
                    </a:lnTo>
                    <a:lnTo>
                      <a:pt x="6" y="77"/>
                    </a:lnTo>
                    <a:lnTo>
                      <a:pt x="6" y="67"/>
                    </a:lnTo>
                    <a:lnTo>
                      <a:pt x="16" y="61"/>
                    </a:lnTo>
                    <a:lnTo>
                      <a:pt x="19" y="54"/>
                    </a:lnTo>
                    <a:lnTo>
                      <a:pt x="10" y="54"/>
                    </a:lnTo>
                    <a:lnTo>
                      <a:pt x="8" y="58"/>
                    </a:lnTo>
                    <a:lnTo>
                      <a:pt x="6" y="54"/>
                    </a:lnTo>
                    <a:lnTo>
                      <a:pt x="2" y="54"/>
                    </a:lnTo>
                    <a:lnTo>
                      <a:pt x="0" y="48"/>
                    </a:lnTo>
                    <a:close/>
                  </a:path>
                </a:pathLst>
              </a:custGeom>
              <a:solidFill>
                <a:srgbClr val="D0D0D0"/>
              </a:solidFill>
              <a:ln w="6350">
                <a:solidFill>
                  <a:schemeClr val="bg1">
                    <a:lumMod val="65000"/>
                  </a:schemeClr>
                </a:solidFill>
                <a:prstDash val="dash"/>
              </a:ln>
            </p:spPr>
            <p:txBody>
              <a:bodyPr vert="horz" wrap="square" lIns="91440" tIns="45720" rIns="91440" bIns="45720" numCol="1" anchor="t" anchorCtr="0" compatLnSpc="1">
                <a:prstTxWarp prst="textNoShape">
                  <a:avLst/>
                </a:prstTxWarp>
              </a:bodyPr>
              <a:lstStyle/>
              <a:p>
                <a:endParaRPr lang="en-US" dirty="0"/>
              </a:p>
            </p:txBody>
          </p:sp>
          <p:sp>
            <p:nvSpPr>
              <p:cNvPr id="67" name="Freeform 234">
                <a:extLst>
                  <a:ext uri="{FF2B5EF4-FFF2-40B4-BE49-F238E27FC236}">
                    <a16:creationId xmlns:a16="http://schemas.microsoft.com/office/drawing/2014/main" id="{08AE2923-2782-43B6-A338-EF4CBD473E80}"/>
                  </a:ext>
                </a:extLst>
              </p:cNvPr>
              <p:cNvSpPr>
                <a:spLocks/>
              </p:cNvSpPr>
              <p:nvPr/>
            </p:nvSpPr>
            <p:spPr bwMode="gray">
              <a:xfrm>
                <a:off x="7443788" y="2516188"/>
                <a:ext cx="984250" cy="484188"/>
              </a:xfrm>
              <a:custGeom>
                <a:avLst/>
                <a:gdLst>
                  <a:gd name="T0" fmla="*/ 390 w 620"/>
                  <a:gd name="T1" fmla="*/ 276 h 305"/>
                  <a:gd name="T2" fmla="*/ 403 w 620"/>
                  <a:gd name="T3" fmla="*/ 255 h 305"/>
                  <a:gd name="T4" fmla="*/ 438 w 620"/>
                  <a:gd name="T5" fmla="*/ 240 h 305"/>
                  <a:gd name="T6" fmla="*/ 469 w 620"/>
                  <a:gd name="T7" fmla="*/ 221 h 305"/>
                  <a:gd name="T8" fmla="*/ 459 w 620"/>
                  <a:gd name="T9" fmla="*/ 215 h 305"/>
                  <a:gd name="T10" fmla="*/ 448 w 620"/>
                  <a:gd name="T11" fmla="*/ 196 h 305"/>
                  <a:gd name="T12" fmla="*/ 465 w 620"/>
                  <a:gd name="T13" fmla="*/ 171 h 305"/>
                  <a:gd name="T14" fmla="*/ 430 w 620"/>
                  <a:gd name="T15" fmla="*/ 163 h 305"/>
                  <a:gd name="T16" fmla="*/ 375 w 620"/>
                  <a:gd name="T17" fmla="*/ 180 h 305"/>
                  <a:gd name="T18" fmla="*/ 338 w 620"/>
                  <a:gd name="T19" fmla="*/ 196 h 305"/>
                  <a:gd name="T20" fmla="*/ 305 w 620"/>
                  <a:gd name="T21" fmla="*/ 201 h 305"/>
                  <a:gd name="T22" fmla="*/ 282 w 620"/>
                  <a:gd name="T23" fmla="*/ 201 h 305"/>
                  <a:gd name="T24" fmla="*/ 269 w 620"/>
                  <a:gd name="T25" fmla="*/ 223 h 305"/>
                  <a:gd name="T26" fmla="*/ 238 w 620"/>
                  <a:gd name="T27" fmla="*/ 255 h 305"/>
                  <a:gd name="T28" fmla="*/ 234 w 620"/>
                  <a:gd name="T29" fmla="*/ 263 h 305"/>
                  <a:gd name="T30" fmla="*/ 190 w 620"/>
                  <a:gd name="T31" fmla="*/ 272 h 305"/>
                  <a:gd name="T32" fmla="*/ 144 w 620"/>
                  <a:gd name="T33" fmla="*/ 271 h 305"/>
                  <a:gd name="T34" fmla="*/ 110 w 620"/>
                  <a:gd name="T35" fmla="*/ 272 h 305"/>
                  <a:gd name="T36" fmla="*/ 67 w 620"/>
                  <a:gd name="T37" fmla="*/ 280 h 305"/>
                  <a:gd name="T38" fmla="*/ 50 w 620"/>
                  <a:gd name="T39" fmla="*/ 255 h 305"/>
                  <a:gd name="T40" fmla="*/ 60 w 620"/>
                  <a:gd name="T41" fmla="*/ 236 h 305"/>
                  <a:gd name="T42" fmla="*/ 35 w 620"/>
                  <a:gd name="T43" fmla="*/ 217 h 305"/>
                  <a:gd name="T44" fmla="*/ 10 w 620"/>
                  <a:gd name="T45" fmla="*/ 213 h 305"/>
                  <a:gd name="T46" fmla="*/ 10 w 620"/>
                  <a:gd name="T47" fmla="*/ 184 h 305"/>
                  <a:gd name="T48" fmla="*/ 14 w 620"/>
                  <a:gd name="T49" fmla="*/ 175 h 305"/>
                  <a:gd name="T50" fmla="*/ 60 w 620"/>
                  <a:gd name="T51" fmla="*/ 184 h 305"/>
                  <a:gd name="T52" fmla="*/ 87 w 620"/>
                  <a:gd name="T53" fmla="*/ 175 h 305"/>
                  <a:gd name="T54" fmla="*/ 125 w 620"/>
                  <a:gd name="T55" fmla="*/ 163 h 305"/>
                  <a:gd name="T56" fmla="*/ 137 w 620"/>
                  <a:gd name="T57" fmla="*/ 140 h 305"/>
                  <a:gd name="T58" fmla="*/ 169 w 620"/>
                  <a:gd name="T59" fmla="*/ 119 h 305"/>
                  <a:gd name="T60" fmla="*/ 183 w 620"/>
                  <a:gd name="T61" fmla="*/ 94 h 305"/>
                  <a:gd name="T62" fmla="*/ 223 w 620"/>
                  <a:gd name="T63" fmla="*/ 88 h 305"/>
                  <a:gd name="T64" fmla="*/ 252 w 620"/>
                  <a:gd name="T65" fmla="*/ 75 h 305"/>
                  <a:gd name="T66" fmla="*/ 281 w 620"/>
                  <a:gd name="T67" fmla="*/ 57 h 305"/>
                  <a:gd name="T68" fmla="*/ 302 w 620"/>
                  <a:gd name="T69" fmla="*/ 34 h 305"/>
                  <a:gd name="T70" fmla="*/ 329 w 620"/>
                  <a:gd name="T71" fmla="*/ 19 h 305"/>
                  <a:gd name="T72" fmla="*/ 363 w 620"/>
                  <a:gd name="T73" fmla="*/ 32 h 305"/>
                  <a:gd name="T74" fmla="*/ 380 w 620"/>
                  <a:gd name="T75" fmla="*/ 40 h 305"/>
                  <a:gd name="T76" fmla="*/ 413 w 620"/>
                  <a:gd name="T77" fmla="*/ 30 h 305"/>
                  <a:gd name="T78" fmla="*/ 432 w 620"/>
                  <a:gd name="T79" fmla="*/ 25 h 305"/>
                  <a:gd name="T80" fmla="*/ 457 w 620"/>
                  <a:gd name="T81" fmla="*/ 15 h 305"/>
                  <a:gd name="T82" fmla="*/ 484 w 620"/>
                  <a:gd name="T83" fmla="*/ 2 h 305"/>
                  <a:gd name="T84" fmla="*/ 511 w 620"/>
                  <a:gd name="T85" fmla="*/ 30 h 305"/>
                  <a:gd name="T86" fmla="*/ 494 w 620"/>
                  <a:gd name="T87" fmla="*/ 55 h 305"/>
                  <a:gd name="T88" fmla="*/ 507 w 620"/>
                  <a:gd name="T89" fmla="*/ 50 h 305"/>
                  <a:gd name="T90" fmla="*/ 528 w 620"/>
                  <a:gd name="T91" fmla="*/ 63 h 305"/>
                  <a:gd name="T92" fmla="*/ 524 w 620"/>
                  <a:gd name="T93" fmla="*/ 90 h 305"/>
                  <a:gd name="T94" fmla="*/ 501 w 620"/>
                  <a:gd name="T95" fmla="*/ 115 h 305"/>
                  <a:gd name="T96" fmla="*/ 534 w 620"/>
                  <a:gd name="T97" fmla="*/ 109 h 305"/>
                  <a:gd name="T98" fmla="*/ 576 w 620"/>
                  <a:gd name="T99" fmla="*/ 127 h 305"/>
                  <a:gd name="T100" fmla="*/ 609 w 620"/>
                  <a:gd name="T101" fmla="*/ 132 h 305"/>
                  <a:gd name="T102" fmla="*/ 616 w 620"/>
                  <a:gd name="T103" fmla="*/ 153 h 305"/>
                  <a:gd name="T104" fmla="*/ 597 w 620"/>
                  <a:gd name="T105" fmla="*/ 176 h 305"/>
                  <a:gd name="T106" fmla="*/ 570 w 620"/>
                  <a:gd name="T107" fmla="*/ 199 h 305"/>
                  <a:gd name="T108" fmla="*/ 580 w 620"/>
                  <a:gd name="T109" fmla="*/ 234 h 305"/>
                  <a:gd name="T110" fmla="*/ 586 w 620"/>
                  <a:gd name="T111" fmla="*/ 257 h 305"/>
                  <a:gd name="T112" fmla="*/ 555 w 620"/>
                  <a:gd name="T113" fmla="*/ 230 h 305"/>
                  <a:gd name="T114" fmla="*/ 509 w 620"/>
                  <a:gd name="T115" fmla="*/ 236 h 305"/>
                  <a:gd name="T116" fmla="*/ 467 w 620"/>
                  <a:gd name="T117" fmla="*/ 259 h 305"/>
                  <a:gd name="T118" fmla="*/ 436 w 620"/>
                  <a:gd name="T119" fmla="*/ 278 h 305"/>
                  <a:gd name="T120" fmla="*/ 401 w 620"/>
                  <a:gd name="T121" fmla="*/ 30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0" h="305">
                    <a:moveTo>
                      <a:pt x="390" y="301"/>
                    </a:moveTo>
                    <a:lnTo>
                      <a:pt x="388" y="296"/>
                    </a:lnTo>
                    <a:lnTo>
                      <a:pt x="390" y="292"/>
                    </a:lnTo>
                    <a:lnTo>
                      <a:pt x="388" y="290"/>
                    </a:lnTo>
                    <a:lnTo>
                      <a:pt x="386" y="284"/>
                    </a:lnTo>
                    <a:lnTo>
                      <a:pt x="384" y="284"/>
                    </a:lnTo>
                    <a:lnTo>
                      <a:pt x="390" y="280"/>
                    </a:lnTo>
                    <a:lnTo>
                      <a:pt x="390" y="276"/>
                    </a:lnTo>
                    <a:lnTo>
                      <a:pt x="388" y="274"/>
                    </a:lnTo>
                    <a:lnTo>
                      <a:pt x="388" y="271"/>
                    </a:lnTo>
                    <a:lnTo>
                      <a:pt x="386" y="269"/>
                    </a:lnTo>
                    <a:lnTo>
                      <a:pt x="386" y="265"/>
                    </a:lnTo>
                    <a:lnTo>
                      <a:pt x="390" y="263"/>
                    </a:lnTo>
                    <a:lnTo>
                      <a:pt x="392" y="265"/>
                    </a:lnTo>
                    <a:lnTo>
                      <a:pt x="396" y="259"/>
                    </a:lnTo>
                    <a:lnTo>
                      <a:pt x="403" y="255"/>
                    </a:lnTo>
                    <a:lnTo>
                      <a:pt x="413" y="255"/>
                    </a:lnTo>
                    <a:lnTo>
                      <a:pt x="415" y="249"/>
                    </a:lnTo>
                    <a:lnTo>
                      <a:pt x="415" y="246"/>
                    </a:lnTo>
                    <a:lnTo>
                      <a:pt x="419" y="240"/>
                    </a:lnTo>
                    <a:lnTo>
                      <a:pt x="423" y="238"/>
                    </a:lnTo>
                    <a:lnTo>
                      <a:pt x="428" y="244"/>
                    </a:lnTo>
                    <a:lnTo>
                      <a:pt x="436" y="242"/>
                    </a:lnTo>
                    <a:lnTo>
                      <a:pt x="438" y="240"/>
                    </a:lnTo>
                    <a:lnTo>
                      <a:pt x="442" y="240"/>
                    </a:lnTo>
                    <a:lnTo>
                      <a:pt x="451" y="236"/>
                    </a:lnTo>
                    <a:lnTo>
                      <a:pt x="457" y="236"/>
                    </a:lnTo>
                    <a:lnTo>
                      <a:pt x="461" y="238"/>
                    </a:lnTo>
                    <a:lnTo>
                      <a:pt x="461" y="236"/>
                    </a:lnTo>
                    <a:lnTo>
                      <a:pt x="467" y="234"/>
                    </a:lnTo>
                    <a:lnTo>
                      <a:pt x="472" y="228"/>
                    </a:lnTo>
                    <a:lnTo>
                      <a:pt x="469" y="221"/>
                    </a:lnTo>
                    <a:lnTo>
                      <a:pt x="467" y="223"/>
                    </a:lnTo>
                    <a:lnTo>
                      <a:pt x="467" y="221"/>
                    </a:lnTo>
                    <a:lnTo>
                      <a:pt x="467" y="223"/>
                    </a:lnTo>
                    <a:lnTo>
                      <a:pt x="463" y="221"/>
                    </a:lnTo>
                    <a:lnTo>
                      <a:pt x="461" y="223"/>
                    </a:lnTo>
                    <a:lnTo>
                      <a:pt x="459" y="221"/>
                    </a:lnTo>
                    <a:lnTo>
                      <a:pt x="457" y="223"/>
                    </a:lnTo>
                    <a:lnTo>
                      <a:pt x="459" y="215"/>
                    </a:lnTo>
                    <a:lnTo>
                      <a:pt x="459" y="209"/>
                    </a:lnTo>
                    <a:lnTo>
                      <a:pt x="453" y="207"/>
                    </a:lnTo>
                    <a:lnTo>
                      <a:pt x="451" y="205"/>
                    </a:lnTo>
                    <a:lnTo>
                      <a:pt x="453" y="203"/>
                    </a:lnTo>
                    <a:lnTo>
                      <a:pt x="449" y="203"/>
                    </a:lnTo>
                    <a:lnTo>
                      <a:pt x="448" y="199"/>
                    </a:lnTo>
                    <a:lnTo>
                      <a:pt x="449" y="198"/>
                    </a:lnTo>
                    <a:lnTo>
                      <a:pt x="448" y="196"/>
                    </a:lnTo>
                    <a:lnTo>
                      <a:pt x="449" y="194"/>
                    </a:lnTo>
                    <a:lnTo>
                      <a:pt x="446" y="192"/>
                    </a:lnTo>
                    <a:lnTo>
                      <a:pt x="449" y="186"/>
                    </a:lnTo>
                    <a:lnTo>
                      <a:pt x="455" y="178"/>
                    </a:lnTo>
                    <a:lnTo>
                      <a:pt x="459" y="176"/>
                    </a:lnTo>
                    <a:lnTo>
                      <a:pt x="461" y="175"/>
                    </a:lnTo>
                    <a:lnTo>
                      <a:pt x="465" y="173"/>
                    </a:lnTo>
                    <a:lnTo>
                      <a:pt x="465" y="171"/>
                    </a:lnTo>
                    <a:lnTo>
                      <a:pt x="469" y="163"/>
                    </a:lnTo>
                    <a:lnTo>
                      <a:pt x="467" y="163"/>
                    </a:lnTo>
                    <a:lnTo>
                      <a:pt x="463" y="163"/>
                    </a:lnTo>
                    <a:lnTo>
                      <a:pt x="461" y="163"/>
                    </a:lnTo>
                    <a:lnTo>
                      <a:pt x="453" y="163"/>
                    </a:lnTo>
                    <a:lnTo>
                      <a:pt x="444" y="163"/>
                    </a:lnTo>
                    <a:lnTo>
                      <a:pt x="436" y="163"/>
                    </a:lnTo>
                    <a:lnTo>
                      <a:pt x="430" y="163"/>
                    </a:lnTo>
                    <a:lnTo>
                      <a:pt x="426" y="167"/>
                    </a:lnTo>
                    <a:lnTo>
                      <a:pt x="421" y="173"/>
                    </a:lnTo>
                    <a:lnTo>
                      <a:pt x="415" y="175"/>
                    </a:lnTo>
                    <a:lnTo>
                      <a:pt x="407" y="176"/>
                    </a:lnTo>
                    <a:lnTo>
                      <a:pt x="400" y="173"/>
                    </a:lnTo>
                    <a:lnTo>
                      <a:pt x="392" y="175"/>
                    </a:lnTo>
                    <a:lnTo>
                      <a:pt x="388" y="176"/>
                    </a:lnTo>
                    <a:lnTo>
                      <a:pt x="375" y="180"/>
                    </a:lnTo>
                    <a:lnTo>
                      <a:pt x="371" y="184"/>
                    </a:lnTo>
                    <a:lnTo>
                      <a:pt x="367" y="184"/>
                    </a:lnTo>
                    <a:lnTo>
                      <a:pt x="359" y="186"/>
                    </a:lnTo>
                    <a:lnTo>
                      <a:pt x="353" y="188"/>
                    </a:lnTo>
                    <a:lnTo>
                      <a:pt x="352" y="186"/>
                    </a:lnTo>
                    <a:lnTo>
                      <a:pt x="348" y="192"/>
                    </a:lnTo>
                    <a:lnTo>
                      <a:pt x="344" y="192"/>
                    </a:lnTo>
                    <a:lnTo>
                      <a:pt x="338" y="196"/>
                    </a:lnTo>
                    <a:lnTo>
                      <a:pt x="332" y="196"/>
                    </a:lnTo>
                    <a:lnTo>
                      <a:pt x="332" y="198"/>
                    </a:lnTo>
                    <a:lnTo>
                      <a:pt x="329" y="199"/>
                    </a:lnTo>
                    <a:lnTo>
                      <a:pt x="323" y="201"/>
                    </a:lnTo>
                    <a:lnTo>
                      <a:pt x="321" y="201"/>
                    </a:lnTo>
                    <a:lnTo>
                      <a:pt x="315" y="203"/>
                    </a:lnTo>
                    <a:lnTo>
                      <a:pt x="309" y="207"/>
                    </a:lnTo>
                    <a:lnTo>
                      <a:pt x="305" y="201"/>
                    </a:lnTo>
                    <a:lnTo>
                      <a:pt x="300" y="205"/>
                    </a:lnTo>
                    <a:lnTo>
                      <a:pt x="292" y="203"/>
                    </a:lnTo>
                    <a:lnTo>
                      <a:pt x="292" y="201"/>
                    </a:lnTo>
                    <a:lnTo>
                      <a:pt x="288" y="203"/>
                    </a:lnTo>
                    <a:lnTo>
                      <a:pt x="286" y="201"/>
                    </a:lnTo>
                    <a:lnTo>
                      <a:pt x="288" y="199"/>
                    </a:lnTo>
                    <a:lnTo>
                      <a:pt x="286" y="198"/>
                    </a:lnTo>
                    <a:lnTo>
                      <a:pt x="282" y="201"/>
                    </a:lnTo>
                    <a:lnTo>
                      <a:pt x="284" y="203"/>
                    </a:lnTo>
                    <a:lnTo>
                      <a:pt x="284" y="205"/>
                    </a:lnTo>
                    <a:lnTo>
                      <a:pt x="286" y="207"/>
                    </a:lnTo>
                    <a:lnTo>
                      <a:pt x="286" y="211"/>
                    </a:lnTo>
                    <a:lnTo>
                      <a:pt x="284" y="213"/>
                    </a:lnTo>
                    <a:lnTo>
                      <a:pt x="277" y="215"/>
                    </a:lnTo>
                    <a:lnTo>
                      <a:pt x="277" y="217"/>
                    </a:lnTo>
                    <a:lnTo>
                      <a:pt x="269" y="223"/>
                    </a:lnTo>
                    <a:lnTo>
                      <a:pt x="267" y="228"/>
                    </a:lnTo>
                    <a:lnTo>
                      <a:pt x="259" y="232"/>
                    </a:lnTo>
                    <a:lnTo>
                      <a:pt x="256" y="234"/>
                    </a:lnTo>
                    <a:lnTo>
                      <a:pt x="254" y="238"/>
                    </a:lnTo>
                    <a:lnTo>
                      <a:pt x="248" y="242"/>
                    </a:lnTo>
                    <a:lnTo>
                      <a:pt x="244" y="248"/>
                    </a:lnTo>
                    <a:lnTo>
                      <a:pt x="240" y="251"/>
                    </a:lnTo>
                    <a:lnTo>
                      <a:pt x="238" y="255"/>
                    </a:lnTo>
                    <a:lnTo>
                      <a:pt x="240" y="255"/>
                    </a:lnTo>
                    <a:lnTo>
                      <a:pt x="242" y="261"/>
                    </a:lnTo>
                    <a:lnTo>
                      <a:pt x="238" y="261"/>
                    </a:lnTo>
                    <a:lnTo>
                      <a:pt x="236" y="263"/>
                    </a:lnTo>
                    <a:lnTo>
                      <a:pt x="236" y="261"/>
                    </a:lnTo>
                    <a:lnTo>
                      <a:pt x="236" y="263"/>
                    </a:lnTo>
                    <a:lnTo>
                      <a:pt x="234" y="261"/>
                    </a:lnTo>
                    <a:lnTo>
                      <a:pt x="234" y="263"/>
                    </a:lnTo>
                    <a:lnTo>
                      <a:pt x="231" y="265"/>
                    </a:lnTo>
                    <a:lnTo>
                      <a:pt x="225" y="271"/>
                    </a:lnTo>
                    <a:lnTo>
                      <a:pt x="215" y="272"/>
                    </a:lnTo>
                    <a:lnTo>
                      <a:pt x="210" y="272"/>
                    </a:lnTo>
                    <a:lnTo>
                      <a:pt x="206" y="274"/>
                    </a:lnTo>
                    <a:lnTo>
                      <a:pt x="202" y="272"/>
                    </a:lnTo>
                    <a:lnTo>
                      <a:pt x="194" y="272"/>
                    </a:lnTo>
                    <a:lnTo>
                      <a:pt x="190" y="272"/>
                    </a:lnTo>
                    <a:lnTo>
                      <a:pt x="181" y="272"/>
                    </a:lnTo>
                    <a:lnTo>
                      <a:pt x="177" y="272"/>
                    </a:lnTo>
                    <a:lnTo>
                      <a:pt x="173" y="274"/>
                    </a:lnTo>
                    <a:lnTo>
                      <a:pt x="165" y="276"/>
                    </a:lnTo>
                    <a:lnTo>
                      <a:pt x="163" y="276"/>
                    </a:lnTo>
                    <a:lnTo>
                      <a:pt x="156" y="276"/>
                    </a:lnTo>
                    <a:lnTo>
                      <a:pt x="146" y="272"/>
                    </a:lnTo>
                    <a:lnTo>
                      <a:pt x="144" y="271"/>
                    </a:lnTo>
                    <a:lnTo>
                      <a:pt x="144" y="269"/>
                    </a:lnTo>
                    <a:lnTo>
                      <a:pt x="140" y="267"/>
                    </a:lnTo>
                    <a:lnTo>
                      <a:pt x="131" y="265"/>
                    </a:lnTo>
                    <a:lnTo>
                      <a:pt x="123" y="265"/>
                    </a:lnTo>
                    <a:lnTo>
                      <a:pt x="117" y="263"/>
                    </a:lnTo>
                    <a:lnTo>
                      <a:pt x="115" y="265"/>
                    </a:lnTo>
                    <a:lnTo>
                      <a:pt x="115" y="269"/>
                    </a:lnTo>
                    <a:lnTo>
                      <a:pt x="110" y="272"/>
                    </a:lnTo>
                    <a:lnTo>
                      <a:pt x="100" y="271"/>
                    </a:lnTo>
                    <a:lnTo>
                      <a:pt x="96" y="272"/>
                    </a:lnTo>
                    <a:lnTo>
                      <a:pt x="91" y="276"/>
                    </a:lnTo>
                    <a:lnTo>
                      <a:pt x="83" y="274"/>
                    </a:lnTo>
                    <a:lnTo>
                      <a:pt x="79" y="276"/>
                    </a:lnTo>
                    <a:lnTo>
                      <a:pt x="79" y="278"/>
                    </a:lnTo>
                    <a:lnTo>
                      <a:pt x="73" y="276"/>
                    </a:lnTo>
                    <a:lnTo>
                      <a:pt x="67" y="280"/>
                    </a:lnTo>
                    <a:lnTo>
                      <a:pt x="62" y="280"/>
                    </a:lnTo>
                    <a:lnTo>
                      <a:pt x="60" y="278"/>
                    </a:lnTo>
                    <a:lnTo>
                      <a:pt x="60" y="272"/>
                    </a:lnTo>
                    <a:lnTo>
                      <a:pt x="58" y="269"/>
                    </a:lnTo>
                    <a:lnTo>
                      <a:pt x="54" y="265"/>
                    </a:lnTo>
                    <a:lnTo>
                      <a:pt x="56" y="263"/>
                    </a:lnTo>
                    <a:lnTo>
                      <a:pt x="50" y="261"/>
                    </a:lnTo>
                    <a:lnTo>
                      <a:pt x="50" y="255"/>
                    </a:lnTo>
                    <a:lnTo>
                      <a:pt x="50" y="253"/>
                    </a:lnTo>
                    <a:lnTo>
                      <a:pt x="50" y="249"/>
                    </a:lnTo>
                    <a:lnTo>
                      <a:pt x="56" y="244"/>
                    </a:lnTo>
                    <a:lnTo>
                      <a:pt x="54" y="242"/>
                    </a:lnTo>
                    <a:lnTo>
                      <a:pt x="52" y="240"/>
                    </a:lnTo>
                    <a:lnTo>
                      <a:pt x="56" y="238"/>
                    </a:lnTo>
                    <a:lnTo>
                      <a:pt x="60" y="238"/>
                    </a:lnTo>
                    <a:lnTo>
                      <a:pt x="60" y="236"/>
                    </a:lnTo>
                    <a:lnTo>
                      <a:pt x="56" y="234"/>
                    </a:lnTo>
                    <a:lnTo>
                      <a:pt x="52" y="228"/>
                    </a:lnTo>
                    <a:lnTo>
                      <a:pt x="54" y="224"/>
                    </a:lnTo>
                    <a:lnTo>
                      <a:pt x="50" y="219"/>
                    </a:lnTo>
                    <a:lnTo>
                      <a:pt x="50" y="215"/>
                    </a:lnTo>
                    <a:lnTo>
                      <a:pt x="43" y="217"/>
                    </a:lnTo>
                    <a:lnTo>
                      <a:pt x="39" y="217"/>
                    </a:lnTo>
                    <a:lnTo>
                      <a:pt x="35" y="217"/>
                    </a:lnTo>
                    <a:lnTo>
                      <a:pt x="31" y="215"/>
                    </a:lnTo>
                    <a:lnTo>
                      <a:pt x="29" y="217"/>
                    </a:lnTo>
                    <a:lnTo>
                      <a:pt x="23" y="217"/>
                    </a:lnTo>
                    <a:lnTo>
                      <a:pt x="18" y="215"/>
                    </a:lnTo>
                    <a:lnTo>
                      <a:pt x="18" y="213"/>
                    </a:lnTo>
                    <a:lnTo>
                      <a:pt x="16" y="213"/>
                    </a:lnTo>
                    <a:lnTo>
                      <a:pt x="12" y="215"/>
                    </a:lnTo>
                    <a:lnTo>
                      <a:pt x="10" y="213"/>
                    </a:lnTo>
                    <a:lnTo>
                      <a:pt x="8" y="211"/>
                    </a:lnTo>
                    <a:lnTo>
                      <a:pt x="8" y="209"/>
                    </a:lnTo>
                    <a:lnTo>
                      <a:pt x="4" y="209"/>
                    </a:lnTo>
                    <a:lnTo>
                      <a:pt x="2" y="203"/>
                    </a:lnTo>
                    <a:lnTo>
                      <a:pt x="4" y="201"/>
                    </a:lnTo>
                    <a:lnTo>
                      <a:pt x="2" y="198"/>
                    </a:lnTo>
                    <a:lnTo>
                      <a:pt x="10" y="192"/>
                    </a:lnTo>
                    <a:lnTo>
                      <a:pt x="10" y="184"/>
                    </a:lnTo>
                    <a:lnTo>
                      <a:pt x="8" y="178"/>
                    </a:lnTo>
                    <a:lnTo>
                      <a:pt x="2" y="178"/>
                    </a:lnTo>
                    <a:lnTo>
                      <a:pt x="0" y="175"/>
                    </a:lnTo>
                    <a:lnTo>
                      <a:pt x="4" y="175"/>
                    </a:lnTo>
                    <a:lnTo>
                      <a:pt x="4" y="173"/>
                    </a:lnTo>
                    <a:lnTo>
                      <a:pt x="6" y="175"/>
                    </a:lnTo>
                    <a:lnTo>
                      <a:pt x="6" y="173"/>
                    </a:lnTo>
                    <a:lnTo>
                      <a:pt x="14" y="175"/>
                    </a:lnTo>
                    <a:lnTo>
                      <a:pt x="18" y="180"/>
                    </a:lnTo>
                    <a:lnTo>
                      <a:pt x="27" y="180"/>
                    </a:lnTo>
                    <a:lnTo>
                      <a:pt x="35" y="186"/>
                    </a:lnTo>
                    <a:lnTo>
                      <a:pt x="37" y="188"/>
                    </a:lnTo>
                    <a:lnTo>
                      <a:pt x="41" y="188"/>
                    </a:lnTo>
                    <a:lnTo>
                      <a:pt x="50" y="190"/>
                    </a:lnTo>
                    <a:lnTo>
                      <a:pt x="52" y="190"/>
                    </a:lnTo>
                    <a:lnTo>
                      <a:pt x="60" y="184"/>
                    </a:lnTo>
                    <a:lnTo>
                      <a:pt x="64" y="180"/>
                    </a:lnTo>
                    <a:lnTo>
                      <a:pt x="69" y="178"/>
                    </a:lnTo>
                    <a:lnTo>
                      <a:pt x="75" y="176"/>
                    </a:lnTo>
                    <a:lnTo>
                      <a:pt x="75" y="173"/>
                    </a:lnTo>
                    <a:lnTo>
                      <a:pt x="77" y="173"/>
                    </a:lnTo>
                    <a:lnTo>
                      <a:pt x="81" y="182"/>
                    </a:lnTo>
                    <a:lnTo>
                      <a:pt x="85" y="180"/>
                    </a:lnTo>
                    <a:lnTo>
                      <a:pt x="87" y="175"/>
                    </a:lnTo>
                    <a:lnTo>
                      <a:pt x="91" y="180"/>
                    </a:lnTo>
                    <a:lnTo>
                      <a:pt x="92" y="175"/>
                    </a:lnTo>
                    <a:lnTo>
                      <a:pt x="98" y="178"/>
                    </a:lnTo>
                    <a:lnTo>
                      <a:pt x="102" y="175"/>
                    </a:lnTo>
                    <a:lnTo>
                      <a:pt x="106" y="175"/>
                    </a:lnTo>
                    <a:lnTo>
                      <a:pt x="112" y="169"/>
                    </a:lnTo>
                    <a:lnTo>
                      <a:pt x="117" y="167"/>
                    </a:lnTo>
                    <a:lnTo>
                      <a:pt x="125" y="163"/>
                    </a:lnTo>
                    <a:lnTo>
                      <a:pt x="125" y="155"/>
                    </a:lnTo>
                    <a:lnTo>
                      <a:pt x="119" y="151"/>
                    </a:lnTo>
                    <a:lnTo>
                      <a:pt x="121" y="142"/>
                    </a:lnTo>
                    <a:lnTo>
                      <a:pt x="125" y="142"/>
                    </a:lnTo>
                    <a:lnTo>
                      <a:pt x="127" y="142"/>
                    </a:lnTo>
                    <a:lnTo>
                      <a:pt x="129" y="142"/>
                    </a:lnTo>
                    <a:lnTo>
                      <a:pt x="133" y="138"/>
                    </a:lnTo>
                    <a:lnTo>
                      <a:pt x="137" y="140"/>
                    </a:lnTo>
                    <a:lnTo>
                      <a:pt x="142" y="138"/>
                    </a:lnTo>
                    <a:lnTo>
                      <a:pt x="146" y="138"/>
                    </a:lnTo>
                    <a:lnTo>
                      <a:pt x="148" y="136"/>
                    </a:lnTo>
                    <a:lnTo>
                      <a:pt x="148" y="130"/>
                    </a:lnTo>
                    <a:lnTo>
                      <a:pt x="154" y="130"/>
                    </a:lnTo>
                    <a:lnTo>
                      <a:pt x="156" y="127"/>
                    </a:lnTo>
                    <a:lnTo>
                      <a:pt x="162" y="127"/>
                    </a:lnTo>
                    <a:lnTo>
                      <a:pt x="169" y="119"/>
                    </a:lnTo>
                    <a:lnTo>
                      <a:pt x="173" y="123"/>
                    </a:lnTo>
                    <a:lnTo>
                      <a:pt x="179" y="121"/>
                    </a:lnTo>
                    <a:lnTo>
                      <a:pt x="179" y="119"/>
                    </a:lnTo>
                    <a:lnTo>
                      <a:pt x="181" y="111"/>
                    </a:lnTo>
                    <a:lnTo>
                      <a:pt x="179" y="103"/>
                    </a:lnTo>
                    <a:lnTo>
                      <a:pt x="179" y="100"/>
                    </a:lnTo>
                    <a:lnTo>
                      <a:pt x="181" y="96"/>
                    </a:lnTo>
                    <a:lnTo>
                      <a:pt x="183" y="94"/>
                    </a:lnTo>
                    <a:lnTo>
                      <a:pt x="188" y="88"/>
                    </a:lnTo>
                    <a:lnTo>
                      <a:pt x="192" y="86"/>
                    </a:lnTo>
                    <a:lnTo>
                      <a:pt x="196" y="88"/>
                    </a:lnTo>
                    <a:lnTo>
                      <a:pt x="200" y="86"/>
                    </a:lnTo>
                    <a:lnTo>
                      <a:pt x="210" y="86"/>
                    </a:lnTo>
                    <a:lnTo>
                      <a:pt x="219" y="84"/>
                    </a:lnTo>
                    <a:lnTo>
                      <a:pt x="221" y="84"/>
                    </a:lnTo>
                    <a:lnTo>
                      <a:pt x="223" y="88"/>
                    </a:lnTo>
                    <a:lnTo>
                      <a:pt x="225" y="86"/>
                    </a:lnTo>
                    <a:lnTo>
                      <a:pt x="231" y="86"/>
                    </a:lnTo>
                    <a:lnTo>
                      <a:pt x="238" y="80"/>
                    </a:lnTo>
                    <a:lnTo>
                      <a:pt x="238" y="78"/>
                    </a:lnTo>
                    <a:lnTo>
                      <a:pt x="244" y="78"/>
                    </a:lnTo>
                    <a:lnTo>
                      <a:pt x="250" y="77"/>
                    </a:lnTo>
                    <a:lnTo>
                      <a:pt x="252" y="78"/>
                    </a:lnTo>
                    <a:lnTo>
                      <a:pt x="252" y="75"/>
                    </a:lnTo>
                    <a:lnTo>
                      <a:pt x="259" y="71"/>
                    </a:lnTo>
                    <a:lnTo>
                      <a:pt x="261" y="73"/>
                    </a:lnTo>
                    <a:lnTo>
                      <a:pt x="263" y="73"/>
                    </a:lnTo>
                    <a:lnTo>
                      <a:pt x="263" y="67"/>
                    </a:lnTo>
                    <a:lnTo>
                      <a:pt x="267" y="63"/>
                    </a:lnTo>
                    <a:lnTo>
                      <a:pt x="277" y="61"/>
                    </a:lnTo>
                    <a:lnTo>
                      <a:pt x="281" y="59"/>
                    </a:lnTo>
                    <a:lnTo>
                      <a:pt x="281" y="57"/>
                    </a:lnTo>
                    <a:lnTo>
                      <a:pt x="288" y="57"/>
                    </a:lnTo>
                    <a:lnTo>
                      <a:pt x="294" y="52"/>
                    </a:lnTo>
                    <a:lnTo>
                      <a:pt x="300" y="48"/>
                    </a:lnTo>
                    <a:lnTo>
                      <a:pt x="296" y="46"/>
                    </a:lnTo>
                    <a:lnTo>
                      <a:pt x="296" y="42"/>
                    </a:lnTo>
                    <a:lnTo>
                      <a:pt x="290" y="40"/>
                    </a:lnTo>
                    <a:lnTo>
                      <a:pt x="292" y="34"/>
                    </a:lnTo>
                    <a:lnTo>
                      <a:pt x="302" y="34"/>
                    </a:lnTo>
                    <a:lnTo>
                      <a:pt x="304" y="30"/>
                    </a:lnTo>
                    <a:lnTo>
                      <a:pt x="309" y="30"/>
                    </a:lnTo>
                    <a:lnTo>
                      <a:pt x="309" y="29"/>
                    </a:lnTo>
                    <a:lnTo>
                      <a:pt x="313" y="29"/>
                    </a:lnTo>
                    <a:lnTo>
                      <a:pt x="315" y="25"/>
                    </a:lnTo>
                    <a:lnTo>
                      <a:pt x="319" y="27"/>
                    </a:lnTo>
                    <a:lnTo>
                      <a:pt x="325" y="21"/>
                    </a:lnTo>
                    <a:lnTo>
                      <a:pt x="329" y="19"/>
                    </a:lnTo>
                    <a:lnTo>
                      <a:pt x="336" y="15"/>
                    </a:lnTo>
                    <a:lnTo>
                      <a:pt x="340" y="19"/>
                    </a:lnTo>
                    <a:lnTo>
                      <a:pt x="342" y="25"/>
                    </a:lnTo>
                    <a:lnTo>
                      <a:pt x="346" y="29"/>
                    </a:lnTo>
                    <a:lnTo>
                      <a:pt x="346" y="32"/>
                    </a:lnTo>
                    <a:lnTo>
                      <a:pt x="355" y="30"/>
                    </a:lnTo>
                    <a:lnTo>
                      <a:pt x="357" y="32"/>
                    </a:lnTo>
                    <a:lnTo>
                      <a:pt x="363" y="32"/>
                    </a:lnTo>
                    <a:lnTo>
                      <a:pt x="367" y="36"/>
                    </a:lnTo>
                    <a:lnTo>
                      <a:pt x="369" y="38"/>
                    </a:lnTo>
                    <a:lnTo>
                      <a:pt x="369" y="34"/>
                    </a:lnTo>
                    <a:lnTo>
                      <a:pt x="367" y="32"/>
                    </a:lnTo>
                    <a:lnTo>
                      <a:pt x="367" y="30"/>
                    </a:lnTo>
                    <a:lnTo>
                      <a:pt x="371" y="34"/>
                    </a:lnTo>
                    <a:lnTo>
                      <a:pt x="378" y="34"/>
                    </a:lnTo>
                    <a:lnTo>
                      <a:pt x="380" y="40"/>
                    </a:lnTo>
                    <a:lnTo>
                      <a:pt x="390" y="38"/>
                    </a:lnTo>
                    <a:lnTo>
                      <a:pt x="396" y="42"/>
                    </a:lnTo>
                    <a:lnTo>
                      <a:pt x="396" y="38"/>
                    </a:lnTo>
                    <a:lnTo>
                      <a:pt x="400" y="36"/>
                    </a:lnTo>
                    <a:lnTo>
                      <a:pt x="407" y="36"/>
                    </a:lnTo>
                    <a:lnTo>
                      <a:pt x="411" y="36"/>
                    </a:lnTo>
                    <a:lnTo>
                      <a:pt x="411" y="30"/>
                    </a:lnTo>
                    <a:lnTo>
                      <a:pt x="413" y="30"/>
                    </a:lnTo>
                    <a:lnTo>
                      <a:pt x="417" y="30"/>
                    </a:lnTo>
                    <a:lnTo>
                      <a:pt x="415" y="34"/>
                    </a:lnTo>
                    <a:lnTo>
                      <a:pt x="421" y="36"/>
                    </a:lnTo>
                    <a:lnTo>
                      <a:pt x="423" y="34"/>
                    </a:lnTo>
                    <a:lnTo>
                      <a:pt x="421" y="30"/>
                    </a:lnTo>
                    <a:lnTo>
                      <a:pt x="428" y="30"/>
                    </a:lnTo>
                    <a:lnTo>
                      <a:pt x="430" y="30"/>
                    </a:lnTo>
                    <a:lnTo>
                      <a:pt x="432" y="25"/>
                    </a:lnTo>
                    <a:lnTo>
                      <a:pt x="436" y="27"/>
                    </a:lnTo>
                    <a:lnTo>
                      <a:pt x="440" y="27"/>
                    </a:lnTo>
                    <a:lnTo>
                      <a:pt x="442" y="29"/>
                    </a:lnTo>
                    <a:lnTo>
                      <a:pt x="446" y="27"/>
                    </a:lnTo>
                    <a:lnTo>
                      <a:pt x="446" y="17"/>
                    </a:lnTo>
                    <a:lnTo>
                      <a:pt x="448" y="15"/>
                    </a:lnTo>
                    <a:lnTo>
                      <a:pt x="455" y="11"/>
                    </a:lnTo>
                    <a:lnTo>
                      <a:pt x="457" y="15"/>
                    </a:lnTo>
                    <a:lnTo>
                      <a:pt x="459" y="15"/>
                    </a:lnTo>
                    <a:lnTo>
                      <a:pt x="463" y="15"/>
                    </a:lnTo>
                    <a:lnTo>
                      <a:pt x="469" y="11"/>
                    </a:lnTo>
                    <a:lnTo>
                      <a:pt x="472" y="9"/>
                    </a:lnTo>
                    <a:lnTo>
                      <a:pt x="476" y="5"/>
                    </a:lnTo>
                    <a:lnTo>
                      <a:pt x="476" y="0"/>
                    </a:lnTo>
                    <a:lnTo>
                      <a:pt x="480" y="0"/>
                    </a:lnTo>
                    <a:lnTo>
                      <a:pt x="484" y="2"/>
                    </a:lnTo>
                    <a:lnTo>
                      <a:pt x="486" y="5"/>
                    </a:lnTo>
                    <a:lnTo>
                      <a:pt x="492" y="11"/>
                    </a:lnTo>
                    <a:lnTo>
                      <a:pt x="494" y="17"/>
                    </a:lnTo>
                    <a:lnTo>
                      <a:pt x="499" y="25"/>
                    </a:lnTo>
                    <a:lnTo>
                      <a:pt x="503" y="25"/>
                    </a:lnTo>
                    <a:lnTo>
                      <a:pt x="511" y="19"/>
                    </a:lnTo>
                    <a:lnTo>
                      <a:pt x="515" y="23"/>
                    </a:lnTo>
                    <a:lnTo>
                      <a:pt x="511" y="30"/>
                    </a:lnTo>
                    <a:lnTo>
                      <a:pt x="499" y="32"/>
                    </a:lnTo>
                    <a:lnTo>
                      <a:pt x="495" y="34"/>
                    </a:lnTo>
                    <a:lnTo>
                      <a:pt x="494" y="40"/>
                    </a:lnTo>
                    <a:lnTo>
                      <a:pt x="486" y="42"/>
                    </a:lnTo>
                    <a:lnTo>
                      <a:pt x="490" y="44"/>
                    </a:lnTo>
                    <a:lnTo>
                      <a:pt x="490" y="50"/>
                    </a:lnTo>
                    <a:lnTo>
                      <a:pt x="494" y="54"/>
                    </a:lnTo>
                    <a:lnTo>
                      <a:pt x="494" y="55"/>
                    </a:lnTo>
                    <a:lnTo>
                      <a:pt x="490" y="55"/>
                    </a:lnTo>
                    <a:lnTo>
                      <a:pt x="490" y="59"/>
                    </a:lnTo>
                    <a:lnTo>
                      <a:pt x="492" y="61"/>
                    </a:lnTo>
                    <a:lnTo>
                      <a:pt x="497" y="59"/>
                    </a:lnTo>
                    <a:lnTo>
                      <a:pt x="499" y="55"/>
                    </a:lnTo>
                    <a:lnTo>
                      <a:pt x="501" y="55"/>
                    </a:lnTo>
                    <a:lnTo>
                      <a:pt x="503" y="52"/>
                    </a:lnTo>
                    <a:lnTo>
                      <a:pt x="507" y="50"/>
                    </a:lnTo>
                    <a:lnTo>
                      <a:pt x="511" y="46"/>
                    </a:lnTo>
                    <a:lnTo>
                      <a:pt x="520" y="46"/>
                    </a:lnTo>
                    <a:lnTo>
                      <a:pt x="526" y="42"/>
                    </a:lnTo>
                    <a:lnTo>
                      <a:pt x="528" y="44"/>
                    </a:lnTo>
                    <a:lnTo>
                      <a:pt x="524" y="50"/>
                    </a:lnTo>
                    <a:lnTo>
                      <a:pt x="522" y="54"/>
                    </a:lnTo>
                    <a:lnTo>
                      <a:pt x="528" y="55"/>
                    </a:lnTo>
                    <a:lnTo>
                      <a:pt x="528" y="63"/>
                    </a:lnTo>
                    <a:lnTo>
                      <a:pt x="532" y="67"/>
                    </a:lnTo>
                    <a:lnTo>
                      <a:pt x="538" y="75"/>
                    </a:lnTo>
                    <a:lnTo>
                      <a:pt x="536" y="80"/>
                    </a:lnTo>
                    <a:lnTo>
                      <a:pt x="530" y="80"/>
                    </a:lnTo>
                    <a:lnTo>
                      <a:pt x="528" y="84"/>
                    </a:lnTo>
                    <a:lnTo>
                      <a:pt x="524" y="84"/>
                    </a:lnTo>
                    <a:lnTo>
                      <a:pt x="522" y="84"/>
                    </a:lnTo>
                    <a:lnTo>
                      <a:pt x="524" y="90"/>
                    </a:lnTo>
                    <a:lnTo>
                      <a:pt x="517" y="90"/>
                    </a:lnTo>
                    <a:lnTo>
                      <a:pt x="517" y="96"/>
                    </a:lnTo>
                    <a:lnTo>
                      <a:pt x="517" y="98"/>
                    </a:lnTo>
                    <a:lnTo>
                      <a:pt x="509" y="100"/>
                    </a:lnTo>
                    <a:lnTo>
                      <a:pt x="505" y="103"/>
                    </a:lnTo>
                    <a:lnTo>
                      <a:pt x="509" y="107"/>
                    </a:lnTo>
                    <a:lnTo>
                      <a:pt x="509" y="109"/>
                    </a:lnTo>
                    <a:lnTo>
                      <a:pt x="501" y="115"/>
                    </a:lnTo>
                    <a:lnTo>
                      <a:pt x="507" y="117"/>
                    </a:lnTo>
                    <a:lnTo>
                      <a:pt x="513" y="117"/>
                    </a:lnTo>
                    <a:lnTo>
                      <a:pt x="515" y="123"/>
                    </a:lnTo>
                    <a:lnTo>
                      <a:pt x="517" y="123"/>
                    </a:lnTo>
                    <a:lnTo>
                      <a:pt x="519" y="119"/>
                    </a:lnTo>
                    <a:lnTo>
                      <a:pt x="522" y="115"/>
                    </a:lnTo>
                    <a:lnTo>
                      <a:pt x="526" y="115"/>
                    </a:lnTo>
                    <a:lnTo>
                      <a:pt x="534" y="109"/>
                    </a:lnTo>
                    <a:lnTo>
                      <a:pt x="542" y="109"/>
                    </a:lnTo>
                    <a:lnTo>
                      <a:pt x="545" y="111"/>
                    </a:lnTo>
                    <a:lnTo>
                      <a:pt x="551" y="115"/>
                    </a:lnTo>
                    <a:lnTo>
                      <a:pt x="553" y="119"/>
                    </a:lnTo>
                    <a:lnTo>
                      <a:pt x="561" y="121"/>
                    </a:lnTo>
                    <a:lnTo>
                      <a:pt x="565" y="117"/>
                    </a:lnTo>
                    <a:lnTo>
                      <a:pt x="568" y="123"/>
                    </a:lnTo>
                    <a:lnTo>
                      <a:pt x="576" y="127"/>
                    </a:lnTo>
                    <a:lnTo>
                      <a:pt x="584" y="123"/>
                    </a:lnTo>
                    <a:lnTo>
                      <a:pt x="588" y="121"/>
                    </a:lnTo>
                    <a:lnTo>
                      <a:pt x="590" y="125"/>
                    </a:lnTo>
                    <a:lnTo>
                      <a:pt x="597" y="128"/>
                    </a:lnTo>
                    <a:lnTo>
                      <a:pt x="599" y="128"/>
                    </a:lnTo>
                    <a:lnTo>
                      <a:pt x="603" y="130"/>
                    </a:lnTo>
                    <a:lnTo>
                      <a:pt x="607" y="130"/>
                    </a:lnTo>
                    <a:lnTo>
                      <a:pt x="609" y="132"/>
                    </a:lnTo>
                    <a:lnTo>
                      <a:pt x="616" y="136"/>
                    </a:lnTo>
                    <a:lnTo>
                      <a:pt x="616" y="142"/>
                    </a:lnTo>
                    <a:lnTo>
                      <a:pt x="613" y="144"/>
                    </a:lnTo>
                    <a:lnTo>
                      <a:pt x="614" y="146"/>
                    </a:lnTo>
                    <a:lnTo>
                      <a:pt x="609" y="151"/>
                    </a:lnTo>
                    <a:lnTo>
                      <a:pt x="611" y="153"/>
                    </a:lnTo>
                    <a:lnTo>
                      <a:pt x="618" y="151"/>
                    </a:lnTo>
                    <a:lnTo>
                      <a:pt x="616" y="153"/>
                    </a:lnTo>
                    <a:lnTo>
                      <a:pt x="618" y="157"/>
                    </a:lnTo>
                    <a:lnTo>
                      <a:pt x="620" y="157"/>
                    </a:lnTo>
                    <a:lnTo>
                      <a:pt x="616" y="165"/>
                    </a:lnTo>
                    <a:lnTo>
                      <a:pt x="618" y="171"/>
                    </a:lnTo>
                    <a:lnTo>
                      <a:pt x="614" y="173"/>
                    </a:lnTo>
                    <a:lnTo>
                      <a:pt x="609" y="169"/>
                    </a:lnTo>
                    <a:lnTo>
                      <a:pt x="603" y="171"/>
                    </a:lnTo>
                    <a:lnTo>
                      <a:pt x="597" y="176"/>
                    </a:lnTo>
                    <a:lnTo>
                      <a:pt x="595" y="178"/>
                    </a:lnTo>
                    <a:lnTo>
                      <a:pt x="588" y="184"/>
                    </a:lnTo>
                    <a:lnTo>
                      <a:pt x="588" y="188"/>
                    </a:lnTo>
                    <a:lnTo>
                      <a:pt x="584" y="186"/>
                    </a:lnTo>
                    <a:lnTo>
                      <a:pt x="580" y="186"/>
                    </a:lnTo>
                    <a:lnTo>
                      <a:pt x="576" y="194"/>
                    </a:lnTo>
                    <a:lnTo>
                      <a:pt x="570" y="196"/>
                    </a:lnTo>
                    <a:lnTo>
                      <a:pt x="570" y="199"/>
                    </a:lnTo>
                    <a:lnTo>
                      <a:pt x="566" y="201"/>
                    </a:lnTo>
                    <a:lnTo>
                      <a:pt x="566" y="205"/>
                    </a:lnTo>
                    <a:lnTo>
                      <a:pt x="570" y="211"/>
                    </a:lnTo>
                    <a:lnTo>
                      <a:pt x="566" y="219"/>
                    </a:lnTo>
                    <a:lnTo>
                      <a:pt x="572" y="223"/>
                    </a:lnTo>
                    <a:lnTo>
                      <a:pt x="572" y="226"/>
                    </a:lnTo>
                    <a:lnTo>
                      <a:pt x="578" y="234"/>
                    </a:lnTo>
                    <a:lnTo>
                      <a:pt x="580" y="234"/>
                    </a:lnTo>
                    <a:lnTo>
                      <a:pt x="584" y="240"/>
                    </a:lnTo>
                    <a:lnTo>
                      <a:pt x="588" y="242"/>
                    </a:lnTo>
                    <a:lnTo>
                      <a:pt x="588" y="244"/>
                    </a:lnTo>
                    <a:lnTo>
                      <a:pt x="593" y="251"/>
                    </a:lnTo>
                    <a:lnTo>
                      <a:pt x="595" y="255"/>
                    </a:lnTo>
                    <a:lnTo>
                      <a:pt x="591" y="257"/>
                    </a:lnTo>
                    <a:lnTo>
                      <a:pt x="588" y="257"/>
                    </a:lnTo>
                    <a:lnTo>
                      <a:pt x="586" y="257"/>
                    </a:lnTo>
                    <a:lnTo>
                      <a:pt x="582" y="255"/>
                    </a:lnTo>
                    <a:lnTo>
                      <a:pt x="576" y="251"/>
                    </a:lnTo>
                    <a:lnTo>
                      <a:pt x="566" y="249"/>
                    </a:lnTo>
                    <a:lnTo>
                      <a:pt x="563" y="248"/>
                    </a:lnTo>
                    <a:lnTo>
                      <a:pt x="565" y="240"/>
                    </a:lnTo>
                    <a:lnTo>
                      <a:pt x="561" y="238"/>
                    </a:lnTo>
                    <a:lnTo>
                      <a:pt x="561" y="236"/>
                    </a:lnTo>
                    <a:lnTo>
                      <a:pt x="555" y="230"/>
                    </a:lnTo>
                    <a:lnTo>
                      <a:pt x="547" y="228"/>
                    </a:lnTo>
                    <a:lnTo>
                      <a:pt x="542" y="230"/>
                    </a:lnTo>
                    <a:lnTo>
                      <a:pt x="536" y="228"/>
                    </a:lnTo>
                    <a:lnTo>
                      <a:pt x="534" y="234"/>
                    </a:lnTo>
                    <a:lnTo>
                      <a:pt x="526" y="236"/>
                    </a:lnTo>
                    <a:lnTo>
                      <a:pt x="517" y="234"/>
                    </a:lnTo>
                    <a:lnTo>
                      <a:pt x="515" y="236"/>
                    </a:lnTo>
                    <a:lnTo>
                      <a:pt x="509" y="236"/>
                    </a:lnTo>
                    <a:lnTo>
                      <a:pt x="503" y="238"/>
                    </a:lnTo>
                    <a:lnTo>
                      <a:pt x="497" y="238"/>
                    </a:lnTo>
                    <a:lnTo>
                      <a:pt x="490" y="240"/>
                    </a:lnTo>
                    <a:lnTo>
                      <a:pt x="480" y="244"/>
                    </a:lnTo>
                    <a:lnTo>
                      <a:pt x="474" y="248"/>
                    </a:lnTo>
                    <a:lnTo>
                      <a:pt x="472" y="251"/>
                    </a:lnTo>
                    <a:lnTo>
                      <a:pt x="471" y="253"/>
                    </a:lnTo>
                    <a:lnTo>
                      <a:pt x="467" y="259"/>
                    </a:lnTo>
                    <a:lnTo>
                      <a:pt x="465" y="263"/>
                    </a:lnTo>
                    <a:lnTo>
                      <a:pt x="457" y="267"/>
                    </a:lnTo>
                    <a:lnTo>
                      <a:pt x="451" y="265"/>
                    </a:lnTo>
                    <a:lnTo>
                      <a:pt x="448" y="269"/>
                    </a:lnTo>
                    <a:lnTo>
                      <a:pt x="446" y="272"/>
                    </a:lnTo>
                    <a:lnTo>
                      <a:pt x="444" y="278"/>
                    </a:lnTo>
                    <a:lnTo>
                      <a:pt x="442" y="280"/>
                    </a:lnTo>
                    <a:lnTo>
                      <a:pt x="436" y="278"/>
                    </a:lnTo>
                    <a:lnTo>
                      <a:pt x="432" y="282"/>
                    </a:lnTo>
                    <a:lnTo>
                      <a:pt x="428" y="288"/>
                    </a:lnTo>
                    <a:lnTo>
                      <a:pt x="423" y="286"/>
                    </a:lnTo>
                    <a:lnTo>
                      <a:pt x="419" y="288"/>
                    </a:lnTo>
                    <a:lnTo>
                      <a:pt x="417" y="294"/>
                    </a:lnTo>
                    <a:lnTo>
                      <a:pt x="411" y="299"/>
                    </a:lnTo>
                    <a:lnTo>
                      <a:pt x="403" y="303"/>
                    </a:lnTo>
                    <a:lnTo>
                      <a:pt x="401" y="301"/>
                    </a:lnTo>
                    <a:lnTo>
                      <a:pt x="396" y="305"/>
                    </a:lnTo>
                    <a:lnTo>
                      <a:pt x="392" y="303"/>
                    </a:lnTo>
                    <a:lnTo>
                      <a:pt x="392" y="301"/>
                    </a:lnTo>
                    <a:lnTo>
                      <a:pt x="390" y="301"/>
                    </a:lnTo>
                    <a:close/>
                  </a:path>
                </a:pathLst>
              </a:custGeom>
              <a:solidFill>
                <a:srgbClr val="D0D0D0"/>
              </a:solidFill>
              <a:ln w="6350">
                <a:solidFill>
                  <a:schemeClr val="bg1">
                    <a:lumMod val="65000"/>
                  </a:schemeClr>
                </a:solidFill>
                <a:prstDash val="dash"/>
              </a:ln>
            </p:spPr>
            <p:txBody>
              <a:bodyPr vert="horz" wrap="square" lIns="91440" tIns="45720" rIns="91440" bIns="45720" numCol="1" anchor="t" anchorCtr="0" compatLnSpc="1">
                <a:prstTxWarp prst="textNoShape">
                  <a:avLst/>
                </a:prstTxWarp>
              </a:bodyPr>
              <a:lstStyle/>
              <a:p>
                <a:endParaRPr lang="en-US" dirty="0"/>
              </a:p>
            </p:txBody>
          </p:sp>
          <p:sp>
            <p:nvSpPr>
              <p:cNvPr id="68" name="Freeform: Shape 67">
                <a:extLst>
                  <a:ext uri="{FF2B5EF4-FFF2-40B4-BE49-F238E27FC236}">
                    <a16:creationId xmlns:a16="http://schemas.microsoft.com/office/drawing/2014/main" id="{3DA98A66-293E-48CA-A2D4-CCA8BF4024A6}"/>
                  </a:ext>
                </a:extLst>
              </p:cNvPr>
              <p:cNvSpPr/>
              <p:nvPr/>
            </p:nvSpPr>
            <p:spPr bwMode="gray">
              <a:xfrm>
                <a:off x="4324350" y="1201737"/>
                <a:ext cx="825500" cy="744538"/>
              </a:xfrm>
              <a:custGeom>
                <a:avLst/>
                <a:gdLst>
                  <a:gd name="connsiteX0" fmla="*/ 374650 w 825500"/>
                  <a:gd name="connsiteY0" fmla="*/ 0 h 744538"/>
                  <a:gd name="connsiteX1" fmla="*/ 381000 w 825500"/>
                  <a:gd name="connsiteY1" fmla="*/ 12700 h 744538"/>
                  <a:gd name="connsiteX2" fmla="*/ 387350 w 825500"/>
                  <a:gd name="connsiteY2" fmla="*/ 12700 h 744538"/>
                  <a:gd name="connsiteX3" fmla="*/ 390525 w 825500"/>
                  <a:gd name="connsiteY3" fmla="*/ 6350 h 744538"/>
                  <a:gd name="connsiteX4" fmla="*/ 398462 w 825500"/>
                  <a:gd name="connsiteY4" fmla="*/ 6350 h 744538"/>
                  <a:gd name="connsiteX5" fmla="*/ 398462 w 825500"/>
                  <a:gd name="connsiteY5" fmla="*/ 12700 h 744538"/>
                  <a:gd name="connsiteX6" fmla="*/ 404812 w 825500"/>
                  <a:gd name="connsiteY6" fmla="*/ 26987 h 744538"/>
                  <a:gd name="connsiteX7" fmla="*/ 411162 w 825500"/>
                  <a:gd name="connsiteY7" fmla="*/ 26987 h 744538"/>
                  <a:gd name="connsiteX8" fmla="*/ 411162 w 825500"/>
                  <a:gd name="connsiteY8" fmla="*/ 20637 h 744538"/>
                  <a:gd name="connsiteX9" fmla="*/ 417512 w 825500"/>
                  <a:gd name="connsiteY9" fmla="*/ 17462 h 744538"/>
                  <a:gd name="connsiteX10" fmla="*/ 430212 w 825500"/>
                  <a:gd name="connsiteY10" fmla="*/ 12700 h 744538"/>
                  <a:gd name="connsiteX11" fmla="*/ 441325 w 825500"/>
                  <a:gd name="connsiteY11" fmla="*/ 12700 h 744538"/>
                  <a:gd name="connsiteX12" fmla="*/ 447675 w 825500"/>
                  <a:gd name="connsiteY12" fmla="*/ 9525 h 744538"/>
                  <a:gd name="connsiteX13" fmla="*/ 450850 w 825500"/>
                  <a:gd name="connsiteY13" fmla="*/ 12700 h 744538"/>
                  <a:gd name="connsiteX14" fmla="*/ 450850 w 825500"/>
                  <a:gd name="connsiteY14" fmla="*/ 17462 h 744538"/>
                  <a:gd name="connsiteX15" fmla="*/ 463550 w 825500"/>
                  <a:gd name="connsiteY15" fmla="*/ 20637 h 744538"/>
                  <a:gd name="connsiteX16" fmla="*/ 471487 w 825500"/>
                  <a:gd name="connsiteY16" fmla="*/ 17462 h 744538"/>
                  <a:gd name="connsiteX17" fmla="*/ 484187 w 825500"/>
                  <a:gd name="connsiteY17" fmla="*/ 23812 h 744538"/>
                  <a:gd name="connsiteX18" fmla="*/ 490537 w 825500"/>
                  <a:gd name="connsiteY18" fmla="*/ 20637 h 744538"/>
                  <a:gd name="connsiteX19" fmla="*/ 487362 w 825500"/>
                  <a:gd name="connsiteY19" fmla="*/ 30162 h 744538"/>
                  <a:gd name="connsiteX20" fmla="*/ 493712 w 825500"/>
                  <a:gd name="connsiteY20" fmla="*/ 33337 h 744538"/>
                  <a:gd name="connsiteX21" fmla="*/ 493712 w 825500"/>
                  <a:gd name="connsiteY21" fmla="*/ 42862 h 744538"/>
                  <a:gd name="connsiteX22" fmla="*/ 490537 w 825500"/>
                  <a:gd name="connsiteY22" fmla="*/ 50800 h 744538"/>
                  <a:gd name="connsiteX23" fmla="*/ 496887 w 825500"/>
                  <a:gd name="connsiteY23" fmla="*/ 60325 h 744538"/>
                  <a:gd name="connsiteX24" fmla="*/ 500062 w 825500"/>
                  <a:gd name="connsiteY24" fmla="*/ 63500 h 744538"/>
                  <a:gd name="connsiteX25" fmla="*/ 503237 w 825500"/>
                  <a:gd name="connsiteY25" fmla="*/ 60325 h 744538"/>
                  <a:gd name="connsiteX26" fmla="*/ 508000 w 825500"/>
                  <a:gd name="connsiteY26" fmla="*/ 63500 h 744538"/>
                  <a:gd name="connsiteX27" fmla="*/ 508000 w 825500"/>
                  <a:gd name="connsiteY27" fmla="*/ 53975 h 744538"/>
                  <a:gd name="connsiteX28" fmla="*/ 527050 w 825500"/>
                  <a:gd name="connsiteY28" fmla="*/ 53975 h 744538"/>
                  <a:gd name="connsiteX29" fmla="*/ 536575 w 825500"/>
                  <a:gd name="connsiteY29" fmla="*/ 57150 h 744538"/>
                  <a:gd name="connsiteX30" fmla="*/ 542925 w 825500"/>
                  <a:gd name="connsiteY30" fmla="*/ 57150 h 744538"/>
                  <a:gd name="connsiteX31" fmla="*/ 554038 w 825500"/>
                  <a:gd name="connsiteY31" fmla="*/ 63500 h 744538"/>
                  <a:gd name="connsiteX32" fmla="*/ 560388 w 825500"/>
                  <a:gd name="connsiteY32" fmla="*/ 69850 h 744538"/>
                  <a:gd name="connsiteX33" fmla="*/ 563563 w 825500"/>
                  <a:gd name="connsiteY33" fmla="*/ 73025 h 744538"/>
                  <a:gd name="connsiteX34" fmla="*/ 566738 w 825500"/>
                  <a:gd name="connsiteY34" fmla="*/ 76200 h 744538"/>
                  <a:gd name="connsiteX35" fmla="*/ 576263 w 825500"/>
                  <a:gd name="connsiteY35" fmla="*/ 82550 h 744538"/>
                  <a:gd name="connsiteX36" fmla="*/ 573088 w 825500"/>
                  <a:gd name="connsiteY36" fmla="*/ 88900 h 744538"/>
                  <a:gd name="connsiteX37" fmla="*/ 576263 w 825500"/>
                  <a:gd name="connsiteY37" fmla="*/ 90487 h 744538"/>
                  <a:gd name="connsiteX38" fmla="*/ 606425 w 825500"/>
                  <a:gd name="connsiteY38" fmla="*/ 103188 h 744538"/>
                  <a:gd name="connsiteX39" fmla="*/ 623888 w 825500"/>
                  <a:gd name="connsiteY39" fmla="*/ 119063 h 744538"/>
                  <a:gd name="connsiteX40" fmla="*/ 630238 w 825500"/>
                  <a:gd name="connsiteY40" fmla="*/ 122238 h 744538"/>
                  <a:gd name="connsiteX41" fmla="*/ 636588 w 825500"/>
                  <a:gd name="connsiteY41" fmla="*/ 122238 h 744538"/>
                  <a:gd name="connsiteX42" fmla="*/ 655638 w 825500"/>
                  <a:gd name="connsiteY42" fmla="*/ 125413 h 744538"/>
                  <a:gd name="connsiteX43" fmla="*/ 658813 w 825500"/>
                  <a:gd name="connsiteY43" fmla="*/ 133350 h 744538"/>
                  <a:gd name="connsiteX44" fmla="*/ 669925 w 825500"/>
                  <a:gd name="connsiteY44" fmla="*/ 149225 h 744538"/>
                  <a:gd name="connsiteX45" fmla="*/ 688975 w 825500"/>
                  <a:gd name="connsiteY45" fmla="*/ 155575 h 744538"/>
                  <a:gd name="connsiteX46" fmla="*/ 703263 w 825500"/>
                  <a:gd name="connsiteY46" fmla="*/ 165100 h 744538"/>
                  <a:gd name="connsiteX47" fmla="*/ 712788 w 825500"/>
                  <a:gd name="connsiteY47" fmla="*/ 169863 h 744538"/>
                  <a:gd name="connsiteX48" fmla="*/ 709613 w 825500"/>
                  <a:gd name="connsiteY48" fmla="*/ 179388 h 744538"/>
                  <a:gd name="connsiteX49" fmla="*/ 703263 w 825500"/>
                  <a:gd name="connsiteY49" fmla="*/ 188913 h 744538"/>
                  <a:gd name="connsiteX50" fmla="*/ 703263 w 825500"/>
                  <a:gd name="connsiteY50" fmla="*/ 195263 h 744538"/>
                  <a:gd name="connsiteX51" fmla="*/ 731838 w 825500"/>
                  <a:gd name="connsiteY51" fmla="*/ 215900 h 744538"/>
                  <a:gd name="connsiteX52" fmla="*/ 746125 w 825500"/>
                  <a:gd name="connsiteY52" fmla="*/ 222250 h 744538"/>
                  <a:gd name="connsiteX53" fmla="*/ 765175 w 825500"/>
                  <a:gd name="connsiteY53" fmla="*/ 222250 h 744538"/>
                  <a:gd name="connsiteX54" fmla="*/ 776288 w 825500"/>
                  <a:gd name="connsiteY54" fmla="*/ 222250 h 744538"/>
                  <a:gd name="connsiteX55" fmla="*/ 785813 w 825500"/>
                  <a:gd name="connsiteY55" fmla="*/ 231775 h 744538"/>
                  <a:gd name="connsiteX56" fmla="*/ 801688 w 825500"/>
                  <a:gd name="connsiteY56" fmla="*/ 234950 h 744538"/>
                  <a:gd name="connsiteX57" fmla="*/ 809625 w 825500"/>
                  <a:gd name="connsiteY57" fmla="*/ 234950 h 744538"/>
                  <a:gd name="connsiteX58" fmla="*/ 819150 w 825500"/>
                  <a:gd name="connsiteY58" fmla="*/ 244475 h 744538"/>
                  <a:gd name="connsiteX59" fmla="*/ 819150 w 825500"/>
                  <a:gd name="connsiteY59" fmla="*/ 252413 h 744538"/>
                  <a:gd name="connsiteX60" fmla="*/ 825500 w 825500"/>
                  <a:gd name="connsiteY60" fmla="*/ 258763 h 744538"/>
                  <a:gd name="connsiteX61" fmla="*/ 822325 w 825500"/>
                  <a:gd name="connsiteY61" fmla="*/ 265113 h 744538"/>
                  <a:gd name="connsiteX62" fmla="*/ 809625 w 825500"/>
                  <a:gd name="connsiteY62" fmla="*/ 258763 h 744538"/>
                  <a:gd name="connsiteX63" fmla="*/ 804863 w 825500"/>
                  <a:gd name="connsiteY63" fmla="*/ 258763 h 744538"/>
                  <a:gd name="connsiteX64" fmla="*/ 798513 w 825500"/>
                  <a:gd name="connsiteY64" fmla="*/ 261938 h 744538"/>
                  <a:gd name="connsiteX65" fmla="*/ 795338 w 825500"/>
                  <a:gd name="connsiteY65" fmla="*/ 271463 h 744538"/>
                  <a:gd name="connsiteX66" fmla="*/ 795338 w 825500"/>
                  <a:gd name="connsiteY66" fmla="*/ 268288 h 744538"/>
                  <a:gd name="connsiteX67" fmla="*/ 789623 w 825500"/>
                  <a:gd name="connsiteY67" fmla="*/ 265430 h 744538"/>
                  <a:gd name="connsiteX68" fmla="*/ 792956 w 825500"/>
                  <a:gd name="connsiteY68" fmla="*/ 269875 h 744538"/>
                  <a:gd name="connsiteX69" fmla="*/ 791789 w 825500"/>
                  <a:gd name="connsiteY69" fmla="*/ 270576 h 744538"/>
                  <a:gd name="connsiteX70" fmla="*/ 795338 w 825500"/>
                  <a:gd name="connsiteY70" fmla="*/ 271463 h 744538"/>
                  <a:gd name="connsiteX71" fmla="*/ 795338 w 825500"/>
                  <a:gd name="connsiteY71" fmla="*/ 274638 h 744538"/>
                  <a:gd name="connsiteX72" fmla="*/ 788988 w 825500"/>
                  <a:gd name="connsiteY72" fmla="*/ 288925 h 744538"/>
                  <a:gd name="connsiteX73" fmla="*/ 782638 w 825500"/>
                  <a:gd name="connsiteY73" fmla="*/ 301625 h 744538"/>
                  <a:gd name="connsiteX74" fmla="*/ 779463 w 825500"/>
                  <a:gd name="connsiteY74" fmla="*/ 314325 h 744538"/>
                  <a:gd name="connsiteX75" fmla="*/ 773113 w 825500"/>
                  <a:gd name="connsiteY75" fmla="*/ 325438 h 744538"/>
                  <a:gd name="connsiteX76" fmla="*/ 773113 w 825500"/>
                  <a:gd name="connsiteY76" fmla="*/ 338138 h 744538"/>
                  <a:gd name="connsiteX77" fmla="*/ 771525 w 825500"/>
                  <a:gd name="connsiteY77" fmla="*/ 344488 h 744538"/>
                  <a:gd name="connsiteX78" fmla="*/ 762000 w 825500"/>
                  <a:gd name="connsiteY78" fmla="*/ 357188 h 744538"/>
                  <a:gd name="connsiteX79" fmla="*/ 758825 w 825500"/>
                  <a:gd name="connsiteY79" fmla="*/ 357188 h 744538"/>
                  <a:gd name="connsiteX80" fmla="*/ 755650 w 825500"/>
                  <a:gd name="connsiteY80" fmla="*/ 357188 h 744538"/>
                  <a:gd name="connsiteX81" fmla="*/ 739775 w 825500"/>
                  <a:gd name="connsiteY81" fmla="*/ 357188 h 744538"/>
                  <a:gd name="connsiteX82" fmla="*/ 739775 w 825500"/>
                  <a:gd name="connsiteY82" fmla="*/ 368300 h 744538"/>
                  <a:gd name="connsiteX83" fmla="*/ 733425 w 825500"/>
                  <a:gd name="connsiteY83" fmla="*/ 371475 h 744538"/>
                  <a:gd name="connsiteX84" fmla="*/ 728663 w 825500"/>
                  <a:gd name="connsiteY84" fmla="*/ 371475 h 744538"/>
                  <a:gd name="connsiteX85" fmla="*/ 715963 w 825500"/>
                  <a:gd name="connsiteY85" fmla="*/ 365125 h 744538"/>
                  <a:gd name="connsiteX86" fmla="*/ 706438 w 825500"/>
                  <a:gd name="connsiteY86" fmla="*/ 371475 h 744538"/>
                  <a:gd name="connsiteX87" fmla="*/ 696913 w 825500"/>
                  <a:gd name="connsiteY87" fmla="*/ 374650 h 744538"/>
                  <a:gd name="connsiteX88" fmla="*/ 695325 w 825500"/>
                  <a:gd name="connsiteY88" fmla="*/ 374650 h 744538"/>
                  <a:gd name="connsiteX89" fmla="*/ 695325 w 825500"/>
                  <a:gd name="connsiteY89" fmla="*/ 387350 h 744538"/>
                  <a:gd name="connsiteX90" fmla="*/ 692150 w 825500"/>
                  <a:gd name="connsiteY90" fmla="*/ 393700 h 744538"/>
                  <a:gd name="connsiteX91" fmla="*/ 679450 w 825500"/>
                  <a:gd name="connsiteY91" fmla="*/ 404813 h 744538"/>
                  <a:gd name="connsiteX92" fmla="*/ 673100 w 825500"/>
                  <a:gd name="connsiteY92" fmla="*/ 404813 h 744538"/>
                  <a:gd name="connsiteX93" fmla="*/ 660400 w 825500"/>
                  <a:gd name="connsiteY93" fmla="*/ 401638 h 744538"/>
                  <a:gd name="connsiteX94" fmla="*/ 649288 w 825500"/>
                  <a:gd name="connsiteY94" fmla="*/ 396875 h 744538"/>
                  <a:gd name="connsiteX95" fmla="*/ 636588 w 825500"/>
                  <a:gd name="connsiteY95" fmla="*/ 404813 h 744538"/>
                  <a:gd name="connsiteX96" fmla="*/ 619125 w 825500"/>
                  <a:gd name="connsiteY96" fmla="*/ 407988 h 744538"/>
                  <a:gd name="connsiteX97" fmla="*/ 609600 w 825500"/>
                  <a:gd name="connsiteY97" fmla="*/ 417513 h 744538"/>
                  <a:gd name="connsiteX98" fmla="*/ 596900 w 825500"/>
                  <a:gd name="connsiteY98" fmla="*/ 423863 h 744538"/>
                  <a:gd name="connsiteX99" fmla="*/ 587375 w 825500"/>
                  <a:gd name="connsiteY99" fmla="*/ 420688 h 744538"/>
                  <a:gd name="connsiteX100" fmla="*/ 579438 w 825500"/>
                  <a:gd name="connsiteY100" fmla="*/ 414338 h 744538"/>
                  <a:gd name="connsiteX101" fmla="*/ 576263 w 825500"/>
                  <a:gd name="connsiteY101" fmla="*/ 414338 h 744538"/>
                  <a:gd name="connsiteX102" fmla="*/ 563563 w 825500"/>
                  <a:gd name="connsiteY102" fmla="*/ 427038 h 744538"/>
                  <a:gd name="connsiteX103" fmla="*/ 557213 w 825500"/>
                  <a:gd name="connsiteY103" fmla="*/ 427038 h 744538"/>
                  <a:gd name="connsiteX104" fmla="*/ 542925 w 825500"/>
                  <a:gd name="connsiteY104" fmla="*/ 433388 h 744538"/>
                  <a:gd name="connsiteX105" fmla="*/ 527050 w 825500"/>
                  <a:gd name="connsiteY105" fmla="*/ 444500 h 744538"/>
                  <a:gd name="connsiteX106" fmla="*/ 520700 w 825500"/>
                  <a:gd name="connsiteY106" fmla="*/ 444500 h 744538"/>
                  <a:gd name="connsiteX107" fmla="*/ 508000 w 825500"/>
                  <a:gd name="connsiteY107" fmla="*/ 441325 h 744538"/>
                  <a:gd name="connsiteX108" fmla="*/ 500062 w 825500"/>
                  <a:gd name="connsiteY108" fmla="*/ 438150 h 744538"/>
                  <a:gd name="connsiteX109" fmla="*/ 481012 w 825500"/>
                  <a:gd name="connsiteY109" fmla="*/ 438150 h 744538"/>
                  <a:gd name="connsiteX110" fmla="*/ 474662 w 825500"/>
                  <a:gd name="connsiteY110" fmla="*/ 438150 h 744538"/>
                  <a:gd name="connsiteX111" fmla="*/ 457200 w 825500"/>
                  <a:gd name="connsiteY111" fmla="*/ 438150 h 744538"/>
                  <a:gd name="connsiteX112" fmla="*/ 457200 w 825500"/>
                  <a:gd name="connsiteY112" fmla="*/ 436563 h 744538"/>
                  <a:gd name="connsiteX113" fmla="*/ 441325 w 825500"/>
                  <a:gd name="connsiteY113" fmla="*/ 427038 h 744538"/>
                  <a:gd name="connsiteX114" fmla="*/ 444500 w 825500"/>
                  <a:gd name="connsiteY114" fmla="*/ 423863 h 744538"/>
                  <a:gd name="connsiteX115" fmla="*/ 438150 w 825500"/>
                  <a:gd name="connsiteY115" fmla="*/ 420688 h 744538"/>
                  <a:gd name="connsiteX116" fmla="*/ 423862 w 825500"/>
                  <a:gd name="connsiteY116" fmla="*/ 420688 h 744538"/>
                  <a:gd name="connsiteX117" fmla="*/ 411162 w 825500"/>
                  <a:gd name="connsiteY117" fmla="*/ 423863 h 744538"/>
                  <a:gd name="connsiteX118" fmla="*/ 404812 w 825500"/>
                  <a:gd name="connsiteY118" fmla="*/ 423863 h 744538"/>
                  <a:gd name="connsiteX119" fmla="*/ 390525 w 825500"/>
                  <a:gd name="connsiteY119" fmla="*/ 417513 h 744538"/>
                  <a:gd name="connsiteX120" fmla="*/ 387350 w 825500"/>
                  <a:gd name="connsiteY120" fmla="*/ 417513 h 744538"/>
                  <a:gd name="connsiteX121" fmla="*/ 381000 w 825500"/>
                  <a:gd name="connsiteY121" fmla="*/ 414338 h 744538"/>
                  <a:gd name="connsiteX122" fmla="*/ 365125 w 825500"/>
                  <a:gd name="connsiteY122" fmla="*/ 417513 h 744538"/>
                  <a:gd name="connsiteX123" fmla="*/ 354012 w 825500"/>
                  <a:gd name="connsiteY123" fmla="*/ 414338 h 744538"/>
                  <a:gd name="connsiteX124" fmla="*/ 341312 w 825500"/>
                  <a:gd name="connsiteY124" fmla="*/ 411163 h 744538"/>
                  <a:gd name="connsiteX125" fmla="*/ 334962 w 825500"/>
                  <a:gd name="connsiteY125" fmla="*/ 401638 h 744538"/>
                  <a:gd name="connsiteX126" fmla="*/ 317500 w 825500"/>
                  <a:gd name="connsiteY126" fmla="*/ 401638 h 744538"/>
                  <a:gd name="connsiteX127" fmla="*/ 314325 w 825500"/>
                  <a:gd name="connsiteY127" fmla="*/ 398463 h 744538"/>
                  <a:gd name="connsiteX128" fmla="*/ 295275 w 825500"/>
                  <a:gd name="connsiteY128" fmla="*/ 396875 h 744538"/>
                  <a:gd name="connsiteX129" fmla="*/ 288925 w 825500"/>
                  <a:gd name="connsiteY129" fmla="*/ 396875 h 744538"/>
                  <a:gd name="connsiteX130" fmla="*/ 277812 w 825500"/>
                  <a:gd name="connsiteY130" fmla="*/ 407988 h 744538"/>
                  <a:gd name="connsiteX131" fmla="*/ 261937 w 825500"/>
                  <a:gd name="connsiteY131" fmla="*/ 414338 h 744538"/>
                  <a:gd name="connsiteX132" fmla="*/ 255587 w 825500"/>
                  <a:gd name="connsiteY132" fmla="*/ 420688 h 744538"/>
                  <a:gd name="connsiteX133" fmla="*/ 252412 w 825500"/>
                  <a:gd name="connsiteY133" fmla="*/ 417513 h 744538"/>
                  <a:gd name="connsiteX134" fmla="*/ 242887 w 825500"/>
                  <a:gd name="connsiteY134" fmla="*/ 417513 h 744538"/>
                  <a:gd name="connsiteX135" fmla="*/ 234950 w 825500"/>
                  <a:gd name="connsiteY135" fmla="*/ 414338 h 744538"/>
                  <a:gd name="connsiteX136" fmla="*/ 228600 w 825500"/>
                  <a:gd name="connsiteY136" fmla="*/ 417513 h 744538"/>
                  <a:gd name="connsiteX137" fmla="*/ 225425 w 825500"/>
                  <a:gd name="connsiteY137" fmla="*/ 420688 h 744538"/>
                  <a:gd name="connsiteX138" fmla="*/ 222250 w 825500"/>
                  <a:gd name="connsiteY138" fmla="*/ 420688 h 744538"/>
                  <a:gd name="connsiteX139" fmla="*/ 222250 w 825500"/>
                  <a:gd name="connsiteY139" fmla="*/ 430213 h 744538"/>
                  <a:gd name="connsiteX140" fmla="*/ 222250 w 825500"/>
                  <a:gd name="connsiteY140" fmla="*/ 433388 h 744538"/>
                  <a:gd name="connsiteX141" fmla="*/ 215900 w 825500"/>
                  <a:gd name="connsiteY141" fmla="*/ 444500 h 744538"/>
                  <a:gd name="connsiteX142" fmla="*/ 206375 w 825500"/>
                  <a:gd name="connsiteY142" fmla="*/ 454025 h 744538"/>
                  <a:gd name="connsiteX143" fmla="*/ 201612 w 825500"/>
                  <a:gd name="connsiteY143" fmla="*/ 454025 h 744538"/>
                  <a:gd name="connsiteX144" fmla="*/ 192087 w 825500"/>
                  <a:gd name="connsiteY144" fmla="*/ 466725 h 744538"/>
                  <a:gd name="connsiteX145" fmla="*/ 198437 w 825500"/>
                  <a:gd name="connsiteY145" fmla="*/ 469900 h 744538"/>
                  <a:gd name="connsiteX146" fmla="*/ 209550 w 825500"/>
                  <a:gd name="connsiteY146" fmla="*/ 469900 h 744538"/>
                  <a:gd name="connsiteX147" fmla="*/ 215900 w 825500"/>
                  <a:gd name="connsiteY147" fmla="*/ 473075 h 744538"/>
                  <a:gd name="connsiteX148" fmla="*/ 219075 w 825500"/>
                  <a:gd name="connsiteY148" fmla="*/ 473075 h 744538"/>
                  <a:gd name="connsiteX149" fmla="*/ 234950 w 825500"/>
                  <a:gd name="connsiteY149" fmla="*/ 481013 h 744538"/>
                  <a:gd name="connsiteX150" fmla="*/ 238125 w 825500"/>
                  <a:gd name="connsiteY150" fmla="*/ 484188 h 744538"/>
                  <a:gd name="connsiteX151" fmla="*/ 238125 w 825500"/>
                  <a:gd name="connsiteY151" fmla="*/ 490538 h 744538"/>
                  <a:gd name="connsiteX152" fmla="*/ 234950 w 825500"/>
                  <a:gd name="connsiteY152" fmla="*/ 490538 h 744538"/>
                  <a:gd name="connsiteX153" fmla="*/ 231775 w 825500"/>
                  <a:gd name="connsiteY153" fmla="*/ 493713 h 744538"/>
                  <a:gd name="connsiteX154" fmla="*/ 231775 w 825500"/>
                  <a:gd name="connsiteY154" fmla="*/ 500063 h 744538"/>
                  <a:gd name="connsiteX155" fmla="*/ 215900 w 825500"/>
                  <a:gd name="connsiteY155" fmla="*/ 506413 h 744538"/>
                  <a:gd name="connsiteX156" fmla="*/ 212725 w 825500"/>
                  <a:gd name="connsiteY156" fmla="*/ 514350 h 744538"/>
                  <a:gd name="connsiteX157" fmla="*/ 219075 w 825500"/>
                  <a:gd name="connsiteY157" fmla="*/ 527050 h 744538"/>
                  <a:gd name="connsiteX158" fmla="*/ 222250 w 825500"/>
                  <a:gd name="connsiteY158" fmla="*/ 530225 h 744538"/>
                  <a:gd name="connsiteX159" fmla="*/ 228600 w 825500"/>
                  <a:gd name="connsiteY159" fmla="*/ 530225 h 744538"/>
                  <a:gd name="connsiteX160" fmla="*/ 238125 w 825500"/>
                  <a:gd name="connsiteY160" fmla="*/ 527050 h 744538"/>
                  <a:gd name="connsiteX161" fmla="*/ 252412 w 825500"/>
                  <a:gd name="connsiteY161" fmla="*/ 527050 h 744538"/>
                  <a:gd name="connsiteX162" fmla="*/ 258762 w 825500"/>
                  <a:gd name="connsiteY162" fmla="*/ 527050 h 744538"/>
                  <a:gd name="connsiteX163" fmla="*/ 271462 w 825500"/>
                  <a:gd name="connsiteY163" fmla="*/ 530225 h 744538"/>
                  <a:gd name="connsiteX164" fmla="*/ 274637 w 825500"/>
                  <a:gd name="connsiteY164" fmla="*/ 533400 h 744538"/>
                  <a:gd name="connsiteX165" fmla="*/ 274637 w 825500"/>
                  <a:gd name="connsiteY165" fmla="*/ 549275 h 744538"/>
                  <a:gd name="connsiteX166" fmla="*/ 265112 w 825500"/>
                  <a:gd name="connsiteY166" fmla="*/ 554038 h 744538"/>
                  <a:gd name="connsiteX167" fmla="*/ 252412 w 825500"/>
                  <a:gd name="connsiteY167" fmla="*/ 560388 h 744538"/>
                  <a:gd name="connsiteX168" fmla="*/ 234950 w 825500"/>
                  <a:gd name="connsiteY168" fmla="*/ 563563 h 744538"/>
                  <a:gd name="connsiteX169" fmla="*/ 228600 w 825500"/>
                  <a:gd name="connsiteY169" fmla="*/ 573088 h 744538"/>
                  <a:gd name="connsiteX170" fmla="*/ 215900 w 825500"/>
                  <a:gd name="connsiteY170" fmla="*/ 579438 h 744538"/>
                  <a:gd name="connsiteX171" fmla="*/ 219075 w 825500"/>
                  <a:gd name="connsiteY171" fmla="*/ 590550 h 744538"/>
                  <a:gd name="connsiteX172" fmla="*/ 228600 w 825500"/>
                  <a:gd name="connsiteY172" fmla="*/ 600075 h 744538"/>
                  <a:gd name="connsiteX173" fmla="*/ 231775 w 825500"/>
                  <a:gd name="connsiteY173" fmla="*/ 609601 h 744538"/>
                  <a:gd name="connsiteX174" fmla="*/ 234950 w 825500"/>
                  <a:gd name="connsiteY174" fmla="*/ 609601 h 744538"/>
                  <a:gd name="connsiteX175" fmla="*/ 241300 w 825500"/>
                  <a:gd name="connsiteY175" fmla="*/ 603250 h 744538"/>
                  <a:gd name="connsiteX176" fmla="*/ 242887 w 825500"/>
                  <a:gd name="connsiteY176" fmla="*/ 606426 h 744538"/>
                  <a:gd name="connsiteX177" fmla="*/ 246062 w 825500"/>
                  <a:gd name="connsiteY177" fmla="*/ 612776 h 744538"/>
                  <a:gd name="connsiteX178" fmla="*/ 252412 w 825500"/>
                  <a:gd name="connsiteY178" fmla="*/ 619126 h 744538"/>
                  <a:gd name="connsiteX179" fmla="*/ 252412 w 825500"/>
                  <a:gd name="connsiteY179" fmla="*/ 630238 h 744538"/>
                  <a:gd name="connsiteX180" fmla="*/ 255587 w 825500"/>
                  <a:gd name="connsiteY180" fmla="*/ 636588 h 744538"/>
                  <a:gd name="connsiteX181" fmla="*/ 246062 w 825500"/>
                  <a:gd name="connsiteY181" fmla="*/ 649288 h 744538"/>
                  <a:gd name="connsiteX182" fmla="*/ 241300 w 825500"/>
                  <a:gd name="connsiteY182" fmla="*/ 655638 h 744538"/>
                  <a:gd name="connsiteX183" fmla="*/ 234950 w 825500"/>
                  <a:gd name="connsiteY183" fmla="*/ 658813 h 744538"/>
                  <a:gd name="connsiteX184" fmla="*/ 225425 w 825500"/>
                  <a:gd name="connsiteY184" fmla="*/ 658813 h 744538"/>
                  <a:gd name="connsiteX185" fmla="*/ 222250 w 825500"/>
                  <a:gd name="connsiteY185" fmla="*/ 661988 h 744538"/>
                  <a:gd name="connsiteX186" fmla="*/ 222250 w 825500"/>
                  <a:gd name="connsiteY186" fmla="*/ 668338 h 744538"/>
                  <a:gd name="connsiteX187" fmla="*/ 225425 w 825500"/>
                  <a:gd name="connsiteY187" fmla="*/ 669926 h 744538"/>
                  <a:gd name="connsiteX188" fmla="*/ 241300 w 825500"/>
                  <a:gd name="connsiteY188" fmla="*/ 673101 h 744538"/>
                  <a:gd name="connsiteX189" fmla="*/ 242887 w 825500"/>
                  <a:gd name="connsiteY189" fmla="*/ 676276 h 744538"/>
                  <a:gd name="connsiteX190" fmla="*/ 249237 w 825500"/>
                  <a:gd name="connsiteY190" fmla="*/ 685801 h 744538"/>
                  <a:gd name="connsiteX191" fmla="*/ 255587 w 825500"/>
                  <a:gd name="connsiteY191" fmla="*/ 692151 h 744538"/>
                  <a:gd name="connsiteX192" fmla="*/ 268287 w 825500"/>
                  <a:gd name="connsiteY192" fmla="*/ 695326 h 744538"/>
                  <a:gd name="connsiteX193" fmla="*/ 280987 w 825500"/>
                  <a:gd name="connsiteY193" fmla="*/ 704851 h 744538"/>
                  <a:gd name="connsiteX194" fmla="*/ 285750 w 825500"/>
                  <a:gd name="connsiteY194" fmla="*/ 704851 h 744538"/>
                  <a:gd name="connsiteX195" fmla="*/ 285750 w 825500"/>
                  <a:gd name="connsiteY195" fmla="*/ 715963 h 744538"/>
                  <a:gd name="connsiteX196" fmla="*/ 288925 w 825500"/>
                  <a:gd name="connsiteY196" fmla="*/ 719138 h 744538"/>
                  <a:gd name="connsiteX197" fmla="*/ 285750 w 825500"/>
                  <a:gd name="connsiteY197" fmla="*/ 719138 h 744538"/>
                  <a:gd name="connsiteX198" fmla="*/ 288925 w 825500"/>
                  <a:gd name="connsiteY198" fmla="*/ 722313 h 744538"/>
                  <a:gd name="connsiteX199" fmla="*/ 285750 w 825500"/>
                  <a:gd name="connsiteY199" fmla="*/ 728663 h 744538"/>
                  <a:gd name="connsiteX200" fmla="*/ 288925 w 825500"/>
                  <a:gd name="connsiteY200" fmla="*/ 731838 h 744538"/>
                  <a:gd name="connsiteX201" fmla="*/ 288925 w 825500"/>
                  <a:gd name="connsiteY201" fmla="*/ 741363 h 744538"/>
                  <a:gd name="connsiteX202" fmla="*/ 274637 w 825500"/>
                  <a:gd name="connsiteY202" fmla="*/ 744538 h 744538"/>
                  <a:gd name="connsiteX203" fmla="*/ 268287 w 825500"/>
                  <a:gd name="connsiteY203" fmla="*/ 741363 h 744538"/>
                  <a:gd name="connsiteX204" fmla="*/ 265112 w 825500"/>
                  <a:gd name="connsiteY204" fmla="*/ 735013 h 744538"/>
                  <a:gd name="connsiteX205" fmla="*/ 252412 w 825500"/>
                  <a:gd name="connsiteY205" fmla="*/ 731838 h 744538"/>
                  <a:gd name="connsiteX206" fmla="*/ 252412 w 825500"/>
                  <a:gd name="connsiteY206" fmla="*/ 728663 h 744538"/>
                  <a:gd name="connsiteX207" fmla="*/ 246062 w 825500"/>
                  <a:gd name="connsiteY207" fmla="*/ 725488 h 744538"/>
                  <a:gd name="connsiteX208" fmla="*/ 242887 w 825500"/>
                  <a:gd name="connsiteY208" fmla="*/ 722313 h 744538"/>
                  <a:gd name="connsiteX209" fmla="*/ 228600 w 825500"/>
                  <a:gd name="connsiteY209" fmla="*/ 719138 h 744538"/>
                  <a:gd name="connsiteX210" fmla="*/ 225425 w 825500"/>
                  <a:gd name="connsiteY210" fmla="*/ 715963 h 744538"/>
                  <a:gd name="connsiteX211" fmla="*/ 215900 w 825500"/>
                  <a:gd name="connsiteY211" fmla="*/ 715963 h 744538"/>
                  <a:gd name="connsiteX212" fmla="*/ 219075 w 825500"/>
                  <a:gd name="connsiteY212" fmla="*/ 712788 h 744538"/>
                  <a:gd name="connsiteX213" fmla="*/ 212725 w 825500"/>
                  <a:gd name="connsiteY213" fmla="*/ 709613 h 744538"/>
                  <a:gd name="connsiteX214" fmla="*/ 212725 w 825500"/>
                  <a:gd name="connsiteY214" fmla="*/ 706438 h 744538"/>
                  <a:gd name="connsiteX215" fmla="*/ 206375 w 825500"/>
                  <a:gd name="connsiteY215" fmla="*/ 706438 h 744538"/>
                  <a:gd name="connsiteX216" fmla="*/ 201612 w 825500"/>
                  <a:gd name="connsiteY216" fmla="*/ 704851 h 744538"/>
                  <a:gd name="connsiteX217" fmla="*/ 188912 w 825500"/>
                  <a:gd name="connsiteY217" fmla="*/ 704851 h 744538"/>
                  <a:gd name="connsiteX218" fmla="*/ 182562 w 825500"/>
                  <a:gd name="connsiteY218" fmla="*/ 704851 h 744538"/>
                  <a:gd name="connsiteX219" fmla="*/ 176212 w 825500"/>
                  <a:gd name="connsiteY219" fmla="*/ 695326 h 744538"/>
                  <a:gd name="connsiteX220" fmla="*/ 169862 w 825500"/>
                  <a:gd name="connsiteY220" fmla="*/ 688976 h 744538"/>
                  <a:gd name="connsiteX221" fmla="*/ 161925 w 825500"/>
                  <a:gd name="connsiteY221" fmla="*/ 682626 h 744538"/>
                  <a:gd name="connsiteX222" fmla="*/ 165100 w 825500"/>
                  <a:gd name="connsiteY222" fmla="*/ 669926 h 744538"/>
                  <a:gd name="connsiteX223" fmla="*/ 161925 w 825500"/>
                  <a:gd name="connsiteY223" fmla="*/ 668338 h 744538"/>
                  <a:gd name="connsiteX224" fmla="*/ 158750 w 825500"/>
                  <a:gd name="connsiteY224" fmla="*/ 669926 h 744538"/>
                  <a:gd name="connsiteX225" fmla="*/ 161925 w 825500"/>
                  <a:gd name="connsiteY225" fmla="*/ 665163 h 744538"/>
                  <a:gd name="connsiteX226" fmla="*/ 155575 w 825500"/>
                  <a:gd name="connsiteY226" fmla="*/ 661988 h 744538"/>
                  <a:gd name="connsiteX227" fmla="*/ 152400 w 825500"/>
                  <a:gd name="connsiteY227" fmla="*/ 649288 h 744538"/>
                  <a:gd name="connsiteX228" fmla="*/ 152400 w 825500"/>
                  <a:gd name="connsiteY228" fmla="*/ 642938 h 744538"/>
                  <a:gd name="connsiteX229" fmla="*/ 149225 w 825500"/>
                  <a:gd name="connsiteY229" fmla="*/ 639763 h 744538"/>
                  <a:gd name="connsiteX230" fmla="*/ 155575 w 825500"/>
                  <a:gd name="connsiteY230" fmla="*/ 630238 h 744538"/>
                  <a:gd name="connsiteX231" fmla="*/ 152400 w 825500"/>
                  <a:gd name="connsiteY231" fmla="*/ 630238 h 744538"/>
                  <a:gd name="connsiteX232" fmla="*/ 155575 w 825500"/>
                  <a:gd name="connsiteY232" fmla="*/ 628651 h 744538"/>
                  <a:gd name="connsiteX233" fmla="*/ 161925 w 825500"/>
                  <a:gd name="connsiteY233" fmla="*/ 628651 h 744538"/>
                  <a:gd name="connsiteX234" fmla="*/ 155575 w 825500"/>
                  <a:gd name="connsiteY234" fmla="*/ 619126 h 744538"/>
                  <a:gd name="connsiteX235" fmla="*/ 161925 w 825500"/>
                  <a:gd name="connsiteY235" fmla="*/ 612776 h 744538"/>
                  <a:gd name="connsiteX236" fmla="*/ 158750 w 825500"/>
                  <a:gd name="connsiteY236" fmla="*/ 600075 h 744538"/>
                  <a:gd name="connsiteX237" fmla="*/ 152400 w 825500"/>
                  <a:gd name="connsiteY237" fmla="*/ 596900 h 744538"/>
                  <a:gd name="connsiteX238" fmla="*/ 155575 w 825500"/>
                  <a:gd name="connsiteY238" fmla="*/ 593725 h 744538"/>
                  <a:gd name="connsiteX239" fmla="*/ 152400 w 825500"/>
                  <a:gd name="connsiteY239" fmla="*/ 590550 h 744538"/>
                  <a:gd name="connsiteX240" fmla="*/ 158750 w 825500"/>
                  <a:gd name="connsiteY240" fmla="*/ 579438 h 744538"/>
                  <a:gd name="connsiteX241" fmla="*/ 152400 w 825500"/>
                  <a:gd name="connsiteY241" fmla="*/ 569913 h 744538"/>
                  <a:gd name="connsiteX242" fmla="*/ 158750 w 825500"/>
                  <a:gd name="connsiteY242" fmla="*/ 557213 h 744538"/>
                  <a:gd name="connsiteX243" fmla="*/ 158750 w 825500"/>
                  <a:gd name="connsiteY243" fmla="*/ 552450 h 744538"/>
                  <a:gd name="connsiteX244" fmla="*/ 152400 w 825500"/>
                  <a:gd name="connsiteY244" fmla="*/ 542925 h 744538"/>
                  <a:gd name="connsiteX245" fmla="*/ 146050 w 825500"/>
                  <a:gd name="connsiteY245" fmla="*/ 533400 h 744538"/>
                  <a:gd name="connsiteX246" fmla="*/ 146050 w 825500"/>
                  <a:gd name="connsiteY246" fmla="*/ 527050 h 744538"/>
                  <a:gd name="connsiteX247" fmla="*/ 146050 w 825500"/>
                  <a:gd name="connsiteY247" fmla="*/ 520700 h 744538"/>
                  <a:gd name="connsiteX248" fmla="*/ 142875 w 825500"/>
                  <a:gd name="connsiteY248" fmla="*/ 512763 h 744538"/>
                  <a:gd name="connsiteX249" fmla="*/ 146050 w 825500"/>
                  <a:gd name="connsiteY249" fmla="*/ 496888 h 744538"/>
                  <a:gd name="connsiteX250" fmla="*/ 142875 w 825500"/>
                  <a:gd name="connsiteY250" fmla="*/ 487363 h 744538"/>
                  <a:gd name="connsiteX251" fmla="*/ 142875 w 825500"/>
                  <a:gd name="connsiteY251" fmla="*/ 481013 h 744538"/>
                  <a:gd name="connsiteX252" fmla="*/ 139700 w 825500"/>
                  <a:gd name="connsiteY252" fmla="*/ 484188 h 744538"/>
                  <a:gd name="connsiteX253" fmla="*/ 136525 w 825500"/>
                  <a:gd name="connsiteY253" fmla="*/ 473075 h 744538"/>
                  <a:gd name="connsiteX254" fmla="*/ 133350 w 825500"/>
                  <a:gd name="connsiteY254" fmla="*/ 473075 h 744538"/>
                  <a:gd name="connsiteX255" fmla="*/ 130175 w 825500"/>
                  <a:gd name="connsiteY255" fmla="*/ 469900 h 744538"/>
                  <a:gd name="connsiteX256" fmla="*/ 136525 w 825500"/>
                  <a:gd name="connsiteY256" fmla="*/ 457200 h 744538"/>
                  <a:gd name="connsiteX257" fmla="*/ 136525 w 825500"/>
                  <a:gd name="connsiteY257" fmla="*/ 441325 h 744538"/>
                  <a:gd name="connsiteX258" fmla="*/ 142875 w 825500"/>
                  <a:gd name="connsiteY258" fmla="*/ 436563 h 744538"/>
                  <a:gd name="connsiteX259" fmla="*/ 155575 w 825500"/>
                  <a:gd name="connsiteY259" fmla="*/ 433388 h 744538"/>
                  <a:gd name="connsiteX260" fmla="*/ 161925 w 825500"/>
                  <a:gd name="connsiteY260" fmla="*/ 430213 h 744538"/>
                  <a:gd name="connsiteX261" fmla="*/ 168275 w 825500"/>
                  <a:gd name="connsiteY261" fmla="*/ 433388 h 744538"/>
                  <a:gd name="connsiteX262" fmla="*/ 176212 w 825500"/>
                  <a:gd name="connsiteY262" fmla="*/ 436563 h 744538"/>
                  <a:gd name="connsiteX263" fmla="*/ 176212 w 825500"/>
                  <a:gd name="connsiteY263" fmla="*/ 430213 h 744538"/>
                  <a:gd name="connsiteX264" fmla="*/ 182562 w 825500"/>
                  <a:gd name="connsiteY264" fmla="*/ 420688 h 744538"/>
                  <a:gd name="connsiteX265" fmla="*/ 179387 w 825500"/>
                  <a:gd name="connsiteY265" fmla="*/ 417513 h 744538"/>
                  <a:gd name="connsiteX266" fmla="*/ 185737 w 825500"/>
                  <a:gd name="connsiteY266" fmla="*/ 407988 h 744538"/>
                  <a:gd name="connsiteX267" fmla="*/ 188912 w 825500"/>
                  <a:gd name="connsiteY267" fmla="*/ 398463 h 744538"/>
                  <a:gd name="connsiteX268" fmla="*/ 198437 w 825500"/>
                  <a:gd name="connsiteY268" fmla="*/ 396875 h 744538"/>
                  <a:gd name="connsiteX269" fmla="*/ 206375 w 825500"/>
                  <a:gd name="connsiteY269" fmla="*/ 396875 h 744538"/>
                  <a:gd name="connsiteX270" fmla="*/ 209550 w 825500"/>
                  <a:gd name="connsiteY270" fmla="*/ 393700 h 744538"/>
                  <a:gd name="connsiteX271" fmla="*/ 222250 w 825500"/>
                  <a:gd name="connsiteY271" fmla="*/ 393700 h 744538"/>
                  <a:gd name="connsiteX272" fmla="*/ 225425 w 825500"/>
                  <a:gd name="connsiteY272" fmla="*/ 390525 h 744538"/>
                  <a:gd name="connsiteX273" fmla="*/ 228600 w 825500"/>
                  <a:gd name="connsiteY273" fmla="*/ 387350 h 744538"/>
                  <a:gd name="connsiteX274" fmla="*/ 231775 w 825500"/>
                  <a:gd name="connsiteY274" fmla="*/ 384175 h 744538"/>
                  <a:gd name="connsiteX275" fmla="*/ 242887 w 825500"/>
                  <a:gd name="connsiteY275" fmla="*/ 377825 h 744538"/>
                  <a:gd name="connsiteX276" fmla="*/ 242887 w 825500"/>
                  <a:gd name="connsiteY276" fmla="*/ 374650 h 744538"/>
                  <a:gd name="connsiteX277" fmla="*/ 249237 w 825500"/>
                  <a:gd name="connsiteY277" fmla="*/ 371475 h 744538"/>
                  <a:gd name="connsiteX278" fmla="*/ 246062 w 825500"/>
                  <a:gd name="connsiteY278" fmla="*/ 368300 h 744538"/>
                  <a:gd name="connsiteX279" fmla="*/ 246062 w 825500"/>
                  <a:gd name="connsiteY279" fmla="*/ 361950 h 744538"/>
                  <a:gd name="connsiteX280" fmla="*/ 255587 w 825500"/>
                  <a:gd name="connsiteY280" fmla="*/ 357188 h 744538"/>
                  <a:gd name="connsiteX281" fmla="*/ 249237 w 825500"/>
                  <a:gd name="connsiteY281" fmla="*/ 350838 h 744538"/>
                  <a:gd name="connsiteX282" fmla="*/ 255587 w 825500"/>
                  <a:gd name="connsiteY282" fmla="*/ 341313 h 744538"/>
                  <a:gd name="connsiteX283" fmla="*/ 261937 w 825500"/>
                  <a:gd name="connsiteY283" fmla="*/ 341313 h 744538"/>
                  <a:gd name="connsiteX284" fmla="*/ 255587 w 825500"/>
                  <a:gd name="connsiteY284" fmla="*/ 338138 h 744538"/>
                  <a:gd name="connsiteX285" fmla="*/ 255587 w 825500"/>
                  <a:gd name="connsiteY285" fmla="*/ 334963 h 744538"/>
                  <a:gd name="connsiteX286" fmla="*/ 252412 w 825500"/>
                  <a:gd name="connsiteY286" fmla="*/ 334963 h 744538"/>
                  <a:gd name="connsiteX287" fmla="*/ 242887 w 825500"/>
                  <a:gd name="connsiteY287" fmla="*/ 334963 h 744538"/>
                  <a:gd name="connsiteX288" fmla="*/ 241300 w 825500"/>
                  <a:gd name="connsiteY288" fmla="*/ 328613 h 744538"/>
                  <a:gd name="connsiteX289" fmla="*/ 231775 w 825500"/>
                  <a:gd name="connsiteY289" fmla="*/ 331788 h 744538"/>
                  <a:gd name="connsiteX290" fmla="*/ 225425 w 825500"/>
                  <a:gd name="connsiteY290" fmla="*/ 322263 h 744538"/>
                  <a:gd name="connsiteX291" fmla="*/ 219075 w 825500"/>
                  <a:gd name="connsiteY291" fmla="*/ 325438 h 744538"/>
                  <a:gd name="connsiteX292" fmla="*/ 209550 w 825500"/>
                  <a:gd name="connsiteY292" fmla="*/ 320675 h 744538"/>
                  <a:gd name="connsiteX293" fmla="*/ 198437 w 825500"/>
                  <a:gd name="connsiteY293" fmla="*/ 322263 h 744538"/>
                  <a:gd name="connsiteX294" fmla="*/ 195262 w 825500"/>
                  <a:gd name="connsiteY294" fmla="*/ 314325 h 744538"/>
                  <a:gd name="connsiteX295" fmla="*/ 188912 w 825500"/>
                  <a:gd name="connsiteY295" fmla="*/ 304800 h 744538"/>
                  <a:gd name="connsiteX296" fmla="*/ 195262 w 825500"/>
                  <a:gd name="connsiteY296" fmla="*/ 292100 h 744538"/>
                  <a:gd name="connsiteX297" fmla="*/ 201612 w 825500"/>
                  <a:gd name="connsiteY297" fmla="*/ 282575 h 744538"/>
                  <a:gd name="connsiteX298" fmla="*/ 201612 w 825500"/>
                  <a:gd name="connsiteY298" fmla="*/ 280988 h 744538"/>
                  <a:gd name="connsiteX299" fmla="*/ 206375 w 825500"/>
                  <a:gd name="connsiteY299" fmla="*/ 274638 h 744538"/>
                  <a:gd name="connsiteX300" fmla="*/ 209550 w 825500"/>
                  <a:gd name="connsiteY300" fmla="*/ 271463 h 744538"/>
                  <a:gd name="connsiteX301" fmla="*/ 201612 w 825500"/>
                  <a:gd name="connsiteY301" fmla="*/ 271463 h 744538"/>
                  <a:gd name="connsiteX302" fmla="*/ 198437 w 825500"/>
                  <a:gd name="connsiteY302" fmla="*/ 268288 h 744538"/>
                  <a:gd name="connsiteX303" fmla="*/ 188912 w 825500"/>
                  <a:gd name="connsiteY303" fmla="*/ 268288 h 744538"/>
                  <a:gd name="connsiteX304" fmla="*/ 179387 w 825500"/>
                  <a:gd name="connsiteY304" fmla="*/ 265113 h 744538"/>
                  <a:gd name="connsiteX305" fmla="*/ 169862 w 825500"/>
                  <a:gd name="connsiteY305" fmla="*/ 268288 h 744538"/>
                  <a:gd name="connsiteX306" fmla="*/ 165100 w 825500"/>
                  <a:gd name="connsiteY306" fmla="*/ 265113 h 744538"/>
                  <a:gd name="connsiteX307" fmla="*/ 149225 w 825500"/>
                  <a:gd name="connsiteY307" fmla="*/ 268288 h 744538"/>
                  <a:gd name="connsiteX308" fmla="*/ 149225 w 825500"/>
                  <a:gd name="connsiteY308" fmla="*/ 261938 h 744538"/>
                  <a:gd name="connsiteX309" fmla="*/ 136525 w 825500"/>
                  <a:gd name="connsiteY309" fmla="*/ 255588 h 744538"/>
                  <a:gd name="connsiteX310" fmla="*/ 133350 w 825500"/>
                  <a:gd name="connsiteY310" fmla="*/ 246063 h 744538"/>
                  <a:gd name="connsiteX311" fmla="*/ 125412 w 825500"/>
                  <a:gd name="connsiteY311" fmla="*/ 244475 h 744538"/>
                  <a:gd name="connsiteX312" fmla="*/ 119062 w 825500"/>
                  <a:gd name="connsiteY312" fmla="*/ 246063 h 744538"/>
                  <a:gd name="connsiteX313" fmla="*/ 109537 w 825500"/>
                  <a:gd name="connsiteY313" fmla="*/ 241300 h 744538"/>
                  <a:gd name="connsiteX314" fmla="*/ 115887 w 825500"/>
                  <a:gd name="connsiteY314" fmla="*/ 228600 h 744538"/>
                  <a:gd name="connsiteX315" fmla="*/ 112712 w 825500"/>
                  <a:gd name="connsiteY315" fmla="*/ 215900 h 744538"/>
                  <a:gd name="connsiteX316" fmla="*/ 112712 w 825500"/>
                  <a:gd name="connsiteY316" fmla="*/ 212725 h 744538"/>
                  <a:gd name="connsiteX317" fmla="*/ 106362 w 825500"/>
                  <a:gd name="connsiteY317" fmla="*/ 215900 h 744538"/>
                  <a:gd name="connsiteX318" fmla="*/ 96837 w 825500"/>
                  <a:gd name="connsiteY318" fmla="*/ 209550 h 744538"/>
                  <a:gd name="connsiteX319" fmla="*/ 85725 w 825500"/>
                  <a:gd name="connsiteY319" fmla="*/ 215900 h 744538"/>
                  <a:gd name="connsiteX320" fmla="*/ 76200 w 825500"/>
                  <a:gd name="connsiteY320" fmla="*/ 209550 h 744538"/>
                  <a:gd name="connsiteX321" fmla="*/ 76200 w 825500"/>
                  <a:gd name="connsiteY321" fmla="*/ 212725 h 744538"/>
                  <a:gd name="connsiteX322" fmla="*/ 79375 w 825500"/>
                  <a:gd name="connsiteY322" fmla="*/ 215900 h 744538"/>
                  <a:gd name="connsiteX323" fmla="*/ 73025 w 825500"/>
                  <a:gd name="connsiteY323" fmla="*/ 215900 h 744538"/>
                  <a:gd name="connsiteX324" fmla="*/ 63500 w 825500"/>
                  <a:gd name="connsiteY324" fmla="*/ 219075 h 744538"/>
                  <a:gd name="connsiteX325" fmla="*/ 60325 w 825500"/>
                  <a:gd name="connsiteY325" fmla="*/ 212725 h 744538"/>
                  <a:gd name="connsiteX326" fmla="*/ 52387 w 825500"/>
                  <a:gd name="connsiteY326" fmla="*/ 206375 h 744538"/>
                  <a:gd name="connsiteX327" fmla="*/ 49212 w 825500"/>
                  <a:gd name="connsiteY327" fmla="*/ 215900 h 744538"/>
                  <a:gd name="connsiteX328" fmla="*/ 39687 w 825500"/>
                  <a:gd name="connsiteY328" fmla="*/ 219075 h 744538"/>
                  <a:gd name="connsiteX329" fmla="*/ 36512 w 825500"/>
                  <a:gd name="connsiteY329" fmla="*/ 212725 h 744538"/>
                  <a:gd name="connsiteX330" fmla="*/ 30162 w 825500"/>
                  <a:gd name="connsiteY330" fmla="*/ 212725 h 744538"/>
                  <a:gd name="connsiteX331" fmla="*/ 23812 w 825500"/>
                  <a:gd name="connsiteY331" fmla="*/ 215900 h 744538"/>
                  <a:gd name="connsiteX332" fmla="*/ 17462 w 825500"/>
                  <a:gd name="connsiteY332" fmla="*/ 209550 h 744538"/>
                  <a:gd name="connsiteX333" fmla="*/ 12700 w 825500"/>
                  <a:gd name="connsiteY333" fmla="*/ 212725 h 744538"/>
                  <a:gd name="connsiteX334" fmla="*/ 12700 w 825500"/>
                  <a:gd name="connsiteY334" fmla="*/ 209550 h 744538"/>
                  <a:gd name="connsiteX335" fmla="*/ 3175 w 825500"/>
                  <a:gd name="connsiteY335" fmla="*/ 206375 h 744538"/>
                  <a:gd name="connsiteX336" fmla="*/ 0 w 825500"/>
                  <a:gd name="connsiteY336" fmla="*/ 201613 h 744538"/>
                  <a:gd name="connsiteX337" fmla="*/ 9525 w 825500"/>
                  <a:gd name="connsiteY337" fmla="*/ 195263 h 744538"/>
                  <a:gd name="connsiteX338" fmla="*/ 12700 w 825500"/>
                  <a:gd name="connsiteY338" fmla="*/ 185738 h 744538"/>
                  <a:gd name="connsiteX339" fmla="*/ 6350 w 825500"/>
                  <a:gd name="connsiteY339" fmla="*/ 173038 h 744538"/>
                  <a:gd name="connsiteX340" fmla="*/ 6350 w 825500"/>
                  <a:gd name="connsiteY340" fmla="*/ 166688 h 744538"/>
                  <a:gd name="connsiteX341" fmla="*/ 12700 w 825500"/>
                  <a:gd name="connsiteY341" fmla="*/ 165100 h 744538"/>
                  <a:gd name="connsiteX342" fmla="*/ 12700 w 825500"/>
                  <a:gd name="connsiteY342" fmla="*/ 152400 h 744538"/>
                  <a:gd name="connsiteX343" fmla="*/ 15875 w 825500"/>
                  <a:gd name="connsiteY343" fmla="*/ 149225 h 744538"/>
                  <a:gd name="connsiteX344" fmla="*/ 17462 w 825500"/>
                  <a:gd name="connsiteY344" fmla="*/ 142875 h 744538"/>
                  <a:gd name="connsiteX345" fmla="*/ 20637 w 825500"/>
                  <a:gd name="connsiteY345" fmla="*/ 139700 h 744538"/>
                  <a:gd name="connsiteX346" fmla="*/ 33337 w 825500"/>
                  <a:gd name="connsiteY346" fmla="*/ 146050 h 744538"/>
                  <a:gd name="connsiteX347" fmla="*/ 33337 w 825500"/>
                  <a:gd name="connsiteY347" fmla="*/ 139700 h 744538"/>
                  <a:gd name="connsiteX348" fmla="*/ 42862 w 825500"/>
                  <a:gd name="connsiteY348" fmla="*/ 136525 h 744538"/>
                  <a:gd name="connsiteX349" fmla="*/ 46037 w 825500"/>
                  <a:gd name="connsiteY349" fmla="*/ 136525 h 744538"/>
                  <a:gd name="connsiteX350" fmla="*/ 57150 w 825500"/>
                  <a:gd name="connsiteY350" fmla="*/ 125413 h 744538"/>
                  <a:gd name="connsiteX351" fmla="*/ 63500 w 825500"/>
                  <a:gd name="connsiteY351" fmla="*/ 125413 h 744538"/>
                  <a:gd name="connsiteX352" fmla="*/ 66675 w 825500"/>
                  <a:gd name="connsiteY352" fmla="*/ 122238 h 744538"/>
                  <a:gd name="connsiteX353" fmla="*/ 63500 w 825500"/>
                  <a:gd name="connsiteY353" fmla="*/ 112713 h 744538"/>
                  <a:gd name="connsiteX354" fmla="*/ 73025 w 825500"/>
                  <a:gd name="connsiteY354" fmla="*/ 109538 h 744538"/>
                  <a:gd name="connsiteX355" fmla="*/ 85725 w 825500"/>
                  <a:gd name="connsiteY355" fmla="*/ 109538 h 744538"/>
                  <a:gd name="connsiteX356" fmla="*/ 88900 w 825500"/>
                  <a:gd name="connsiteY356" fmla="*/ 100013 h 744538"/>
                  <a:gd name="connsiteX357" fmla="*/ 96837 w 825500"/>
                  <a:gd name="connsiteY357" fmla="*/ 93662 h 744538"/>
                  <a:gd name="connsiteX358" fmla="*/ 106362 w 825500"/>
                  <a:gd name="connsiteY358" fmla="*/ 82550 h 744538"/>
                  <a:gd name="connsiteX359" fmla="*/ 103187 w 825500"/>
                  <a:gd name="connsiteY359" fmla="*/ 79375 h 744538"/>
                  <a:gd name="connsiteX360" fmla="*/ 100012 w 825500"/>
                  <a:gd name="connsiteY360" fmla="*/ 66675 h 744538"/>
                  <a:gd name="connsiteX361" fmla="*/ 109537 w 825500"/>
                  <a:gd name="connsiteY361" fmla="*/ 69850 h 744538"/>
                  <a:gd name="connsiteX362" fmla="*/ 122237 w 825500"/>
                  <a:gd name="connsiteY362" fmla="*/ 63500 h 744538"/>
                  <a:gd name="connsiteX363" fmla="*/ 125412 w 825500"/>
                  <a:gd name="connsiteY363" fmla="*/ 66675 h 744538"/>
                  <a:gd name="connsiteX364" fmla="*/ 130175 w 825500"/>
                  <a:gd name="connsiteY364" fmla="*/ 66675 h 744538"/>
                  <a:gd name="connsiteX365" fmla="*/ 130175 w 825500"/>
                  <a:gd name="connsiteY365" fmla="*/ 63500 h 744538"/>
                  <a:gd name="connsiteX366" fmla="*/ 139700 w 825500"/>
                  <a:gd name="connsiteY366" fmla="*/ 66675 h 744538"/>
                  <a:gd name="connsiteX367" fmla="*/ 149225 w 825500"/>
                  <a:gd name="connsiteY367" fmla="*/ 63500 h 744538"/>
                  <a:gd name="connsiteX368" fmla="*/ 149225 w 825500"/>
                  <a:gd name="connsiteY368" fmla="*/ 60325 h 744538"/>
                  <a:gd name="connsiteX369" fmla="*/ 161925 w 825500"/>
                  <a:gd name="connsiteY369" fmla="*/ 57150 h 744538"/>
                  <a:gd name="connsiteX370" fmla="*/ 173037 w 825500"/>
                  <a:gd name="connsiteY370" fmla="*/ 63500 h 744538"/>
                  <a:gd name="connsiteX371" fmla="*/ 185737 w 825500"/>
                  <a:gd name="connsiteY371" fmla="*/ 63500 h 744538"/>
                  <a:gd name="connsiteX372" fmla="*/ 188912 w 825500"/>
                  <a:gd name="connsiteY372" fmla="*/ 66675 h 744538"/>
                  <a:gd name="connsiteX373" fmla="*/ 204787 w 825500"/>
                  <a:gd name="connsiteY373" fmla="*/ 69850 h 744538"/>
                  <a:gd name="connsiteX374" fmla="*/ 209550 w 825500"/>
                  <a:gd name="connsiteY374" fmla="*/ 63500 h 744538"/>
                  <a:gd name="connsiteX375" fmla="*/ 219075 w 825500"/>
                  <a:gd name="connsiteY375" fmla="*/ 66675 h 744538"/>
                  <a:gd name="connsiteX376" fmla="*/ 228600 w 825500"/>
                  <a:gd name="connsiteY376" fmla="*/ 63500 h 744538"/>
                  <a:gd name="connsiteX377" fmla="*/ 234950 w 825500"/>
                  <a:gd name="connsiteY377" fmla="*/ 66675 h 744538"/>
                  <a:gd name="connsiteX378" fmla="*/ 238125 w 825500"/>
                  <a:gd name="connsiteY378" fmla="*/ 66675 h 744538"/>
                  <a:gd name="connsiteX379" fmla="*/ 238125 w 825500"/>
                  <a:gd name="connsiteY379" fmla="*/ 60325 h 744538"/>
                  <a:gd name="connsiteX380" fmla="*/ 234950 w 825500"/>
                  <a:gd name="connsiteY380" fmla="*/ 60325 h 744538"/>
                  <a:gd name="connsiteX381" fmla="*/ 238125 w 825500"/>
                  <a:gd name="connsiteY381" fmla="*/ 57150 h 744538"/>
                  <a:gd name="connsiteX382" fmla="*/ 234950 w 825500"/>
                  <a:gd name="connsiteY382" fmla="*/ 53975 h 744538"/>
                  <a:gd name="connsiteX383" fmla="*/ 225425 w 825500"/>
                  <a:gd name="connsiteY383" fmla="*/ 50800 h 744538"/>
                  <a:gd name="connsiteX384" fmla="*/ 222250 w 825500"/>
                  <a:gd name="connsiteY384" fmla="*/ 46037 h 744538"/>
                  <a:gd name="connsiteX385" fmla="*/ 219075 w 825500"/>
                  <a:gd name="connsiteY385" fmla="*/ 49212 h 744538"/>
                  <a:gd name="connsiteX386" fmla="*/ 206375 w 825500"/>
                  <a:gd name="connsiteY386" fmla="*/ 42862 h 744538"/>
                  <a:gd name="connsiteX387" fmla="*/ 209550 w 825500"/>
                  <a:gd name="connsiteY387" fmla="*/ 39687 h 744538"/>
                  <a:gd name="connsiteX388" fmla="*/ 204787 w 825500"/>
                  <a:gd name="connsiteY388" fmla="*/ 36512 h 744538"/>
                  <a:gd name="connsiteX389" fmla="*/ 204787 w 825500"/>
                  <a:gd name="connsiteY389" fmla="*/ 30162 h 744538"/>
                  <a:gd name="connsiteX390" fmla="*/ 219075 w 825500"/>
                  <a:gd name="connsiteY390" fmla="*/ 30162 h 744538"/>
                  <a:gd name="connsiteX391" fmla="*/ 228600 w 825500"/>
                  <a:gd name="connsiteY391" fmla="*/ 33337 h 744538"/>
                  <a:gd name="connsiteX392" fmla="*/ 234950 w 825500"/>
                  <a:gd name="connsiteY392" fmla="*/ 26987 h 744538"/>
                  <a:gd name="connsiteX393" fmla="*/ 241300 w 825500"/>
                  <a:gd name="connsiteY393" fmla="*/ 30162 h 744538"/>
                  <a:gd name="connsiteX394" fmla="*/ 242887 w 825500"/>
                  <a:gd name="connsiteY394" fmla="*/ 33337 h 744538"/>
                  <a:gd name="connsiteX395" fmla="*/ 241300 w 825500"/>
                  <a:gd name="connsiteY395" fmla="*/ 36512 h 744538"/>
                  <a:gd name="connsiteX396" fmla="*/ 246062 w 825500"/>
                  <a:gd name="connsiteY396" fmla="*/ 36512 h 744538"/>
                  <a:gd name="connsiteX397" fmla="*/ 252412 w 825500"/>
                  <a:gd name="connsiteY397" fmla="*/ 42862 h 744538"/>
                  <a:gd name="connsiteX398" fmla="*/ 265112 w 825500"/>
                  <a:gd name="connsiteY398" fmla="*/ 46037 h 744538"/>
                  <a:gd name="connsiteX399" fmla="*/ 268287 w 825500"/>
                  <a:gd name="connsiteY399" fmla="*/ 42862 h 744538"/>
                  <a:gd name="connsiteX400" fmla="*/ 277812 w 825500"/>
                  <a:gd name="connsiteY400" fmla="*/ 42862 h 744538"/>
                  <a:gd name="connsiteX401" fmla="*/ 282575 w 825500"/>
                  <a:gd name="connsiteY401" fmla="*/ 33337 h 744538"/>
                  <a:gd name="connsiteX402" fmla="*/ 285750 w 825500"/>
                  <a:gd name="connsiteY402" fmla="*/ 30162 h 744538"/>
                  <a:gd name="connsiteX403" fmla="*/ 298450 w 825500"/>
                  <a:gd name="connsiteY403" fmla="*/ 33337 h 744538"/>
                  <a:gd name="connsiteX404" fmla="*/ 307975 w 825500"/>
                  <a:gd name="connsiteY404" fmla="*/ 30162 h 744538"/>
                  <a:gd name="connsiteX405" fmla="*/ 317500 w 825500"/>
                  <a:gd name="connsiteY405" fmla="*/ 20637 h 744538"/>
                  <a:gd name="connsiteX406" fmla="*/ 328612 w 825500"/>
                  <a:gd name="connsiteY406" fmla="*/ 17462 h 744538"/>
                  <a:gd name="connsiteX407" fmla="*/ 328612 w 825500"/>
                  <a:gd name="connsiteY407" fmla="*/ 12700 h 744538"/>
                  <a:gd name="connsiteX408" fmla="*/ 341312 w 825500"/>
                  <a:gd name="connsiteY408" fmla="*/ 17462 h 744538"/>
                  <a:gd name="connsiteX409" fmla="*/ 341312 w 825500"/>
                  <a:gd name="connsiteY409" fmla="*/ 20637 h 744538"/>
                  <a:gd name="connsiteX410" fmla="*/ 347662 w 825500"/>
                  <a:gd name="connsiteY410" fmla="*/ 20637 h 744538"/>
                  <a:gd name="connsiteX411" fmla="*/ 344487 w 825500"/>
                  <a:gd name="connsiteY411" fmla="*/ 12700 h 744538"/>
                  <a:gd name="connsiteX412" fmla="*/ 358775 w 825500"/>
                  <a:gd name="connsiteY412" fmla="*/ 9525 h 74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Lst>
                <a:rect l="l" t="t" r="r" b="b"/>
                <a:pathLst>
                  <a:path w="825500" h="744538">
                    <a:moveTo>
                      <a:pt x="374650" y="0"/>
                    </a:moveTo>
                    <a:lnTo>
                      <a:pt x="381000" y="12700"/>
                    </a:lnTo>
                    <a:lnTo>
                      <a:pt x="387350" y="12700"/>
                    </a:lnTo>
                    <a:lnTo>
                      <a:pt x="390525" y="6350"/>
                    </a:lnTo>
                    <a:lnTo>
                      <a:pt x="398462" y="6350"/>
                    </a:lnTo>
                    <a:lnTo>
                      <a:pt x="398462" y="12700"/>
                    </a:lnTo>
                    <a:lnTo>
                      <a:pt x="404812" y="26987"/>
                    </a:lnTo>
                    <a:lnTo>
                      <a:pt x="411162" y="26987"/>
                    </a:lnTo>
                    <a:lnTo>
                      <a:pt x="411162" y="20637"/>
                    </a:lnTo>
                    <a:lnTo>
                      <a:pt x="417512" y="17462"/>
                    </a:lnTo>
                    <a:lnTo>
                      <a:pt x="430212" y="12700"/>
                    </a:lnTo>
                    <a:lnTo>
                      <a:pt x="441325" y="12700"/>
                    </a:lnTo>
                    <a:lnTo>
                      <a:pt x="447675" y="9525"/>
                    </a:lnTo>
                    <a:lnTo>
                      <a:pt x="450850" y="12700"/>
                    </a:lnTo>
                    <a:lnTo>
                      <a:pt x="450850" y="17462"/>
                    </a:lnTo>
                    <a:lnTo>
                      <a:pt x="463550" y="20637"/>
                    </a:lnTo>
                    <a:lnTo>
                      <a:pt x="471487" y="17462"/>
                    </a:lnTo>
                    <a:lnTo>
                      <a:pt x="484187" y="23812"/>
                    </a:lnTo>
                    <a:lnTo>
                      <a:pt x="490537" y="20637"/>
                    </a:lnTo>
                    <a:lnTo>
                      <a:pt x="487362" y="30162"/>
                    </a:lnTo>
                    <a:lnTo>
                      <a:pt x="493712" y="33337"/>
                    </a:lnTo>
                    <a:lnTo>
                      <a:pt x="493712" y="42862"/>
                    </a:lnTo>
                    <a:lnTo>
                      <a:pt x="490537" y="50800"/>
                    </a:lnTo>
                    <a:lnTo>
                      <a:pt x="496887" y="60325"/>
                    </a:lnTo>
                    <a:lnTo>
                      <a:pt x="500062" y="63500"/>
                    </a:lnTo>
                    <a:lnTo>
                      <a:pt x="503237" y="60325"/>
                    </a:lnTo>
                    <a:lnTo>
                      <a:pt x="508000" y="63500"/>
                    </a:lnTo>
                    <a:lnTo>
                      <a:pt x="508000" y="53975"/>
                    </a:lnTo>
                    <a:lnTo>
                      <a:pt x="527050" y="53975"/>
                    </a:lnTo>
                    <a:lnTo>
                      <a:pt x="536575" y="57150"/>
                    </a:lnTo>
                    <a:lnTo>
                      <a:pt x="542925" y="57150"/>
                    </a:lnTo>
                    <a:lnTo>
                      <a:pt x="554038" y="63500"/>
                    </a:lnTo>
                    <a:lnTo>
                      <a:pt x="560388" y="69850"/>
                    </a:lnTo>
                    <a:lnTo>
                      <a:pt x="563563" y="73025"/>
                    </a:lnTo>
                    <a:lnTo>
                      <a:pt x="566738" y="76200"/>
                    </a:lnTo>
                    <a:lnTo>
                      <a:pt x="576263" y="82550"/>
                    </a:lnTo>
                    <a:lnTo>
                      <a:pt x="573088" y="88900"/>
                    </a:lnTo>
                    <a:lnTo>
                      <a:pt x="576263" y="90487"/>
                    </a:lnTo>
                    <a:lnTo>
                      <a:pt x="606425" y="103188"/>
                    </a:lnTo>
                    <a:lnTo>
                      <a:pt x="623888" y="119063"/>
                    </a:lnTo>
                    <a:lnTo>
                      <a:pt x="630238" y="122238"/>
                    </a:lnTo>
                    <a:lnTo>
                      <a:pt x="636588" y="122238"/>
                    </a:lnTo>
                    <a:lnTo>
                      <a:pt x="655638" y="125413"/>
                    </a:lnTo>
                    <a:lnTo>
                      <a:pt x="658813" y="133350"/>
                    </a:lnTo>
                    <a:lnTo>
                      <a:pt x="669925" y="149225"/>
                    </a:lnTo>
                    <a:lnTo>
                      <a:pt x="688975" y="155575"/>
                    </a:lnTo>
                    <a:lnTo>
                      <a:pt x="703263" y="165100"/>
                    </a:lnTo>
                    <a:lnTo>
                      <a:pt x="712788" y="169863"/>
                    </a:lnTo>
                    <a:lnTo>
                      <a:pt x="709613" y="179388"/>
                    </a:lnTo>
                    <a:lnTo>
                      <a:pt x="703263" y="188913"/>
                    </a:lnTo>
                    <a:lnTo>
                      <a:pt x="703263" y="195263"/>
                    </a:lnTo>
                    <a:lnTo>
                      <a:pt x="731838" y="215900"/>
                    </a:lnTo>
                    <a:lnTo>
                      <a:pt x="746125" y="222250"/>
                    </a:lnTo>
                    <a:lnTo>
                      <a:pt x="765175" y="222250"/>
                    </a:lnTo>
                    <a:lnTo>
                      <a:pt x="776288" y="222250"/>
                    </a:lnTo>
                    <a:lnTo>
                      <a:pt x="785813" y="231775"/>
                    </a:lnTo>
                    <a:lnTo>
                      <a:pt x="801688" y="234950"/>
                    </a:lnTo>
                    <a:lnTo>
                      <a:pt x="809625" y="234950"/>
                    </a:lnTo>
                    <a:lnTo>
                      <a:pt x="819150" y="244475"/>
                    </a:lnTo>
                    <a:lnTo>
                      <a:pt x="819150" y="252413"/>
                    </a:lnTo>
                    <a:lnTo>
                      <a:pt x="825500" y="258763"/>
                    </a:lnTo>
                    <a:lnTo>
                      <a:pt x="822325" y="265113"/>
                    </a:lnTo>
                    <a:lnTo>
                      <a:pt x="809625" y="258763"/>
                    </a:lnTo>
                    <a:lnTo>
                      <a:pt x="804863" y="258763"/>
                    </a:lnTo>
                    <a:lnTo>
                      <a:pt x="798513" y="261938"/>
                    </a:lnTo>
                    <a:lnTo>
                      <a:pt x="795338" y="271463"/>
                    </a:lnTo>
                    <a:lnTo>
                      <a:pt x="795338" y="268288"/>
                    </a:lnTo>
                    <a:lnTo>
                      <a:pt x="789623" y="265430"/>
                    </a:lnTo>
                    <a:lnTo>
                      <a:pt x="792956" y="269875"/>
                    </a:lnTo>
                    <a:lnTo>
                      <a:pt x="791789" y="270576"/>
                    </a:lnTo>
                    <a:lnTo>
                      <a:pt x="795338" y="271463"/>
                    </a:lnTo>
                    <a:lnTo>
                      <a:pt x="795338" y="274638"/>
                    </a:lnTo>
                    <a:lnTo>
                      <a:pt x="788988" y="288925"/>
                    </a:lnTo>
                    <a:lnTo>
                      <a:pt x="782638" y="301625"/>
                    </a:lnTo>
                    <a:lnTo>
                      <a:pt x="779463" y="314325"/>
                    </a:lnTo>
                    <a:lnTo>
                      <a:pt x="773113" y="325438"/>
                    </a:lnTo>
                    <a:lnTo>
                      <a:pt x="773113" y="338138"/>
                    </a:lnTo>
                    <a:lnTo>
                      <a:pt x="771525" y="344488"/>
                    </a:lnTo>
                    <a:lnTo>
                      <a:pt x="762000" y="357188"/>
                    </a:lnTo>
                    <a:lnTo>
                      <a:pt x="758825" y="357188"/>
                    </a:lnTo>
                    <a:lnTo>
                      <a:pt x="755650" y="357188"/>
                    </a:lnTo>
                    <a:lnTo>
                      <a:pt x="739775" y="357188"/>
                    </a:lnTo>
                    <a:lnTo>
                      <a:pt x="739775" y="368300"/>
                    </a:lnTo>
                    <a:lnTo>
                      <a:pt x="733425" y="371475"/>
                    </a:lnTo>
                    <a:lnTo>
                      <a:pt x="728663" y="371475"/>
                    </a:lnTo>
                    <a:lnTo>
                      <a:pt x="715963" y="365125"/>
                    </a:lnTo>
                    <a:lnTo>
                      <a:pt x="706438" y="371475"/>
                    </a:lnTo>
                    <a:lnTo>
                      <a:pt x="696913" y="374650"/>
                    </a:lnTo>
                    <a:lnTo>
                      <a:pt x="695325" y="374650"/>
                    </a:lnTo>
                    <a:lnTo>
                      <a:pt x="695325" y="387350"/>
                    </a:lnTo>
                    <a:lnTo>
                      <a:pt x="692150" y="393700"/>
                    </a:lnTo>
                    <a:lnTo>
                      <a:pt x="679450" y="404813"/>
                    </a:lnTo>
                    <a:lnTo>
                      <a:pt x="673100" y="404813"/>
                    </a:lnTo>
                    <a:lnTo>
                      <a:pt x="660400" y="401638"/>
                    </a:lnTo>
                    <a:lnTo>
                      <a:pt x="649288" y="396875"/>
                    </a:lnTo>
                    <a:lnTo>
                      <a:pt x="636588" y="404813"/>
                    </a:lnTo>
                    <a:lnTo>
                      <a:pt x="619125" y="407988"/>
                    </a:lnTo>
                    <a:lnTo>
                      <a:pt x="609600" y="417513"/>
                    </a:lnTo>
                    <a:lnTo>
                      <a:pt x="596900" y="423863"/>
                    </a:lnTo>
                    <a:lnTo>
                      <a:pt x="587375" y="420688"/>
                    </a:lnTo>
                    <a:lnTo>
                      <a:pt x="579438" y="414338"/>
                    </a:lnTo>
                    <a:lnTo>
                      <a:pt x="576263" y="414338"/>
                    </a:lnTo>
                    <a:lnTo>
                      <a:pt x="563563" y="427038"/>
                    </a:lnTo>
                    <a:lnTo>
                      <a:pt x="557213" y="427038"/>
                    </a:lnTo>
                    <a:lnTo>
                      <a:pt x="542925" y="433388"/>
                    </a:lnTo>
                    <a:lnTo>
                      <a:pt x="527050" y="444500"/>
                    </a:lnTo>
                    <a:lnTo>
                      <a:pt x="520700" y="444500"/>
                    </a:lnTo>
                    <a:lnTo>
                      <a:pt x="508000" y="441325"/>
                    </a:lnTo>
                    <a:lnTo>
                      <a:pt x="500062" y="438150"/>
                    </a:lnTo>
                    <a:lnTo>
                      <a:pt x="481012" y="438150"/>
                    </a:lnTo>
                    <a:lnTo>
                      <a:pt x="474662" y="438150"/>
                    </a:lnTo>
                    <a:lnTo>
                      <a:pt x="457200" y="438150"/>
                    </a:lnTo>
                    <a:lnTo>
                      <a:pt x="457200" y="436563"/>
                    </a:lnTo>
                    <a:lnTo>
                      <a:pt x="441325" y="427038"/>
                    </a:lnTo>
                    <a:lnTo>
                      <a:pt x="444500" y="423863"/>
                    </a:lnTo>
                    <a:lnTo>
                      <a:pt x="438150" y="420688"/>
                    </a:lnTo>
                    <a:lnTo>
                      <a:pt x="423862" y="420688"/>
                    </a:lnTo>
                    <a:lnTo>
                      <a:pt x="411162" y="423863"/>
                    </a:lnTo>
                    <a:lnTo>
                      <a:pt x="404812" y="423863"/>
                    </a:lnTo>
                    <a:lnTo>
                      <a:pt x="390525" y="417513"/>
                    </a:lnTo>
                    <a:lnTo>
                      <a:pt x="387350" y="417513"/>
                    </a:lnTo>
                    <a:lnTo>
                      <a:pt x="381000" y="414338"/>
                    </a:lnTo>
                    <a:lnTo>
                      <a:pt x="365125" y="417513"/>
                    </a:lnTo>
                    <a:lnTo>
                      <a:pt x="354012" y="414338"/>
                    </a:lnTo>
                    <a:lnTo>
                      <a:pt x="341312" y="411163"/>
                    </a:lnTo>
                    <a:lnTo>
                      <a:pt x="334962" y="401638"/>
                    </a:lnTo>
                    <a:lnTo>
                      <a:pt x="317500" y="401638"/>
                    </a:lnTo>
                    <a:lnTo>
                      <a:pt x="314325" y="398463"/>
                    </a:lnTo>
                    <a:lnTo>
                      <a:pt x="295275" y="396875"/>
                    </a:lnTo>
                    <a:lnTo>
                      <a:pt x="288925" y="396875"/>
                    </a:lnTo>
                    <a:lnTo>
                      <a:pt x="277812" y="407988"/>
                    </a:lnTo>
                    <a:lnTo>
                      <a:pt x="261937" y="414338"/>
                    </a:lnTo>
                    <a:lnTo>
                      <a:pt x="255587" y="420688"/>
                    </a:lnTo>
                    <a:lnTo>
                      <a:pt x="252412" y="417513"/>
                    </a:lnTo>
                    <a:lnTo>
                      <a:pt x="242887" y="417513"/>
                    </a:lnTo>
                    <a:lnTo>
                      <a:pt x="234950" y="414338"/>
                    </a:lnTo>
                    <a:lnTo>
                      <a:pt x="228600" y="417513"/>
                    </a:lnTo>
                    <a:lnTo>
                      <a:pt x="225425" y="420688"/>
                    </a:lnTo>
                    <a:lnTo>
                      <a:pt x="222250" y="420688"/>
                    </a:lnTo>
                    <a:lnTo>
                      <a:pt x="222250" y="430213"/>
                    </a:lnTo>
                    <a:lnTo>
                      <a:pt x="222250" y="433388"/>
                    </a:lnTo>
                    <a:lnTo>
                      <a:pt x="215900" y="444500"/>
                    </a:lnTo>
                    <a:lnTo>
                      <a:pt x="206375" y="454025"/>
                    </a:lnTo>
                    <a:lnTo>
                      <a:pt x="201612" y="454025"/>
                    </a:lnTo>
                    <a:lnTo>
                      <a:pt x="192087" y="466725"/>
                    </a:lnTo>
                    <a:lnTo>
                      <a:pt x="198437" y="469900"/>
                    </a:lnTo>
                    <a:lnTo>
                      <a:pt x="209550" y="469900"/>
                    </a:lnTo>
                    <a:lnTo>
                      <a:pt x="215900" y="473075"/>
                    </a:lnTo>
                    <a:lnTo>
                      <a:pt x="219075" y="473075"/>
                    </a:lnTo>
                    <a:lnTo>
                      <a:pt x="234950" y="481013"/>
                    </a:lnTo>
                    <a:lnTo>
                      <a:pt x="238125" y="484188"/>
                    </a:lnTo>
                    <a:lnTo>
                      <a:pt x="238125" y="490538"/>
                    </a:lnTo>
                    <a:lnTo>
                      <a:pt x="234950" y="490538"/>
                    </a:lnTo>
                    <a:lnTo>
                      <a:pt x="231775" y="493713"/>
                    </a:lnTo>
                    <a:lnTo>
                      <a:pt x="231775" y="500063"/>
                    </a:lnTo>
                    <a:lnTo>
                      <a:pt x="215900" y="506413"/>
                    </a:lnTo>
                    <a:lnTo>
                      <a:pt x="212725" y="514350"/>
                    </a:lnTo>
                    <a:lnTo>
                      <a:pt x="219075" y="527050"/>
                    </a:lnTo>
                    <a:lnTo>
                      <a:pt x="222250" y="530225"/>
                    </a:lnTo>
                    <a:lnTo>
                      <a:pt x="228600" y="530225"/>
                    </a:lnTo>
                    <a:lnTo>
                      <a:pt x="238125" y="527050"/>
                    </a:lnTo>
                    <a:lnTo>
                      <a:pt x="252412" y="527050"/>
                    </a:lnTo>
                    <a:lnTo>
                      <a:pt x="258762" y="527050"/>
                    </a:lnTo>
                    <a:lnTo>
                      <a:pt x="271462" y="530225"/>
                    </a:lnTo>
                    <a:lnTo>
                      <a:pt x="274637" y="533400"/>
                    </a:lnTo>
                    <a:lnTo>
                      <a:pt x="274637" y="549275"/>
                    </a:lnTo>
                    <a:lnTo>
                      <a:pt x="265112" y="554038"/>
                    </a:lnTo>
                    <a:lnTo>
                      <a:pt x="252412" y="560388"/>
                    </a:lnTo>
                    <a:lnTo>
                      <a:pt x="234950" y="563563"/>
                    </a:lnTo>
                    <a:lnTo>
                      <a:pt x="228600" y="573088"/>
                    </a:lnTo>
                    <a:lnTo>
                      <a:pt x="215900" y="579438"/>
                    </a:lnTo>
                    <a:lnTo>
                      <a:pt x="219075" y="590550"/>
                    </a:lnTo>
                    <a:lnTo>
                      <a:pt x="228600" y="600075"/>
                    </a:lnTo>
                    <a:lnTo>
                      <a:pt x="231775" y="609601"/>
                    </a:lnTo>
                    <a:lnTo>
                      <a:pt x="234950" y="609601"/>
                    </a:lnTo>
                    <a:lnTo>
                      <a:pt x="241300" y="603250"/>
                    </a:lnTo>
                    <a:lnTo>
                      <a:pt x="242887" y="606426"/>
                    </a:lnTo>
                    <a:lnTo>
                      <a:pt x="246062" y="612776"/>
                    </a:lnTo>
                    <a:lnTo>
                      <a:pt x="252412" y="619126"/>
                    </a:lnTo>
                    <a:lnTo>
                      <a:pt x="252412" y="630238"/>
                    </a:lnTo>
                    <a:lnTo>
                      <a:pt x="255587" y="636588"/>
                    </a:lnTo>
                    <a:lnTo>
                      <a:pt x="246062" y="649288"/>
                    </a:lnTo>
                    <a:lnTo>
                      <a:pt x="241300" y="655638"/>
                    </a:lnTo>
                    <a:lnTo>
                      <a:pt x="234950" y="658813"/>
                    </a:lnTo>
                    <a:lnTo>
                      <a:pt x="225425" y="658813"/>
                    </a:lnTo>
                    <a:lnTo>
                      <a:pt x="222250" y="661988"/>
                    </a:lnTo>
                    <a:lnTo>
                      <a:pt x="222250" y="668338"/>
                    </a:lnTo>
                    <a:lnTo>
                      <a:pt x="225425" y="669926"/>
                    </a:lnTo>
                    <a:lnTo>
                      <a:pt x="241300" y="673101"/>
                    </a:lnTo>
                    <a:lnTo>
                      <a:pt x="242887" y="676276"/>
                    </a:lnTo>
                    <a:lnTo>
                      <a:pt x="249237" y="685801"/>
                    </a:lnTo>
                    <a:lnTo>
                      <a:pt x="255587" y="692151"/>
                    </a:lnTo>
                    <a:lnTo>
                      <a:pt x="268287" y="695326"/>
                    </a:lnTo>
                    <a:lnTo>
                      <a:pt x="280987" y="704851"/>
                    </a:lnTo>
                    <a:lnTo>
                      <a:pt x="285750" y="704851"/>
                    </a:lnTo>
                    <a:lnTo>
                      <a:pt x="285750" y="715963"/>
                    </a:lnTo>
                    <a:lnTo>
                      <a:pt x="288925" y="719138"/>
                    </a:lnTo>
                    <a:lnTo>
                      <a:pt x="285750" y="719138"/>
                    </a:lnTo>
                    <a:lnTo>
                      <a:pt x="288925" y="722313"/>
                    </a:lnTo>
                    <a:lnTo>
                      <a:pt x="285750" y="728663"/>
                    </a:lnTo>
                    <a:lnTo>
                      <a:pt x="288925" y="731838"/>
                    </a:lnTo>
                    <a:lnTo>
                      <a:pt x="288925" y="741363"/>
                    </a:lnTo>
                    <a:lnTo>
                      <a:pt x="274637" y="744538"/>
                    </a:lnTo>
                    <a:lnTo>
                      <a:pt x="268287" y="741363"/>
                    </a:lnTo>
                    <a:lnTo>
                      <a:pt x="265112" y="735013"/>
                    </a:lnTo>
                    <a:lnTo>
                      <a:pt x="252412" y="731838"/>
                    </a:lnTo>
                    <a:lnTo>
                      <a:pt x="252412" y="728663"/>
                    </a:lnTo>
                    <a:lnTo>
                      <a:pt x="246062" y="725488"/>
                    </a:lnTo>
                    <a:lnTo>
                      <a:pt x="242887" y="722313"/>
                    </a:lnTo>
                    <a:lnTo>
                      <a:pt x="228600" y="719138"/>
                    </a:lnTo>
                    <a:lnTo>
                      <a:pt x="225425" y="715963"/>
                    </a:lnTo>
                    <a:lnTo>
                      <a:pt x="215900" y="715963"/>
                    </a:lnTo>
                    <a:lnTo>
                      <a:pt x="219075" y="712788"/>
                    </a:lnTo>
                    <a:lnTo>
                      <a:pt x="212725" y="709613"/>
                    </a:lnTo>
                    <a:lnTo>
                      <a:pt x="212725" y="706438"/>
                    </a:lnTo>
                    <a:lnTo>
                      <a:pt x="206375" y="706438"/>
                    </a:lnTo>
                    <a:lnTo>
                      <a:pt x="201612" y="704851"/>
                    </a:lnTo>
                    <a:lnTo>
                      <a:pt x="188912" y="704851"/>
                    </a:lnTo>
                    <a:lnTo>
                      <a:pt x="182562" y="704851"/>
                    </a:lnTo>
                    <a:lnTo>
                      <a:pt x="176212" y="695326"/>
                    </a:lnTo>
                    <a:lnTo>
                      <a:pt x="169862" y="688976"/>
                    </a:lnTo>
                    <a:lnTo>
                      <a:pt x="161925" y="682626"/>
                    </a:lnTo>
                    <a:lnTo>
                      <a:pt x="165100" y="669926"/>
                    </a:lnTo>
                    <a:lnTo>
                      <a:pt x="161925" y="668338"/>
                    </a:lnTo>
                    <a:lnTo>
                      <a:pt x="158750" y="669926"/>
                    </a:lnTo>
                    <a:lnTo>
                      <a:pt x="161925" y="665163"/>
                    </a:lnTo>
                    <a:lnTo>
                      <a:pt x="155575" y="661988"/>
                    </a:lnTo>
                    <a:lnTo>
                      <a:pt x="152400" y="649288"/>
                    </a:lnTo>
                    <a:lnTo>
                      <a:pt x="152400" y="642938"/>
                    </a:lnTo>
                    <a:lnTo>
                      <a:pt x="149225" y="639763"/>
                    </a:lnTo>
                    <a:lnTo>
                      <a:pt x="155575" y="630238"/>
                    </a:lnTo>
                    <a:lnTo>
                      <a:pt x="152400" y="630238"/>
                    </a:lnTo>
                    <a:lnTo>
                      <a:pt x="155575" y="628651"/>
                    </a:lnTo>
                    <a:lnTo>
                      <a:pt x="161925" y="628651"/>
                    </a:lnTo>
                    <a:lnTo>
                      <a:pt x="155575" y="619126"/>
                    </a:lnTo>
                    <a:lnTo>
                      <a:pt x="161925" y="612776"/>
                    </a:lnTo>
                    <a:lnTo>
                      <a:pt x="158750" y="600075"/>
                    </a:lnTo>
                    <a:lnTo>
                      <a:pt x="152400" y="596900"/>
                    </a:lnTo>
                    <a:lnTo>
                      <a:pt x="155575" y="593725"/>
                    </a:lnTo>
                    <a:lnTo>
                      <a:pt x="152400" y="590550"/>
                    </a:lnTo>
                    <a:lnTo>
                      <a:pt x="158750" y="579438"/>
                    </a:lnTo>
                    <a:lnTo>
                      <a:pt x="152400" y="569913"/>
                    </a:lnTo>
                    <a:lnTo>
                      <a:pt x="158750" y="557213"/>
                    </a:lnTo>
                    <a:lnTo>
                      <a:pt x="158750" y="552450"/>
                    </a:lnTo>
                    <a:lnTo>
                      <a:pt x="152400" y="542925"/>
                    </a:lnTo>
                    <a:lnTo>
                      <a:pt x="146050" y="533400"/>
                    </a:lnTo>
                    <a:lnTo>
                      <a:pt x="146050" y="527050"/>
                    </a:lnTo>
                    <a:lnTo>
                      <a:pt x="146050" y="520700"/>
                    </a:lnTo>
                    <a:lnTo>
                      <a:pt x="142875" y="512763"/>
                    </a:lnTo>
                    <a:lnTo>
                      <a:pt x="146050" y="496888"/>
                    </a:lnTo>
                    <a:lnTo>
                      <a:pt x="142875" y="487363"/>
                    </a:lnTo>
                    <a:lnTo>
                      <a:pt x="142875" y="481013"/>
                    </a:lnTo>
                    <a:lnTo>
                      <a:pt x="139700" y="484188"/>
                    </a:lnTo>
                    <a:lnTo>
                      <a:pt x="136525" y="473075"/>
                    </a:lnTo>
                    <a:lnTo>
                      <a:pt x="133350" y="473075"/>
                    </a:lnTo>
                    <a:lnTo>
                      <a:pt x="130175" y="469900"/>
                    </a:lnTo>
                    <a:lnTo>
                      <a:pt x="136525" y="457200"/>
                    </a:lnTo>
                    <a:lnTo>
                      <a:pt x="136525" y="441325"/>
                    </a:lnTo>
                    <a:lnTo>
                      <a:pt x="142875" y="436563"/>
                    </a:lnTo>
                    <a:lnTo>
                      <a:pt x="155575" y="433388"/>
                    </a:lnTo>
                    <a:lnTo>
                      <a:pt x="161925" y="430213"/>
                    </a:lnTo>
                    <a:lnTo>
                      <a:pt x="168275" y="433388"/>
                    </a:lnTo>
                    <a:lnTo>
                      <a:pt x="176212" y="436563"/>
                    </a:lnTo>
                    <a:lnTo>
                      <a:pt x="176212" y="430213"/>
                    </a:lnTo>
                    <a:lnTo>
                      <a:pt x="182562" y="420688"/>
                    </a:lnTo>
                    <a:lnTo>
                      <a:pt x="179387" y="417513"/>
                    </a:lnTo>
                    <a:lnTo>
                      <a:pt x="185737" y="407988"/>
                    </a:lnTo>
                    <a:lnTo>
                      <a:pt x="188912" y="398463"/>
                    </a:lnTo>
                    <a:lnTo>
                      <a:pt x="198437" y="396875"/>
                    </a:lnTo>
                    <a:lnTo>
                      <a:pt x="206375" y="396875"/>
                    </a:lnTo>
                    <a:lnTo>
                      <a:pt x="209550" y="393700"/>
                    </a:lnTo>
                    <a:lnTo>
                      <a:pt x="222250" y="393700"/>
                    </a:lnTo>
                    <a:lnTo>
                      <a:pt x="225425" y="390525"/>
                    </a:lnTo>
                    <a:lnTo>
                      <a:pt x="228600" y="387350"/>
                    </a:lnTo>
                    <a:lnTo>
                      <a:pt x="231775" y="384175"/>
                    </a:lnTo>
                    <a:lnTo>
                      <a:pt x="242887" y="377825"/>
                    </a:lnTo>
                    <a:lnTo>
                      <a:pt x="242887" y="374650"/>
                    </a:lnTo>
                    <a:lnTo>
                      <a:pt x="249237" y="371475"/>
                    </a:lnTo>
                    <a:lnTo>
                      <a:pt x="246062" y="368300"/>
                    </a:lnTo>
                    <a:lnTo>
                      <a:pt x="246062" y="361950"/>
                    </a:lnTo>
                    <a:lnTo>
                      <a:pt x="255587" y="357188"/>
                    </a:lnTo>
                    <a:lnTo>
                      <a:pt x="249237" y="350838"/>
                    </a:lnTo>
                    <a:lnTo>
                      <a:pt x="255587" y="341313"/>
                    </a:lnTo>
                    <a:lnTo>
                      <a:pt x="261937" y="341313"/>
                    </a:lnTo>
                    <a:lnTo>
                      <a:pt x="255587" y="338138"/>
                    </a:lnTo>
                    <a:lnTo>
                      <a:pt x="255587" y="334963"/>
                    </a:lnTo>
                    <a:lnTo>
                      <a:pt x="252412" y="334963"/>
                    </a:lnTo>
                    <a:lnTo>
                      <a:pt x="242887" y="334963"/>
                    </a:lnTo>
                    <a:lnTo>
                      <a:pt x="241300" y="328613"/>
                    </a:lnTo>
                    <a:lnTo>
                      <a:pt x="231775" y="331788"/>
                    </a:lnTo>
                    <a:lnTo>
                      <a:pt x="225425" y="322263"/>
                    </a:lnTo>
                    <a:lnTo>
                      <a:pt x="219075" y="325438"/>
                    </a:lnTo>
                    <a:lnTo>
                      <a:pt x="209550" y="320675"/>
                    </a:lnTo>
                    <a:lnTo>
                      <a:pt x="198437" y="322263"/>
                    </a:lnTo>
                    <a:lnTo>
                      <a:pt x="195262" y="314325"/>
                    </a:lnTo>
                    <a:lnTo>
                      <a:pt x="188912" y="304800"/>
                    </a:lnTo>
                    <a:lnTo>
                      <a:pt x="195262" y="292100"/>
                    </a:lnTo>
                    <a:lnTo>
                      <a:pt x="201612" y="282575"/>
                    </a:lnTo>
                    <a:lnTo>
                      <a:pt x="201612" y="280988"/>
                    </a:lnTo>
                    <a:lnTo>
                      <a:pt x="206375" y="274638"/>
                    </a:lnTo>
                    <a:lnTo>
                      <a:pt x="209550" y="271463"/>
                    </a:lnTo>
                    <a:lnTo>
                      <a:pt x="201612" y="271463"/>
                    </a:lnTo>
                    <a:lnTo>
                      <a:pt x="198437" y="268288"/>
                    </a:lnTo>
                    <a:lnTo>
                      <a:pt x="188912" y="268288"/>
                    </a:lnTo>
                    <a:lnTo>
                      <a:pt x="179387" y="265113"/>
                    </a:lnTo>
                    <a:lnTo>
                      <a:pt x="169862" y="268288"/>
                    </a:lnTo>
                    <a:lnTo>
                      <a:pt x="165100" y="265113"/>
                    </a:lnTo>
                    <a:lnTo>
                      <a:pt x="149225" y="268288"/>
                    </a:lnTo>
                    <a:lnTo>
                      <a:pt x="149225" y="261938"/>
                    </a:lnTo>
                    <a:lnTo>
                      <a:pt x="136525" y="255588"/>
                    </a:lnTo>
                    <a:lnTo>
                      <a:pt x="133350" y="246063"/>
                    </a:lnTo>
                    <a:lnTo>
                      <a:pt x="125412" y="244475"/>
                    </a:lnTo>
                    <a:lnTo>
                      <a:pt x="119062" y="246063"/>
                    </a:lnTo>
                    <a:lnTo>
                      <a:pt x="109537" y="241300"/>
                    </a:lnTo>
                    <a:lnTo>
                      <a:pt x="115887" y="228600"/>
                    </a:lnTo>
                    <a:lnTo>
                      <a:pt x="112712" y="215900"/>
                    </a:lnTo>
                    <a:lnTo>
                      <a:pt x="112712" y="212725"/>
                    </a:lnTo>
                    <a:lnTo>
                      <a:pt x="106362" y="215900"/>
                    </a:lnTo>
                    <a:lnTo>
                      <a:pt x="96837" y="209550"/>
                    </a:lnTo>
                    <a:lnTo>
                      <a:pt x="85725" y="215900"/>
                    </a:lnTo>
                    <a:lnTo>
                      <a:pt x="76200" y="209550"/>
                    </a:lnTo>
                    <a:lnTo>
                      <a:pt x="76200" y="212725"/>
                    </a:lnTo>
                    <a:lnTo>
                      <a:pt x="79375" y="215900"/>
                    </a:lnTo>
                    <a:lnTo>
                      <a:pt x="73025" y="215900"/>
                    </a:lnTo>
                    <a:lnTo>
                      <a:pt x="63500" y="219075"/>
                    </a:lnTo>
                    <a:lnTo>
                      <a:pt x="60325" y="212725"/>
                    </a:lnTo>
                    <a:lnTo>
                      <a:pt x="52387" y="206375"/>
                    </a:lnTo>
                    <a:lnTo>
                      <a:pt x="49212" y="215900"/>
                    </a:lnTo>
                    <a:lnTo>
                      <a:pt x="39687" y="219075"/>
                    </a:lnTo>
                    <a:lnTo>
                      <a:pt x="36512" y="212725"/>
                    </a:lnTo>
                    <a:lnTo>
                      <a:pt x="30162" y="212725"/>
                    </a:lnTo>
                    <a:lnTo>
                      <a:pt x="23812" y="215900"/>
                    </a:lnTo>
                    <a:lnTo>
                      <a:pt x="17462" y="209550"/>
                    </a:lnTo>
                    <a:lnTo>
                      <a:pt x="12700" y="212725"/>
                    </a:lnTo>
                    <a:lnTo>
                      <a:pt x="12700" y="209550"/>
                    </a:lnTo>
                    <a:lnTo>
                      <a:pt x="3175" y="206375"/>
                    </a:lnTo>
                    <a:lnTo>
                      <a:pt x="0" y="201613"/>
                    </a:lnTo>
                    <a:lnTo>
                      <a:pt x="9525" y="195263"/>
                    </a:lnTo>
                    <a:lnTo>
                      <a:pt x="12700" y="185738"/>
                    </a:lnTo>
                    <a:lnTo>
                      <a:pt x="6350" y="173038"/>
                    </a:lnTo>
                    <a:lnTo>
                      <a:pt x="6350" y="166688"/>
                    </a:lnTo>
                    <a:lnTo>
                      <a:pt x="12700" y="165100"/>
                    </a:lnTo>
                    <a:lnTo>
                      <a:pt x="12700" y="152400"/>
                    </a:lnTo>
                    <a:lnTo>
                      <a:pt x="15875" y="149225"/>
                    </a:lnTo>
                    <a:lnTo>
                      <a:pt x="17462" y="142875"/>
                    </a:lnTo>
                    <a:lnTo>
                      <a:pt x="20637" y="139700"/>
                    </a:lnTo>
                    <a:lnTo>
                      <a:pt x="33337" y="146050"/>
                    </a:lnTo>
                    <a:lnTo>
                      <a:pt x="33337" y="139700"/>
                    </a:lnTo>
                    <a:lnTo>
                      <a:pt x="42862" y="136525"/>
                    </a:lnTo>
                    <a:lnTo>
                      <a:pt x="46037" y="136525"/>
                    </a:lnTo>
                    <a:lnTo>
                      <a:pt x="57150" y="125413"/>
                    </a:lnTo>
                    <a:lnTo>
                      <a:pt x="63500" y="125413"/>
                    </a:lnTo>
                    <a:lnTo>
                      <a:pt x="66675" y="122238"/>
                    </a:lnTo>
                    <a:lnTo>
                      <a:pt x="63500" y="112713"/>
                    </a:lnTo>
                    <a:lnTo>
                      <a:pt x="73025" y="109538"/>
                    </a:lnTo>
                    <a:lnTo>
                      <a:pt x="85725" y="109538"/>
                    </a:lnTo>
                    <a:lnTo>
                      <a:pt x="88900" y="100013"/>
                    </a:lnTo>
                    <a:lnTo>
                      <a:pt x="96837" y="93662"/>
                    </a:lnTo>
                    <a:lnTo>
                      <a:pt x="106362" y="82550"/>
                    </a:lnTo>
                    <a:lnTo>
                      <a:pt x="103187" y="79375"/>
                    </a:lnTo>
                    <a:lnTo>
                      <a:pt x="100012" y="66675"/>
                    </a:lnTo>
                    <a:lnTo>
                      <a:pt x="109537" y="69850"/>
                    </a:lnTo>
                    <a:lnTo>
                      <a:pt x="122237" y="63500"/>
                    </a:lnTo>
                    <a:lnTo>
                      <a:pt x="125412" y="66675"/>
                    </a:lnTo>
                    <a:lnTo>
                      <a:pt x="130175" y="66675"/>
                    </a:lnTo>
                    <a:lnTo>
                      <a:pt x="130175" y="63500"/>
                    </a:lnTo>
                    <a:lnTo>
                      <a:pt x="139700" y="66675"/>
                    </a:lnTo>
                    <a:lnTo>
                      <a:pt x="149225" y="63500"/>
                    </a:lnTo>
                    <a:lnTo>
                      <a:pt x="149225" y="60325"/>
                    </a:lnTo>
                    <a:lnTo>
                      <a:pt x="161925" y="57150"/>
                    </a:lnTo>
                    <a:lnTo>
                      <a:pt x="173037" y="63500"/>
                    </a:lnTo>
                    <a:lnTo>
                      <a:pt x="185737" y="63500"/>
                    </a:lnTo>
                    <a:lnTo>
                      <a:pt x="188912" y="66675"/>
                    </a:lnTo>
                    <a:lnTo>
                      <a:pt x="204787" y="69850"/>
                    </a:lnTo>
                    <a:lnTo>
                      <a:pt x="209550" y="63500"/>
                    </a:lnTo>
                    <a:lnTo>
                      <a:pt x="219075" y="66675"/>
                    </a:lnTo>
                    <a:lnTo>
                      <a:pt x="228600" y="63500"/>
                    </a:lnTo>
                    <a:lnTo>
                      <a:pt x="234950" y="66675"/>
                    </a:lnTo>
                    <a:lnTo>
                      <a:pt x="238125" y="66675"/>
                    </a:lnTo>
                    <a:lnTo>
                      <a:pt x="238125" y="60325"/>
                    </a:lnTo>
                    <a:lnTo>
                      <a:pt x="234950" y="60325"/>
                    </a:lnTo>
                    <a:lnTo>
                      <a:pt x="238125" y="57150"/>
                    </a:lnTo>
                    <a:lnTo>
                      <a:pt x="234950" y="53975"/>
                    </a:lnTo>
                    <a:lnTo>
                      <a:pt x="225425" y="50800"/>
                    </a:lnTo>
                    <a:lnTo>
                      <a:pt x="222250" y="46037"/>
                    </a:lnTo>
                    <a:lnTo>
                      <a:pt x="219075" y="49212"/>
                    </a:lnTo>
                    <a:lnTo>
                      <a:pt x="206375" y="42862"/>
                    </a:lnTo>
                    <a:lnTo>
                      <a:pt x="209550" y="39687"/>
                    </a:lnTo>
                    <a:lnTo>
                      <a:pt x="204787" y="36512"/>
                    </a:lnTo>
                    <a:lnTo>
                      <a:pt x="204787" y="30162"/>
                    </a:lnTo>
                    <a:lnTo>
                      <a:pt x="219075" y="30162"/>
                    </a:lnTo>
                    <a:lnTo>
                      <a:pt x="228600" y="33337"/>
                    </a:lnTo>
                    <a:lnTo>
                      <a:pt x="234950" y="26987"/>
                    </a:lnTo>
                    <a:lnTo>
                      <a:pt x="241300" y="30162"/>
                    </a:lnTo>
                    <a:lnTo>
                      <a:pt x="242887" y="33337"/>
                    </a:lnTo>
                    <a:lnTo>
                      <a:pt x="241300" y="36512"/>
                    </a:lnTo>
                    <a:lnTo>
                      <a:pt x="246062" y="36512"/>
                    </a:lnTo>
                    <a:lnTo>
                      <a:pt x="252412" y="42862"/>
                    </a:lnTo>
                    <a:lnTo>
                      <a:pt x="265112" y="46037"/>
                    </a:lnTo>
                    <a:lnTo>
                      <a:pt x="268287" y="42862"/>
                    </a:lnTo>
                    <a:lnTo>
                      <a:pt x="277812" y="42862"/>
                    </a:lnTo>
                    <a:lnTo>
                      <a:pt x="282575" y="33337"/>
                    </a:lnTo>
                    <a:lnTo>
                      <a:pt x="285750" y="30162"/>
                    </a:lnTo>
                    <a:lnTo>
                      <a:pt x="298450" y="33337"/>
                    </a:lnTo>
                    <a:lnTo>
                      <a:pt x="307975" y="30162"/>
                    </a:lnTo>
                    <a:lnTo>
                      <a:pt x="317500" y="20637"/>
                    </a:lnTo>
                    <a:lnTo>
                      <a:pt x="328612" y="17462"/>
                    </a:lnTo>
                    <a:lnTo>
                      <a:pt x="328612" y="12700"/>
                    </a:lnTo>
                    <a:lnTo>
                      <a:pt x="341312" y="17462"/>
                    </a:lnTo>
                    <a:lnTo>
                      <a:pt x="341312" y="20637"/>
                    </a:lnTo>
                    <a:lnTo>
                      <a:pt x="347662" y="20637"/>
                    </a:lnTo>
                    <a:lnTo>
                      <a:pt x="344487" y="12700"/>
                    </a:lnTo>
                    <a:lnTo>
                      <a:pt x="358775" y="9525"/>
                    </a:lnTo>
                    <a:close/>
                  </a:path>
                </a:pathLst>
              </a:custGeom>
              <a:solidFill>
                <a:srgbClr val="D0D0D0"/>
              </a:solidFill>
              <a:ln w="6350">
                <a:solidFill>
                  <a:schemeClr val="bg1">
                    <a:lumMod val="65000"/>
                  </a:schemeClr>
                </a:solidFill>
                <a:prstDash val="dash"/>
              </a:ln>
            </p:spPr>
            <p:txBody>
              <a:bodyPr vert="horz" wrap="square" lIns="91440" tIns="45720" rIns="91440" bIns="45720" numCol="1" anchor="t" anchorCtr="0" compatLnSpc="1">
                <a:prstTxWarp prst="textNoShape">
                  <a:avLst/>
                </a:prstTxWarp>
              </a:bodyPr>
              <a:lstStyle/>
              <a:p>
                <a:endParaRPr lang="en-US" dirty="0"/>
              </a:p>
            </p:txBody>
          </p:sp>
        </p:grpSp>
      </p:grpSp>
      <p:sp>
        <p:nvSpPr>
          <p:cNvPr id="69" name="TextBox 68">
            <a:extLst>
              <a:ext uri="{FF2B5EF4-FFF2-40B4-BE49-F238E27FC236}">
                <a16:creationId xmlns:a16="http://schemas.microsoft.com/office/drawing/2014/main" id="{0550EA1E-F7DD-4E49-8D1E-C43CB3085706}"/>
              </a:ext>
            </a:extLst>
          </p:cNvPr>
          <p:cNvSpPr txBox="1"/>
          <p:nvPr/>
        </p:nvSpPr>
        <p:spPr>
          <a:xfrm>
            <a:off x="3598506" y="4257849"/>
            <a:ext cx="942672" cy="69249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t>Pharma, Automobile, Textile, Chemical, Engineering, FMCG</a:t>
            </a:r>
          </a:p>
        </p:txBody>
      </p:sp>
      <p:sp>
        <p:nvSpPr>
          <p:cNvPr id="70" name="TextBox 69">
            <a:extLst>
              <a:ext uri="{FF2B5EF4-FFF2-40B4-BE49-F238E27FC236}">
                <a16:creationId xmlns:a16="http://schemas.microsoft.com/office/drawing/2014/main" id="{3930B47F-8729-495A-BC69-909C821447AC}"/>
              </a:ext>
            </a:extLst>
          </p:cNvPr>
          <p:cNvSpPr txBox="1"/>
          <p:nvPr/>
        </p:nvSpPr>
        <p:spPr>
          <a:xfrm>
            <a:off x="3733050" y="3154041"/>
            <a:ext cx="1148780" cy="29892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t>Pharma, Chemical, FMCG</a:t>
            </a:r>
          </a:p>
        </p:txBody>
      </p:sp>
      <p:cxnSp>
        <p:nvCxnSpPr>
          <p:cNvPr id="71" name="LineBasicDefault 71">
            <a:extLst>
              <a:ext uri="{FF2B5EF4-FFF2-40B4-BE49-F238E27FC236}">
                <a16:creationId xmlns:a16="http://schemas.microsoft.com/office/drawing/2014/main" id="{50A9B80A-4B89-49D9-87D9-D83FE384A01C}"/>
              </a:ext>
            </a:extLst>
          </p:cNvPr>
          <p:cNvCxnSpPr>
            <a:cxnSpLocks/>
          </p:cNvCxnSpPr>
          <p:nvPr>
            <p:custDataLst>
              <p:tags r:id="rId5"/>
            </p:custDataLst>
          </p:nvPr>
        </p:nvCxnSpPr>
        <p:spPr>
          <a:xfrm>
            <a:off x="5392896" y="4471428"/>
            <a:ext cx="1499596" cy="459952"/>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97223ACC-CD08-49A4-BAA6-C6AF9BD2D4B5}"/>
              </a:ext>
            </a:extLst>
          </p:cNvPr>
          <p:cNvSpPr txBox="1"/>
          <p:nvPr/>
        </p:nvSpPr>
        <p:spPr>
          <a:xfrm>
            <a:off x="6848945" y="4932248"/>
            <a:ext cx="603993" cy="16607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Pharma</a:t>
            </a:r>
          </a:p>
        </p:txBody>
      </p:sp>
      <p:sp>
        <p:nvSpPr>
          <p:cNvPr id="77" name="TextBox 76">
            <a:extLst>
              <a:ext uri="{FF2B5EF4-FFF2-40B4-BE49-F238E27FC236}">
                <a16:creationId xmlns:a16="http://schemas.microsoft.com/office/drawing/2014/main" id="{166A6084-9EAE-480E-A552-D557A8A8FB46}"/>
              </a:ext>
            </a:extLst>
          </p:cNvPr>
          <p:cNvSpPr txBox="1"/>
          <p:nvPr/>
        </p:nvSpPr>
        <p:spPr>
          <a:xfrm>
            <a:off x="5601596" y="5502308"/>
            <a:ext cx="850656" cy="49821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Textiles, Automobile, Chemical</a:t>
            </a:r>
          </a:p>
        </p:txBody>
      </p:sp>
      <p:cxnSp>
        <p:nvCxnSpPr>
          <p:cNvPr id="78" name="LineBasicDefault 78">
            <a:extLst>
              <a:ext uri="{FF2B5EF4-FFF2-40B4-BE49-F238E27FC236}">
                <a16:creationId xmlns:a16="http://schemas.microsoft.com/office/drawing/2014/main" id="{A5D18F22-6AF7-4EA5-8D43-C35761A4E205}"/>
              </a:ext>
            </a:extLst>
          </p:cNvPr>
          <p:cNvCxnSpPr>
            <a:cxnSpLocks/>
            <a:stCxn id="56" idx="4"/>
          </p:cNvCxnSpPr>
          <p:nvPr>
            <p:custDataLst>
              <p:tags r:id="rId6"/>
            </p:custDataLst>
          </p:nvPr>
        </p:nvCxnSpPr>
        <p:spPr>
          <a:xfrm flipV="1">
            <a:off x="5227899" y="2174586"/>
            <a:ext cx="1087826" cy="55632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6F6D58B2-95B0-4EBB-8982-7F6765301FB8}"/>
              </a:ext>
            </a:extLst>
          </p:cNvPr>
          <p:cNvSpPr txBox="1"/>
          <p:nvPr/>
        </p:nvSpPr>
        <p:spPr>
          <a:xfrm>
            <a:off x="5270457" y="3489408"/>
            <a:ext cx="1200175" cy="14946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900" dirty="0"/>
              <a:t>Engineering, FMCG</a:t>
            </a:r>
          </a:p>
        </p:txBody>
      </p:sp>
      <p:sp>
        <p:nvSpPr>
          <p:cNvPr id="82" name="TextBox 81">
            <a:extLst>
              <a:ext uri="{FF2B5EF4-FFF2-40B4-BE49-F238E27FC236}">
                <a16:creationId xmlns:a16="http://schemas.microsoft.com/office/drawing/2014/main" id="{88FD8B2C-3F80-4202-923B-DBA5FBDDE852}"/>
              </a:ext>
            </a:extLst>
          </p:cNvPr>
          <p:cNvSpPr txBox="1"/>
          <p:nvPr/>
        </p:nvSpPr>
        <p:spPr>
          <a:xfrm>
            <a:off x="5956623" y="1809542"/>
            <a:ext cx="1886440" cy="33214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Automobile, Textile, Chemical, Engineering</a:t>
            </a:r>
          </a:p>
        </p:txBody>
      </p:sp>
      <p:sp>
        <p:nvSpPr>
          <p:cNvPr id="83" name="TextBox 82">
            <a:extLst>
              <a:ext uri="{FF2B5EF4-FFF2-40B4-BE49-F238E27FC236}">
                <a16:creationId xmlns:a16="http://schemas.microsoft.com/office/drawing/2014/main" id="{15D44F35-8461-4A67-BFFA-D9D4A9BC831F}"/>
              </a:ext>
            </a:extLst>
          </p:cNvPr>
          <p:cNvSpPr txBox="1"/>
          <p:nvPr/>
        </p:nvSpPr>
        <p:spPr>
          <a:xfrm>
            <a:off x="4257614" y="2128295"/>
            <a:ext cx="696504" cy="33214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Textile, Chemical</a:t>
            </a:r>
          </a:p>
        </p:txBody>
      </p:sp>
      <p:sp>
        <p:nvSpPr>
          <p:cNvPr id="84" name="TextBox 83">
            <a:extLst>
              <a:ext uri="{FF2B5EF4-FFF2-40B4-BE49-F238E27FC236}">
                <a16:creationId xmlns:a16="http://schemas.microsoft.com/office/drawing/2014/main" id="{7AEE294F-122A-4B5C-B02B-7DDA2372212A}"/>
              </a:ext>
            </a:extLst>
          </p:cNvPr>
          <p:cNvSpPr txBox="1"/>
          <p:nvPr/>
        </p:nvSpPr>
        <p:spPr>
          <a:xfrm>
            <a:off x="6853545" y="3906536"/>
            <a:ext cx="470366" cy="16607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FMCG</a:t>
            </a:r>
          </a:p>
        </p:txBody>
      </p:sp>
      <p:grpSp>
        <p:nvGrpSpPr>
          <p:cNvPr id="80" name="Group 79">
            <a:extLst>
              <a:ext uri="{FF2B5EF4-FFF2-40B4-BE49-F238E27FC236}">
                <a16:creationId xmlns:a16="http://schemas.microsoft.com/office/drawing/2014/main" id="{0122D833-7036-4A0F-BAC3-99296C1CEA5E}"/>
              </a:ext>
            </a:extLst>
          </p:cNvPr>
          <p:cNvGrpSpPr>
            <a:grpSpLocks/>
          </p:cNvGrpSpPr>
          <p:nvPr>
            <p:custDataLst>
              <p:tags r:id="rId7"/>
            </p:custDataLst>
          </p:nvPr>
        </p:nvGrpSpPr>
        <p:grpSpPr>
          <a:xfrm>
            <a:off x="3153165" y="1459020"/>
            <a:ext cx="284020" cy="284020"/>
            <a:chOff x="1003300" y="2527300"/>
            <a:chExt cx="1019810" cy="1019810"/>
          </a:xfrm>
        </p:grpSpPr>
        <p:sp>
          <p:nvSpPr>
            <p:cNvPr id="85" name="Oval 84">
              <a:extLst>
                <a:ext uri="{FF2B5EF4-FFF2-40B4-BE49-F238E27FC236}">
                  <a16:creationId xmlns:a16="http://schemas.microsoft.com/office/drawing/2014/main" id="{B8315D81-5091-4125-B103-BB8408F54D88}"/>
                </a:ext>
              </a:extLst>
            </p:cNvPr>
            <p:cNvSpPr>
              <a:spLocks noChangeAspect="1"/>
            </p:cNvSpPr>
            <p:nvPr/>
          </p:nvSpPr>
          <p:spPr>
            <a:xfrm>
              <a:off x="1003300" y="2527300"/>
              <a:ext cx="1019810" cy="101981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6" name="Graphic 85">
              <a:extLst>
                <a:ext uri="{FF2B5EF4-FFF2-40B4-BE49-F238E27FC236}">
                  <a16:creationId xmlns:a16="http://schemas.microsoft.com/office/drawing/2014/main" id="{7032E956-3F7C-4588-9FB0-8E937BAA68C9}"/>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203325" y="2734310"/>
              <a:ext cx="609600" cy="609600"/>
            </a:xfrm>
            <a:prstGeom prst="rect">
              <a:avLst/>
            </a:prstGeom>
          </p:spPr>
        </p:pic>
      </p:grpSp>
      <p:grpSp>
        <p:nvGrpSpPr>
          <p:cNvPr id="90" name="Group 89">
            <a:extLst>
              <a:ext uri="{FF2B5EF4-FFF2-40B4-BE49-F238E27FC236}">
                <a16:creationId xmlns:a16="http://schemas.microsoft.com/office/drawing/2014/main" id="{ECDBF841-69E5-4D6E-8959-C6B332128C5E}"/>
              </a:ext>
            </a:extLst>
          </p:cNvPr>
          <p:cNvGrpSpPr>
            <a:grpSpLocks/>
          </p:cNvGrpSpPr>
          <p:nvPr>
            <p:custDataLst>
              <p:tags r:id="rId8"/>
            </p:custDataLst>
          </p:nvPr>
        </p:nvGrpSpPr>
        <p:grpSpPr>
          <a:xfrm>
            <a:off x="11312462" y="1459020"/>
            <a:ext cx="291464" cy="291464"/>
            <a:chOff x="1003300" y="5067300"/>
            <a:chExt cx="1019810" cy="1019810"/>
          </a:xfrm>
        </p:grpSpPr>
        <p:sp>
          <p:nvSpPr>
            <p:cNvPr id="91" name="Oval 90">
              <a:extLst>
                <a:ext uri="{FF2B5EF4-FFF2-40B4-BE49-F238E27FC236}">
                  <a16:creationId xmlns:a16="http://schemas.microsoft.com/office/drawing/2014/main" id="{CF010504-9E76-462A-95CB-3D00FC96EE88}"/>
                </a:ext>
              </a:extLst>
            </p:cNvPr>
            <p:cNvSpPr>
              <a:spLocks noChangeAspect="1"/>
            </p:cNvSpPr>
            <p:nvPr/>
          </p:nvSpPr>
          <p:spPr>
            <a:xfrm>
              <a:off x="1003300" y="5067300"/>
              <a:ext cx="1019810" cy="101981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2" name="Graphic 91">
              <a:extLst>
                <a:ext uri="{FF2B5EF4-FFF2-40B4-BE49-F238E27FC236}">
                  <a16:creationId xmlns:a16="http://schemas.microsoft.com/office/drawing/2014/main" id="{2760D10D-88AE-485F-86C2-0ECBF17D674F}"/>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203325" y="5274310"/>
              <a:ext cx="609600" cy="609600"/>
            </a:xfrm>
            <a:prstGeom prst="rect">
              <a:avLst/>
            </a:prstGeom>
          </p:spPr>
        </p:pic>
      </p:grpSp>
      <p:grpSp>
        <p:nvGrpSpPr>
          <p:cNvPr id="156" name="CustomIcon">
            <a:extLst>
              <a:ext uri="{FF2B5EF4-FFF2-40B4-BE49-F238E27FC236}">
                <a16:creationId xmlns:a16="http://schemas.microsoft.com/office/drawing/2014/main" id="{30395E98-8EA8-4BEC-B959-323CD5FC0BA7}"/>
              </a:ext>
            </a:extLst>
          </p:cNvPr>
          <p:cNvGrpSpPr>
            <a:grpSpLocks/>
          </p:cNvGrpSpPr>
          <p:nvPr>
            <p:custDataLst>
              <p:tags r:id="rId9"/>
            </p:custDataLst>
          </p:nvPr>
        </p:nvGrpSpPr>
        <p:grpSpPr>
          <a:xfrm>
            <a:off x="3153165" y="4666410"/>
            <a:ext cx="284020" cy="284020"/>
            <a:chOff x="-200025" y="-207010"/>
            <a:chExt cx="1019810" cy="1019810"/>
          </a:xfrm>
        </p:grpSpPr>
        <p:sp>
          <p:nvSpPr>
            <p:cNvPr id="157" name="Oval 156">
              <a:extLst>
                <a:ext uri="{FF2B5EF4-FFF2-40B4-BE49-F238E27FC236}">
                  <a16:creationId xmlns:a16="http://schemas.microsoft.com/office/drawing/2014/main" id="{2677FEA4-9033-4954-B636-EC457668D7B1}"/>
                </a:ext>
              </a:extLst>
            </p:cNvPr>
            <p:cNvSpPr>
              <a:spLocks noChangeAspect="1"/>
            </p:cNvSpPr>
            <p:nvPr/>
          </p:nvSpPr>
          <p:spPr>
            <a:xfrm>
              <a:off x="-200025" y="-207010"/>
              <a:ext cx="1019810" cy="101981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58" name="Graphic 157">
              <a:extLst>
                <a:ext uri="{FF2B5EF4-FFF2-40B4-BE49-F238E27FC236}">
                  <a16:creationId xmlns:a16="http://schemas.microsoft.com/office/drawing/2014/main" id="{7C4078AC-ACA8-458F-A8A0-4CA287BC2F85}"/>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0" y="0"/>
              <a:ext cx="609600" cy="609600"/>
            </a:xfrm>
            <a:prstGeom prst="rect">
              <a:avLst/>
            </a:prstGeom>
          </p:spPr>
        </p:pic>
      </p:grpSp>
      <p:pic>
        <p:nvPicPr>
          <p:cNvPr id="231" name="Graphic 230">
            <a:extLst>
              <a:ext uri="{FF2B5EF4-FFF2-40B4-BE49-F238E27FC236}">
                <a16:creationId xmlns:a16="http://schemas.microsoft.com/office/drawing/2014/main" id="{8BCD0AFC-A315-4862-9C37-7112B1C9852D}"/>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7812671" y="4161261"/>
            <a:ext cx="331100" cy="331100"/>
          </a:xfrm>
          <a:prstGeom prst="rect">
            <a:avLst/>
          </a:prstGeom>
        </p:spPr>
      </p:pic>
      <p:grpSp>
        <p:nvGrpSpPr>
          <p:cNvPr id="26" name="CustomIcon">
            <a:extLst>
              <a:ext uri="{FF2B5EF4-FFF2-40B4-BE49-F238E27FC236}">
                <a16:creationId xmlns:a16="http://schemas.microsoft.com/office/drawing/2014/main" id="{1504156C-769A-478C-8F71-E8F3AE318052}"/>
              </a:ext>
            </a:extLst>
          </p:cNvPr>
          <p:cNvGrpSpPr>
            <a:grpSpLocks/>
          </p:cNvGrpSpPr>
          <p:nvPr>
            <p:custDataLst>
              <p:tags r:id="rId10"/>
            </p:custDataLst>
          </p:nvPr>
        </p:nvGrpSpPr>
        <p:grpSpPr>
          <a:xfrm>
            <a:off x="3153165" y="3066745"/>
            <a:ext cx="284020" cy="284020"/>
            <a:chOff x="-200025" y="-207010"/>
            <a:chExt cx="1019810" cy="1019810"/>
          </a:xfrm>
        </p:grpSpPr>
        <p:sp>
          <p:nvSpPr>
            <p:cNvPr id="10" name="Oval 9">
              <a:extLst>
                <a:ext uri="{FF2B5EF4-FFF2-40B4-BE49-F238E27FC236}">
                  <a16:creationId xmlns:a16="http://schemas.microsoft.com/office/drawing/2014/main" id="{558F0DF3-F39B-450B-A03C-68BD3FBFCB70}"/>
                </a:ext>
              </a:extLst>
            </p:cNvPr>
            <p:cNvSpPr>
              <a:spLocks noChangeAspect="1"/>
            </p:cNvSpPr>
            <p:nvPr/>
          </p:nvSpPr>
          <p:spPr>
            <a:xfrm>
              <a:off x="-200025" y="-207010"/>
              <a:ext cx="1019810" cy="1019810"/>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5" name="Graphic 24">
              <a:extLst>
                <a:ext uri="{FF2B5EF4-FFF2-40B4-BE49-F238E27FC236}">
                  <a16:creationId xmlns:a16="http://schemas.microsoft.com/office/drawing/2014/main" id="{7D133A89-2B78-4066-A075-826EAF5FFB66}"/>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0" y="0"/>
              <a:ext cx="609600" cy="609600"/>
            </a:xfrm>
            <a:prstGeom prst="rect">
              <a:avLst/>
            </a:prstGeom>
          </p:spPr>
        </p:pic>
      </p:grpSp>
      <p:grpSp>
        <p:nvGrpSpPr>
          <p:cNvPr id="232" name="CustomIcon">
            <a:extLst>
              <a:ext uri="{FF2B5EF4-FFF2-40B4-BE49-F238E27FC236}">
                <a16:creationId xmlns:a16="http://schemas.microsoft.com/office/drawing/2014/main" id="{2996CE66-3C94-47C5-ACB1-9F3F562F05F8}"/>
              </a:ext>
            </a:extLst>
          </p:cNvPr>
          <p:cNvGrpSpPr>
            <a:grpSpLocks/>
          </p:cNvGrpSpPr>
          <p:nvPr>
            <p:custDataLst>
              <p:tags r:id="rId11"/>
            </p:custDataLst>
          </p:nvPr>
        </p:nvGrpSpPr>
        <p:grpSpPr>
          <a:xfrm>
            <a:off x="11312462" y="3028552"/>
            <a:ext cx="291464" cy="291464"/>
            <a:chOff x="-200025" y="-207010"/>
            <a:chExt cx="1019810" cy="1019810"/>
          </a:xfrm>
        </p:grpSpPr>
        <p:sp>
          <p:nvSpPr>
            <p:cNvPr id="27" name="Oval 26">
              <a:extLst>
                <a:ext uri="{FF2B5EF4-FFF2-40B4-BE49-F238E27FC236}">
                  <a16:creationId xmlns:a16="http://schemas.microsoft.com/office/drawing/2014/main" id="{807D3457-2919-4AA9-B923-BB64976F7AB6}"/>
                </a:ext>
              </a:extLst>
            </p:cNvPr>
            <p:cNvSpPr>
              <a:spLocks noChangeAspect="1"/>
            </p:cNvSpPr>
            <p:nvPr/>
          </p:nvSpPr>
          <p:spPr>
            <a:xfrm>
              <a:off x="-200025" y="-207010"/>
              <a:ext cx="1019810" cy="101981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3" name="Graphic 72">
              <a:extLst>
                <a:ext uri="{FF2B5EF4-FFF2-40B4-BE49-F238E27FC236}">
                  <a16:creationId xmlns:a16="http://schemas.microsoft.com/office/drawing/2014/main" id="{18BA7CD2-C542-4B75-8795-EA07493CF94C}"/>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0" y="0"/>
              <a:ext cx="609600" cy="609600"/>
            </a:xfrm>
            <a:prstGeom prst="rect">
              <a:avLst/>
            </a:prstGeom>
          </p:spPr>
        </p:pic>
      </p:grpSp>
      <p:grpSp>
        <p:nvGrpSpPr>
          <p:cNvPr id="236" name="CustomIcon">
            <a:extLst>
              <a:ext uri="{FF2B5EF4-FFF2-40B4-BE49-F238E27FC236}">
                <a16:creationId xmlns:a16="http://schemas.microsoft.com/office/drawing/2014/main" id="{29A83547-3DE5-43AD-9687-D4AE80D9E8E2}"/>
              </a:ext>
            </a:extLst>
          </p:cNvPr>
          <p:cNvGrpSpPr>
            <a:grpSpLocks/>
          </p:cNvGrpSpPr>
          <p:nvPr>
            <p:custDataLst>
              <p:tags r:id="rId12"/>
            </p:custDataLst>
          </p:nvPr>
        </p:nvGrpSpPr>
        <p:grpSpPr>
          <a:xfrm>
            <a:off x="11312462" y="4563788"/>
            <a:ext cx="291464" cy="291464"/>
            <a:chOff x="-200025" y="-207010"/>
            <a:chExt cx="1019810" cy="1019810"/>
          </a:xfrm>
        </p:grpSpPr>
        <p:sp>
          <p:nvSpPr>
            <p:cNvPr id="233" name="Oval 232">
              <a:extLst>
                <a:ext uri="{FF2B5EF4-FFF2-40B4-BE49-F238E27FC236}">
                  <a16:creationId xmlns:a16="http://schemas.microsoft.com/office/drawing/2014/main" id="{2B56AD28-92B6-4EDD-BE57-CD1C35683C2B}"/>
                </a:ext>
              </a:extLst>
            </p:cNvPr>
            <p:cNvSpPr>
              <a:spLocks noChangeAspect="1"/>
            </p:cNvSpPr>
            <p:nvPr/>
          </p:nvSpPr>
          <p:spPr>
            <a:xfrm>
              <a:off x="-200025" y="-207010"/>
              <a:ext cx="1019810" cy="1019810"/>
            </a:xfrm>
            <a:prstGeom prst="ellipse">
              <a:avLst/>
            </a:prstGeom>
            <a:solidFill>
              <a:schemeClr val="tx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5" name="Graphic 234">
              <a:extLst>
                <a:ext uri="{FF2B5EF4-FFF2-40B4-BE49-F238E27FC236}">
                  <a16:creationId xmlns:a16="http://schemas.microsoft.com/office/drawing/2014/main" id="{7FCC92C1-9ADC-4C7F-9BB9-726A94CF1A48}"/>
                </a:ext>
              </a:extLst>
            </p:cNvPr>
            <p:cNvPicPr>
              <a:picLocks noChangeAspect="1"/>
            </p:cNvPicPr>
            <p:nvPr/>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0" y="0"/>
              <a:ext cx="609600" cy="609600"/>
            </a:xfrm>
            <a:prstGeom prst="rect">
              <a:avLst/>
            </a:prstGeom>
          </p:spPr>
        </p:pic>
      </p:grpSp>
      <p:pic>
        <p:nvPicPr>
          <p:cNvPr id="237" name="Picture 236">
            <a:extLst>
              <a:ext uri="{FF2B5EF4-FFF2-40B4-BE49-F238E27FC236}">
                <a16:creationId xmlns:a16="http://schemas.microsoft.com/office/drawing/2014/main" id="{A63BAB0A-DF33-4322-B6C1-AA2B27BBFD45}"/>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647700" y="1743040"/>
            <a:ext cx="441960" cy="155124"/>
          </a:xfrm>
          <a:prstGeom prst="rect">
            <a:avLst/>
          </a:prstGeom>
        </p:spPr>
      </p:pic>
      <p:pic>
        <p:nvPicPr>
          <p:cNvPr id="239" name="Picture 238">
            <a:extLst>
              <a:ext uri="{FF2B5EF4-FFF2-40B4-BE49-F238E27FC236}">
                <a16:creationId xmlns:a16="http://schemas.microsoft.com/office/drawing/2014/main" id="{89C20E4A-58C9-44CF-82BE-4EE39DC21C54}"/>
              </a:ext>
            </a:extLst>
          </p:cNvPr>
          <p:cNvPicPr>
            <a:picLocks noChangeAspect="1"/>
          </p:cNvPicPr>
          <p:nvPr/>
        </p:nvPicPr>
        <p:blipFill rotWithShape="1">
          <a:blip r:embed="rId34" cstate="screen">
            <a:extLst>
              <a:ext uri="{28A0092B-C50C-407E-A947-70E740481C1C}">
                <a14:useLocalDpi xmlns:a14="http://schemas.microsoft.com/office/drawing/2010/main"/>
              </a:ext>
            </a:extLst>
          </a:blip>
          <a:srcRect/>
          <a:stretch/>
        </p:blipFill>
        <p:spPr>
          <a:xfrm>
            <a:off x="1148093" y="1686448"/>
            <a:ext cx="657848" cy="449654"/>
          </a:xfrm>
          <a:prstGeom prst="rect">
            <a:avLst/>
          </a:prstGeom>
        </p:spPr>
      </p:pic>
      <p:pic>
        <p:nvPicPr>
          <p:cNvPr id="240" name="Picture 239">
            <a:extLst>
              <a:ext uri="{FF2B5EF4-FFF2-40B4-BE49-F238E27FC236}">
                <a16:creationId xmlns:a16="http://schemas.microsoft.com/office/drawing/2014/main" id="{D63EB65C-DFA1-47E4-8A3C-2E495A747F20}"/>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1935478" y="1714422"/>
            <a:ext cx="335282" cy="450798"/>
          </a:xfrm>
          <a:prstGeom prst="rect">
            <a:avLst/>
          </a:prstGeom>
        </p:spPr>
      </p:pic>
      <p:pic>
        <p:nvPicPr>
          <p:cNvPr id="241" name="Picture 240">
            <a:extLst>
              <a:ext uri="{FF2B5EF4-FFF2-40B4-BE49-F238E27FC236}">
                <a16:creationId xmlns:a16="http://schemas.microsoft.com/office/drawing/2014/main" id="{61D06F69-43C8-4962-A174-CC4195487CDF}"/>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2435642" y="1889283"/>
            <a:ext cx="437952" cy="194322"/>
          </a:xfrm>
          <a:prstGeom prst="rect">
            <a:avLst/>
          </a:prstGeom>
        </p:spPr>
      </p:pic>
      <p:pic>
        <p:nvPicPr>
          <p:cNvPr id="242" name="Picture 241">
            <a:extLst>
              <a:ext uri="{FF2B5EF4-FFF2-40B4-BE49-F238E27FC236}">
                <a16:creationId xmlns:a16="http://schemas.microsoft.com/office/drawing/2014/main" id="{8971BC50-0EC8-4B4C-A4D9-37B00F7EC3EC}"/>
              </a:ext>
            </a:extLst>
          </p:cNvPr>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708989" y="2188884"/>
            <a:ext cx="878208" cy="197742"/>
          </a:xfrm>
          <a:prstGeom prst="rect">
            <a:avLst/>
          </a:prstGeom>
        </p:spPr>
      </p:pic>
      <p:pic>
        <p:nvPicPr>
          <p:cNvPr id="243" name="Picture 242">
            <a:extLst>
              <a:ext uri="{FF2B5EF4-FFF2-40B4-BE49-F238E27FC236}">
                <a16:creationId xmlns:a16="http://schemas.microsoft.com/office/drawing/2014/main" id="{42E219FD-4CBF-443E-8264-479F0EB3B58D}"/>
              </a:ext>
            </a:extLst>
          </p:cNvPr>
          <p:cNvPicPr>
            <a:picLocks noChangeAspect="1"/>
          </p:cNvPicPr>
          <p:nvPr/>
        </p:nvPicPr>
        <p:blipFill rotWithShape="1">
          <a:blip r:embed="rId38" cstate="screen">
            <a:extLst>
              <a:ext uri="{28A0092B-C50C-407E-A947-70E740481C1C}">
                <a14:useLocalDpi xmlns:a14="http://schemas.microsoft.com/office/drawing/2010/main"/>
              </a:ext>
            </a:extLst>
          </a:blip>
          <a:srcRect/>
          <a:stretch/>
        </p:blipFill>
        <p:spPr>
          <a:xfrm>
            <a:off x="2949377" y="1896260"/>
            <a:ext cx="435376" cy="537920"/>
          </a:xfrm>
          <a:prstGeom prst="rect">
            <a:avLst/>
          </a:prstGeom>
        </p:spPr>
      </p:pic>
      <p:pic>
        <p:nvPicPr>
          <p:cNvPr id="244" name="Picture 243">
            <a:extLst>
              <a:ext uri="{FF2B5EF4-FFF2-40B4-BE49-F238E27FC236}">
                <a16:creationId xmlns:a16="http://schemas.microsoft.com/office/drawing/2014/main" id="{8A8BC06B-13F7-469C-B06D-C43FAB1A9EFA}"/>
              </a:ext>
            </a:extLst>
          </p:cNvPr>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1684021" y="2267226"/>
            <a:ext cx="381220" cy="287808"/>
          </a:xfrm>
          <a:prstGeom prst="rect">
            <a:avLst/>
          </a:prstGeom>
        </p:spPr>
      </p:pic>
      <p:pic>
        <p:nvPicPr>
          <p:cNvPr id="245" name="Picture 244">
            <a:extLst>
              <a:ext uri="{FF2B5EF4-FFF2-40B4-BE49-F238E27FC236}">
                <a16:creationId xmlns:a16="http://schemas.microsoft.com/office/drawing/2014/main" id="{A65142CA-69BC-4307-B080-B84F3A3EEE07}"/>
              </a:ext>
            </a:extLst>
          </p:cNvPr>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2161088" y="2251971"/>
            <a:ext cx="712506" cy="401078"/>
          </a:xfrm>
          <a:prstGeom prst="rect">
            <a:avLst/>
          </a:prstGeom>
        </p:spPr>
      </p:pic>
      <p:pic>
        <p:nvPicPr>
          <p:cNvPr id="246" name="Picture 245">
            <a:extLst>
              <a:ext uri="{FF2B5EF4-FFF2-40B4-BE49-F238E27FC236}">
                <a16:creationId xmlns:a16="http://schemas.microsoft.com/office/drawing/2014/main" id="{2833680C-D31A-461B-B35F-E7A7703C6FEC}"/>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699270" y="2462622"/>
            <a:ext cx="445856" cy="268694"/>
          </a:xfrm>
          <a:prstGeom prst="rect">
            <a:avLst/>
          </a:prstGeom>
        </p:spPr>
      </p:pic>
      <p:pic>
        <p:nvPicPr>
          <p:cNvPr id="249" name="Picture 248">
            <a:extLst>
              <a:ext uri="{FF2B5EF4-FFF2-40B4-BE49-F238E27FC236}">
                <a16:creationId xmlns:a16="http://schemas.microsoft.com/office/drawing/2014/main" id="{B45AEA65-AA01-4CED-8B0D-D317CDFBD24A}"/>
              </a:ext>
            </a:extLst>
          </p:cNvPr>
          <p:cNvPicPr>
            <a:picLocks noChangeAspect="1"/>
          </p:cNvPicPr>
          <p:nvPr/>
        </p:nvPicPr>
        <p:blipFill rotWithShape="1">
          <a:blip r:embed="rId42" cstate="screen">
            <a:extLst>
              <a:ext uri="{28A0092B-C50C-407E-A947-70E740481C1C}">
                <a14:useLocalDpi xmlns:a14="http://schemas.microsoft.com/office/drawing/2010/main"/>
              </a:ext>
            </a:extLst>
          </a:blip>
          <a:srcRect/>
          <a:stretch/>
        </p:blipFill>
        <p:spPr>
          <a:xfrm>
            <a:off x="647700" y="3297450"/>
            <a:ext cx="820300" cy="336876"/>
          </a:xfrm>
          <a:prstGeom prst="rect">
            <a:avLst/>
          </a:prstGeom>
        </p:spPr>
      </p:pic>
      <p:pic>
        <p:nvPicPr>
          <p:cNvPr id="250" name="Picture 249">
            <a:extLst>
              <a:ext uri="{FF2B5EF4-FFF2-40B4-BE49-F238E27FC236}">
                <a16:creationId xmlns:a16="http://schemas.microsoft.com/office/drawing/2014/main" id="{E6E892C9-9121-4101-89B0-90CADAB99B19}"/>
              </a:ext>
            </a:extLst>
          </p:cNvPr>
          <p:cNvPicPr>
            <a:picLocks noChangeAspect="1"/>
          </p:cNvPicPr>
          <p:nvPr/>
        </p:nvPicPr>
        <p:blipFill rotWithShape="1">
          <a:blip r:embed="rId43" cstate="screen">
            <a:extLst>
              <a:ext uri="{28A0092B-C50C-407E-A947-70E740481C1C}">
                <a14:useLocalDpi xmlns:a14="http://schemas.microsoft.com/office/drawing/2010/main"/>
              </a:ext>
            </a:extLst>
          </a:blip>
          <a:srcRect/>
          <a:stretch/>
        </p:blipFill>
        <p:spPr>
          <a:xfrm>
            <a:off x="1570195" y="3369356"/>
            <a:ext cx="990092" cy="343644"/>
          </a:xfrm>
          <a:prstGeom prst="rect">
            <a:avLst/>
          </a:prstGeom>
        </p:spPr>
      </p:pic>
      <p:pic>
        <p:nvPicPr>
          <p:cNvPr id="251" name="Picture 250">
            <a:extLst>
              <a:ext uri="{FF2B5EF4-FFF2-40B4-BE49-F238E27FC236}">
                <a16:creationId xmlns:a16="http://schemas.microsoft.com/office/drawing/2014/main" id="{03E15673-51FF-4651-9A8C-E0F11D73A907}"/>
              </a:ext>
            </a:extLst>
          </p:cNvPr>
          <p:cNvPicPr>
            <a:picLocks noChangeAspect="1"/>
          </p:cNvPicPr>
          <p:nvPr/>
        </p:nvPicPr>
        <p:blipFill>
          <a:blip r:embed="rId44" cstate="screen">
            <a:extLst>
              <a:ext uri="{28A0092B-C50C-407E-A947-70E740481C1C}">
                <a14:useLocalDpi xmlns:a14="http://schemas.microsoft.com/office/drawing/2010/main"/>
              </a:ext>
            </a:extLst>
          </a:blip>
          <a:stretch>
            <a:fillRect/>
          </a:stretch>
        </p:blipFill>
        <p:spPr>
          <a:xfrm>
            <a:off x="2675973" y="3369356"/>
            <a:ext cx="532900" cy="270680"/>
          </a:xfrm>
          <a:prstGeom prst="rect">
            <a:avLst/>
          </a:prstGeom>
        </p:spPr>
      </p:pic>
      <p:pic>
        <p:nvPicPr>
          <p:cNvPr id="252" name="Picture 251">
            <a:extLst>
              <a:ext uri="{FF2B5EF4-FFF2-40B4-BE49-F238E27FC236}">
                <a16:creationId xmlns:a16="http://schemas.microsoft.com/office/drawing/2014/main" id="{8050E9E3-4A5F-40EE-849E-FFF976D616E5}"/>
              </a:ext>
            </a:extLst>
          </p:cNvPr>
          <p:cNvPicPr>
            <a:picLocks noChangeAspect="1"/>
          </p:cNvPicPr>
          <p:nvPr/>
        </p:nvPicPr>
        <p:blipFill>
          <a:blip r:embed="rId45" cstate="screen">
            <a:extLst>
              <a:ext uri="{28A0092B-C50C-407E-A947-70E740481C1C}">
                <a14:useLocalDpi xmlns:a14="http://schemas.microsoft.com/office/drawing/2010/main"/>
              </a:ext>
            </a:extLst>
          </a:blip>
          <a:stretch>
            <a:fillRect/>
          </a:stretch>
        </p:blipFill>
        <p:spPr>
          <a:xfrm>
            <a:off x="647700" y="3741948"/>
            <a:ext cx="357342" cy="242154"/>
          </a:xfrm>
          <a:prstGeom prst="rect">
            <a:avLst/>
          </a:prstGeom>
        </p:spPr>
      </p:pic>
      <p:pic>
        <p:nvPicPr>
          <p:cNvPr id="253" name="Picture 252">
            <a:extLst>
              <a:ext uri="{FF2B5EF4-FFF2-40B4-BE49-F238E27FC236}">
                <a16:creationId xmlns:a16="http://schemas.microsoft.com/office/drawing/2014/main" id="{0A6DC1AF-A10D-4BE6-B31A-52028F51EF13}"/>
              </a:ext>
            </a:extLst>
          </p:cNvPr>
          <p:cNvPicPr>
            <a:picLocks noChangeAspect="1"/>
          </p:cNvPicPr>
          <p:nvPr/>
        </p:nvPicPr>
        <p:blipFill rotWithShape="1">
          <a:blip r:embed="rId46" cstate="screen">
            <a:extLst>
              <a:ext uri="{28A0092B-C50C-407E-A947-70E740481C1C}">
                <a14:useLocalDpi xmlns:a14="http://schemas.microsoft.com/office/drawing/2010/main"/>
              </a:ext>
            </a:extLst>
          </a:blip>
          <a:srcRect/>
          <a:stretch/>
        </p:blipFill>
        <p:spPr>
          <a:xfrm>
            <a:off x="1251648" y="3704070"/>
            <a:ext cx="637094" cy="327440"/>
          </a:xfrm>
          <a:prstGeom prst="rect">
            <a:avLst/>
          </a:prstGeom>
        </p:spPr>
      </p:pic>
      <p:pic>
        <p:nvPicPr>
          <p:cNvPr id="254" name="Picture 253">
            <a:extLst>
              <a:ext uri="{FF2B5EF4-FFF2-40B4-BE49-F238E27FC236}">
                <a16:creationId xmlns:a16="http://schemas.microsoft.com/office/drawing/2014/main" id="{EF000CC9-B372-41A6-98E0-164E071C5D37}"/>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2637873" y="3739074"/>
            <a:ext cx="439454" cy="292436"/>
          </a:xfrm>
          <a:prstGeom prst="rect">
            <a:avLst/>
          </a:prstGeom>
        </p:spPr>
      </p:pic>
      <p:pic>
        <p:nvPicPr>
          <p:cNvPr id="255" name="Picture 254">
            <a:extLst>
              <a:ext uri="{FF2B5EF4-FFF2-40B4-BE49-F238E27FC236}">
                <a16:creationId xmlns:a16="http://schemas.microsoft.com/office/drawing/2014/main" id="{B76843C5-A229-4B9B-BD92-ECA669F252E6}"/>
              </a:ext>
            </a:extLst>
          </p:cNvPr>
          <p:cNvPicPr>
            <a:picLocks noChangeAspect="1"/>
          </p:cNvPicPr>
          <p:nvPr/>
        </p:nvPicPr>
        <p:blipFill rotWithShape="1">
          <a:blip r:embed="rId48" cstate="screen">
            <a:extLst>
              <a:ext uri="{28A0092B-C50C-407E-A947-70E740481C1C}">
                <a14:useLocalDpi xmlns:a14="http://schemas.microsoft.com/office/drawing/2010/main"/>
              </a:ext>
            </a:extLst>
          </a:blip>
          <a:srcRect/>
          <a:stretch/>
        </p:blipFill>
        <p:spPr>
          <a:xfrm>
            <a:off x="590556" y="4135589"/>
            <a:ext cx="1485896" cy="236758"/>
          </a:xfrm>
          <a:prstGeom prst="rect">
            <a:avLst/>
          </a:prstGeom>
        </p:spPr>
      </p:pic>
      <p:pic>
        <p:nvPicPr>
          <p:cNvPr id="256" name="Picture 255">
            <a:extLst>
              <a:ext uri="{FF2B5EF4-FFF2-40B4-BE49-F238E27FC236}">
                <a16:creationId xmlns:a16="http://schemas.microsoft.com/office/drawing/2014/main" id="{920C6BC2-B2C5-4F9B-BA86-F0133CD1DB0F}"/>
              </a:ext>
            </a:extLst>
          </p:cNvPr>
          <p:cNvPicPr>
            <a:picLocks noChangeAspect="1"/>
          </p:cNvPicPr>
          <p:nvPr/>
        </p:nvPicPr>
        <p:blipFill>
          <a:blip r:embed="rId49" cstate="screen">
            <a:extLst>
              <a:ext uri="{28A0092B-C50C-407E-A947-70E740481C1C}">
                <a14:useLocalDpi xmlns:a14="http://schemas.microsoft.com/office/drawing/2010/main"/>
              </a:ext>
            </a:extLst>
          </a:blip>
          <a:stretch>
            <a:fillRect/>
          </a:stretch>
        </p:blipFill>
        <p:spPr>
          <a:xfrm>
            <a:off x="2175073" y="4100927"/>
            <a:ext cx="1171128" cy="271420"/>
          </a:xfrm>
          <a:prstGeom prst="rect">
            <a:avLst/>
          </a:prstGeom>
        </p:spPr>
      </p:pic>
      <p:pic>
        <p:nvPicPr>
          <p:cNvPr id="258" name="Picture 257">
            <a:extLst>
              <a:ext uri="{FF2B5EF4-FFF2-40B4-BE49-F238E27FC236}">
                <a16:creationId xmlns:a16="http://schemas.microsoft.com/office/drawing/2014/main" id="{3F5041F5-FF5E-46FB-B304-C3198C53BE9C}"/>
              </a:ext>
            </a:extLst>
          </p:cNvPr>
          <p:cNvPicPr>
            <a:picLocks noChangeAspect="1"/>
          </p:cNvPicPr>
          <p:nvPr/>
        </p:nvPicPr>
        <p:blipFill>
          <a:blip r:embed="rId50" cstate="screen">
            <a:extLst>
              <a:ext uri="{28A0092B-C50C-407E-A947-70E740481C1C}">
                <a14:useLocalDpi xmlns:a14="http://schemas.microsoft.com/office/drawing/2010/main"/>
              </a:ext>
            </a:extLst>
          </a:blip>
          <a:stretch>
            <a:fillRect/>
          </a:stretch>
        </p:blipFill>
        <p:spPr>
          <a:xfrm>
            <a:off x="642048" y="4950430"/>
            <a:ext cx="583760" cy="263916"/>
          </a:xfrm>
          <a:prstGeom prst="rect">
            <a:avLst/>
          </a:prstGeom>
        </p:spPr>
      </p:pic>
      <p:pic>
        <p:nvPicPr>
          <p:cNvPr id="259" name="Picture 258">
            <a:extLst>
              <a:ext uri="{FF2B5EF4-FFF2-40B4-BE49-F238E27FC236}">
                <a16:creationId xmlns:a16="http://schemas.microsoft.com/office/drawing/2014/main" id="{BBFBC647-1243-485E-81D9-19EF87FA3871}"/>
              </a:ext>
            </a:extLst>
          </p:cNvPr>
          <p:cNvPicPr>
            <a:picLocks noChangeAspect="1"/>
          </p:cNvPicPr>
          <p:nvPr/>
        </p:nvPicPr>
        <p:blipFill>
          <a:blip r:embed="rId51" cstate="screen">
            <a:extLst>
              <a:ext uri="{28A0092B-C50C-407E-A947-70E740481C1C}">
                <a14:useLocalDpi xmlns:a14="http://schemas.microsoft.com/office/drawing/2010/main"/>
              </a:ext>
            </a:extLst>
          </a:blip>
          <a:stretch>
            <a:fillRect/>
          </a:stretch>
        </p:blipFill>
        <p:spPr>
          <a:xfrm>
            <a:off x="1312416" y="4968520"/>
            <a:ext cx="764036" cy="271566"/>
          </a:xfrm>
          <a:prstGeom prst="rect">
            <a:avLst/>
          </a:prstGeom>
        </p:spPr>
      </p:pic>
      <p:pic>
        <p:nvPicPr>
          <p:cNvPr id="260" name="Picture 259">
            <a:extLst>
              <a:ext uri="{FF2B5EF4-FFF2-40B4-BE49-F238E27FC236}">
                <a16:creationId xmlns:a16="http://schemas.microsoft.com/office/drawing/2014/main" id="{75C51A8B-D307-4BE8-B20C-990D18DE1DBB}"/>
              </a:ext>
            </a:extLst>
          </p:cNvPr>
          <p:cNvPicPr>
            <a:picLocks noChangeAspect="1"/>
          </p:cNvPicPr>
          <p:nvPr/>
        </p:nvPicPr>
        <p:blipFill rotWithShape="1">
          <a:blip r:embed="rId52" cstate="screen">
            <a:extLst>
              <a:ext uri="{28A0092B-C50C-407E-A947-70E740481C1C}">
                <a14:useLocalDpi xmlns:a14="http://schemas.microsoft.com/office/drawing/2010/main"/>
              </a:ext>
            </a:extLst>
          </a:blip>
          <a:srcRect/>
          <a:stretch/>
        </p:blipFill>
        <p:spPr>
          <a:xfrm>
            <a:off x="2300043" y="5035243"/>
            <a:ext cx="411038" cy="358206"/>
          </a:xfrm>
          <a:prstGeom prst="rect">
            <a:avLst/>
          </a:prstGeom>
        </p:spPr>
      </p:pic>
      <p:pic>
        <p:nvPicPr>
          <p:cNvPr id="261" name="Picture 260">
            <a:extLst>
              <a:ext uri="{FF2B5EF4-FFF2-40B4-BE49-F238E27FC236}">
                <a16:creationId xmlns:a16="http://schemas.microsoft.com/office/drawing/2014/main" id="{12752EFD-F4B5-41B9-A576-DF0B2F77CF0A}"/>
              </a:ext>
            </a:extLst>
          </p:cNvPr>
          <p:cNvPicPr>
            <a:picLocks noChangeAspect="1"/>
          </p:cNvPicPr>
          <p:nvPr/>
        </p:nvPicPr>
        <p:blipFill rotWithShape="1">
          <a:blip r:embed="rId53" cstate="screen">
            <a:extLst>
              <a:ext uri="{28A0092B-C50C-407E-A947-70E740481C1C}">
                <a14:useLocalDpi xmlns:a14="http://schemas.microsoft.com/office/drawing/2010/main"/>
              </a:ext>
            </a:extLst>
          </a:blip>
          <a:srcRect/>
          <a:stretch/>
        </p:blipFill>
        <p:spPr>
          <a:xfrm>
            <a:off x="2893202" y="5035243"/>
            <a:ext cx="368250" cy="596326"/>
          </a:xfrm>
          <a:prstGeom prst="rect">
            <a:avLst/>
          </a:prstGeom>
        </p:spPr>
      </p:pic>
      <p:pic>
        <p:nvPicPr>
          <p:cNvPr id="262" name="Picture 261">
            <a:extLst>
              <a:ext uri="{FF2B5EF4-FFF2-40B4-BE49-F238E27FC236}">
                <a16:creationId xmlns:a16="http://schemas.microsoft.com/office/drawing/2014/main" id="{87D96144-EA59-4A94-A8E4-48DA217FE329}"/>
              </a:ext>
            </a:extLst>
          </p:cNvPr>
          <p:cNvPicPr>
            <a:picLocks noChangeAspect="1"/>
          </p:cNvPicPr>
          <p:nvPr/>
        </p:nvPicPr>
        <p:blipFill>
          <a:blip r:embed="rId54" cstate="screen">
            <a:extLst>
              <a:ext uri="{28A0092B-C50C-407E-A947-70E740481C1C}">
                <a14:useLocalDpi xmlns:a14="http://schemas.microsoft.com/office/drawing/2010/main"/>
              </a:ext>
            </a:extLst>
          </a:blip>
          <a:stretch>
            <a:fillRect/>
          </a:stretch>
        </p:blipFill>
        <p:spPr>
          <a:xfrm>
            <a:off x="642048" y="5357441"/>
            <a:ext cx="880422" cy="294986"/>
          </a:xfrm>
          <a:prstGeom prst="rect">
            <a:avLst/>
          </a:prstGeom>
        </p:spPr>
      </p:pic>
      <p:pic>
        <p:nvPicPr>
          <p:cNvPr id="263" name="Picture 262">
            <a:extLst>
              <a:ext uri="{FF2B5EF4-FFF2-40B4-BE49-F238E27FC236}">
                <a16:creationId xmlns:a16="http://schemas.microsoft.com/office/drawing/2014/main" id="{F705725F-1A3C-46FF-BF2C-62BCA54D1E45}"/>
              </a:ext>
            </a:extLst>
          </p:cNvPr>
          <p:cNvPicPr>
            <a:picLocks noChangeAspect="1"/>
          </p:cNvPicPr>
          <p:nvPr/>
        </p:nvPicPr>
        <p:blipFill>
          <a:blip r:embed="rId55" cstate="screen">
            <a:extLst>
              <a:ext uri="{28A0092B-C50C-407E-A947-70E740481C1C}">
                <a14:useLocalDpi xmlns:a14="http://schemas.microsoft.com/office/drawing/2010/main"/>
              </a:ext>
            </a:extLst>
          </a:blip>
          <a:stretch>
            <a:fillRect/>
          </a:stretch>
        </p:blipFill>
        <p:spPr>
          <a:xfrm>
            <a:off x="1629458" y="5400591"/>
            <a:ext cx="603200" cy="230978"/>
          </a:xfrm>
          <a:prstGeom prst="rect">
            <a:avLst/>
          </a:prstGeom>
        </p:spPr>
      </p:pic>
      <p:pic>
        <p:nvPicPr>
          <p:cNvPr id="264" name="Picture 263">
            <a:extLst>
              <a:ext uri="{FF2B5EF4-FFF2-40B4-BE49-F238E27FC236}">
                <a16:creationId xmlns:a16="http://schemas.microsoft.com/office/drawing/2014/main" id="{A96CDCCA-E568-43E9-BBEA-E24C5E53C841}"/>
              </a:ext>
            </a:extLst>
          </p:cNvPr>
          <p:cNvPicPr>
            <a:picLocks noChangeAspect="1"/>
          </p:cNvPicPr>
          <p:nvPr/>
        </p:nvPicPr>
        <p:blipFill>
          <a:blip r:embed="rId56" cstate="screen">
            <a:extLst>
              <a:ext uri="{28A0092B-C50C-407E-A947-70E740481C1C}">
                <a14:useLocalDpi xmlns:a14="http://schemas.microsoft.com/office/drawing/2010/main"/>
              </a:ext>
            </a:extLst>
          </a:blip>
          <a:stretch>
            <a:fillRect/>
          </a:stretch>
        </p:blipFill>
        <p:spPr>
          <a:xfrm>
            <a:off x="663237" y="5712747"/>
            <a:ext cx="1125142" cy="271416"/>
          </a:xfrm>
          <a:prstGeom prst="rect">
            <a:avLst/>
          </a:prstGeom>
        </p:spPr>
      </p:pic>
      <p:pic>
        <p:nvPicPr>
          <p:cNvPr id="265" name="Picture 264">
            <a:extLst>
              <a:ext uri="{FF2B5EF4-FFF2-40B4-BE49-F238E27FC236}">
                <a16:creationId xmlns:a16="http://schemas.microsoft.com/office/drawing/2014/main" id="{C94AEC93-1381-40FB-B7F8-DABAE0383A57}"/>
              </a:ext>
            </a:extLst>
          </p:cNvPr>
          <p:cNvPicPr>
            <a:picLocks noChangeAspect="1"/>
          </p:cNvPicPr>
          <p:nvPr/>
        </p:nvPicPr>
        <p:blipFill>
          <a:blip r:embed="rId57" cstate="screen">
            <a:extLst>
              <a:ext uri="{28A0092B-C50C-407E-A947-70E740481C1C}">
                <a14:useLocalDpi xmlns:a14="http://schemas.microsoft.com/office/drawing/2010/main"/>
              </a:ext>
            </a:extLst>
          </a:blip>
          <a:stretch>
            <a:fillRect/>
          </a:stretch>
        </p:blipFill>
        <p:spPr>
          <a:xfrm>
            <a:off x="2232658" y="5630688"/>
            <a:ext cx="732492" cy="306084"/>
          </a:xfrm>
          <a:prstGeom prst="rect">
            <a:avLst/>
          </a:prstGeom>
        </p:spPr>
      </p:pic>
      <p:pic>
        <p:nvPicPr>
          <p:cNvPr id="267" name="Picture 266">
            <a:extLst>
              <a:ext uri="{FF2B5EF4-FFF2-40B4-BE49-F238E27FC236}">
                <a16:creationId xmlns:a16="http://schemas.microsoft.com/office/drawing/2014/main" id="{FB35D421-DCFD-4F1C-9953-FDC5099D0480}"/>
              </a:ext>
            </a:extLst>
          </p:cNvPr>
          <p:cNvPicPr>
            <a:picLocks noChangeAspect="1"/>
          </p:cNvPicPr>
          <p:nvPr/>
        </p:nvPicPr>
        <p:blipFill>
          <a:blip r:embed="rId58" cstate="screen">
            <a:extLst>
              <a:ext uri="{28A0092B-C50C-407E-A947-70E740481C1C}">
                <a14:useLocalDpi xmlns:a14="http://schemas.microsoft.com/office/drawing/2010/main"/>
              </a:ext>
            </a:extLst>
          </a:blip>
          <a:stretch>
            <a:fillRect/>
          </a:stretch>
        </p:blipFill>
        <p:spPr>
          <a:xfrm>
            <a:off x="9251160" y="1707490"/>
            <a:ext cx="544582" cy="274014"/>
          </a:xfrm>
          <a:prstGeom prst="rect">
            <a:avLst/>
          </a:prstGeom>
        </p:spPr>
      </p:pic>
      <p:pic>
        <p:nvPicPr>
          <p:cNvPr id="268" name="Picture 267">
            <a:extLst>
              <a:ext uri="{FF2B5EF4-FFF2-40B4-BE49-F238E27FC236}">
                <a16:creationId xmlns:a16="http://schemas.microsoft.com/office/drawing/2014/main" id="{C6128386-5EB6-4331-A1AA-60EE20473CD9}"/>
              </a:ext>
            </a:extLst>
          </p:cNvPr>
          <p:cNvPicPr>
            <a:picLocks noChangeAspect="1"/>
          </p:cNvPicPr>
          <p:nvPr/>
        </p:nvPicPr>
        <p:blipFill rotWithShape="1">
          <a:blip r:embed="rId59" cstate="screen">
            <a:extLst>
              <a:ext uri="{28A0092B-C50C-407E-A947-70E740481C1C}">
                <a14:useLocalDpi xmlns:a14="http://schemas.microsoft.com/office/drawing/2010/main"/>
              </a:ext>
            </a:extLst>
          </a:blip>
          <a:srcRect/>
          <a:stretch/>
        </p:blipFill>
        <p:spPr>
          <a:xfrm>
            <a:off x="9915369" y="1758497"/>
            <a:ext cx="880422" cy="279334"/>
          </a:xfrm>
          <a:prstGeom prst="rect">
            <a:avLst/>
          </a:prstGeom>
        </p:spPr>
      </p:pic>
      <p:pic>
        <p:nvPicPr>
          <p:cNvPr id="269" name="Picture 268">
            <a:extLst>
              <a:ext uri="{FF2B5EF4-FFF2-40B4-BE49-F238E27FC236}">
                <a16:creationId xmlns:a16="http://schemas.microsoft.com/office/drawing/2014/main" id="{941921BE-8327-491E-9F82-499A4FDBDEE7}"/>
              </a:ext>
            </a:extLst>
          </p:cNvPr>
          <p:cNvPicPr>
            <a:picLocks noChangeAspect="1"/>
          </p:cNvPicPr>
          <p:nvPr/>
        </p:nvPicPr>
        <p:blipFill>
          <a:blip r:embed="rId60" cstate="screen">
            <a:extLst>
              <a:ext uri="{28A0092B-C50C-407E-A947-70E740481C1C}">
                <a14:useLocalDpi xmlns:a14="http://schemas.microsoft.com/office/drawing/2010/main"/>
              </a:ext>
            </a:extLst>
          </a:blip>
          <a:stretch>
            <a:fillRect/>
          </a:stretch>
        </p:blipFill>
        <p:spPr>
          <a:xfrm>
            <a:off x="10914940" y="1781739"/>
            <a:ext cx="553160" cy="256092"/>
          </a:xfrm>
          <a:prstGeom prst="rect">
            <a:avLst/>
          </a:prstGeom>
        </p:spPr>
      </p:pic>
      <p:pic>
        <p:nvPicPr>
          <p:cNvPr id="270" name="Picture 269">
            <a:extLst>
              <a:ext uri="{FF2B5EF4-FFF2-40B4-BE49-F238E27FC236}">
                <a16:creationId xmlns:a16="http://schemas.microsoft.com/office/drawing/2014/main" id="{89F8738A-6ACC-4F68-944E-B1F81B51E91F}"/>
              </a:ext>
            </a:extLst>
          </p:cNvPr>
          <p:cNvPicPr>
            <a:picLocks noChangeAspect="1"/>
          </p:cNvPicPr>
          <p:nvPr/>
        </p:nvPicPr>
        <p:blipFill>
          <a:blip r:embed="rId61" cstate="screen">
            <a:extLst>
              <a:ext uri="{28A0092B-C50C-407E-A947-70E740481C1C}">
                <a14:useLocalDpi xmlns:a14="http://schemas.microsoft.com/office/drawing/2010/main"/>
              </a:ext>
            </a:extLst>
          </a:blip>
          <a:stretch>
            <a:fillRect/>
          </a:stretch>
        </p:blipFill>
        <p:spPr>
          <a:xfrm>
            <a:off x="9130180" y="2051032"/>
            <a:ext cx="807824" cy="420796"/>
          </a:xfrm>
          <a:prstGeom prst="rect">
            <a:avLst/>
          </a:prstGeom>
        </p:spPr>
      </p:pic>
      <p:pic>
        <p:nvPicPr>
          <p:cNvPr id="271" name="Picture 270">
            <a:extLst>
              <a:ext uri="{FF2B5EF4-FFF2-40B4-BE49-F238E27FC236}">
                <a16:creationId xmlns:a16="http://schemas.microsoft.com/office/drawing/2014/main" id="{071C10D8-37C6-426F-A9F4-F7BAECF9A697}"/>
              </a:ext>
            </a:extLst>
          </p:cNvPr>
          <p:cNvPicPr>
            <a:picLocks noChangeAspect="1"/>
          </p:cNvPicPr>
          <p:nvPr/>
        </p:nvPicPr>
        <p:blipFill>
          <a:blip r:embed="rId62" cstate="screen">
            <a:extLst>
              <a:ext uri="{28A0092B-C50C-407E-A947-70E740481C1C}">
                <a14:useLocalDpi xmlns:a14="http://schemas.microsoft.com/office/drawing/2010/main"/>
              </a:ext>
            </a:extLst>
          </a:blip>
          <a:stretch>
            <a:fillRect/>
          </a:stretch>
        </p:blipFill>
        <p:spPr>
          <a:xfrm>
            <a:off x="9971413" y="2055103"/>
            <a:ext cx="526380" cy="362618"/>
          </a:xfrm>
          <a:prstGeom prst="rect">
            <a:avLst/>
          </a:prstGeom>
        </p:spPr>
      </p:pic>
      <p:pic>
        <p:nvPicPr>
          <p:cNvPr id="272" name="Picture 271">
            <a:extLst>
              <a:ext uri="{FF2B5EF4-FFF2-40B4-BE49-F238E27FC236}">
                <a16:creationId xmlns:a16="http://schemas.microsoft.com/office/drawing/2014/main" id="{2B6BEB69-2FDB-4DAC-AFC9-6ADC9BDA6405}"/>
              </a:ext>
            </a:extLst>
          </p:cNvPr>
          <p:cNvPicPr>
            <a:picLocks noChangeAspect="1"/>
          </p:cNvPicPr>
          <p:nvPr/>
        </p:nvPicPr>
        <p:blipFill>
          <a:blip r:embed="rId63" cstate="screen">
            <a:extLst>
              <a:ext uri="{28A0092B-C50C-407E-A947-70E740481C1C}">
                <a14:useLocalDpi xmlns:a14="http://schemas.microsoft.com/office/drawing/2010/main"/>
              </a:ext>
            </a:extLst>
          </a:blip>
          <a:stretch>
            <a:fillRect/>
          </a:stretch>
        </p:blipFill>
        <p:spPr>
          <a:xfrm>
            <a:off x="10674672" y="2165220"/>
            <a:ext cx="335912" cy="403094"/>
          </a:xfrm>
          <a:prstGeom prst="rect">
            <a:avLst/>
          </a:prstGeom>
        </p:spPr>
      </p:pic>
      <p:pic>
        <p:nvPicPr>
          <p:cNvPr id="273" name="Picture 272">
            <a:extLst>
              <a:ext uri="{FF2B5EF4-FFF2-40B4-BE49-F238E27FC236}">
                <a16:creationId xmlns:a16="http://schemas.microsoft.com/office/drawing/2014/main" id="{BA27E81F-D238-4AA1-8578-1B009CDE717C}"/>
              </a:ext>
            </a:extLst>
          </p:cNvPr>
          <p:cNvPicPr>
            <a:picLocks noChangeAspect="1"/>
          </p:cNvPicPr>
          <p:nvPr/>
        </p:nvPicPr>
        <p:blipFill rotWithShape="1">
          <a:blip r:embed="rId64" cstate="screen">
            <a:extLst>
              <a:ext uri="{28A0092B-C50C-407E-A947-70E740481C1C}">
                <a14:useLocalDpi xmlns:a14="http://schemas.microsoft.com/office/drawing/2010/main"/>
              </a:ext>
            </a:extLst>
          </a:blip>
          <a:srcRect/>
          <a:stretch/>
        </p:blipFill>
        <p:spPr>
          <a:xfrm>
            <a:off x="11116509" y="2143728"/>
            <a:ext cx="383728" cy="377106"/>
          </a:xfrm>
          <a:prstGeom prst="rect">
            <a:avLst/>
          </a:prstGeom>
        </p:spPr>
      </p:pic>
      <p:pic>
        <p:nvPicPr>
          <p:cNvPr id="274" name="Picture 273">
            <a:extLst>
              <a:ext uri="{FF2B5EF4-FFF2-40B4-BE49-F238E27FC236}">
                <a16:creationId xmlns:a16="http://schemas.microsoft.com/office/drawing/2014/main" id="{206A9B01-5D82-407F-951F-A34C09527F61}"/>
              </a:ext>
            </a:extLst>
          </p:cNvPr>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9251160" y="2502014"/>
            <a:ext cx="442552" cy="263098"/>
          </a:xfrm>
          <a:prstGeom prst="rect">
            <a:avLst/>
          </a:prstGeom>
        </p:spPr>
      </p:pic>
      <p:pic>
        <p:nvPicPr>
          <p:cNvPr id="275" name="Picture 274">
            <a:extLst>
              <a:ext uri="{FF2B5EF4-FFF2-40B4-BE49-F238E27FC236}">
                <a16:creationId xmlns:a16="http://schemas.microsoft.com/office/drawing/2014/main" id="{A373F67A-3DF9-4E6A-B04C-CF888AB2FEB0}"/>
              </a:ext>
            </a:extLst>
          </p:cNvPr>
          <p:cNvPicPr>
            <a:picLocks noChangeAspect="1"/>
          </p:cNvPicPr>
          <p:nvPr/>
        </p:nvPicPr>
        <p:blipFill>
          <a:blip r:embed="rId66" cstate="screen">
            <a:extLst>
              <a:ext uri="{28A0092B-C50C-407E-A947-70E740481C1C}">
                <a14:useLocalDpi xmlns:a14="http://schemas.microsoft.com/office/drawing/2010/main"/>
              </a:ext>
            </a:extLst>
          </a:blip>
          <a:stretch>
            <a:fillRect/>
          </a:stretch>
        </p:blipFill>
        <p:spPr>
          <a:xfrm>
            <a:off x="9743327" y="2471828"/>
            <a:ext cx="344084" cy="314800"/>
          </a:xfrm>
          <a:prstGeom prst="rect">
            <a:avLst/>
          </a:prstGeom>
        </p:spPr>
      </p:pic>
      <p:pic>
        <p:nvPicPr>
          <p:cNvPr id="277" name="Picture 276">
            <a:extLst>
              <a:ext uri="{FF2B5EF4-FFF2-40B4-BE49-F238E27FC236}">
                <a16:creationId xmlns:a16="http://schemas.microsoft.com/office/drawing/2014/main" id="{573955AB-A8FC-4A48-A439-7688A53AA6A4}"/>
              </a:ext>
            </a:extLst>
          </p:cNvPr>
          <p:cNvPicPr>
            <a:picLocks noChangeAspect="1"/>
          </p:cNvPicPr>
          <p:nvPr/>
        </p:nvPicPr>
        <p:blipFill>
          <a:blip r:embed="rId67" cstate="screen">
            <a:extLst>
              <a:ext uri="{28A0092B-C50C-407E-A947-70E740481C1C}">
                <a14:useLocalDpi xmlns:a14="http://schemas.microsoft.com/office/drawing/2010/main"/>
              </a:ext>
            </a:extLst>
          </a:blip>
          <a:stretch>
            <a:fillRect/>
          </a:stretch>
        </p:blipFill>
        <p:spPr>
          <a:xfrm>
            <a:off x="9218149" y="3274521"/>
            <a:ext cx="456514" cy="456514"/>
          </a:xfrm>
          <a:prstGeom prst="rect">
            <a:avLst/>
          </a:prstGeom>
        </p:spPr>
      </p:pic>
      <p:pic>
        <p:nvPicPr>
          <p:cNvPr id="278" name="Picture 277">
            <a:extLst>
              <a:ext uri="{FF2B5EF4-FFF2-40B4-BE49-F238E27FC236}">
                <a16:creationId xmlns:a16="http://schemas.microsoft.com/office/drawing/2014/main" id="{E26B9605-C7B1-430E-A41E-F19F2E0FFC15}"/>
              </a:ext>
            </a:extLst>
          </p:cNvPr>
          <p:cNvPicPr>
            <a:picLocks noChangeAspect="1"/>
          </p:cNvPicPr>
          <p:nvPr/>
        </p:nvPicPr>
        <p:blipFill>
          <a:blip r:embed="rId68" cstate="screen">
            <a:extLst>
              <a:ext uri="{28A0092B-C50C-407E-A947-70E740481C1C}">
                <a14:useLocalDpi xmlns:a14="http://schemas.microsoft.com/office/drawing/2010/main"/>
              </a:ext>
            </a:extLst>
          </a:blip>
          <a:stretch>
            <a:fillRect/>
          </a:stretch>
        </p:blipFill>
        <p:spPr>
          <a:xfrm>
            <a:off x="9858655" y="3274521"/>
            <a:ext cx="557618" cy="512340"/>
          </a:xfrm>
          <a:prstGeom prst="rect">
            <a:avLst/>
          </a:prstGeom>
        </p:spPr>
      </p:pic>
      <p:pic>
        <p:nvPicPr>
          <p:cNvPr id="279" name="Picture 278">
            <a:extLst>
              <a:ext uri="{FF2B5EF4-FFF2-40B4-BE49-F238E27FC236}">
                <a16:creationId xmlns:a16="http://schemas.microsoft.com/office/drawing/2014/main" id="{BD701887-46FB-4AF0-A97C-4B81EFF04FF1}"/>
              </a:ext>
            </a:extLst>
          </p:cNvPr>
          <p:cNvPicPr>
            <a:picLocks noChangeAspect="1"/>
          </p:cNvPicPr>
          <p:nvPr/>
        </p:nvPicPr>
        <p:blipFill>
          <a:blip r:embed="rId62" cstate="screen">
            <a:extLst>
              <a:ext uri="{28A0092B-C50C-407E-A947-70E740481C1C}">
                <a14:useLocalDpi xmlns:a14="http://schemas.microsoft.com/office/drawing/2010/main"/>
              </a:ext>
            </a:extLst>
          </a:blip>
          <a:stretch>
            <a:fillRect/>
          </a:stretch>
        </p:blipFill>
        <p:spPr>
          <a:xfrm>
            <a:off x="10532601" y="3305631"/>
            <a:ext cx="526380" cy="362618"/>
          </a:xfrm>
          <a:prstGeom prst="rect">
            <a:avLst/>
          </a:prstGeom>
        </p:spPr>
      </p:pic>
      <p:pic>
        <p:nvPicPr>
          <p:cNvPr id="280" name="Picture 279">
            <a:extLst>
              <a:ext uri="{FF2B5EF4-FFF2-40B4-BE49-F238E27FC236}">
                <a16:creationId xmlns:a16="http://schemas.microsoft.com/office/drawing/2014/main" id="{1F7CB283-3F1C-4CA4-A37B-E77F9FDD4DDB}"/>
              </a:ext>
            </a:extLst>
          </p:cNvPr>
          <p:cNvPicPr>
            <a:picLocks noChangeAspect="1"/>
          </p:cNvPicPr>
          <p:nvPr/>
        </p:nvPicPr>
        <p:blipFill>
          <a:blip r:embed="rId69" cstate="screen">
            <a:extLst>
              <a:ext uri="{28A0092B-C50C-407E-A947-70E740481C1C}">
                <a14:useLocalDpi xmlns:a14="http://schemas.microsoft.com/office/drawing/2010/main"/>
              </a:ext>
            </a:extLst>
          </a:blip>
          <a:stretch>
            <a:fillRect/>
          </a:stretch>
        </p:blipFill>
        <p:spPr>
          <a:xfrm>
            <a:off x="9202906" y="3888666"/>
            <a:ext cx="702190" cy="339138"/>
          </a:xfrm>
          <a:prstGeom prst="rect">
            <a:avLst/>
          </a:prstGeom>
        </p:spPr>
      </p:pic>
      <p:pic>
        <p:nvPicPr>
          <p:cNvPr id="281" name="Picture 280">
            <a:extLst>
              <a:ext uri="{FF2B5EF4-FFF2-40B4-BE49-F238E27FC236}">
                <a16:creationId xmlns:a16="http://schemas.microsoft.com/office/drawing/2014/main" id="{C7C1D202-4E34-41B8-8A71-3D26182802A3}"/>
              </a:ext>
            </a:extLst>
          </p:cNvPr>
          <p:cNvPicPr>
            <a:picLocks noChangeAspect="1"/>
          </p:cNvPicPr>
          <p:nvPr/>
        </p:nvPicPr>
        <p:blipFill>
          <a:blip r:embed="rId70" cstate="screen">
            <a:extLst>
              <a:ext uri="{28A0092B-C50C-407E-A947-70E740481C1C}">
                <a14:useLocalDpi xmlns:a14="http://schemas.microsoft.com/office/drawing/2010/main"/>
              </a:ext>
            </a:extLst>
          </a:blip>
          <a:stretch>
            <a:fillRect/>
          </a:stretch>
        </p:blipFill>
        <p:spPr>
          <a:xfrm>
            <a:off x="9975394" y="3899983"/>
            <a:ext cx="404416" cy="331034"/>
          </a:xfrm>
          <a:prstGeom prst="rect">
            <a:avLst/>
          </a:prstGeom>
        </p:spPr>
      </p:pic>
      <p:pic>
        <p:nvPicPr>
          <p:cNvPr id="282" name="Picture 281">
            <a:extLst>
              <a:ext uri="{FF2B5EF4-FFF2-40B4-BE49-F238E27FC236}">
                <a16:creationId xmlns:a16="http://schemas.microsoft.com/office/drawing/2014/main" id="{8DC62806-F83C-4C48-8FF9-871CFF541487}"/>
              </a:ext>
            </a:extLst>
          </p:cNvPr>
          <p:cNvPicPr>
            <a:picLocks noChangeAspect="1"/>
          </p:cNvPicPr>
          <p:nvPr/>
        </p:nvPicPr>
        <p:blipFill>
          <a:blip r:embed="rId71" cstate="screen">
            <a:extLst>
              <a:ext uri="{28A0092B-C50C-407E-A947-70E740481C1C}">
                <a14:useLocalDpi xmlns:a14="http://schemas.microsoft.com/office/drawing/2010/main"/>
              </a:ext>
            </a:extLst>
          </a:blip>
          <a:stretch>
            <a:fillRect/>
          </a:stretch>
        </p:blipFill>
        <p:spPr>
          <a:xfrm>
            <a:off x="10525404" y="3812891"/>
            <a:ext cx="712504" cy="469840"/>
          </a:xfrm>
          <a:prstGeom prst="rect">
            <a:avLst/>
          </a:prstGeom>
        </p:spPr>
      </p:pic>
      <p:pic>
        <p:nvPicPr>
          <p:cNvPr id="284" name="Picture 283">
            <a:extLst>
              <a:ext uri="{FF2B5EF4-FFF2-40B4-BE49-F238E27FC236}">
                <a16:creationId xmlns:a16="http://schemas.microsoft.com/office/drawing/2014/main" id="{9B3D9B2F-1183-4E72-901F-42B8763D296D}"/>
              </a:ext>
            </a:extLst>
          </p:cNvPr>
          <p:cNvPicPr>
            <a:picLocks noChangeAspect="1"/>
          </p:cNvPicPr>
          <p:nvPr/>
        </p:nvPicPr>
        <p:blipFill>
          <a:blip r:embed="rId69" cstate="screen">
            <a:extLst>
              <a:ext uri="{28A0092B-C50C-407E-A947-70E740481C1C}">
                <a14:useLocalDpi xmlns:a14="http://schemas.microsoft.com/office/drawing/2010/main"/>
              </a:ext>
            </a:extLst>
          </a:blip>
          <a:stretch>
            <a:fillRect/>
          </a:stretch>
        </p:blipFill>
        <p:spPr>
          <a:xfrm>
            <a:off x="9202906" y="4855252"/>
            <a:ext cx="702190" cy="339138"/>
          </a:xfrm>
          <a:prstGeom prst="rect">
            <a:avLst/>
          </a:prstGeom>
        </p:spPr>
      </p:pic>
      <p:pic>
        <p:nvPicPr>
          <p:cNvPr id="285" name="Picture 284">
            <a:extLst>
              <a:ext uri="{FF2B5EF4-FFF2-40B4-BE49-F238E27FC236}">
                <a16:creationId xmlns:a16="http://schemas.microsoft.com/office/drawing/2014/main" id="{ACF56355-2C81-4A1A-BA85-73E0D683402A}"/>
              </a:ext>
            </a:extLst>
          </p:cNvPr>
          <p:cNvPicPr>
            <a:picLocks noChangeAspect="1"/>
          </p:cNvPicPr>
          <p:nvPr/>
        </p:nvPicPr>
        <p:blipFill rotWithShape="1">
          <a:blip r:embed="rId72" cstate="screen">
            <a:extLst>
              <a:ext uri="{28A0092B-C50C-407E-A947-70E740481C1C}">
                <a14:useLocalDpi xmlns:a14="http://schemas.microsoft.com/office/drawing/2010/main"/>
              </a:ext>
            </a:extLst>
          </a:blip>
          <a:srcRect/>
          <a:stretch/>
        </p:blipFill>
        <p:spPr>
          <a:xfrm>
            <a:off x="9935224" y="4882660"/>
            <a:ext cx="1051560" cy="311730"/>
          </a:xfrm>
          <a:prstGeom prst="rect">
            <a:avLst/>
          </a:prstGeom>
        </p:spPr>
      </p:pic>
      <p:pic>
        <p:nvPicPr>
          <p:cNvPr id="286" name="Picture 285">
            <a:extLst>
              <a:ext uri="{FF2B5EF4-FFF2-40B4-BE49-F238E27FC236}">
                <a16:creationId xmlns:a16="http://schemas.microsoft.com/office/drawing/2014/main" id="{B5209B2B-0449-434C-A51E-1DD9D60811B2}"/>
              </a:ext>
            </a:extLst>
          </p:cNvPr>
          <p:cNvPicPr>
            <a:picLocks noChangeAspect="1"/>
          </p:cNvPicPr>
          <p:nvPr/>
        </p:nvPicPr>
        <p:blipFill>
          <a:blip r:embed="rId73" cstate="screen">
            <a:extLst>
              <a:ext uri="{28A0092B-C50C-407E-A947-70E740481C1C}">
                <a14:useLocalDpi xmlns:a14="http://schemas.microsoft.com/office/drawing/2010/main"/>
              </a:ext>
            </a:extLst>
          </a:blip>
          <a:stretch>
            <a:fillRect/>
          </a:stretch>
        </p:blipFill>
        <p:spPr>
          <a:xfrm>
            <a:off x="11066732" y="4906658"/>
            <a:ext cx="320984" cy="334116"/>
          </a:xfrm>
          <a:prstGeom prst="rect">
            <a:avLst/>
          </a:prstGeom>
        </p:spPr>
      </p:pic>
      <p:pic>
        <p:nvPicPr>
          <p:cNvPr id="287" name="Picture 286">
            <a:extLst>
              <a:ext uri="{FF2B5EF4-FFF2-40B4-BE49-F238E27FC236}">
                <a16:creationId xmlns:a16="http://schemas.microsoft.com/office/drawing/2014/main" id="{E8B851B7-AC06-49C1-9422-127E428B7F49}"/>
              </a:ext>
            </a:extLst>
          </p:cNvPr>
          <p:cNvPicPr>
            <a:picLocks noChangeAspect="1"/>
          </p:cNvPicPr>
          <p:nvPr/>
        </p:nvPicPr>
        <p:blipFill>
          <a:blip r:embed="rId74" cstate="screen">
            <a:extLst>
              <a:ext uri="{28A0092B-C50C-407E-A947-70E740481C1C}">
                <a14:useLocalDpi xmlns:a14="http://schemas.microsoft.com/office/drawing/2010/main"/>
              </a:ext>
            </a:extLst>
          </a:blip>
          <a:stretch>
            <a:fillRect/>
          </a:stretch>
        </p:blipFill>
        <p:spPr>
          <a:xfrm>
            <a:off x="9251160" y="5264031"/>
            <a:ext cx="485222" cy="420794"/>
          </a:xfrm>
          <a:prstGeom prst="rect">
            <a:avLst/>
          </a:prstGeom>
        </p:spPr>
      </p:pic>
      <p:pic>
        <p:nvPicPr>
          <p:cNvPr id="288" name="Picture 287">
            <a:extLst>
              <a:ext uri="{FF2B5EF4-FFF2-40B4-BE49-F238E27FC236}">
                <a16:creationId xmlns:a16="http://schemas.microsoft.com/office/drawing/2014/main" id="{FA0BED67-45EE-4A15-AFE2-10A4B09F3696}"/>
              </a:ext>
            </a:extLst>
          </p:cNvPr>
          <p:cNvPicPr>
            <a:picLocks noChangeAspect="1"/>
          </p:cNvPicPr>
          <p:nvPr/>
        </p:nvPicPr>
        <p:blipFill>
          <a:blip r:embed="rId75" cstate="screen">
            <a:extLst>
              <a:ext uri="{28A0092B-C50C-407E-A947-70E740481C1C}">
                <a14:useLocalDpi xmlns:a14="http://schemas.microsoft.com/office/drawing/2010/main"/>
              </a:ext>
            </a:extLst>
          </a:blip>
          <a:stretch>
            <a:fillRect/>
          </a:stretch>
        </p:blipFill>
        <p:spPr>
          <a:xfrm>
            <a:off x="9821961" y="5307387"/>
            <a:ext cx="390042" cy="347432"/>
          </a:xfrm>
          <a:prstGeom prst="rect">
            <a:avLst/>
          </a:prstGeom>
        </p:spPr>
      </p:pic>
      <p:pic>
        <p:nvPicPr>
          <p:cNvPr id="289" name="Picture 288">
            <a:extLst>
              <a:ext uri="{FF2B5EF4-FFF2-40B4-BE49-F238E27FC236}">
                <a16:creationId xmlns:a16="http://schemas.microsoft.com/office/drawing/2014/main" id="{42279E54-7A9D-42F4-B1D8-6941C5FF1351}"/>
              </a:ext>
            </a:extLst>
          </p:cNvPr>
          <p:cNvPicPr>
            <a:picLocks noChangeAspect="1"/>
          </p:cNvPicPr>
          <p:nvPr/>
        </p:nvPicPr>
        <p:blipFill>
          <a:blip r:embed="rId76" cstate="screen">
            <a:extLst>
              <a:ext uri="{28A0092B-C50C-407E-A947-70E740481C1C}">
                <a14:useLocalDpi xmlns:a14="http://schemas.microsoft.com/office/drawing/2010/main"/>
              </a:ext>
            </a:extLst>
          </a:blip>
          <a:stretch>
            <a:fillRect/>
          </a:stretch>
        </p:blipFill>
        <p:spPr>
          <a:xfrm>
            <a:off x="10272928" y="5333408"/>
            <a:ext cx="395716" cy="296404"/>
          </a:xfrm>
          <a:prstGeom prst="rect">
            <a:avLst/>
          </a:prstGeom>
        </p:spPr>
      </p:pic>
      <p:pic>
        <p:nvPicPr>
          <p:cNvPr id="290" name="Picture 289">
            <a:extLst>
              <a:ext uri="{FF2B5EF4-FFF2-40B4-BE49-F238E27FC236}">
                <a16:creationId xmlns:a16="http://schemas.microsoft.com/office/drawing/2014/main" id="{E9A9CEDE-A286-4F17-A460-55B493BBEBD6}"/>
              </a:ext>
            </a:extLst>
          </p:cNvPr>
          <p:cNvPicPr>
            <a:picLocks noChangeAspect="1"/>
          </p:cNvPicPr>
          <p:nvPr/>
        </p:nvPicPr>
        <p:blipFill>
          <a:blip r:embed="rId77" cstate="screen">
            <a:extLst>
              <a:ext uri="{28A0092B-C50C-407E-A947-70E740481C1C}">
                <a14:useLocalDpi xmlns:a14="http://schemas.microsoft.com/office/drawing/2010/main"/>
              </a:ext>
            </a:extLst>
          </a:blip>
          <a:stretch>
            <a:fillRect/>
          </a:stretch>
        </p:blipFill>
        <p:spPr>
          <a:xfrm>
            <a:off x="10723439" y="5362853"/>
            <a:ext cx="880424" cy="291966"/>
          </a:xfrm>
          <a:prstGeom prst="rect">
            <a:avLst/>
          </a:prstGeom>
        </p:spPr>
      </p:pic>
      <p:sp>
        <p:nvSpPr>
          <p:cNvPr id="130" name="5. Source">
            <a:extLst>
              <a:ext uri="{FF2B5EF4-FFF2-40B4-BE49-F238E27FC236}">
                <a16:creationId xmlns:a16="http://schemas.microsoft.com/office/drawing/2014/main" id="{D87F85A4-D910-48B8-AB3B-552AE4E9BA07}"/>
              </a:ext>
            </a:extLst>
          </p:cNvPr>
          <p:cNvSpPr txBox="1"/>
          <p:nvPr>
            <p:custDataLst>
              <p:tags r:id="rId1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IBEF, Invest India, </a:t>
            </a:r>
            <a:r>
              <a:rPr lang="en-US" sz="800" dirty="0" err="1"/>
              <a:t>McK</a:t>
            </a:r>
            <a:r>
              <a:rPr lang="en-US" sz="800" dirty="0"/>
              <a:t> Analysis</a:t>
            </a:r>
          </a:p>
        </p:txBody>
      </p:sp>
      <p:pic>
        <p:nvPicPr>
          <p:cNvPr id="6" name="Picture 5">
            <a:extLst>
              <a:ext uri="{FF2B5EF4-FFF2-40B4-BE49-F238E27FC236}">
                <a16:creationId xmlns:a16="http://schemas.microsoft.com/office/drawing/2014/main" id="{30E690CF-18DD-4E5B-9048-8A6914A78C71}"/>
              </a:ext>
            </a:extLst>
          </p:cNvPr>
          <p:cNvPicPr>
            <a:picLocks noChangeAspect="1"/>
          </p:cNvPicPr>
          <p:nvPr/>
        </p:nvPicPr>
        <p:blipFill>
          <a:blip r:embed="rId78"/>
          <a:stretch>
            <a:fillRect/>
          </a:stretch>
        </p:blipFill>
        <p:spPr>
          <a:xfrm>
            <a:off x="1941215" y="3700499"/>
            <a:ext cx="689514" cy="423371"/>
          </a:xfrm>
          <a:prstGeom prst="rect">
            <a:avLst/>
          </a:prstGeom>
        </p:spPr>
      </p:pic>
      <p:cxnSp>
        <p:nvCxnSpPr>
          <p:cNvPr id="131" name="LineBasicDefault 71">
            <a:extLst>
              <a:ext uri="{FF2B5EF4-FFF2-40B4-BE49-F238E27FC236}">
                <a16:creationId xmlns:a16="http://schemas.microsoft.com/office/drawing/2014/main" id="{97791516-F2DA-4DAE-9B0C-A2E9B7E90179}"/>
              </a:ext>
            </a:extLst>
          </p:cNvPr>
          <p:cNvCxnSpPr>
            <a:cxnSpLocks/>
          </p:cNvCxnSpPr>
          <p:nvPr>
            <p:custDataLst>
              <p:tags r:id="rId14"/>
            </p:custDataLst>
          </p:nvPr>
        </p:nvCxnSpPr>
        <p:spPr>
          <a:xfrm flipV="1">
            <a:off x="4199980" y="4240110"/>
            <a:ext cx="585487" cy="179975"/>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32" name="Content Placeholder 1">
            <a:extLst>
              <a:ext uri="{FF2B5EF4-FFF2-40B4-BE49-F238E27FC236}">
                <a16:creationId xmlns:a16="http://schemas.microsoft.com/office/drawing/2014/main" id="{E982FFFD-94F9-4658-B33C-0665A98A48F8}"/>
              </a:ext>
            </a:extLst>
          </p:cNvPr>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42278709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67D591D2-2DCE-437D-8849-3B2C2500FCED}"/>
              </a:ext>
            </a:extLst>
          </p:cNvPr>
          <p:cNvGraphicFramePr>
            <a:graphicFrameLocks noChangeAspect="1"/>
          </p:cNvGraphicFramePr>
          <p:nvPr>
            <p:custDataLst>
              <p:tags r:id="rId2"/>
            </p:custDataLst>
            <p:extLst>
              <p:ext uri="{D42A27DB-BD31-4B8C-83A1-F6EECF244321}">
                <p14:modId xmlns:p14="http://schemas.microsoft.com/office/powerpoint/2010/main" val="3395136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6" name="think-cell Slide" r:id="rId12" imgW="395" imgH="394" progId="TCLayout.ActiveDocument.1">
                  <p:embed/>
                </p:oleObj>
              </mc:Choice>
              <mc:Fallback>
                <p:oleObj name="think-cell Slide" r:id="rId12" imgW="395" imgH="394" progId="TCLayout.ActiveDocument.1">
                  <p:embed/>
                  <p:pic>
                    <p:nvPicPr>
                      <p:cNvPr id="8" name="Object 2" hidden="1">
                        <a:extLst>
                          <a:ext uri="{FF2B5EF4-FFF2-40B4-BE49-F238E27FC236}">
                            <a16:creationId xmlns:a16="http://schemas.microsoft.com/office/drawing/2014/main" id="{67D591D2-2DCE-437D-8849-3B2C2500FCE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699B2C10-0427-4B73-A02F-EC4A6231DCD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cs typeface="Arial" panose="020B0604020202020204" pitchFamily="34" charset="0"/>
              <a:sym typeface="+mn-lt"/>
            </a:endParaRPr>
          </a:p>
        </p:txBody>
      </p:sp>
      <p:sp>
        <p:nvSpPr>
          <p:cNvPr id="5" name="2. Slide Title">
            <a:extLst>
              <a:ext uri="{FF2B5EF4-FFF2-40B4-BE49-F238E27FC236}">
                <a16:creationId xmlns:a16="http://schemas.microsoft.com/office/drawing/2014/main" id="{AEAC06CE-561F-4296-A7DA-450E712059B0}"/>
              </a:ext>
            </a:extLst>
          </p:cNvPr>
          <p:cNvSpPr>
            <a:spLocks noGrp="1"/>
          </p:cNvSpPr>
          <p:nvPr>
            <p:ph type="title"/>
            <p:custDataLst>
              <p:tags r:id="rId4"/>
            </p:custDataLst>
          </p:nvPr>
        </p:nvSpPr>
        <p:spPr>
          <a:xfrm>
            <a:off x="554736" y="239890"/>
            <a:ext cx="5065776" cy="731520"/>
          </a:xfrm>
        </p:spPr>
        <p:txBody>
          <a:bodyPr vert="horz"/>
          <a:lstStyle/>
          <a:p>
            <a:r>
              <a:rPr lang="en-US" dirty="0"/>
              <a:t>Chemical and Petrochemical Industry</a:t>
            </a:r>
          </a:p>
        </p:txBody>
      </p:sp>
      <p:grpSp>
        <p:nvGrpSpPr>
          <p:cNvPr id="13" name="Group 12">
            <a:extLst>
              <a:ext uri="{FF2B5EF4-FFF2-40B4-BE49-F238E27FC236}">
                <a16:creationId xmlns:a16="http://schemas.microsoft.com/office/drawing/2014/main" id="{24A0DD1B-227F-45AC-8104-FF90A0E6B2B0}"/>
              </a:ext>
            </a:extLst>
          </p:cNvPr>
          <p:cNvGrpSpPr/>
          <p:nvPr/>
        </p:nvGrpSpPr>
        <p:grpSpPr>
          <a:xfrm>
            <a:off x="1555584" y="1408725"/>
            <a:ext cx="3150817" cy="3327601"/>
            <a:chOff x="3476626" y="1201737"/>
            <a:chExt cx="4951413" cy="5229229"/>
          </a:xfrm>
        </p:grpSpPr>
        <p:sp>
          <p:nvSpPr>
            <p:cNvPr id="14" name="Freeform: Shape 13">
              <a:extLst>
                <a:ext uri="{FF2B5EF4-FFF2-40B4-BE49-F238E27FC236}">
                  <a16:creationId xmlns:a16="http://schemas.microsoft.com/office/drawing/2014/main" id="{29EA1EDD-CF3E-45F8-AA68-41416F698B49}"/>
                </a:ext>
              </a:extLst>
            </p:cNvPr>
            <p:cNvSpPr/>
            <p:nvPr/>
          </p:nvSpPr>
          <p:spPr bwMode="gray">
            <a:xfrm>
              <a:off x="4324351" y="1201738"/>
              <a:ext cx="1292225" cy="828676"/>
            </a:xfrm>
            <a:custGeom>
              <a:avLst/>
              <a:gdLst>
                <a:gd name="connsiteX0" fmla="*/ 374650 w 1292225"/>
                <a:gd name="connsiteY0" fmla="*/ 0 h 828675"/>
                <a:gd name="connsiteX1" fmla="*/ 381000 w 1292225"/>
                <a:gd name="connsiteY1" fmla="*/ 12700 h 828675"/>
                <a:gd name="connsiteX2" fmla="*/ 387350 w 1292225"/>
                <a:gd name="connsiteY2" fmla="*/ 12700 h 828675"/>
                <a:gd name="connsiteX3" fmla="*/ 390525 w 1292225"/>
                <a:gd name="connsiteY3" fmla="*/ 6350 h 828675"/>
                <a:gd name="connsiteX4" fmla="*/ 398462 w 1292225"/>
                <a:gd name="connsiteY4" fmla="*/ 6350 h 828675"/>
                <a:gd name="connsiteX5" fmla="*/ 398462 w 1292225"/>
                <a:gd name="connsiteY5" fmla="*/ 12700 h 828675"/>
                <a:gd name="connsiteX6" fmla="*/ 404812 w 1292225"/>
                <a:gd name="connsiteY6" fmla="*/ 26987 h 828675"/>
                <a:gd name="connsiteX7" fmla="*/ 411162 w 1292225"/>
                <a:gd name="connsiteY7" fmla="*/ 26987 h 828675"/>
                <a:gd name="connsiteX8" fmla="*/ 411162 w 1292225"/>
                <a:gd name="connsiteY8" fmla="*/ 20637 h 828675"/>
                <a:gd name="connsiteX9" fmla="*/ 417512 w 1292225"/>
                <a:gd name="connsiteY9" fmla="*/ 17462 h 828675"/>
                <a:gd name="connsiteX10" fmla="*/ 430212 w 1292225"/>
                <a:gd name="connsiteY10" fmla="*/ 12700 h 828675"/>
                <a:gd name="connsiteX11" fmla="*/ 441325 w 1292225"/>
                <a:gd name="connsiteY11" fmla="*/ 12700 h 828675"/>
                <a:gd name="connsiteX12" fmla="*/ 447675 w 1292225"/>
                <a:gd name="connsiteY12" fmla="*/ 9525 h 828675"/>
                <a:gd name="connsiteX13" fmla="*/ 450850 w 1292225"/>
                <a:gd name="connsiteY13" fmla="*/ 12700 h 828675"/>
                <a:gd name="connsiteX14" fmla="*/ 450850 w 1292225"/>
                <a:gd name="connsiteY14" fmla="*/ 17462 h 828675"/>
                <a:gd name="connsiteX15" fmla="*/ 463550 w 1292225"/>
                <a:gd name="connsiteY15" fmla="*/ 20637 h 828675"/>
                <a:gd name="connsiteX16" fmla="*/ 471487 w 1292225"/>
                <a:gd name="connsiteY16" fmla="*/ 17462 h 828675"/>
                <a:gd name="connsiteX17" fmla="*/ 484187 w 1292225"/>
                <a:gd name="connsiteY17" fmla="*/ 23812 h 828675"/>
                <a:gd name="connsiteX18" fmla="*/ 490537 w 1292225"/>
                <a:gd name="connsiteY18" fmla="*/ 20637 h 828675"/>
                <a:gd name="connsiteX19" fmla="*/ 487362 w 1292225"/>
                <a:gd name="connsiteY19" fmla="*/ 30162 h 828675"/>
                <a:gd name="connsiteX20" fmla="*/ 493713 w 1292225"/>
                <a:gd name="connsiteY20" fmla="*/ 33337 h 828675"/>
                <a:gd name="connsiteX21" fmla="*/ 493713 w 1292225"/>
                <a:gd name="connsiteY21" fmla="*/ 42862 h 828675"/>
                <a:gd name="connsiteX22" fmla="*/ 490537 w 1292225"/>
                <a:gd name="connsiteY22" fmla="*/ 50800 h 828675"/>
                <a:gd name="connsiteX23" fmla="*/ 496888 w 1292225"/>
                <a:gd name="connsiteY23" fmla="*/ 60325 h 828675"/>
                <a:gd name="connsiteX24" fmla="*/ 500063 w 1292225"/>
                <a:gd name="connsiteY24" fmla="*/ 63500 h 828675"/>
                <a:gd name="connsiteX25" fmla="*/ 503238 w 1292225"/>
                <a:gd name="connsiteY25" fmla="*/ 60325 h 828675"/>
                <a:gd name="connsiteX26" fmla="*/ 508000 w 1292225"/>
                <a:gd name="connsiteY26" fmla="*/ 63500 h 828675"/>
                <a:gd name="connsiteX27" fmla="*/ 508000 w 1292225"/>
                <a:gd name="connsiteY27" fmla="*/ 53975 h 828675"/>
                <a:gd name="connsiteX28" fmla="*/ 527050 w 1292225"/>
                <a:gd name="connsiteY28" fmla="*/ 53975 h 828675"/>
                <a:gd name="connsiteX29" fmla="*/ 536575 w 1292225"/>
                <a:gd name="connsiteY29" fmla="*/ 57150 h 828675"/>
                <a:gd name="connsiteX30" fmla="*/ 542925 w 1292225"/>
                <a:gd name="connsiteY30" fmla="*/ 57150 h 828675"/>
                <a:gd name="connsiteX31" fmla="*/ 554038 w 1292225"/>
                <a:gd name="connsiteY31" fmla="*/ 63500 h 828675"/>
                <a:gd name="connsiteX32" fmla="*/ 560388 w 1292225"/>
                <a:gd name="connsiteY32" fmla="*/ 69850 h 828675"/>
                <a:gd name="connsiteX33" fmla="*/ 563563 w 1292225"/>
                <a:gd name="connsiteY33" fmla="*/ 73025 h 828675"/>
                <a:gd name="connsiteX34" fmla="*/ 566738 w 1292225"/>
                <a:gd name="connsiteY34" fmla="*/ 76200 h 828675"/>
                <a:gd name="connsiteX35" fmla="*/ 576263 w 1292225"/>
                <a:gd name="connsiteY35" fmla="*/ 82550 h 828675"/>
                <a:gd name="connsiteX36" fmla="*/ 573088 w 1292225"/>
                <a:gd name="connsiteY36" fmla="*/ 88900 h 828675"/>
                <a:gd name="connsiteX37" fmla="*/ 576263 w 1292225"/>
                <a:gd name="connsiteY37" fmla="*/ 90487 h 828675"/>
                <a:gd name="connsiteX38" fmla="*/ 606425 w 1292225"/>
                <a:gd name="connsiteY38" fmla="*/ 103187 h 828675"/>
                <a:gd name="connsiteX39" fmla="*/ 623888 w 1292225"/>
                <a:gd name="connsiteY39" fmla="*/ 119062 h 828675"/>
                <a:gd name="connsiteX40" fmla="*/ 630238 w 1292225"/>
                <a:gd name="connsiteY40" fmla="*/ 122237 h 828675"/>
                <a:gd name="connsiteX41" fmla="*/ 636588 w 1292225"/>
                <a:gd name="connsiteY41" fmla="*/ 122237 h 828675"/>
                <a:gd name="connsiteX42" fmla="*/ 655638 w 1292225"/>
                <a:gd name="connsiteY42" fmla="*/ 125412 h 828675"/>
                <a:gd name="connsiteX43" fmla="*/ 658813 w 1292225"/>
                <a:gd name="connsiteY43" fmla="*/ 133350 h 828675"/>
                <a:gd name="connsiteX44" fmla="*/ 669925 w 1292225"/>
                <a:gd name="connsiteY44" fmla="*/ 149225 h 828675"/>
                <a:gd name="connsiteX45" fmla="*/ 688975 w 1292225"/>
                <a:gd name="connsiteY45" fmla="*/ 155575 h 828675"/>
                <a:gd name="connsiteX46" fmla="*/ 703263 w 1292225"/>
                <a:gd name="connsiteY46" fmla="*/ 165100 h 828675"/>
                <a:gd name="connsiteX47" fmla="*/ 712788 w 1292225"/>
                <a:gd name="connsiteY47" fmla="*/ 169863 h 828675"/>
                <a:gd name="connsiteX48" fmla="*/ 709613 w 1292225"/>
                <a:gd name="connsiteY48" fmla="*/ 179388 h 828675"/>
                <a:gd name="connsiteX49" fmla="*/ 703263 w 1292225"/>
                <a:gd name="connsiteY49" fmla="*/ 188913 h 828675"/>
                <a:gd name="connsiteX50" fmla="*/ 703263 w 1292225"/>
                <a:gd name="connsiteY50" fmla="*/ 195263 h 828675"/>
                <a:gd name="connsiteX51" fmla="*/ 731838 w 1292225"/>
                <a:gd name="connsiteY51" fmla="*/ 215900 h 828675"/>
                <a:gd name="connsiteX52" fmla="*/ 746125 w 1292225"/>
                <a:gd name="connsiteY52" fmla="*/ 222250 h 828675"/>
                <a:gd name="connsiteX53" fmla="*/ 765175 w 1292225"/>
                <a:gd name="connsiteY53" fmla="*/ 222250 h 828675"/>
                <a:gd name="connsiteX54" fmla="*/ 776288 w 1292225"/>
                <a:gd name="connsiteY54" fmla="*/ 222250 h 828675"/>
                <a:gd name="connsiteX55" fmla="*/ 785813 w 1292225"/>
                <a:gd name="connsiteY55" fmla="*/ 231775 h 828675"/>
                <a:gd name="connsiteX56" fmla="*/ 801688 w 1292225"/>
                <a:gd name="connsiteY56" fmla="*/ 234950 h 828675"/>
                <a:gd name="connsiteX57" fmla="*/ 809625 w 1292225"/>
                <a:gd name="connsiteY57" fmla="*/ 234950 h 828675"/>
                <a:gd name="connsiteX58" fmla="*/ 819150 w 1292225"/>
                <a:gd name="connsiteY58" fmla="*/ 244475 h 828675"/>
                <a:gd name="connsiteX59" fmla="*/ 819150 w 1292225"/>
                <a:gd name="connsiteY59" fmla="*/ 252413 h 828675"/>
                <a:gd name="connsiteX60" fmla="*/ 825500 w 1292225"/>
                <a:gd name="connsiteY60" fmla="*/ 258763 h 828675"/>
                <a:gd name="connsiteX61" fmla="*/ 822325 w 1292225"/>
                <a:gd name="connsiteY61" fmla="*/ 265113 h 828675"/>
                <a:gd name="connsiteX62" fmla="*/ 809625 w 1292225"/>
                <a:gd name="connsiteY62" fmla="*/ 258763 h 828675"/>
                <a:gd name="connsiteX63" fmla="*/ 804863 w 1292225"/>
                <a:gd name="connsiteY63" fmla="*/ 258763 h 828675"/>
                <a:gd name="connsiteX64" fmla="*/ 798513 w 1292225"/>
                <a:gd name="connsiteY64" fmla="*/ 261938 h 828675"/>
                <a:gd name="connsiteX65" fmla="*/ 795338 w 1292225"/>
                <a:gd name="connsiteY65" fmla="*/ 271463 h 828675"/>
                <a:gd name="connsiteX66" fmla="*/ 795338 w 1292225"/>
                <a:gd name="connsiteY66" fmla="*/ 268288 h 828675"/>
                <a:gd name="connsiteX67" fmla="*/ 788988 w 1292225"/>
                <a:gd name="connsiteY67" fmla="*/ 265113 h 828675"/>
                <a:gd name="connsiteX68" fmla="*/ 786989 w 1292225"/>
                <a:gd name="connsiteY68" fmla="*/ 266112 h 828675"/>
                <a:gd name="connsiteX69" fmla="*/ 789758 w 1292225"/>
                <a:gd name="connsiteY69" fmla="*/ 270068 h 828675"/>
                <a:gd name="connsiteX70" fmla="*/ 795338 w 1292225"/>
                <a:gd name="connsiteY70" fmla="*/ 271463 h 828675"/>
                <a:gd name="connsiteX71" fmla="*/ 795338 w 1292225"/>
                <a:gd name="connsiteY71" fmla="*/ 274638 h 828675"/>
                <a:gd name="connsiteX72" fmla="*/ 801688 w 1292225"/>
                <a:gd name="connsiteY72" fmla="*/ 274638 h 828675"/>
                <a:gd name="connsiteX73" fmla="*/ 801688 w 1292225"/>
                <a:gd name="connsiteY73" fmla="*/ 277813 h 828675"/>
                <a:gd name="connsiteX74" fmla="*/ 809625 w 1292225"/>
                <a:gd name="connsiteY74" fmla="*/ 280988 h 828675"/>
                <a:gd name="connsiteX75" fmla="*/ 828675 w 1292225"/>
                <a:gd name="connsiteY75" fmla="*/ 274638 h 828675"/>
                <a:gd name="connsiteX76" fmla="*/ 844550 w 1292225"/>
                <a:gd name="connsiteY76" fmla="*/ 280988 h 828675"/>
                <a:gd name="connsiteX77" fmla="*/ 847725 w 1292225"/>
                <a:gd name="connsiteY77" fmla="*/ 277813 h 828675"/>
                <a:gd name="connsiteX78" fmla="*/ 852488 w 1292225"/>
                <a:gd name="connsiteY78" fmla="*/ 282575 h 828675"/>
                <a:gd name="connsiteX79" fmla="*/ 858838 w 1292225"/>
                <a:gd name="connsiteY79" fmla="*/ 280988 h 828675"/>
                <a:gd name="connsiteX80" fmla="*/ 865188 w 1292225"/>
                <a:gd name="connsiteY80" fmla="*/ 274638 h 828675"/>
                <a:gd name="connsiteX81" fmla="*/ 871538 w 1292225"/>
                <a:gd name="connsiteY81" fmla="*/ 274638 h 828675"/>
                <a:gd name="connsiteX82" fmla="*/ 874713 w 1292225"/>
                <a:gd name="connsiteY82" fmla="*/ 271463 h 828675"/>
                <a:gd name="connsiteX83" fmla="*/ 881063 w 1292225"/>
                <a:gd name="connsiteY83" fmla="*/ 274638 h 828675"/>
                <a:gd name="connsiteX84" fmla="*/ 884238 w 1292225"/>
                <a:gd name="connsiteY84" fmla="*/ 274638 h 828675"/>
                <a:gd name="connsiteX85" fmla="*/ 889000 w 1292225"/>
                <a:gd name="connsiteY85" fmla="*/ 280988 h 828675"/>
                <a:gd name="connsiteX86" fmla="*/ 892175 w 1292225"/>
                <a:gd name="connsiteY86" fmla="*/ 274638 h 828675"/>
                <a:gd name="connsiteX87" fmla="*/ 895350 w 1292225"/>
                <a:gd name="connsiteY87" fmla="*/ 277813 h 828675"/>
                <a:gd name="connsiteX88" fmla="*/ 898525 w 1292225"/>
                <a:gd name="connsiteY88" fmla="*/ 274638 h 828675"/>
                <a:gd name="connsiteX89" fmla="*/ 895350 w 1292225"/>
                <a:gd name="connsiteY89" fmla="*/ 265113 h 828675"/>
                <a:gd name="connsiteX90" fmla="*/ 925513 w 1292225"/>
                <a:gd name="connsiteY90" fmla="*/ 265113 h 828675"/>
                <a:gd name="connsiteX91" fmla="*/ 928688 w 1292225"/>
                <a:gd name="connsiteY91" fmla="*/ 261938 h 828675"/>
                <a:gd name="connsiteX92" fmla="*/ 931863 w 1292225"/>
                <a:gd name="connsiteY92" fmla="*/ 249238 h 828675"/>
                <a:gd name="connsiteX93" fmla="*/ 935038 w 1292225"/>
                <a:gd name="connsiteY93" fmla="*/ 246063 h 828675"/>
                <a:gd name="connsiteX94" fmla="*/ 941388 w 1292225"/>
                <a:gd name="connsiteY94" fmla="*/ 244475 h 828675"/>
                <a:gd name="connsiteX95" fmla="*/ 947738 w 1292225"/>
                <a:gd name="connsiteY95" fmla="*/ 244475 h 828675"/>
                <a:gd name="connsiteX96" fmla="*/ 962025 w 1292225"/>
                <a:gd name="connsiteY96" fmla="*/ 234950 h 828675"/>
                <a:gd name="connsiteX97" fmla="*/ 974725 w 1292225"/>
                <a:gd name="connsiteY97" fmla="*/ 228600 h 828675"/>
                <a:gd name="connsiteX98" fmla="*/ 977900 w 1292225"/>
                <a:gd name="connsiteY98" fmla="*/ 225425 h 828675"/>
                <a:gd name="connsiteX99" fmla="*/ 993775 w 1292225"/>
                <a:gd name="connsiteY99" fmla="*/ 222250 h 828675"/>
                <a:gd name="connsiteX100" fmla="*/ 998538 w 1292225"/>
                <a:gd name="connsiteY100" fmla="*/ 219075 h 828675"/>
                <a:gd name="connsiteX101" fmla="*/ 1014413 w 1292225"/>
                <a:gd name="connsiteY101" fmla="*/ 209550 h 828675"/>
                <a:gd name="connsiteX102" fmla="*/ 1023938 w 1292225"/>
                <a:gd name="connsiteY102" fmla="*/ 201613 h 828675"/>
                <a:gd name="connsiteX103" fmla="*/ 1041400 w 1292225"/>
                <a:gd name="connsiteY103" fmla="*/ 198438 h 828675"/>
                <a:gd name="connsiteX104" fmla="*/ 1044575 w 1292225"/>
                <a:gd name="connsiteY104" fmla="*/ 198438 h 828675"/>
                <a:gd name="connsiteX105" fmla="*/ 1054100 w 1292225"/>
                <a:gd name="connsiteY105" fmla="*/ 201613 h 828675"/>
                <a:gd name="connsiteX106" fmla="*/ 1063625 w 1292225"/>
                <a:gd name="connsiteY106" fmla="*/ 201613 h 828675"/>
                <a:gd name="connsiteX107" fmla="*/ 1074738 w 1292225"/>
                <a:gd name="connsiteY107" fmla="*/ 201613 h 828675"/>
                <a:gd name="connsiteX108" fmla="*/ 1090613 w 1292225"/>
                <a:gd name="connsiteY108" fmla="*/ 198438 h 828675"/>
                <a:gd name="connsiteX109" fmla="*/ 1100138 w 1292225"/>
                <a:gd name="connsiteY109" fmla="*/ 198438 h 828675"/>
                <a:gd name="connsiteX110" fmla="*/ 1111250 w 1292225"/>
                <a:gd name="connsiteY110" fmla="*/ 198438 h 828675"/>
                <a:gd name="connsiteX111" fmla="*/ 1120775 w 1292225"/>
                <a:gd name="connsiteY111" fmla="*/ 188913 h 828675"/>
                <a:gd name="connsiteX112" fmla="*/ 1139825 w 1292225"/>
                <a:gd name="connsiteY112" fmla="*/ 192088 h 828675"/>
                <a:gd name="connsiteX113" fmla="*/ 1143000 w 1292225"/>
                <a:gd name="connsiteY113" fmla="*/ 188913 h 828675"/>
                <a:gd name="connsiteX114" fmla="*/ 1146175 w 1292225"/>
                <a:gd name="connsiteY114" fmla="*/ 192088 h 828675"/>
                <a:gd name="connsiteX115" fmla="*/ 1146175 w 1292225"/>
                <a:gd name="connsiteY115" fmla="*/ 206375 h 828675"/>
                <a:gd name="connsiteX116" fmla="*/ 1150938 w 1292225"/>
                <a:gd name="connsiteY116" fmla="*/ 209550 h 828675"/>
                <a:gd name="connsiteX117" fmla="*/ 1160463 w 1292225"/>
                <a:gd name="connsiteY117" fmla="*/ 206375 h 828675"/>
                <a:gd name="connsiteX118" fmla="*/ 1163638 w 1292225"/>
                <a:gd name="connsiteY118" fmla="*/ 209550 h 828675"/>
                <a:gd name="connsiteX119" fmla="*/ 1173163 w 1292225"/>
                <a:gd name="connsiteY119" fmla="*/ 219075 h 828675"/>
                <a:gd name="connsiteX120" fmla="*/ 1179513 w 1292225"/>
                <a:gd name="connsiteY120" fmla="*/ 228600 h 828675"/>
                <a:gd name="connsiteX121" fmla="*/ 1182688 w 1292225"/>
                <a:gd name="connsiteY121" fmla="*/ 238125 h 828675"/>
                <a:gd name="connsiteX122" fmla="*/ 1185863 w 1292225"/>
                <a:gd name="connsiteY122" fmla="*/ 244475 h 828675"/>
                <a:gd name="connsiteX123" fmla="*/ 1200150 w 1292225"/>
                <a:gd name="connsiteY123" fmla="*/ 246063 h 828675"/>
                <a:gd name="connsiteX124" fmla="*/ 1206500 w 1292225"/>
                <a:gd name="connsiteY124" fmla="*/ 258763 h 828675"/>
                <a:gd name="connsiteX125" fmla="*/ 1212850 w 1292225"/>
                <a:gd name="connsiteY125" fmla="*/ 258763 h 828675"/>
                <a:gd name="connsiteX126" fmla="*/ 1222375 w 1292225"/>
                <a:gd name="connsiteY126" fmla="*/ 255588 h 828675"/>
                <a:gd name="connsiteX127" fmla="*/ 1225550 w 1292225"/>
                <a:gd name="connsiteY127" fmla="*/ 258763 h 828675"/>
                <a:gd name="connsiteX128" fmla="*/ 1227138 w 1292225"/>
                <a:gd name="connsiteY128" fmla="*/ 265113 h 828675"/>
                <a:gd name="connsiteX129" fmla="*/ 1230313 w 1292225"/>
                <a:gd name="connsiteY129" fmla="*/ 271463 h 828675"/>
                <a:gd name="connsiteX130" fmla="*/ 1233488 w 1292225"/>
                <a:gd name="connsiteY130" fmla="*/ 280988 h 828675"/>
                <a:gd name="connsiteX131" fmla="*/ 1239838 w 1292225"/>
                <a:gd name="connsiteY131" fmla="*/ 288925 h 828675"/>
                <a:gd name="connsiteX132" fmla="*/ 1255713 w 1292225"/>
                <a:gd name="connsiteY132" fmla="*/ 285750 h 828675"/>
                <a:gd name="connsiteX133" fmla="*/ 1255713 w 1292225"/>
                <a:gd name="connsiteY133" fmla="*/ 277813 h 828675"/>
                <a:gd name="connsiteX134" fmla="*/ 1263650 w 1292225"/>
                <a:gd name="connsiteY134" fmla="*/ 274638 h 828675"/>
                <a:gd name="connsiteX135" fmla="*/ 1266825 w 1292225"/>
                <a:gd name="connsiteY135" fmla="*/ 265113 h 828675"/>
                <a:gd name="connsiteX136" fmla="*/ 1282700 w 1292225"/>
                <a:gd name="connsiteY136" fmla="*/ 271463 h 828675"/>
                <a:gd name="connsiteX137" fmla="*/ 1292225 w 1292225"/>
                <a:gd name="connsiteY137" fmla="*/ 280988 h 828675"/>
                <a:gd name="connsiteX138" fmla="*/ 1289050 w 1292225"/>
                <a:gd name="connsiteY138" fmla="*/ 285750 h 828675"/>
                <a:gd name="connsiteX139" fmla="*/ 1282700 w 1292225"/>
                <a:gd name="connsiteY139" fmla="*/ 295275 h 828675"/>
                <a:gd name="connsiteX140" fmla="*/ 1279525 w 1292225"/>
                <a:gd name="connsiteY140" fmla="*/ 304800 h 828675"/>
                <a:gd name="connsiteX141" fmla="*/ 1279525 w 1292225"/>
                <a:gd name="connsiteY141" fmla="*/ 311150 h 828675"/>
                <a:gd name="connsiteX142" fmla="*/ 1276350 w 1292225"/>
                <a:gd name="connsiteY142" fmla="*/ 322263 h 828675"/>
                <a:gd name="connsiteX143" fmla="*/ 1276350 w 1292225"/>
                <a:gd name="connsiteY143" fmla="*/ 325438 h 828675"/>
                <a:gd name="connsiteX144" fmla="*/ 1270000 w 1292225"/>
                <a:gd name="connsiteY144" fmla="*/ 334963 h 828675"/>
                <a:gd name="connsiteX145" fmla="*/ 1266825 w 1292225"/>
                <a:gd name="connsiteY145" fmla="*/ 341313 h 828675"/>
                <a:gd name="connsiteX146" fmla="*/ 1263650 w 1292225"/>
                <a:gd name="connsiteY146" fmla="*/ 347663 h 828675"/>
                <a:gd name="connsiteX147" fmla="*/ 1262063 w 1292225"/>
                <a:gd name="connsiteY147" fmla="*/ 360363 h 828675"/>
                <a:gd name="connsiteX148" fmla="*/ 1262063 w 1292225"/>
                <a:gd name="connsiteY148" fmla="*/ 368300 h 828675"/>
                <a:gd name="connsiteX149" fmla="*/ 1262063 w 1292225"/>
                <a:gd name="connsiteY149" fmla="*/ 377825 h 828675"/>
                <a:gd name="connsiteX150" fmla="*/ 1258888 w 1292225"/>
                <a:gd name="connsiteY150" fmla="*/ 387350 h 828675"/>
                <a:gd name="connsiteX151" fmla="*/ 1249363 w 1292225"/>
                <a:gd name="connsiteY151" fmla="*/ 393700 h 828675"/>
                <a:gd name="connsiteX152" fmla="*/ 1243013 w 1292225"/>
                <a:gd name="connsiteY152" fmla="*/ 398463 h 828675"/>
                <a:gd name="connsiteX153" fmla="*/ 1236663 w 1292225"/>
                <a:gd name="connsiteY153" fmla="*/ 407988 h 828675"/>
                <a:gd name="connsiteX154" fmla="*/ 1236663 w 1292225"/>
                <a:gd name="connsiteY154" fmla="*/ 417513 h 828675"/>
                <a:gd name="connsiteX155" fmla="*/ 1233488 w 1292225"/>
                <a:gd name="connsiteY155" fmla="*/ 417513 h 828675"/>
                <a:gd name="connsiteX156" fmla="*/ 1225550 w 1292225"/>
                <a:gd name="connsiteY156" fmla="*/ 417513 h 828675"/>
                <a:gd name="connsiteX157" fmla="*/ 1209675 w 1292225"/>
                <a:gd name="connsiteY157" fmla="*/ 420688 h 828675"/>
                <a:gd name="connsiteX158" fmla="*/ 1200150 w 1292225"/>
                <a:gd name="connsiteY158" fmla="*/ 433388 h 828675"/>
                <a:gd name="connsiteX159" fmla="*/ 1185863 w 1292225"/>
                <a:gd name="connsiteY159" fmla="*/ 438150 h 828675"/>
                <a:gd name="connsiteX160" fmla="*/ 1185863 w 1292225"/>
                <a:gd name="connsiteY160" fmla="*/ 444500 h 828675"/>
                <a:gd name="connsiteX161" fmla="*/ 1182688 w 1292225"/>
                <a:gd name="connsiteY161" fmla="*/ 447675 h 828675"/>
                <a:gd name="connsiteX162" fmla="*/ 1185863 w 1292225"/>
                <a:gd name="connsiteY162" fmla="*/ 454025 h 828675"/>
                <a:gd name="connsiteX163" fmla="*/ 1182688 w 1292225"/>
                <a:gd name="connsiteY163" fmla="*/ 457200 h 828675"/>
                <a:gd name="connsiteX164" fmla="*/ 1166813 w 1292225"/>
                <a:gd name="connsiteY164" fmla="*/ 460375 h 828675"/>
                <a:gd name="connsiteX165" fmla="*/ 1160463 w 1292225"/>
                <a:gd name="connsiteY165" fmla="*/ 457200 h 828675"/>
                <a:gd name="connsiteX166" fmla="*/ 1150938 w 1292225"/>
                <a:gd name="connsiteY166" fmla="*/ 450850 h 828675"/>
                <a:gd name="connsiteX167" fmla="*/ 1146175 w 1292225"/>
                <a:gd name="connsiteY167" fmla="*/ 454025 h 828675"/>
                <a:gd name="connsiteX168" fmla="*/ 1146175 w 1292225"/>
                <a:gd name="connsiteY168" fmla="*/ 457200 h 828675"/>
                <a:gd name="connsiteX169" fmla="*/ 1150938 w 1292225"/>
                <a:gd name="connsiteY169" fmla="*/ 463550 h 828675"/>
                <a:gd name="connsiteX170" fmla="*/ 1154113 w 1292225"/>
                <a:gd name="connsiteY170" fmla="*/ 474663 h 828675"/>
                <a:gd name="connsiteX171" fmla="*/ 1154113 w 1292225"/>
                <a:gd name="connsiteY171" fmla="*/ 481013 h 828675"/>
                <a:gd name="connsiteX172" fmla="*/ 1146175 w 1292225"/>
                <a:gd name="connsiteY172" fmla="*/ 493713 h 828675"/>
                <a:gd name="connsiteX173" fmla="*/ 1143000 w 1292225"/>
                <a:gd name="connsiteY173" fmla="*/ 509588 h 828675"/>
                <a:gd name="connsiteX174" fmla="*/ 1133475 w 1292225"/>
                <a:gd name="connsiteY174" fmla="*/ 514350 h 828675"/>
                <a:gd name="connsiteX175" fmla="*/ 1127125 w 1292225"/>
                <a:gd name="connsiteY175" fmla="*/ 530225 h 828675"/>
                <a:gd name="connsiteX176" fmla="*/ 1123950 w 1292225"/>
                <a:gd name="connsiteY176" fmla="*/ 533400 h 828675"/>
                <a:gd name="connsiteX177" fmla="*/ 1120775 w 1292225"/>
                <a:gd name="connsiteY177" fmla="*/ 533400 h 828675"/>
                <a:gd name="connsiteX178" fmla="*/ 1103313 w 1292225"/>
                <a:gd name="connsiteY178" fmla="*/ 530225 h 828675"/>
                <a:gd name="connsiteX179" fmla="*/ 1100138 w 1292225"/>
                <a:gd name="connsiteY179" fmla="*/ 530225 h 828675"/>
                <a:gd name="connsiteX180" fmla="*/ 1090613 w 1292225"/>
                <a:gd name="connsiteY180" fmla="*/ 530225 h 828675"/>
                <a:gd name="connsiteX181" fmla="*/ 1074738 w 1292225"/>
                <a:gd name="connsiteY181" fmla="*/ 533400 h 828675"/>
                <a:gd name="connsiteX182" fmla="*/ 1066800 w 1292225"/>
                <a:gd name="connsiteY182" fmla="*/ 533400 h 828675"/>
                <a:gd name="connsiteX183" fmla="*/ 1054100 w 1292225"/>
                <a:gd name="connsiteY183" fmla="*/ 527050 h 828675"/>
                <a:gd name="connsiteX184" fmla="*/ 1041400 w 1292225"/>
                <a:gd name="connsiteY184" fmla="*/ 533400 h 828675"/>
                <a:gd name="connsiteX185" fmla="*/ 1041400 w 1292225"/>
                <a:gd name="connsiteY185" fmla="*/ 539750 h 828675"/>
                <a:gd name="connsiteX186" fmla="*/ 1050925 w 1292225"/>
                <a:gd name="connsiteY186" fmla="*/ 557213 h 828675"/>
                <a:gd name="connsiteX187" fmla="*/ 1054100 w 1292225"/>
                <a:gd name="connsiteY187" fmla="*/ 566738 h 828675"/>
                <a:gd name="connsiteX188" fmla="*/ 1060450 w 1292225"/>
                <a:gd name="connsiteY188" fmla="*/ 582613 h 828675"/>
                <a:gd name="connsiteX189" fmla="*/ 1066800 w 1292225"/>
                <a:gd name="connsiteY189" fmla="*/ 590550 h 828675"/>
                <a:gd name="connsiteX190" fmla="*/ 1069975 w 1292225"/>
                <a:gd name="connsiteY190" fmla="*/ 593725 h 828675"/>
                <a:gd name="connsiteX191" fmla="*/ 1066800 w 1292225"/>
                <a:gd name="connsiteY191" fmla="*/ 596900 h 828675"/>
                <a:gd name="connsiteX192" fmla="*/ 1057275 w 1292225"/>
                <a:gd name="connsiteY192" fmla="*/ 596900 h 828675"/>
                <a:gd name="connsiteX193" fmla="*/ 1047750 w 1292225"/>
                <a:gd name="connsiteY193" fmla="*/ 600075 h 828675"/>
                <a:gd name="connsiteX194" fmla="*/ 1041400 w 1292225"/>
                <a:gd name="connsiteY194" fmla="*/ 600075 h 828675"/>
                <a:gd name="connsiteX195" fmla="*/ 1036638 w 1292225"/>
                <a:gd name="connsiteY195" fmla="*/ 603250 h 828675"/>
                <a:gd name="connsiteX196" fmla="*/ 1044575 w 1292225"/>
                <a:gd name="connsiteY196" fmla="*/ 615950 h 828675"/>
                <a:gd name="connsiteX197" fmla="*/ 1041400 w 1292225"/>
                <a:gd name="connsiteY197" fmla="*/ 622300 h 828675"/>
                <a:gd name="connsiteX198" fmla="*/ 1041400 w 1292225"/>
                <a:gd name="connsiteY198" fmla="*/ 630238 h 828675"/>
                <a:gd name="connsiteX199" fmla="*/ 1041400 w 1292225"/>
                <a:gd name="connsiteY199" fmla="*/ 636588 h 828675"/>
                <a:gd name="connsiteX200" fmla="*/ 1050925 w 1292225"/>
                <a:gd name="connsiteY200" fmla="*/ 646113 h 828675"/>
                <a:gd name="connsiteX201" fmla="*/ 1054100 w 1292225"/>
                <a:gd name="connsiteY201" fmla="*/ 646113 h 828675"/>
                <a:gd name="connsiteX202" fmla="*/ 1057275 w 1292225"/>
                <a:gd name="connsiteY202" fmla="*/ 649288 h 828675"/>
                <a:gd name="connsiteX203" fmla="*/ 1063625 w 1292225"/>
                <a:gd name="connsiteY203" fmla="*/ 652463 h 828675"/>
                <a:gd name="connsiteX204" fmla="*/ 1063625 w 1292225"/>
                <a:gd name="connsiteY204" fmla="*/ 665163 h 828675"/>
                <a:gd name="connsiteX205" fmla="*/ 1073150 w 1292225"/>
                <a:gd name="connsiteY205" fmla="*/ 669925 h 828675"/>
                <a:gd name="connsiteX206" fmla="*/ 1081088 w 1292225"/>
                <a:gd name="connsiteY206" fmla="*/ 669925 h 828675"/>
                <a:gd name="connsiteX207" fmla="*/ 1084263 w 1292225"/>
                <a:gd name="connsiteY207" fmla="*/ 669925 h 828675"/>
                <a:gd name="connsiteX208" fmla="*/ 1103313 w 1292225"/>
                <a:gd name="connsiteY208" fmla="*/ 673100 h 828675"/>
                <a:gd name="connsiteX209" fmla="*/ 1114425 w 1292225"/>
                <a:gd name="connsiteY209" fmla="*/ 673100 h 828675"/>
                <a:gd name="connsiteX210" fmla="*/ 1117600 w 1292225"/>
                <a:gd name="connsiteY210" fmla="*/ 673100 h 828675"/>
                <a:gd name="connsiteX211" fmla="*/ 1117600 w 1292225"/>
                <a:gd name="connsiteY211" fmla="*/ 679450 h 828675"/>
                <a:gd name="connsiteX212" fmla="*/ 1114425 w 1292225"/>
                <a:gd name="connsiteY212" fmla="*/ 685800 h 828675"/>
                <a:gd name="connsiteX213" fmla="*/ 1109663 w 1292225"/>
                <a:gd name="connsiteY213" fmla="*/ 695325 h 828675"/>
                <a:gd name="connsiteX214" fmla="*/ 1109663 w 1292225"/>
                <a:gd name="connsiteY214" fmla="*/ 698500 h 828675"/>
                <a:gd name="connsiteX215" fmla="*/ 1106488 w 1292225"/>
                <a:gd name="connsiteY215" fmla="*/ 706438 h 828675"/>
                <a:gd name="connsiteX216" fmla="*/ 1111250 w 1292225"/>
                <a:gd name="connsiteY216" fmla="*/ 715963 h 828675"/>
                <a:gd name="connsiteX217" fmla="*/ 1123950 w 1292225"/>
                <a:gd name="connsiteY217" fmla="*/ 722313 h 828675"/>
                <a:gd name="connsiteX218" fmla="*/ 1127125 w 1292225"/>
                <a:gd name="connsiteY218" fmla="*/ 738188 h 828675"/>
                <a:gd name="connsiteX219" fmla="*/ 1133475 w 1292225"/>
                <a:gd name="connsiteY219" fmla="*/ 744538 h 828675"/>
                <a:gd name="connsiteX220" fmla="*/ 1139825 w 1292225"/>
                <a:gd name="connsiteY220" fmla="*/ 755650 h 828675"/>
                <a:gd name="connsiteX221" fmla="*/ 1139825 w 1292225"/>
                <a:gd name="connsiteY221" fmla="*/ 762000 h 828675"/>
                <a:gd name="connsiteX222" fmla="*/ 1136650 w 1292225"/>
                <a:gd name="connsiteY222" fmla="*/ 771525 h 828675"/>
                <a:gd name="connsiteX223" fmla="*/ 1120775 w 1292225"/>
                <a:gd name="connsiteY223" fmla="*/ 777875 h 828675"/>
                <a:gd name="connsiteX224" fmla="*/ 1111250 w 1292225"/>
                <a:gd name="connsiteY224" fmla="*/ 781050 h 828675"/>
                <a:gd name="connsiteX225" fmla="*/ 1103313 w 1292225"/>
                <a:gd name="connsiteY225" fmla="*/ 785813 h 828675"/>
                <a:gd name="connsiteX226" fmla="*/ 1096963 w 1292225"/>
                <a:gd name="connsiteY226" fmla="*/ 792163 h 828675"/>
                <a:gd name="connsiteX227" fmla="*/ 1087438 w 1292225"/>
                <a:gd name="connsiteY227" fmla="*/ 785813 h 828675"/>
                <a:gd name="connsiteX228" fmla="*/ 1090613 w 1292225"/>
                <a:gd name="connsiteY228" fmla="*/ 781050 h 828675"/>
                <a:gd name="connsiteX229" fmla="*/ 1093788 w 1292225"/>
                <a:gd name="connsiteY229" fmla="*/ 774700 h 828675"/>
                <a:gd name="connsiteX230" fmla="*/ 1087438 w 1292225"/>
                <a:gd name="connsiteY230" fmla="*/ 785813 h 828675"/>
                <a:gd name="connsiteX231" fmla="*/ 1074738 w 1292225"/>
                <a:gd name="connsiteY231" fmla="*/ 788988 h 828675"/>
                <a:gd name="connsiteX232" fmla="*/ 1069975 w 1292225"/>
                <a:gd name="connsiteY232" fmla="*/ 795338 h 828675"/>
                <a:gd name="connsiteX233" fmla="*/ 1066800 w 1292225"/>
                <a:gd name="connsiteY233" fmla="*/ 795338 h 828675"/>
                <a:gd name="connsiteX234" fmla="*/ 1066800 w 1292225"/>
                <a:gd name="connsiteY234" fmla="*/ 804863 h 828675"/>
                <a:gd name="connsiteX235" fmla="*/ 1060450 w 1292225"/>
                <a:gd name="connsiteY235" fmla="*/ 808038 h 828675"/>
                <a:gd name="connsiteX236" fmla="*/ 1060450 w 1292225"/>
                <a:gd name="connsiteY236" fmla="*/ 814388 h 828675"/>
                <a:gd name="connsiteX237" fmla="*/ 1054100 w 1292225"/>
                <a:gd name="connsiteY237" fmla="*/ 811213 h 828675"/>
                <a:gd name="connsiteX238" fmla="*/ 1047750 w 1292225"/>
                <a:gd name="connsiteY238" fmla="*/ 811213 h 828675"/>
                <a:gd name="connsiteX239" fmla="*/ 1038225 w 1292225"/>
                <a:gd name="connsiteY239" fmla="*/ 820738 h 828675"/>
                <a:gd name="connsiteX240" fmla="*/ 1030288 w 1292225"/>
                <a:gd name="connsiteY240" fmla="*/ 814388 h 828675"/>
                <a:gd name="connsiteX241" fmla="*/ 1027113 w 1292225"/>
                <a:gd name="connsiteY241" fmla="*/ 808038 h 828675"/>
                <a:gd name="connsiteX242" fmla="*/ 1017588 w 1292225"/>
                <a:gd name="connsiteY242" fmla="*/ 804863 h 828675"/>
                <a:gd name="connsiteX243" fmla="*/ 1008063 w 1292225"/>
                <a:gd name="connsiteY243" fmla="*/ 795338 h 828675"/>
                <a:gd name="connsiteX244" fmla="*/ 1008063 w 1292225"/>
                <a:gd name="connsiteY244" fmla="*/ 788988 h 828675"/>
                <a:gd name="connsiteX245" fmla="*/ 1004888 w 1292225"/>
                <a:gd name="connsiteY245" fmla="*/ 781050 h 828675"/>
                <a:gd name="connsiteX246" fmla="*/ 1008063 w 1292225"/>
                <a:gd name="connsiteY246" fmla="*/ 771525 h 828675"/>
                <a:gd name="connsiteX247" fmla="*/ 1001713 w 1292225"/>
                <a:gd name="connsiteY247" fmla="*/ 765175 h 828675"/>
                <a:gd name="connsiteX248" fmla="*/ 1001713 w 1292225"/>
                <a:gd name="connsiteY248" fmla="*/ 755650 h 828675"/>
                <a:gd name="connsiteX249" fmla="*/ 998538 w 1292225"/>
                <a:gd name="connsiteY249" fmla="*/ 755650 h 828675"/>
                <a:gd name="connsiteX250" fmla="*/ 998538 w 1292225"/>
                <a:gd name="connsiteY250" fmla="*/ 758825 h 828675"/>
                <a:gd name="connsiteX251" fmla="*/ 993775 w 1292225"/>
                <a:gd name="connsiteY251" fmla="*/ 758825 h 828675"/>
                <a:gd name="connsiteX252" fmla="*/ 984250 w 1292225"/>
                <a:gd name="connsiteY252" fmla="*/ 768350 h 828675"/>
                <a:gd name="connsiteX253" fmla="*/ 977900 w 1292225"/>
                <a:gd name="connsiteY253" fmla="*/ 765175 h 828675"/>
                <a:gd name="connsiteX254" fmla="*/ 971550 w 1292225"/>
                <a:gd name="connsiteY254" fmla="*/ 771525 h 828675"/>
                <a:gd name="connsiteX255" fmla="*/ 965200 w 1292225"/>
                <a:gd name="connsiteY255" fmla="*/ 771525 h 828675"/>
                <a:gd name="connsiteX256" fmla="*/ 962025 w 1292225"/>
                <a:gd name="connsiteY256" fmla="*/ 777875 h 828675"/>
                <a:gd name="connsiteX257" fmla="*/ 950913 w 1292225"/>
                <a:gd name="connsiteY257" fmla="*/ 781050 h 828675"/>
                <a:gd name="connsiteX258" fmla="*/ 944563 w 1292225"/>
                <a:gd name="connsiteY258" fmla="*/ 785813 h 828675"/>
                <a:gd name="connsiteX259" fmla="*/ 931863 w 1292225"/>
                <a:gd name="connsiteY259" fmla="*/ 795338 h 828675"/>
                <a:gd name="connsiteX260" fmla="*/ 928688 w 1292225"/>
                <a:gd name="connsiteY260" fmla="*/ 788988 h 828675"/>
                <a:gd name="connsiteX261" fmla="*/ 931863 w 1292225"/>
                <a:gd name="connsiteY261" fmla="*/ 777875 h 828675"/>
                <a:gd name="connsiteX262" fmla="*/ 941388 w 1292225"/>
                <a:gd name="connsiteY262" fmla="*/ 774700 h 828675"/>
                <a:gd name="connsiteX263" fmla="*/ 947738 w 1292225"/>
                <a:gd name="connsiteY263" fmla="*/ 768350 h 828675"/>
                <a:gd name="connsiteX264" fmla="*/ 944563 w 1292225"/>
                <a:gd name="connsiteY264" fmla="*/ 765175 h 828675"/>
                <a:gd name="connsiteX265" fmla="*/ 947738 w 1292225"/>
                <a:gd name="connsiteY265" fmla="*/ 755650 h 828675"/>
                <a:gd name="connsiteX266" fmla="*/ 944563 w 1292225"/>
                <a:gd name="connsiteY266" fmla="*/ 746125 h 828675"/>
                <a:gd name="connsiteX267" fmla="*/ 931863 w 1292225"/>
                <a:gd name="connsiteY267" fmla="*/ 749300 h 828675"/>
                <a:gd name="connsiteX268" fmla="*/ 931863 w 1292225"/>
                <a:gd name="connsiteY268" fmla="*/ 755650 h 828675"/>
                <a:gd name="connsiteX269" fmla="*/ 922338 w 1292225"/>
                <a:gd name="connsiteY269" fmla="*/ 755650 h 828675"/>
                <a:gd name="connsiteX270" fmla="*/ 920750 w 1292225"/>
                <a:gd name="connsiteY270" fmla="*/ 762000 h 828675"/>
                <a:gd name="connsiteX271" fmla="*/ 917575 w 1292225"/>
                <a:gd name="connsiteY271" fmla="*/ 762000 h 828675"/>
                <a:gd name="connsiteX272" fmla="*/ 908050 w 1292225"/>
                <a:gd name="connsiteY272" fmla="*/ 758825 h 828675"/>
                <a:gd name="connsiteX273" fmla="*/ 901700 w 1292225"/>
                <a:gd name="connsiteY273" fmla="*/ 768350 h 828675"/>
                <a:gd name="connsiteX274" fmla="*/ 898525 w 1292225"/>
                <a:gd name="connsiteY274" fmla="*/ 762000 h 828675"/>
                <a:gd name="connsiteX275" fmla="*/ 892175 w 1292225"/>
                <a:gd name="connsiteY275" fmla="*/ 771525 h 828675"/>
                <a:gd name="connsiteX276" fmla="*/ 889000 w 1292225"/>
                <a:gd name="connsiteY276" fmla="*/ 768350 h 828675"/>
                <a:gd name="connsiteX277" fmla="*/ 889000 w 1292225"/>
                <a:gd name="connsiteY277" fmla="*/ 774700 h 828675"/>
                <a:gd name="connsiteX278" fmla="*/ 881063 w 1292225"/>
                <a:gd name="connsiteY278" fmla="*/ 774700 h 828675"/>
                <a:gd name="connsiteX279" fmla="*/ 877888 w 1292225"/>
                <a:gd name="connsiteY279" fmla="*/ 774700 h 828675"/>
                <a:gd name="connsiteX280" fmla="*/ 881063 w 1292225"/>
                <a:gd name="connsiteY280" fmla="*/ 768350 h 828675"/>
                <a:gd name="connsiteX281" fmla="*/ 865188 w 1292225"/>
                <a:gd name="connsiteY281" fmla="*/ 758825 h 828675"/>
                <a:gd name="connsiteX282" fmla="*/ 868363 w 1292225"/>
                <a:gd name="connsiteY282" fmla="*/ 746125 h 828675"/>
                <a:gd name="connsiteX283" fmla="*/ 862013 w 1292225"/>
                <a:gd name="connsiteY283" fmla="*/ 744538 h 828675"/>
                <a:gd name="connsiteX284" fmla="*/ 858838 w 1292225"/>
                <a:gd name="connsiteY284" fmla="*/ 735013 h 828675"/>
                <a:gd name="connsiteX285" fmla="*/ 847725 w 1292225"/>
                <a:gd name="connsiteY285" fmla="*/ 728663 h 828675"/>
                <a:gd name="connsiteX286" fmla="*/ 847725 w 1292225"/>
                <a:gd name="connsiteY286" fmla="*/ 725488 h 828675"/>
                <a:gd name="connsiteX287" fmla="*/ 849313 w 1292225"/>
                <a:gd name="connsiteY287" fmla="*/ 719138 h 828675"/>
                <a:gd name="connsiteX288" fmla="*/ 841375 w 1292225"/>
                <a:gd name="connsiteY288" fmla="*/ 709613 h 828675"/>
                <a:gd name="connsiteX289" fmla="*/ 838200 w 1292225"/>
                <a:gd name="connsiteY289" fmla="*/ 706438 h 828675"/>
                <a:gd name="connsiteX290" fmla="*/ 835025 w 1292225"/>
                <a:gd name="connsiteY290" fmla="*/ 709613 h 828675"/>
                <a:gd name="connsiteX291" fmla="*/ 831850 w 1292225"/>
                <a:gd name="connsiteY291" fmla="*/ 706438 h 828675"/>
                <a:gd name="connsiteX292" fmla="*/ 828675 w 1292225"/>
                <a:gd name="connsiteY292" fmla="*/ 709613 h 828675"/>
                <a:gd name="connsiteX293" fmla="*/ 819150 w 1292225"/>
                <a:gd name="connsiteY293" fmla="*/ 712788 h 828675"/>
                <a:gd name="connsiteX294" fmla="*/ 809625 w 1292225"/>
                <a:gd name="connsiteY294" fmla="*/ 719138 h 828675"/>
                <a:gd name="connsiteX295" fmla="*/ 804863 w 1292225"/>
                <a:gd name="connsiteY295" fmla="*/ 725488 h 828675"/>
                <a:gd name="connsiteX296" fmla="*/ 798513 w 1292225"/>
                <a:gd name="connsiteY296" fmla="*/ 725488 h 828675"/>
                <a:gd name="connsiteX297" fmla="*/ 792163 w 1292225"/>
                <a:gd name="connsiteY297" fmla="*/ 728663 h 828675"/>
                <a:gd name="connsiteX298" fmla="*/ 788988 w 1292225"/>
                <a:gd name="connsiteY298" fmla="*/ 725488 h 828675"/>
                <a:gd name="connsiteX299" fmla="*/ 782638 w 1292225"/>
                <a:gd name="connsiteY299" fmla="*/ 725488 h 828675"/>
                <a:gd name="connsiteX300" fmla="*/ 776288 w 1292225"/>
                <a:gd name="connsiteY300" fmla="*/ 728663 h 828675"/>
                <a:gd name="connsiteX301" fmla="*/ 776288 w 1292225"/>
                <a:gd name="connsiteY301" fmla="*/ 735013 h 828675"/>
                <a:gd name="connsiteX302" fmla="*/ 771525 w 1292225"/>
                <a:gd name="connsiteY302" fmla="*/ 738188 h 828675"/>
                <a:gd name="connsiteX303" fmla="*/ 768350 w 1292225"/>
                <a:gd name="connsiteY303" fmla="*/ 731838 h 828675"/>
                <a:gd name="connsiteX304" fmla="*/ 765175 w 1292225"/>
                <a:gd name="connsiteY304" fmla="*/ 731838 h 828675"/>
                <a:gd name="connsiteX305" fmla="*/ 762000 w 1292225"/>
                <a:gd name="connsiteY305" fmla="*/ 725488 h 828675"/>
                <a:gd name="connsiteX306" fmla="*/ 758825 w 1292225"/>
                <a:gd name="connsiteY306" fmla="*/ 728663 h 828675"/>
                <a:gd name="connsiteX307" fmla="*/ 755650 w 1292225"/>
                <a:gd name="connsiteY307" fmla="*/ 722313 h 828675"/>
                <a:gd name="connsiteX308" fmla="*/ 746125 w 1292225"/>
                <a:gd name="connsiteY308" fmla="*/ 715963 h 828675"/>
                <a:gd name="connsiteX309" fmla="*/ 742950 w 1292225"/>
                <a:gd name="connsiteY309" fmla="*/ 722313 h 828675"/>
                <a:gd name="connsiteX310" fmla="*/ 736600 w 1292225"/>
                <a:gd name="connsiteY310" fmla="*/ 722313 h 828675"/>
                <a:gd name="connsiteX311" fmla="*/ 742950 w 1292225"/>
                <a:gd name="connsiteY311" fmla="*/ 715963 h 828675"/>
                <a:gd name="connsiteX312" fmla="*/ 739775 w 1292225"/>
                <a:gd name="connsiteY312" fmla="*/ 706438 h 828675"/>
                <a:gd name="connsiteX313" fmla="*/ 733425 w 1292225"/>
                <a:gd name="connsiteY313" fmla="*/ 706438 h 828675"/>
                <a:gd name="connsiteX314" fmla="*/ 731838 w 1292225"/>
                <a:gd name="connsiteY314" fmla="*/ 709613 h 828675"/>
                <a:gd name="connsiteX315" fmla="*/ 725488 w 1292225"/>
                <a:gd name="connsiteY315" fmla="*/ 704850 h 828675"/>
                <a:gd name="connsiteX316" fmla="*/ 719138 w 1292225"/>
                <a:gd name="connsiteY316" fmla="*/ 706438 h 828675"/>
                <a:gd name="connsiteX317" fmla="*/ 709613 w 1292225"/>
                <a:gd name="connsiteY317" fmla="*/ 704850 h 828675"/>
                <a:gd name="connsiteX318" fmla="*/ 706438 w 1292225"/>
                <a:gd name="connsiteY318" fmla="*/ 698500 h 828675"/>
                <a:gd name="connsiteX319" fmla="*/ 703263 w 1292225"/>
                <a:gd name="connsiteY319" fmla="*/ 688975 h 828675"/>
                <a:gd name="connsiteX320" fmla="*/ 696913 w 1292225"/>
                <a:gd name="connsiteY320" fmla="*/ 685800 h 828675"/>
                <a:gd name="connsiteX321" fmla="*/ 692150 w 1292225"/>
                <a:gd name="connsiteY321" fmla="*/ 685800 h 828675"/>
                <a:gd name="connsiteX322" fmla="*/ 688975 w 1292225"/>
                <a:gd name="connsiteY322" fmla="*/ 679450 h 828675"/>
                <a:gd name="connsiteX323" fmla="*/ 688975 w 1292225"/>
                <a:gd name="connsiteY323" fmla="*/ 669925 h 828675"/>
                <a:gd name="connsiteX324" fmla="*/ 692150 w 1292225"/>
                <a:gd name="connsiteY324" fmla="*/ 661988 h 828675"/>
                <a:gd name="connsiteX325" fmla="*/ 688975 w 1292225"/>
                <a:gd name="connsiteY325" fmla="*/ 661988 h 828675"/>
                <a:gd name="connsiteX326" fmla="*/ 685800 w 1292225"/>
                <a:gd name="connsiteY326" fmla="*/ 661988 h 828675"/>
                <a:gd name="connsiteX327" fmla="*/ 679450 w 1292225"/>
                <a:gd name="connsiteY327" fmla="*/ 661988 h 828675"/>
                <a:gd name="connsiteX328" fmla="*/ 682625 w 1292225"/>
                <a:gd name="connsiteY328" fmla="*/ 665163 h 828675"/>
                <a:gd name="connsiteX329" fmla="*/ 676275 w 1292225"/>
                <a:gd name="connsiteY329" fmla="*/ 673100 h 828675"/>
                <a:gd name="connsiteX330" fmla="*/ 658813 w 1292225"/>
                <a:gd name="connsiteY330" fmla="*/ 676275 h 828675"/>
                <a:gd name="connsiteX331" fmla="*/ 655638 w 1292225"/>
                <a:gd name="connsiteY331" fmla="*/ 673100 h 828675"/>
                <a:gd name="connsiteX332" fmla="*/ 652463 w 1292225"/>
                <a:gd name="connsiteY332" fmla="*/ 669925 h 828675"/>
                <a:gd name="connsiteX333" fmla="*/ 646113 w 1292225"/>
                <a:gd name="connsiteY333" fmla="*/ 668338 h 828675"/>
                <a:gd name="connsiteX334" fmla="*/ 630238 w 1292225"/>
                <a:gd name="connsiteY334" fmla="*/ 673100 h 828675"/>
                <a:gd name="connsiteX335" fmla="*/ 619125 w 1292225"/>
                <a:gd name="connsiteY335" fmla="*/ 673100 h 828675"/>
                <a:gd name="connsiteX336" fmla="*/ 612775 w 1292225"/>
                <a:gd name="connsiteY336" fmla="*/ 676275 h 828675"/>
                <a:gd name="connsiteX337" fmla="*/ 600075 w 1292225"/>
                <a:gd name="connsiteY337" fmla="*/ 682625 h 828675"/>
                <a:gd name="connsiteX338" fmla="*/ 600075 w 1292225"/>
                <a:gd name="connsiteY338" fmla="*/ 685800 h 828675"/>
                <a:gd name="connsiteX339" fmla="*/ 596900 w 1292225"/>
                <a:gd name="connsiteY339" fmla="*/ 698500 h 828675"/>
                <a:gd name="connsiteX340" fmla="*/ 590550 w 1292225"/>
                <a:gd name="connsiteY340" fmla="*/ 701675 h 828675"/>
                <a:gd name="connsiteX341" fmla="*/ 582613 w 1292225"/>
                <a:gd name="connsiteY341" fmla="*/ 701675 h 828675"/>
                <a:gd name="connsiteX342" fmla="*/ 579438 w 1292225"/>
                <a:gd name="connsiteY342" fmla="*/ 704850 h 828675"/>
                <a:gd name="connsiteX343" fmla="*/ 569913 w 1292225"/>
                <a:gd name="connsiteY343" fmla="*/ 704850 h 828675"/>
                <a:gd name="connsiteX344" fmla="*/ 563563 w 1292225"/>
                <a:gd name="connsiteY344" fmla="*/ 709613 h 828675"/>
                <a:gd name="connsiteX345" fmla="*/ 554038 w 1292225"/>
                <a:gd name="connsiteY345" fmla="*/ 719138 h 828675"/>
                <a:gd name="connsiteX346" fmla="*/ 542925 w 1292225"/>
                <a:gd name="connsiteY346" fmla="*/ 725488 h 828675"/>
                <a:gd name="connsiteX347" fmla="*/ 530225 w 1292225"/>
                <a:gd name="connsiteY347" fmla="*/ 715963 h 828675"/>
                <a:gd name="connsiteX348" fmla="*/ 520700 w 1292225"/>
                <a:gd name="connsiteY348" fmla="*/ 715963 h 828675"/>
                <a:gd name="connsiteX349" fmla="*/ 514350 w 1292225"/>
                <a:gd name="connsiteY349" fmla="*/ 725488 h 828675"/>
                <a:gd name="connsiteX350" fmla="*/ 517525 w 1292225"/>
                <a:gd name="connsiteY350" fmla="*/ 728663 h 828675"/>
                <a:gd name="connsiteX351" fmla="*/ 530225 w 1292225"/>
                <a:gd name="connsiteY351" fmla="*/ 738188 h 828675"/>
                <a:gd name="connsiteX352" fmla="*/ 536575 w 1292225"/>
                <a:gd name="connsiteY352" fmla="*/ 746125 h 828675"/>
                <a:gd name="connsiteX353" fmla="*/ 533400 w 1292225"/>
                <a:gd name="connsiteY353" fmla="*/ 758825 h 828675"/>
                <a:gd name="connsiteX354" fmla="*/ 536575 w 1292225"/>
                <a:gd name="connsiteY354" fmla="*/ 765175 h 828675"/>
                <a:gd name="connsiteX355" fmla="*/ 530225 w 1292225"/>
                <a:gd name="connsiteY355" fmla="*/ 774700 h 828675"/>
                <a:gd name="connsiteX356" fmla="*/ 527050 w 1292225"/>
                <a:gd name="connsiteY356" fmla="*/ 777875 h 828675"/>
                <a:gd name="connsiteX357" fmla="*/ 517525 w 1292225"/>
                <a:gd name="connsiteY357" fmla="*/ 788988 h 828675"/>
                <a:gd name="connsiteX358" fmla="*/ 508000 w 1292225"/>
                <a:gd name="connsiteY358" fmla="*/ 798513 h 828675"/>
                <a:gd name="connsiteX359" fmla="*/ 500063 w 1292225"/>
                <a:gd name="connsiteY359" fmla="*/ 798513 h 828675"/>
                <a:gd name="connsiteX360" fmla="*/ 503238 w 1292225"/>
                <a:gd name="connsiteY360" fmla="*/ 801688 h 828675"/>
                <a:gd name="connsiteX361" fmla="*/ 500063 w 1292225"/>
                <a:gd name="connsiteY361" fmla="*/ 801688 h 828675"/>
                <a:gd name="connsiteX362" fmla="*/ 500063 w 1292225"/>
                <a:gd name="connsiteY362" fmla="*/ 808038 h 828675"/>
                <a:gd name="connsiteX363" fmla="*/ 493713 w 1292225"/>
                <a:gd name="connsiteY363" fmla="*/ 811213 h 828675"/>
                <a:gd name="connsiteX364" fmla="*/ 474662 w 1292225"/>
                <a:gd name="connsiteY364" fmla="*/ 814388 h 828675"/>
                <a:gd name="connsiteX365" fmla="*/ 471487 w 1292225"/>
                <a:gd name="connsiteY365" fmla="*/ 817563 h 828675"/>
                <a:gd name="connsiteX366" fmla="*/ 466725 w 1292225"/>
                <a:gd name="connsiteY366" fmla="*/ 820738 h 828675"/>
                <a:gd name="connsiteX367" fmla="*/ 466725 w 1292225"/>
                <a:gd name="connsiteY367" fmla="*/ 828675 h 828675"/>
                <a:gd name="connsiteX368" fmla="*/ 460375 w 1292225"/>
                <a:gd name="connsiteY368" fmla="*/ 825500 h 828675"/>
                <a:gd name="connsiteX369" fmla="*/ 463550 w 1292225"/>
                <a:gd name="connsiteY369" fmla="*/ 822325 h 828675"/>
                <a:gd name="connsiteX370" fmla="*/ 457200 w 1292225"/>
                <a:gd name="connsiteY370" fmla="*/ 822325 h 828675"/>
                <a:gd name="connsiteX371" fmla="*/ 457200 w 1292225"/>
                <a:gd name="connsiteY371" fmla="*/ 820738 h 828675"/>
                <a:gd name="connsiteX372" fmla="*/ 447675 w 1292225"/>
                <a:gd name="connsiteY372" fmla="*/ 822325 h 828675"/>
                <a:gd name="connsiteX373" fmla="*/ 434975 w 1292225"/>
                <a:gd name="connsiteY373" fmla="*/ 817563 h 828675"/>
                <a:gd name="connsiteX374" fmla="*/ 431800 w 1292225"/>
                <a:gd name="connsiteY374" fmla="*/ 820738 h 828675"/>
                <a:gd name="connsiteX375" fmla="*/ 430212 w 1292225"/>
                <a:gd name="connsiteY375" fmla="*/ 820738 h 828675"/>
                <a:gd name="connsiteX376" fmla="*/ 427037 w 1292225"/>
                <a:gd name="connsiteY376" fmla="*/ 814388 h 828675"/>
                <a:gd name="connsiteX377" fmla="*/ 420687 w 1292225"/>
                <a:gd name="connsiteY377" fmla="*/ 814388 h 828675"/>
                <a:gd name="connsiteX378" fmla="*/ 420687 w 1292225"/>
                <a:gd name="connsiteY378" fmla="*/ 811213 h 828675"/>
                <a:gd name="connsiteX379" fmla="*/ 411162 w 1292225"/>
                <a:gd name="connsiteY379" fmla="*/ 808038 h 828675"/>
                <a:gd name="connsiteX380" fmla="*/ 411162 w 1292225"/>
                <a:gd name="connsiteY380" fmla="*/ 804863 h 828675"/>
                <a:gd name="connsiteX381" fmla="*/ 401637 w 1292225"/>
                <a:gd name="connsiteY381" fmla="*/ 808038 h 828675"/>
                <a:gd name="connsiteX382" fmla="*/ 395287 w 1292225"/>
                <a:gd name="connsiteY382" fmla="*/ 795338 h 828675"/>
                <a:gd name="connsiteX383" fmla="*/ 384175 w 1292225"/>
                <a:gd name="connsiteY383" fmla="*/ 792163 h 828675"/>
                <a:gd name="connsiteX384" fmla="*/ 381000 w 1292225"/>
                <a:gd name="connsiteY384" fmla="*/ 798513 h 828675"/>
                <a:gd name="connsiteX385" fmla="*/ 368300 w 1292225"/>
                <a:gd name="connsiteY385" fmla="*/ 798513 h 828675"/>
                <a:gd name="connsiteX386" fmla="*/ 368300 w 1292225"/>
                <a:gd name="connsiteY386" fmla="*/ 795338 h 828675"/>
                <a:gd name="connsiteX387" fmla="*/ 358775 w 1292225"/>
                <a:gd name="connsiteY387" fmla="*/ 795338 h 828675"/>
                <a:gd name="connsiteX388" fmla="*/ 358775 w 1292225"/>
                <a:gd name="connsiteY388" fmla="*/ 792163 h 828675"/>
                <a:gd name="connsiteX389" fmla="*/ 350837 w 1292225"/>
                <a:gd name="connsiteY389" fmla="*/ 792163 h 828675"/>
                <a:gd name="connsiteX390" fmla="*/ 344487 w 1292225"/>
                <a:gd name="connsiteY390" fmla="*/ 795338 h 828675"/>
                <a:gd name="connsiteX391" fmla="*/ 331787 w 1292225"/>
                <a:gd name="connsiteY391" fmla="*/ 795338 h 828675"/>
                <a:gd name="connsiteX392" fmla="*/ 328612 w 1292225"/>
                <a:gd name="connsiteY392" fmla="*/ 792163 h 828675"/>
                <a:gd name="connsiteX393" fmla="*/ 325437 w 1292225"/>
                <a:gd name="connsiteY393" fmla="*/ 792163 h 828675"/>
                <a:gd name="connsiteX394" fmla="*/ 328612 w 1292225"/>
                <a:gd name="connsiteY394" fmla="*/ 785813 h 828675"/>
                <a:gd name="connsiteX395" fmla="*/ 322262 w 1292225"/>
                <a:gd name="connsiteY395" fmla="*/ 782638 h 828675"/>
                <a:gd name="connsiteX396" fmla="*/ 325437 w 1292225"/>
                <a:gd name="connsiteY396" fmla="*/ 781050 h 828675"/>
                <a:gd name="connsiteX397" fmla="*/ 322262 w 1292225"/>
                <a:gd name="connsiteY397" fmla="*/ 781050 h 828675"/>
                <a:gd name="connsiteX398" fmla="*/ 322262 w 1292225"/>
                <a:gd name="connsiteY398" fmla="*/ 774700 h 828675"/>
                <a:gd name="connsiteX399" fmla="*/ 319087 w 1292225"/>
                <a:gd name="connsiteY399" fmla="*/ 771525 h 828675"/>
                <a:gd name="connsiteX400" fmla="*/ 328612 w 1292225"/>
                <a:gd name="connsiteY400" fmla="*/ 762000 h 828675"/>
                <a:gd name="connsiteX401" fmla="*/ 322262 w 1292225"/>
                <a:gd name="connsiteY401" fmla="*/ 755650 h 828675"/>
                <a:gd name="connsiteX402" fmla="*/ 322262 w 1292225"/>
                <a:gd name="connsiteY402" fmla="*/ 749300 h 828675"/>
                <a:gd name="connsiteX403" fmla="*/ 331787 w 1292225"/>
                <a:gd name="connsiteY403" fmla="*/ 741363 h 828675"/>
                <a:gd name="connsiteX404" fmla="*/ 334962 w 1292225"/>
                <a:gd name="connsiteY404" fmla="*/ 735013 h 828675"/>
                <a:gd name="connsiteX405" fmla="*/ 331787 w 1292225"/>
                <a:gd name="connsiteY405" fmla="*/ 731838 h 828675"/>
                <a:gd name="connsiteX406" fmla="*/ 328612 w 1292225"/>
                <a:gd name="connsiteY406" fmla="*/ 731838 h 828675"/>
                <a:gd name="connsiteX407" fmla="*/ 319087 w 1292225"/>
                <a:gd name="connsiteY407" fmla="*/ 744538 h 828675"/>
                <a:gd name="connsiteX408" fmla="*/ 314325 w 1292225"/>
                <a:gd name="connsiteY408" fmla="*/ 746125 h 828675"/>
                <a:gd name="connsiteX409" fmla="*/ 307975 w 1292225"/>
                <a:gd name="connsiteY409" fmla="*/ 746125 h 828675"/>
                <a:gd name="connsiteX410" fmla="*/ 301625 w 1292225"/>
                <a:gd name="connsiteY410" fmla="*/ 749300 h 828675"/>
                <a:gd name="connsiteX411" fmla="*/ 301625 w 1292225"/>
                <a:gd name="connsiteY411" fmla="*/ 746125 h 828675"/>
                <a:gd name="connsiteX412" fmla="*/ 288925 w 1292225"/>
                <a:gd name="connsiteY412" fmla="*/ 741363 h 828675"/>
                <a:gd name="connsiteX413" fmla="*/ 274637 w 1292225"/>
                <a:gd name="connsiteY413" fmla="*/ 744538 h 828675"/>
                <a:gd name="connsiteX414" fmla="*/ 268287 w 1292225"/>
                <a:gd name="connsiteY414" fmla="*/ 741363 h 828675"/>
                <a:gd name="connsiteX415" fmla="*/ 265112 w 1292225"/>
                <a:gd name="connsiteY415" fmla="*/ 735013 h 828675"/>
                <a:gd name="connsiteX416" fmla="*/ 252412 w 1292225"/>
                <a:gd name="connsiteY416" fmla="*/ 731838 h 828675"/>
                <a:gd name="connsiteX417" fmla="*/ 252412 w 1292225"/>
                <a:gd name="connsiteY417" fmla="*/ 728663 h 828675"/>
                <a:gd name="connsiteX418" fmla="*/ 246062 w 1292225"/>
                <a:gd name="connsiteY418" fmla="*/ 725488 h 828675"/>
                <a:gd name="connsiteX419" fmla="*/ 242887 w 1292225"/>
                <a:gd name="connsiteY419" fmla="*/ 722313 h 828675"/>
                <a:gd name="connsiteX420" fmla="*/ 228600 w 1292225"/>
                <a:gd name="connsiteY420" fmla="*/ 719138 h 828675"/>
                <a:gd name="connsiteX421" fmla="*/ 225425 w 1292225"/>
                <a:gd name="connsiteY421" fmla="*/ 715963 h 828675"/>
                <a:gd name="connsiteX422" fmla="*/ 215900 w 1292225"/>
                <a:gd name="connsiteY422" fmla="*/ 715963 h 828675"/>
                <a:gd name="connsiteX423" fmla="*/ 219075 w 1292225"/>
                <a:gd name="connsiteY423" fmla="*/ 712788 h 828675"/>
                <a:gd name="connsiteX424" fmla="*/ 212725 w 1292225"/>
                <a:gd name="connsiteY424" fmla="*/ 709613 h 828675"/>
                <a:gd name="connsiteX425" fmla="*/ 212725 w 1292225"/>
                <a:gd name="connsiteY425" fmla="*/ 706438 h 828675"/>
                <a:gd name="connsiteX426" fmla="*/ 206375 w 1292225"/>
                <a:gd name="connsiteY426" fmla="*/ 706438 h 828675"/>
                <a:gd name="connsiteX427" fmla="*/ 201612 w 1292225"/>
                <a:gd name="connsiteY427" fmla="*/ 704850 h 828675"/>
                <a:gd name="connsiteX428" fmla="*/ 188912 w 1292225"/>
                <a:gd name="connsiteY428" fmla="*/ 704850 h 828675"/>
                <a:gd name="connsiteX429" fmla="*/ 182562 w 1292225"/>
                <a:gd name="connsiteY429" fmla="*/ 704850 h 828675"/>
                <a:gd name="connsiteX430" fmla="*/ 176212 w 1292225"/>
                <a:gd name="connsiteY430" fmla="*/ 695325 h 828675"/>
                <a:gd name="connsiteX431" fmla="*/ 169862 w 1292225"/>
                <a:gd name="connsiteY431" fmla="*/ 688975 h 828675"/>
                <a:gd name="connsiteX432" fmla="*/ 161925 w 1292225"/>
                <a:gd name="connsiteY432" fmla="*/ 682625 h 828675"/>
                <a:gd name="connsiteX433" fmla="*/ 165100 w 1292225"/>
                <a:gd name="connsiteY433" fmla="*/ 669925 h 828675"/>
                <a:gd name="connsiteX434" fmla="*/ 161925 w 1292225"/>
                <a:gd name="connsiteY434" fmla="*/ 668338 h 828675"/>
                <a:gd name="connsiteX435" fmla="*/ 158750 w 1292225"/>
                <a:gd name="connsiteY435" fmla="*/ 669925 h 828675"/>
                <a:gd name="connsiteX436" fmla="*/ 161925 w 1292225"/>
                <a:gd name="connsiteY436" fmla="*/ 665163 h 828675"/>
                <a:gd name="connsiteX437" fmla="*/ 155575 w 1292225"/>
                <a:gd name="connsiteY437" fmla="*/ 661988 h 828675"/>
                <a:gd name="connsiteX438" fmla="*/ 152400 w 1292225"/>
                <a:gd name="connsiteY438" fmla="*/ 649288 h 828675"/>
                <a:gd name="connsiteX439" fmla="*/ 152400 w 1292225"/>
                <a:gd name="connsiteY439" fmla="*/ 642938 h 828675"/>
                <a:gd name="connsiteX440" fmla="*/ 149225 w 1292225"/>
                <a:gd name="connsiteY440" fmla="*/ 639763 h 828675"/>
                <a:gd name="connsiteX441" fmla="*/ 155575 w 1292225"/>
                <a:gd name="connsiteY441" fmla="*/ 630238 h 828675"/>
                <a:gd name="connsiteX442" fmla="*/ 152400 w 1292225"/>
                <a:gd name="connsiteY442" fmla="*/ 630238 h 828675"/>
                <a:gd name="connsiteX443" fmla="*/ 155575 w 1292225"/>
                <a:gd name="connsiteY443" fmla="*/ 628650 h 828675"/>
                <a:gd name="connsiteX444" fmla="*/ 161925 w 1292225"/>
                <a:gd name="connsiteY444" fmla="*/ 628650 h 828675"/>
                <a:gd name="connsiteX445" fmla="*/ 155575 w 1292225"/>
                <a:gd name="connsiteY445" fmla="*/ 619125 h 828675"/>
                <a:gd name="connsiteX446" fmla="*/ 161925 w 1292225"/>
                <a:gd name="connsiteY446" fmla="*/ 612775 h 828675"/>
                <a:gd name="connsiteX447" fmla="*/ 158750 w 1292225"/>
                <a:gd name="connsiteY447" fmla="*/ 600075 h 828675"/>
                <a:gd name="connsiteX448" fmla="*/ 152400 w 1292225"/>
                <a:gd name="connsiteY448" fmla="*/ 596900 h 828675"/>
                <a:gd name="connsiteX449" fmla="*/ 155575 w 1292225"/>
                <a:gd name="connsiteY449" fmla="*/ 593725 h 828675"/>
                <a:gd name="connsiteX450" fmla="*/ 152400 w 1292225"/>
                <a:gd name="connsiteY450" fmla="*/ 590550 h 828675"/>
                <a:gd name="connsiteX451" fmla="*/ 158750 w 1292225"/>
                <a:gd name="connsiteY451" fmla="*/ 579438 h 828675"/>
                <a:gd name="connsiteX452" fmla="*/ 152400 w 1292225"/>
                <a:gd name="connsiteY452" fmla="*/ 569913 h 828675"/>
                <a:gd name="connsiteX453" fmla="*/ 158750 w 1292225"/>
                <a:gd name="connsiteY453" fmla="*/ 557213 h 828675"/>
                <a:gd name="connsiteX454" fmla="*/ 158750 w 1292225"/>
                <a:gd name="connsiteY454" fmla="*/ 552450 h 828675"/>
                <a:gd name="connsiteX455" fmla="*/ 152400 w 1292225"/>
                <a:gd name="connsiteY455" fmla="*/ 542925 h 828675"/>
                <a:gd name="connsiteX456" fmla="*/ 146050 w 1292225"/>
                <a:gd name="connsiteY456" fmla="*/ 533400 h 828675"/>
                <a:gd name="connsiteX457" fmla="*/ 146050 w 1292225"/>
                <a:gd name="connsiteY457" fmla="*/ 527050 h 828675"/>
                <a:gd name="connsiteX458" fmla="*/ 146050 w 1292225"/>
                <a:gd name="connsiteY458" fmla="*/ 520700 h 828675"/>
                <a:gd name="connsiteX459" fmla="*/ 142875 w 1292225"/>
                <a:gd name="connsiteY459" fmla="*/ 512763 h 828675"/>
                <a:gd name="connsiteX460" fmla="*/ 146050 w 1292225"/>
                <a:gd name="connsiteY460" fmla="*/ 496888 h 828675"/>
                <a:gd name="connsiteX461" fmla="*/ 142875 w 1292225"/>
                <a:gd name="connsiteY461" fmla="*/ 487363 h 828675"/>
                <a:gd name="connsiteX462" fmla="*/ 142875 w 1292225"/>
                <a:gd name="connsiteY462" fmla="*/ 481013 h 828675"/>
                <a:gd name="connsiteX463" fmla="*/ 139700 w 1292225"/>
                <a:gd name="connsiteY463" fmla="*/ 484188 h 828675"/>
                <a:gd name="connsiteX464" fmla="*/ 136525 w 1292225"/>
                <a:gd name="connsiteY464" fmla="*/ 473075 h 828675"/>
                <a:gd name="connsiteX465" fmla="*/ 133350 w 1292225"/>
                <a:gd name="connsiteY465" fmla="*/ 473075 h 828675"/>
                <a:gd name="connsiteX466" fmla="*/ 130175 w 1292225"/>
                <a:gd name="connsiteY466" fmla="*/ 469900 h 828675"/>
                <a:gd name="connsiteX467" fmla="*/ 136525 w 1292225"/>
                <a:gd name="connsiteY467" fmla="*/ 457200 h 828675"/>
                <a:gd name="connsiteX468" fmla="*/ 136525 w 1292225"/>
                <a:gd name="connsiteY468" fmla="*/ 441325 h 828675"/>
                <a:gd name="connsiteX469" fmla="*/ 142875 w 1292225"/>
                <a:gd name="connsiteY469" fmla="*/ 436563 h 828675"/>
                <a:gd name="connsiteX470" fmla="*/ 155575 w 1292225"/>
                <a:gd name="connsiteY470" fmla="*/ 433388 h 828675"/>
                <a:gd name="connsiteX471" fmla="*/ 161925 w 1292225"/>
                <a:gd name="connsiteY471" fmla="*/ 430213 h 828675"/>
                <a:gd name="connsiteX472" fmla="*/ 168275 w 1292225"/>
                <a:gd name="connsiteY472" fmla="*/ 433388 h 828675"/>
                <a:gd name="connsiteX473" fmla="*/ 176212 w 1292225"/>
                <a:gd name="connsiteY473" fmla="*/ 436563 h 828675"/>
                <a:gd name="connsiteX474" fmla="*/ 176212 w 1292225"/>
                <a:gd name="connsiteY474" fmla="*/ 430213 h 828675"/>
                <a:gd name="connsiteX475" fmla="*/ 182562 w 1292225"/>
                <a:gd name="connsiteY475" fmla="*/ 420688 h 828675"/>
                <a:gd name="connsiteX476" fmla="*/ 179387 w 1292225"/>
                <a:gd name="connsiteY476" fmla="*/ 417513 h 828675"/>
                <a:gd name="connsiteX477" fmla="*/ 185737 w 1292225"/>
                <a:gd name="connsiteY477" fmla="*/ 407988 h 828675"/>
                <a:gd name="connsiteX478" fmla="*/ 188912 w 1292225"/>
                <a:gd name="connsiteY478" fmla="*/ 398463 h 828675"/>
                <a:gd name="connsiteX479" fmla="*/ 198437 w 1292225"/>
                <a:gd name="connsiteY479" fmla="*/ 396875 h 828675"/>
                <a:gd name="connsiteX480" fmla="*/ 206375 w 1292225"/>
                <a:gd name="connsiteY480" fmla="*/ 396875 h 828675"/>
                <a:gd name="connsiteX481" fmla="*/ 209550 w 1292225"/>
                <a:gd name="connsiteY481" fmla="*/ 393700 h 828675"/>
                <a:gd name="connsiteX482" fmla="*/ 222250 w 1292225"/>
                <a:gd name="connsiteY482" fmla="*/ 393700 h 828675"/>
                <a:gd name="connsiteX483" fmla="*/ 225425 w 1292225"/>
                <a:gd name="connsiteY483" fmla="*/ 390525 h 828675"/>
                <a:gd name="connsiteX484" fmla="*/ 228600 w 1292225"/>
                <a:gd name="connsiteY484" fmla="*/ 387350 h 828675"/>
                <a:gd name="connsiteX485" fmla="*/ 231775 w 1292225"/>
                <a:gd name="connsiteY485" fmla="*/ 384175 h 828675"/>
                <a:gd name="connsiteX486" fmla="*/ 242887 w 1292225"/>
                <a:gd name="connsiteY486" fmla="*/ 377825 h 828675"/>
                <a:gd name="connsiteX487" fmla="*/ 242887 w 1292225"/>
                <a:gd name="connsiteY487" fmla="*/ 374650 h 828675"/>
                <a:gd name="connsiteX488" fmla="*/ 249237 w 1292225"/>
                <a:gd name="connsiteY488" fmla="*/ 371475 h 828675"/>
                <a:gd name="connsiteX489" fmla="*/ 246062 w 1292225"/>
                <a:gd name="connsiteY489" fmla="*/ 368300 h 828675"/>
                <a:gd name="connsiteX490" fmla="*/ 246062 w 1292225"/>
                <a:gd name="connsiteY490" fmla="*/ 361950 h 828675"/>
                <a:gd name="connsiteX491" fmla="*/ 255587 w 1292225"/>
                <a:gd name="connsiteY491" fmla="*/ 357188 h 828675"/>
                <a:gd name="connsiteX492" fmla="*/ 249237 w 1292225"/>
                <a:gd name="connsiteY492" fmla="*/ 350838 h 828675"/>
                <a:gd name="connsiteX493" fmla="*/ 255587 w 1292225"/>
                <a:gd name="connsiteY493" fmla="*/ 341313 h 828675"/>
                <a:gd name="connsiteX494" fmla="*/ 261937 w 1292225"/>
                <a:gd name="connsiteY494" fmla="*/ 341313 h 828675"/>
                <a:gd name="connsiteX495" fmla="*/ 255587 w 1292225"/>
                <a:gd name="connsiteY495" fmla="*/ 338138 h 828675"/>
                <a:gd name="connsiteX496" fmla="*/ 255587 w 1292225"/>
                <a:gd name="connsiteY496" fmla="*/ 334963 h 828675"/>
                <a:gd name="connsiteX497" fmla="*/ 252412 w 1292225"/>
                <a:gd name="connsiteY497" fmla="*/ 334963 h 828675"/>
                <a:gd name="connsiteX498" fmla="*/ 242887 w 1292225"/>
                <a:gd name="connsiteY498" fmla="*/ 334963 h 828675"/>
                <a:gd name="connsiteX499" fmla="*/ 241300 w 1292225"/>
                <a:gd name="connsiteY499" fmla="*/ 328613 h 828675"/>
                <a:gd name="connsiteX500" fmla="*/ 231775 w 1292225"/>
                <a:gd name="connsiteY500" fmla="*/ 331788 h 828675"/>
                <a:gd name="connsiteX501" fmla="*/ 225425 w 1292225"/>
                <a:gd name="connsiteY501" fmla="*/ 322263 h 828675"/>
                <a:gd name="connsiteX502" fmla="*/ 219075 w 1292225"/>
                <a:gd name="connsiteY502" fmla="*/ 325438 h 828675"/>
                <a:gd name="connsiteX503" fmla="*/ 209550 w 1292225"/>
                <a:gd name="connsiteY503" fmla="*/ 320675 h 828675"/>
                <a:gd name="connsiteX504" fmla="*/ 198437 w 1292225"/>
                <a:gd name="connsiteY504" fmla="*/ 322263 h 828675"/>
                <a:gd name="connsiteX505" fmla="*/ 195262 w 1292225"/>
                <a:gd name="connsiteY505" fmla="*/ 314325 h 828675"/>
                <a:gd name="connsiteX506" fmla="*/ 188912 w 1292225"/>
                <a:gd name="connsiteY506" fmla="*/ 304800 h 828675"/>
                <a:gd name="connsiteX507" fmla="*/ 195262 w 1292225"/>
                <a:gd name="connsiteY507" fmla="*/ 292100 h 828675"/>
                <a:gd name="connsiteX508" fmla="*/ 201612 w 1292225"/>
                <a:gd name="connsiteY508" fmla="*/ 282575 h 828675"/>
                <a:gd name="connsiteX509" fmla="*/ 201612 w 1292225"/>
                <a:gd name="connsiteY509" fmla="*/ 280988 h 828675"/>
                <a:gd name="connsiteX510" fmla="*/ 206375 w 1292225"/>
                <a:gd name="connsiteY510" fmla="*/ 274638 h 828675"/>
                <a:gd name="connsiteX511" fmla="*/ 209550 w 1292225"/>
                <a:gd name="connsiteY511" fmla="*/ 271463 h 828675"/>
                <a:gd name="connsiteX512" fmla="*/ 201612 w 1292225"/>
                <a:gd name="connsiteY512" fmla="*/ 271463 h 828675"/>
                <a:gd name="connsiteX513" fmla="*/ 198437 w 1292225"/>
                <a:gd name="connsiteY513" fmla="*/ 268288 h 828675"/>
                <a:gd name="connsiteX514" fmla="*/ 188912 w 1292225"/>
                <a:gd name="connsiteY514" fmla="*/ 268288 h 828675"/>
                <a:gd name="connsiteX515" fmla="*/ 179387 w 1292225"/>
                <a:gd name="connsiteY515" fmla="*/ 265113 h 828675"/>
                <a:gd name="connsiteX516" fmla="*/ 169862 w 1292225"/>
                <a:gd name="connsiteY516" fmla="*/ 268288 h 828675"/>
                <a:gd name="connsiteX517" fmla="*/ 165100 w 1292225"/>
                <a:gd name="connsiteY517" fmla="*/ 265113 h 828675"/>
                <a:gd name="connsiteX518" fmla="*/ 149225 w 1292225"/>
                <a:gd name="connsiteY518" fmla="*/ 268288 h 828675"/>
                <a:gd name="connsiteX519" fmla="*/ 149225 w 1292225"/>
                <a:gd name="connsiteY519" fmla="*/ 261938 h 828675"/>
                <a:gd name="connsiteX520" fmla="*/ 136525 w 1292225"/>
                <a:gd name="connsiteY520" fmla="*/ 255588 h 828675"/>
                <a:gd name="connsiteX521" fmla="*/ 133350 w 1292225"/>
                <a:gd name="connsiteY521" fmla="*/ 246063 h 828675"/>
                <a:gd name="connsiteX522" fmla="*/ 125412 w 1292225"/>
                <a:gd name="connsiteY522" fmla="*/ 244475 h 828675"/>
                <a:gd name="connsiteX523" fmla="*/ 119062 w 1292225"/>
                <a:gd name="connsiteY523" fmla="*/ 246063 h 828675"/>
                <a:gd name="connsiteX524" fmla="*/ 109537 w 1292225"/>
                <a:gd name="connsiteY524" fmla="*/ 241300 h 828675"/>
                <a:gd name="connsiteX525" fmla="*/ 115887 w 1292225"/>
                <a:gd name="connsiteY525" fmla="*/ 228600 h 828675"/>
                <a:gd name="connsiteX526" fmla="*/ 112712 w 1292225"/>
                <a:gd name="connsiteY526" fmla="*/ 215900 h 828675"/>
                <a:gd name="connsiteX527" fmla="*/ 112712 w 1292225"/>
                <a:gd name="connsiteY527" fmla="*/ 212725 h 828675"/>
                <a:gd name="connsiteX528" fmla="*/ 106362 w 1292225"/>
                <a:gd name="connsiteY528" fmla="*/ 215900 h 828675"/>
                <a:gd name="connsiteX529" fmla="*/ 96837 w 1292225"/>
                <a:gd name="connsiteY529" fmla="*/ 209550 h 828675"/>
                <a:gd name="connsiteX530" fmla="*/ 85725 w 1292225"/>
                <a:gd name="connsiteY530" fmla="*/ 215900 h 828675"/>
                <a:gd name="connsiteX531" fmla="*/ 76200 w 1292225"/>
                <a:gd name="connsiteY531" fmla="*/ 209550 h 828675"/>
                <a:gd name="connsiteX532" fmla="*/ 76200 w 1292225"/>
                <a:gd name="connsiteY532" fmla="*/ 212725 h 828675"/>
                <a:gd name="connsiteX533" fmla="*/ 79375 w 1292225"/>
                <a:gd name="connsiteY533" fmla="*/ 215900 h 828675"/>
                <a:gd name="connsiteX534" fmla="*/ 73025 w 1292225"/>
                <a:gd name="connsiteY534" fmla="*/ 215900 h 828675"/>
                <a:gd name="connsiteX535" fmla="*/ 63500 w 1292225"/>
                <a:gd name="connsiteY535" fmla="*/ 219075 h 828675"/>
                <a:gd name="connsiteX536" fmla="*/ 60325 w 1292225"/>
                <a:gd name="connsiteY536" fmla="*/ 212725 h 828675"/>
                <a:gd name="connsiteX537" fmla="*/ 52387 w 1292225"/>
                <a:gd name="connsiteY537" fmla="*/ 206375 h 828675"/>
                <a:gd name="connsiteX538" fmla="*/ 49212 w 1292225"/>
                <a:gd name="connsiteY538" fmla="*/ 215900 h 828675"/>
                <a:gd name="connsiteX539" fmla="*/ 39687 w 1292225"/>
                <a:gd name="connsiteY539" fmla="*/ 219075 h 828675"/>
                <a:gd name="connsiteX540" fmla="*/ 36512 w 1292225"/>
                <a:gd name="connsiteY540" fmla="*/ 212725 h 828675"/>
                <a:gd name="connsiteX541" fmla="*/ 30162 w 1292225"/>
                <a:gd name="connsiteY541" fmla="*/ 212725 h 828675"/>
                <a:gd name="connsiteX542" fmla="*/ 23812 w 1292225"/>
                <a:gd name="connsiteY542" fmla="*/ 215900 h 828675"/>
                <a:gd name="connsiteX543" fmla="*/ 17462 w 1292225"/>
                <a:gd name="connsiteY543" fmla="*/ 209550 h 828675"/>
                <a:gd name="connsiteX544" fmla="*/ 12700 w 1292225"/>
                <a:gd name="connsiteY544" fmla="*/ 212725 h 828675"/>
                <a:gd name="connsiteX545" fmla="*/ 12700 w 1292225"/>
                <a:gd name="connsiteY545" fmla="*/ 209550 h 828675"/>
                <a:gd name="connsiteX546" fmla="*/ 3175 w 1292225"/>
                <a:gd name="connsiteY546" fmla="*/ 206375 h 828675"/>
                <a:gd name="connsiteX547" fmla="*/ 0 w 1292225"/>
                <a:gd name="connsiteY547" fmla="*/ 201613 h 828675"/>
                <a:gd name="connsiteX548" fmla="*/ 9525 w 1292225"/>
                <a:gd name="connsiteY548" fmla="*/ 195263 h 828675"/>
                <a:gd name="connsiteX549" fmla="*/ 12700 w 1292225"/>
                <a:gd name="connsiteY549" fmla="*/ 185738 h 828675"/>
                <a:gd name="connsiteX550" fmla="*/ 6350 w 1292225"/>
                <a:gd name="connsiteY550" fmla="*/ 173038 h 828675"/>
                <a:gd name="connsiteX551" fmla="*/ 6350 w 1292225"/>
                <a:gd name="connsiteY551" fmla="*/ 166688 h 828675"/>
                <a:gd name="connsiteX552" fmla="*/ 12700 w 1292225"/>
                <a:gd name="connsiteY552" fmla="*/ 165100 h 828675"/>
                <a:gd name="connsiteX553" fmla="*/ 12700 w 1292225"/>
                <a:gd name="connsiteY553" fmla="*/ 152400 h 828675"/>
                <a:gd name="connsiteX554" fmla="*/ 15875 w 1292225"/>
                <a:gd name="connsiteY554" fmla="*/ 149225 h 828675"/>
                <a:gd name="connsiteX555" fmla="*/ 17462 w 1292225"/>
                <a:gd name="connsiteY555" fmla="*/ 142875 h 828675"/>
                <a:gd name="connsiteX556" fmla="*/ 20637 w 1292225"/>
                <a:gd name="connsiteY556" fmla="*/ 139700 h 828675"/>
                <a:gd name="connsiteX557" fmla="*/ 33337 w 1292225"/>
                <a:gd name="connsiteY557" fmla="*/ 146050 h 828675"/>
                <a:gd name="connsiteX558" fmla="*/ 33337 w 1292225"/>
                <a:gd name="connsiteY558" fmla="*/ 139700 h 828675"/>
                <a:gd name="connsiteX559" fmla="*/ 42862 w 1292225"/>
                <a:gd name="connsiteY559" fmla="*/ 136525 h 828675"/>
                <a:gd name="connsiteX560" fmla="*/ 46037 w 1292225"/>
                <a:gd name="connsiteY560" fmla="*/ 136525 h 828675"/>
                <a:gd name="connsiteX561" fmla="*/ 57150 w 1292225"/>
                <a:gd name="connsiteY561" fmla="*/ 125412 h 828675"/>
                <a:gd name="connsiteX562" fmla="*/ 63500 w 1292225"/>
                <a:gd name="connsiteY562" fmla="*/ 125412 h 828675"/>
                <a:gd name="connsiteX563" fmla="*/ 66675 w 1292225"/>
                <a:gd name="connsiteY563" fmla="*/ 122237 h 828675"/>
                <a:gd name="connsiteX564" fmla="*/ 63500 w 1292225"/>
                <a:gd name="connsiteY564" fmla="*/ 112712 h 828675"/>
                <a:gd name="connsiteX565" fmla="*/ 73025 w 1292225"/>
                <a:gd name="connsiteY565" fmla="*/ 109537 h 828675"/>
                <a:gd name="connsiteX566" fmla="*/ 85725 w 1292225"/>
                <a:gd name="connsiteY566" fmla="*/ 109537 h 828675"/>
                <a:gd name="connsiteX567" fmla="*/ 88900 w 1292225"/>
                <a:gd name="connsiteY567" fmla="*/ 100012 h 828675"/>
                <a:gd name="connsiteX568" fmla="*/ 96837 w 1292225"/>
                <a:gd name="connsiteY568" fmla="*/ 93662 h 828675"/>
                <a:gd name="connsiteX569" fmla="*/ 106362 w 1292225"/>
                <a:gd name="connsiteY569" fmla="*/ 82550 h 828675"/>
                <a:gd name="connsiteX570" fmla="*/ 103187 w 1292225"/>
                <a:gd name="connsiteY570" fmla="*/ 79375 h 828675"/>
                <a:gd name="connsiteX571" fmla="*/ 100012 w 1292225"/>
                <a:gd name="connsiteY571" fmla="*/ 66675 h 828675"/>
                <a:gd name="connsiteX572" fmla="*/ 109537 w 1292225"/>
                <a:gd name="connsiteY572" fmla="*/ 69850 h 828675"/>
                <a:gd name="connsiteX573" fmla="*/ 122237 w 1292225"/>
                <a:gd name="connsiteY573" fmla="*/ 63500 h 828675"/>
                <a:gd name="connsiteX574" fmla="*/ 125412 w 1292225"/>
                <a:gd name="connsiteY574" fmla="*/ 66675 h 828675"/>
                <a:gd name="connsiteX575" fmla="*/ 130175 w 1292225"/>
                <a:gd name="connsiteY575" fmla="*/ 66675 h 828675"/>
                <a:gd name="connsiteX576" fmla="*/ 130175 w 1292225"/>
                <a:gd name="connsiteY576" fmla="*/ 63500 h 828675"/>
                <a:gd name="connsiteX577" fmla="*/ 139700 w 1292225"/>
                <a:gd name="connsiteY577" fmla="*/ 66675 h 828675"/>
                <a:gd name="connsiteX578" fmla="*/ 149225 w 1292225"/>
                <a:gd name="connsiteY578" fmla="*/ 63500 h 828675"/>
                <a:gd name="connsiteX579" fmla="*/ 149225 w 1292225"/>
                <a:gd name="connsiteY579" fmla="*/ 60325 h 828675"/>
                <a:gd name="connsiteX580" fmla="*/ 161925 w 1292225"/>
                <a:gd name="connsiteY580" fmla="*/ 57150 h 828675"/>
                <a:gd name="connsiteX581" fmla="*/ 173037 w 1292225"/>
                <a:gd name="connsiteY581" fmla="*/ 63500 h 828675"/>
                <a:gd name="connsiteX582" fmla="*/ 185737 w 1292225"/>
                <a:gd name="connsiteY582" fmla="*/ 63500 h 828675"/>
                <a:gd name="connsiteX583" fmla="*/ 188912 w 1292225"/>
                <a:gd name="connsiteY583" fmla="*/ 66675 h 828675"/>
                <a:gd name="connsiteX584" fmla="*/ 204787 w 1292225"/>
                <a:gd name="connsiteY584" fmla="*/ 69850 h 828675"/>
                <a:gd name="connsiteX585" fmla="*/ 209550 w 1292225"/>
                <a:gd name="connsiteY585" fmla="*/ 63500 h 828675"/>
                <a:gd name="connsiteX586" fmla="*/ 219075 w 1292225"/>
                <a:gd name="connsiteY586" fmla="*/ 66675 h 828675"/>
                <a:gd name="connsiteX587" fmla="*/ 228600 w 1292225"/>
                <a:gd name="connsiteY587" fmla="*/ 63500 h 828675"/>
                <a:gd name="connsiteX588" fmla="*/ 234950 w 1292225"/>
                <a:gd name="connsiteY588" fmla="*/ 66675 h 828675"/>
                <a:gd name="connsiteX589" fmla="*/ 238125 w 1292225"/>
                <a:gd name="connsiteY589" fmla="*/ 66675 h 828675"/>
                <a:gd name="connsiteX590" fmla="*/ 238125 w 1292225"/>
                <a:gd name="connsiteY590" fmla="*/ 60325 h 828675"/>
                <a:gd name="connsiteX591" fmla="*/ 234950 w 1292225"/>
                <a:gd name="connsiteY591" fmla="*/ 60325 h 828675"/>
                <a:gd name="connsiteX592" fmla="*/ 238125 w 1292225"/>
                <a:gd name="connsiteY592" fmla="*/ 57150 h 828675"/>
                <a:gd name="connsiteX593" fmla="*/ 234950 w 1292225"/>
                <a:gd name="connsiteY593" fmla="*/ 53975 h 828675"/>
                <a:gd name="connsiteX594" fmla="*/ 225425 w 1292225"/>
                <a:gd name="connsiteY594" fmla="*/ 50800 h 828675"/>
                <a:gd name="connsiteX595" fmla="*/ 222250 w 1292225"/>
                <a:gd name="connsiteY595" fmla="*/ 46037 h 828675"/>
                <a:gd name="connsiteX596" fmla="*/ 219075 w 1292225"/>
                <a:gd name="connsiteY596" fmla="*/ 49212 h 828675"/>
                <a:gd name="connsiteX597" fmla="*/ 206375 w 1292225"/>
                <a:gd name="connsiteY597" fmla="*/ 42862 h 828675"/>
                <a:gd name="connsiteX598" fmla="*/ 209550 w 1292225"/>
                <a:gd name="connsiteY598" fmla="*/ 39687 h 828675"/>
                <a:gd name="connsiteX599" fmla="*/ 204787 w 1292225"/>
                <a:gd name="connsiteY599" fmla="*/ 36512 h 828675"/>
                <a:gd name="connsiteX600" fmla="*/ 204787 w 1292225"/>
                <a:gd name="connsiteY600" fmla="*/ 30162 h 828675"/>
                <a:gd name="connsiteX601" fmla="*/ 219075 w 1292225"/>
                <a:gd name="connsiteY601" fmla="*/ 30162 h 828675"/>
                <a:gd name="connsiteX602" fmla="*/ 228600 w 1292225"/>
                <a:gd name="connsiteY602" fmla="*/ 33337 h 828675"/>
                <a:gd name="connsiteX603" fmla="*/ 234950 w 1292225"/>
                <a:gd name="connsiteY603" fmla="*/ 26987 h 828675"/>
                <a:gd name="connsiteX604" fmla="*/ 241300 w 1292225"/>
                <a:gd name="connsiteY604" fmla="*/ 30162 h 828675"/>
                <a:gd name="connsiteX605" fmla="*/ 242887 w 1292225"/>
                <a:gd name="connsiteY605" fmla="*/ 33337 h 828675"/>
                <a:gd name="connsiteX606" fmla="*/ 241300 w 1292225"/>
                <a:gd name="connsiteY606" fmla="*/ 36512 h 828675"/>
                <a:gd name="connsiteX607" fmla="*/ 246062 w 1292225"/>
                <a:gd name="connsiteY607" fmla="*/ 36512 h 828675"/>
                <a:gd name="connsiteX608" fmla="*/ 252412 w 1292225"/>
                <a:gd name="connsiteY608" fmla="*/ 42862 h 828675"/>
                <a:gd name="connsiteX609" fmla="*/ 265112 w 1292225"/>
                <a:gd name="connsiteY609" fmla="*/ 46037 h 828675"/>
                <a:gd name="connsiteX610" fmla="*/ 268287 w 1292225"/>
                <a:gd name="connsiteY610" fmla="*/ 42862 h 828675"/>
                <a:gd name="connsiteX611" fmla="*/ 277812 w 1292225"/>
                <a:gd name="connsiteY611" fmla="*/ 42862 h 828675"/>
                <a:gd name="connsiteX612" fmla="*/ 282575 w 1292225"/>
                <a:gd name="connsiteY612" fmla="*/ 33337 h 828675"/>
                <a:gd name="connsiteX613" fmla="*/ 285750 w 1292225"/>
                <a:gd name="connsiteY613" fmla="*/ 30162 h 828675"/>
                <a:gd name="connsiteX614" fmla="*/ 298450 w 1292225"/>
                <a:gd name="connsiteY614" fmla="*/ 33337 h 828675"/>
                <a:gd name="connsiteX615" fmla="*/ 307975 w 1292225"/>
                <a:gd name="connsiteY615" fmla="*/ 30162 h 828675"/>
                <a:gd name="connsiteX616" fmla="*/ 317500 w 1292225"/>
                <a:gd name="connsiteY616" fmla="*/ 20637 h 828675"/>
                <a:gd name="connsiteX617" fmla="*/ 328612 w 1292225"/>
                <a:gd name="connsiteY617" fmla="*/ 17462 h 828675"/>
                <a:gd name="connsiteX618" fmla="*/ 328612 w 1292225"/>
                <a:gd name="connsiteY618" fmla="*/ 12700 h 828675"/>
                <a:gd name="connsiteX619" fmla="*/ 341312 w 1292225"/>
                <a:gd name="connsiteY619" fmla="*/ 17462 h 828675"/>
                <a:gd name="connsiteX620" fmla="*/ 341312 w 1292225"/>
                <a:gd name="connsiteY620" fmla="*/ 20637 h 828675"/>
                <a:gd name="connsiteX621" fmla="*/ 347662 w 1292225"/>
                <a:gd name="connsiteY621" fmla="*/ 20637 h 828675"/>
                <a:gd name="connsiteX622" fmla="*/ 344487 w 1292225"/>
                <a:gd name="connsiteY622" fmla="*/ 12700 h 828675"/>
                <a:gd name="connsiteX623" fmla="*/ 358775 w 1292225"/>
                <a:gd name="connsiteY623" fmla="*/ 9525 h 82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Lst>
              <a:rect l="l" t="t" r="r" b="b"/>
              <a:pathLst>
                <a:path w="1292225" h="828675">
                  <a:moveTo>
                    <a:pt x="374650" y="0"/>
                  </a:moveTo>
                  <a:lnTo>
                    <a:pt x="381000" y="12700"/>
                  </a:lnTo>
                  <a:lnTo>
                    <a:pt x="387350" y="12700"/>
                  </a:lnTo>
                  <a:lnTo>
                    <a:pt x="390525" y="6350"/>
                  </a:lnTo>
                  <a:lnTo>
                    <a:pt x="398462" y="6350"/>
                  </a:lnTo>
                  <a:lnTo>
                    <a:pt x="398462" y="12700"/>
                  </a:lnTo>
                  <a:lnTo>
                    <a:pt x="404812" y="26987"/>
                  </a:lnTo>
                  <a:lnTo>
                    <a:pt x="411162" y="26987"/>
                  </a:lnTo>
                  <a:lnTo>
                    <a:pt x="411162" y="20637"/>
                  </a:lnTo>
                  <a:lnTo>
                    <a:pt x="417512" y="17462"/>
                  </a:lnTo>
                  <a:lnTo>
                    <a:pt x="430212" y="12700"/>
                  </a:lnTo>
                  <a:lnTo>
                    <a:pt x="441325" y="12700"/>
                  </a:lnTo>
                  <a:lnTo>
                    <a:pt x="447675" y="9525"/>
                  </a:lnTo>
                  <a:lnTo>
                    <a:pt x="450850" y="12700"/>
                  </a:lnTo>
                  <a:lnTo>
                    <a:pt x="450850" y="17462"/>
                  </a:lnTo>
                  <a:lnTo>
                    <a:pt x="463550" y="20637"/>
                  </a:lnTo>
                  <a:lnTo>
                    <a:pt x="471487" y="17462"/>
                  </a:lnTo>
                  <a:lnTo>
                    <a:pt x="484187" y="23812"/>
                  </a:lnTo>
                  <a:lnTo>
                    <a:pt x="490537" y="20637"/>
                  </a:lnTo>
                  <a:lnTo>
                    <a:pt x="487362" y="30162"/>
                  </a:lnTo>
                  <a:lnTo>
                    <a:pt x="493713" y="33337"/>
                  </a:lnTo>
                  <a:lnTo>
                    <a:pt x="493713" y="42862"/>
                  </a:lnTo>
                  <a:lnTo>
                    <a:pt x="490537" y="50800"/>
                  </a:lnTo>
                  <a:lnTo>
                    <a:pt x="496888" y="60325"/>
                  </a:lnTo>
                  <a:lnTo>
                    <a:pt x="500063" y="63500"/>
                  </a:lnTo>
                  <a:lnTo>
                    <a:pt x="503238" y="60325"/>
                  </a:lnTo>
                  <a:lnTo>
                    <a:pt x="508000" y="63500"/>
                  </a:lnTo>
                  <a:lnTo>
                    <a:pt x="508000" y="53975"/>
                  </a:lnTo>
                  <a:lnTo>
                    <a:pt x="527050" y="53975"/>
                  </a:lnTo>
                  <a:lnTo>
                    <a:pt x="536575" y="57150"/>
                  </a:lnTo>
                  <a:lnTo>
                    <a:pt x="542925" y="57150"/>
                  </a:lnTo>
                  <a:lnTo>
                    <a:pt x="554038" y="63500"/>
                  </a:lnTo>
                  <a:lnTo>
                    <a:pt x="560388" y="69850"/>
                  </a:lnTo>
                  <a:lnTo>
                    <a:pt x="563563" y="73025"/>
                  </a:lnTo>
                  <a:lnTo>
                    <a:pt x="566738" y="76200"/>
                  </a:lnTo>
                  <a:lnTo>
                    <a:pt x="576263" y="82550"/>
                  </a:lnTo>
                  <a:lnTo>
                    <a:pt x="573088" y="88900"/>
                  </a:lnTo>
                  <a:lnTo>
                    <a:pt x="576263" y="90487"/>
                  </a:lnTo>
                  <a:lnTo>
                    <a:pt x="606425" y="103187"/>
                  </a:lnTo>
                  <a:lnTo>
                    <a:pt x="623888" y="119062"/>
                  </a:lnTo>
                  <a:lnTo>
                    <a:pt x="630238" y="122237"/>
                  </a:lnTo>
                  <a:lnTo>
                    <a:pt x="636588" y="122237"/>
                  </a:lnTo>
                  <a:lnTo>
                    <a:pt x="655638" y="125412"/>
                  </a:lnTo>
                  <a:lnTo>
                    <a:pt x="658813" y="133350"/>
                  </a:lnTo>
                  <a:lnTo>
                    <a:pt x="669925" y="149225"/>
                  </a:lnTo>
                  <a:lnTo>
                    <a:pt x="688975" y="155575"/>
                  </a:lnTo>
                  <a:lnTo>
                    <a:pt x="703263" y="165100"/>
                  </a:lnTo>
                  <a:lnTo>
                    <a:pt x="712788" y="169863"/>
                  </a:lnTo>
                  <a:lnTo>
                    <a:pt x="709613" y="179388"/>
                  </a:lnTo>
                  <a:lnTo>
                    <a:pt x="703263" y="188913"/>
                  </a:lnTo>
                  <a:lnTo>
                    <a:pt x="703263" y="195263"/>
                  </a:lnTo>
                  <a:lnTo>
                    <a:pt x="731838" y="215900"/>
                  </a:lnTo>
                  <a:lnTo>
                    <a:pt x="746125" y="222250"/>
                  </a:lnTo>
                  <a:lnTo>
                    <a:pt x="765175" y="222250"/>
                  </a:lnTo>
                  <a:lnTo>
                    <a:pt x="776288" y="222250"/>
                  </a:lnTo>
                  <a:lnTo>
                    <a:pt x="785813" y="231775"/>
                  </a:lnTo>
                  <a:lnTo>
                    <a:pt x="801688" y="234950"/>
                  </a:lnTo>
                  <a:lnTo>
                    <a:pt x="809625" y="234950"/>
                  </a:lnTo>
                  <a:lnTo>
                    <a:pt x="819150" y="244475"/>
                  </a:lnTo>
                  <a:lnTo>
                    <a:pt x="819150" y="252413"/>
                  </a:lnTo>
                  <a:lnTo>
                    <a:pt x="825500" y="258763"/>
                  </a:lnTo>
                  <a:lnTo>
                    <a:pt x="822325" y="265113"/>
                  </a:lnTo>
                  <a:lnTo>
                    <a:pt x="809625" y="258763"/>
                  </a:lnTo>
                  <a:lnTo>
                    <a:pt x="804863" y="258763"/>
                  </a:lnTo>
                  <a:lnTo>
                    <a:pt x="798513" y="261938"/>
                  </a:lnTo>
                  <a:lnTo>
                    <a:pt x="795338" y="271463"/>
                  </a:lnTo>
                  <a:lnTo>
                    <a:pt x="795338" y="268288"/>
                  </a:lnTo>
                  <a:lnTo>
                    <a:pt x="788988" y="265113"/>
                  </a:lnTo>
                  <a:lnTo>
                    <a:pt x="786989" y="266112"/>
                  </a:lnTo>
                  <a:lnTo>
                    <a:pt x="789758" y="270068"/>
                  </a:lnTo>
                  <a:lnTo>
                    <a:pt x="795338" y="271463"/>
                  </a:lnTo>
                  <a:lnTo>
                    <a:pt x="795338" y="274638"/>
                  </a:lnTo>
                  <a:lnTo>
                    <a:pt x="801688" y="274638"/>
                  </a:lnTo>
                  <a:lnTo>
                    <a:pt x="801688" y="277813"/>
                  </a:lnTo>
                  <a:lnTo>
                    <a:pt x="809625" y="280988"/>
                  </a:lnTo>
                  <a:lnTo>
                    <a:pt x="828675" y="274638"/>
                  </a:lnTo>
                  <a:lnTo>
                    <a:pt x="844550" y="280988"/>
                  </a:lnTo>
                  <a:lnTo>
                    <a:pt x="847725" y="277813"/>
                  </a:lnTo>
                  <a:lnTo>
                    <a:pt x="852488" y="282575"/>
                  </a:lnTo>
                  <a:lnTo>
                    <a:pt x="858838" y="280988"/>
                  </a:lnTo>
                  <a:lnTo>
                    <a:pt x="865188" y="274638"/>
                  </a:lnTo>
                  <a:lnTo>
                    <a:pt x="871538" y="274638"/>
                  </a:lnTo>
                  <a:lnTo>
                    <a:pt x="874713" y="271463"/>
                  </a:lnTo>
                  <a:lnTo>
                    <a:pt x="881063" y="274638"/>
                  </a:lnTo>
                  <a:lnTo>
                    <a:pt x="884238" y="274638"/>
                  </a:lnTo>
                  <a:lnTo>
                    <a:pt x="889000" y="280988"/>
                  </a:lnTo>
                  <a:lnTo>
                    <a:pt x="892175" y="274638"/>
                  </a:lnTo>
                  <a:lnTo>
                    <a:pt x="895350" y="277813"/>
                  </a:lnTo>
                  <a:lnTo>
                    <a:pt x="898525" y="274638"/>
                  </a:lnTo>
                  <a:lnTo>
                    <a:pt x="895350" y="265113"/>
                  </a:lnTo>
                  <a:lnTo>
                    <a:pt x="925513" y="265113"/>
                  </a:lnTo>
                  <a:lnTo>
                    <a:pt x="928688" y="261938"/>
                  </a:lnTo>
                  <a:lnTo>
                    <a:pt x="931863" y="249238"/>
                  </a:lnTo>
                  <a:lnTo>
                    <a:pt x="935038" y="246063"/>
                  </a:lnTo>
                  <a:lnTo>
                    <a:pt x="941388" y="244475"/>
                  </a:lnTo>
                  <a:lnTo>
                    <a:pt x="947738" y="244475"/>
                  </a:lnTo>
                  <a:lnTo>
                    <a:pt x="962025" y="234950"/>
                  </a:lnTo>
                  <a:lnTo>
                    <a:pt x="974725" y="228600"/>
                  </a:lnTo>
                  <a:lnTo>
                    <a:pt x="977900" y="225425"/>
                  </a:lnTo>
                  <a:lnTo>
                    <a:pt x="993775" y="222250"/>
                  </a:lnTo>
                  <a:lnTo>
                    <a:pt x="998538" y="219075"/>
                  </a:lnTo>
                  <a:lnTo>
                    <a:pt x="1014413" y="209550"/>
                  </a:lnTo>
                  <a:lnTo>
                    <a:pt x="1023938" y="201613"/>
                  </a:lnTo>
                  <a:lnTo>
                    <a:pt x="1041400" y="198438"/>
                  </a:lnTo>
                  <a:lnTo>
                    <a:pt x="1044575" y="198438"/>
                  </a:lnTo>
                  <a:lnTo>
                    <a:pt x="1054100" y="201613"/>
                  </a:lnTo>
                  <a:lnTo>
                    <a:pt x="1063625" y="201613"/>
                  </a:lnTo>
                  <a:lnTo>
                    <a:pt x="1074738" y="201613"/>
                  </a:lnTo>
                  <a:lnTo>
                    <a:pt x="1090613" y="198438"/>
                  </a:lnTo>
                  <a:lnTo>
                    <a:pt x="1100138" y="198438"/>
                  </a:lnTo>
                  <a:lnTo>
                    <a:pt x="1111250" y="198438"/>
                  </a:lnTo>
                  <a:lnTo>
                    <a:pt x="1120775" y="188913"/>
                  </a:lnTo>
                  <a:lnTo>
                    <a:pt x="1139825" y="192088"/>
                  </a:lnTo>
                  <a:lnTo>
                    <a:pt x="1143000" y="188913"/>
                  </a:lnTo>
                  <a:lnTo>
                    <a:pt x="1146175" y="192088"/>
                  </a:lnTo>
                  <a:lnTo>
                    <a:pt x="1146175" y="206375"/>
                  </a:lnTo>
                  <a:lnTo>
                    <a:pt x="1150938" y="209550"/>
                  </a:lnTo>
                  <a:lnTo>
                    <a:pt x="1160463" y="206375"/>
                  </a:lnTo>
                  <a:lnTo>
                    <a:pt x="1163638" y="209550"/>
                  </a:lnTo>
                  <a:lnTo>
                    <a:pt x="1173163" y="219075"/>
                  </a:lnTo>
                  <a:lnTo>
                    <a:pt x="1179513" y="228600"/>
                  </a:lnTo>
                  <a:lnTo>
                    <a:pt x="1182688" y="238125"/>
                  </a:lnTo>
                  <a:lnTo>
                    <a:pt x="1185863" y="244475"/>
                  </a:lnTo>
                  <a:lnTo>
                    <a:pt x="1200150" y="246063"/>
                  </a:lnTo>
                  <a:lnTo>
                    <a:pt x="1206500" y="258763"/>
                  </a:lnTo>
                  <a:lnTo>
                    <a:pt x="1212850" y="258763"/>
                  </a:lnTo>
                  <a:lnTo>
                    <a:pt x="1222375" y="255588"/>
                  </a:lnTo>
                  <a:lnTo>
                    <a:pt x="1225550" y="258763"/>
                  </a:lnTo>
                  <a:lnTo>
                    <a:pt x="1227138" y="265113"/>
                  </a:lnTo>
                  <a:lnTo>
                    <a:pt x="1230313" y="271463"/>
                  </a:lnTo>
                  <a:lnTo>
                    <a:pt x="1233488" y="280988"/>
                  </a:lnTo>
                  <a:lnTo>
                    <a:pt x="1239838" y="288925"/>
                  </a:lnTo>
                  <a:lnTo>
                    <a:pt x="1255713" y="285750"/>
                  </a:lnTo>
                  <a:lnTo>
                    <a:pt x="1255713" y="277813"/>
                  </a:lnTo>
                  <a:lnTo>
                    <a:pt x="1263650" y="274638"/>
                  </a:lnTo>
                  <a:lnTo>
                    <a:pt x="1266825" y="265113"/>
                  </a:lnTo>
                  <a:lnTo>
                    <a:pt x="1282700" y="271463"/>
                  </a:lnTo>
                  <a:lnTo>
                    <a:pt x="1292225" y="280988"/>
                  </a:lnTo>
                  <a:lnTo>
                    <a:pt x="1289050" y="285750"/>
                  </a:lnTo>
                  <a:lnTo>
                    <a:pt x="1282700" y="295275"/>
                  </a:lnTo>
                  <a:lnTo>
                    <a:pt x="1279525" y="304800"/>
                  </a:lnTo>
                  <a:lnTo>
                    <a:pt x="1279525" y="311150"/>
                  </a:lnTo>
                  <a:lnTo>
                    <a:pt x="1276350" y="322263"/>
                  </a:lnTo>
                  <a:lnTo>
                    <a:pt x="1276350" y="325438"/>
                  </a:lnTo>
                  <a:lnTo>
                    <a:pt x="1270000" y="334963"/>
                  </a:lnTo>
                  <a:lnTo>
                    <a:pt x="1266825" y="341313"/>
                  </a:lnTo>
                  <a:lnTo>
                    <a:pt x="1263650" y="347663"/>
                  </a:lnTo>
                  <a:lnTo>
                    <a:pt x="1262063" y="360363"/>
                  </a:lnTo>
                  <a:lnTo>
                    <a:pt x="1262063" y="368300"/>
                  </a:lnTo>
                  <a:lnTo>
                    <a:pt x="1262063" y="377825"/>
                  </a:lnTo>
                  <a:lnTo>
                    <a:pt x="1258888" y="387350"/>
                  </a:lnTo>
                  <a:lnTo>
                    <a:pt x="1249363" y="393700"/>
                  </a:lnTo>
                  <a:lnTo>
                    <a:pt x="1243013" y="398463"/>
                  </a:lnTo>
                  <a:lnTo>
                    <a:pt x="1236663" y="407988"/>
                  </a:lnTo>
                  <a:lnTo>
                    <a:pt x="1236663" y="417513"/>
                  </a:lnTo>
                  <a:lnTo>
                    <a:pt x="1233488" y="417513"/>
                  </a:lnTo>
                  <a:lnTo>
                    <a:pt x="1225550" y="417513"/>
                  </a:lnTo>
                  <a:lnTo>
                    <a:pt x="1209675" y="420688"/>
                  </a:lnTo>
                  <a:lnTo>
                    <a:pt x="1200150" y="433388"/>
                  </a:lnTo>
                  <a:lnTo>
                    <a:pt x="1185863" y="438150"/>
                  </a:lnTo>
                  <a:lnTo>
                    <a:pt x="1185863" y="444500"/>
                  </a:lnTo>
                  <a:lnTo>
                    <a:pt x="1182688" y="447675"/>
                  </a:lnTo>
                  <a:lnTo>
                    <a:pt x="1185863" y="454025"/>
                  </a:lnTo>
                  <a:lnTo>
                    <a:pt x="1182688" y="457200"/>
                  </a:lnTo>
                  <a:lnTo>
                    <a:pt x="1166813" y="460375"/>
                  </a:lnTo>
                  <a:lnTo>
                    <a:pt x="1160463" y="457200"/>
                  </a:lnTo>
                  <a:lnTo>
                    <a:pt x="1150938" y="450850"/>
                  </a:lnTo>
                  <a:lnTo>
                    <a:pt x="1146175" y="454025"/>
                  </a:lnTo>
                  <a:lnTo>
                    <a:pt x="1146175" y="457200"/>
                  </a:lnTo>
                  <a:lnTo>
                    <a:pt x="1150938" y="463550"/>
                  </a:lnTo>
                  <a:lnTo>
                    <a:pt x="1154113" y="474663"/>
                  </a:lnTo>
                  <a:lnTo>
                    <a:pt x="1154113" y="481013"/>
                  </a:lnTo>
                  <a:lnTo>
                    <a:pt x="1146175" y="493713"/>
                  </a:lnTo>
                  <a:lnTo>
                    <a:pt x="1143000" y="509588"/>
                  </a:lnTo>
                  <a:lnTo>
                    <a:pt x="1133475" y="514350"/>
                  </a:lnTo>
                  <a:lnTo>
                    <a:pt x="1127125" y="530225"/>
                  </a:lnTo>
                  <a:lnTo>
                    <a:pt x="1123950" y="533400"/>
                  </a:lnTo>
                  <a:lnTo>
                    <a:pt x="1120775" y="533400"/>
                  </a:lnTo>
                  <a:lnTo>
                    <a:pt x="1103313" y="530225"/>
                  </a:lnTo>
                  <a:lnTo>
                    <a:pt x="1100138" y="530225"/>
                  </a:lnTo>
                  <a:lnTo>
                    <a:pt x="1090613" y="530225"/>
                  </a:lnTo>
                  <a:lnTo>
                    <a:pt x="1074738" y="533400"/>
                  </a:lnTo>
                  <a:lnTo>
                    <a:pt x="1066800" y="533400"/>
                  </a:lnTo>
                  <a:lnTo>
                    <a:pt x="1054100" y="527050"/>
                  </a:lnTo>
                  <a:lnTo>
                    <a:pt x="1041400" y="533400"/>
                  </a:lnTo>
                  <a:lnTo>
                    <a:pt x="1041400" y="539750"/>
                  </a:lnTo>
                  <a:lnTo>
                    <a:pt x="1050925" y="557213"/>
                  </a:lnTo>
                  <a:lnTo>
                    <a:pt x="1054100" y="566738"/>
                  </a:lnTo>
                  <a:lnTo>
                    <a:pt x="1060450" y="582613"/>
                  </a:lnTo>
                  <a:lnTo>
                    <a:pt x="1066800" y="590550"/>
                  </a:lnTo>
                  <a:lnTo>
                    <a:pt x="1069975" y="593725"/>
                  </a:lnTo>
                  <a:lnTo>
                    <a:pt x="1066800" y="596900"/>
                  </a:lnTo>
                  <a:lnTo>
                    <a:pt x="1057275" y="596900"/>
                  </a:lnTo>
                  <a:lnTo>
                    <a:pt x="1047750" y="600075"/>
                  </a:lnTo>
                  <a:lnTo>
                    <a:pt x="1041400" y="600075"/>
                  </a:lnTo>
                  <a:lnTo>
                    <a:pt x="1036638" y="603250"/>
                  </a:lnTo>
                  <a:lnTo>
                    <a:pt x="1044575" y="615950"/>
                  </a:lnTo>
                  <a:lnTo>
                    <a:pt x="1041400" y="622300"/>
                  </a:lnTo>
                  <a:lnTo>
                    <a:pt x="1041400" y="630238"/>
                  </a:lnTo>
                  <a:lnTo>
                    <a:pt x="1041400" y="636588"/>
                  </a:lnTo>
                  <a:lnTo>
                    <a:pt x="1050925" y="646113"/>
                  </a:lnTo>
                  <a:lnTo>
                    <a:pt x="1054100" y="646113"/>
                  </a:lnTo>
                  <a:lnTo>
                    <a:pt x="1057275" y="649288"/>
                  </a:lnTo>
                  <a:lnTo>
                    <a:pt x="1063625" y="652463"/>
                  </a:lnTo>
                  <a:lnTo>
                    <a:pt x="1063625" y="665163"/>
                  </a:lnTo>
                  <a:lnTo>
                    <a:pt x="1073150" y="669925"/>
                  </a:lnTo>
                  <a:lnTo>
                    <a:pt x="1081088" y="669925"/>
                  </a:lnTo>
                  <a:lnTo>
                    <a:pt x="1084263" y="669925"/>
                  </a:lnTo>
                  <a:lnTo>
                    <a:pt x="1103313" y="673100"/>
                  </a:lnTo>
                  <a:lnTo>
                    <a:pt x="1114425" y="673100"/>
                  </a:lnTo>
                  <a:lnTo>
                    <a:pt x="1117600" y="673100"/>
                  </a:lnTo>
                  <a:lnTo>
                    <a:pt x="1117600" y="679450"/>
                  </a:lnTo>
                  <a:lnTo>
                    <a:pt x="1114425" y="685800"/>
                  </a:lnTo>
                  <a:lnTo>
                    <a:pt x="1109663" y="695325"/>
                  </a:lnTo>
                  <a:lnTo>
                    <a:pt x="1109663" y="698500"/>
                  </a:lnTo>
                  <a:lnTo>
                    <a:pt x="1106488" y="706438"/>
                  </a:lnTo>
                  <a:lnTo>
                    <a:pt x="1111250" y="715963"/>
                  </a:lnTo>
                  <a:lnTo>
                    <a:pt x="1123950" y="722313"/>
                  </a:lnTo>
                  <a:lnTo>
                    <a:pt x="1127125" y="738188"/>
                  </a:lnTo>
                  <a:lnTo>
                    <a:pt x="1133475" y="744538"/>
                  </a:lnTo>
                  <a:lnTo>
                    <a:pt x="1139825" y="755650"/>
                  </a:lnTo>
                  <a:lnTo>
                    <a:pt x="1139825" y="762000"/>
                  </a:lnTo>
                  <a:lnTo>
                    <a:pt x="1136650" y="771525"/>
                  </a:lnTo>
                  <a:lnTo>
                    <a:pt x="1120775" y="777875"/>
                  </a:lnTo>
                  <a:lnTo>
                    <a:pt x="1111250" y="781050"/>
                  </a:lnTo>
                  <a:lnTo>
                    <a:pt x="1103313" y="785813"/>
                  </a:lnTo>
                  <a:lnTo>
                    <a:pt x="1096963" y="792163"/>
                  </a:lnTo>
                  <a:lnTo>
                    <a:pt x="1087438" y="785813"/>
                  </a:lnTo>
                  <a:lnTo>
                    <a:pt x="1090613" y="781050"/>
                  </a:lnTo>
                  <a:lnTo>
                    <a:pt x="1093788" y="774700"/>
                  </a:lnTo>
                  <a:lnTo>
                    <a:pt x="1087438" y="785813"/>
                  </a:lnTo>
                  <a:lnTo>
                    <a:pt x="1074738" y="788988"/>
                  </a:lnTo>
                  <a:lnTo>
                    <a:pt x="1069975" y="795338"/>
                  </a:lnTo>
                  <a:lnTo>
                    <a:pt x="1066800" y="795338"/>
                  </a:lnTo>
                  <a:lnTo>
                    <a:pt x="1066800" y="804863"/>
                  </a:lnTo>
                  <a:lnTo>
                    <a:pt x="1060450" y="808038"/>
                  </a:lnTo>
                  <a:lnTo>
                    <a:pt x="1060450" y="814388"/>
                  </a:lnTo>
                  <a:lnTo>
                    <a:pt x="1054100" y="811213"/>
                  </a:lnTo>
                  <a:lnTo>
                    <a:pt x="1047750" y="811213"/>
                  </a:lnTo>
                  <a:lnTo>
                    <a:pt x="1038225" y="820738"/>
                  </a:lnTo>
                  <a:lnTo>
                    <a:pt x="1030288" y="814388"/>
                  </a:lnTo>
                  <a:lnTo>
                    <a:pt x="1027113" y="808038"/>
                  </a:lnTo>
                  <a:lnTo>
                    <a:pt x="1017588" y="804863"/>
                  </a:lnTo>
                  <a:lnTo>
                    <a:pt x="1008063" y="795338"/>
                  </a:lnTo>
                  <a:lnTo>
                    <a:pt x="1008063" y="788988"/>
                  </a:lnTo>
                  <a:lnTo>
                    <a:pt x="1004888" y="781050"/>
                  </a:lnTo>
                  <a:lnTo>
                    <a:pt x="1008063" y="771525"/>
                  </a:lnTo>
                  <a:lnTo>
                    <a:pt x="1001713" y="765175"/>
                  </a:lnTo>
                  <a:lnTo>
                    <a:pt x="1001713" y="755650"/>
                  </a:lnTo>
                  <a:lnTo>
                    <a:pt x="998538" y="755650"/>
                  </a:lnTo>
                  <a:lnTo>
                    <a:pt x="998538" y="758825"/>
                  </a:lnTo>
                  <a:lnTo>
                    <a:pt x="993775" y="758825"/>
                  </a:lnTo>
                  <a:lnTo>
                    <a:pt x="984250" y="768350"/>
                  </a:lnTo>
                  <a:lnTo>
                    <a:pt x="977900" y="765175"/>
                  </a:lnTo>
                  <a:lnTo>
                    <a:pt x="971550" y="771525"/>
                  </a:lnTo>
                  <a:lnTo>
                    <a:pt x="965200" y="771525"/>
                  </a:lnTo>
                  <a:lnTo>
                    <a:pt x="962025" y="777875"/>
                  </a:lnTo>
                  <a:lnTo>
                    <a:pt x="950913" y="781050"/>
                  </a:lnTo>
                  <a:lnTo>
                    <a:pt x="944563" y="785813"/>
                  </a:lnTo>
                  <a:lnTo>
                    <a:pt x="931863" y="795338"/>
                  </a:lnTo>
                  <a:lnTo>
                    <a:pt x="928688" y="788988"/>
                  </a:lnTo>
                  <a:lnTo>
                    <a:pt x="931863" y="777875"/>
                  </a:lnTo>
                  <a:lnTo>
                    <a:pt x="941388" y="774700"/>
                  </a:lnTo>
                  <a:lnTo>
                    <a:pt x="947738" y="768350"/>
                  </a:lnTo>
                  <a:lnTo>
                    <a:pt x="944563" y="765175"/>
                  </a:lnTo>
                  <a:lnTo>
                    <a:pt x="947738" y="755650"/>
                  </a:lnTo>
                  <a:lnTo>
                    <a:pt x="944563" y="746125"/>
                  </a:lnTo>
                  <a:lnTo>
                    <a:pt x="931863" y="749300"/>
                  </a:lnTo>
                  <a:lnTo>
                    <a:pt x="931863" y="755650"/>
                  </a:lnTo>
                  <a:lnTo>
                    <a:pt x="922338" y="755650"/>
                  </a:lnTo>
                  <a:lnTo>
                    <a:pt x="920750" y="762000"/>
                  </a:lnTo>
                  <a:lnTo>
                    <a:pt x="917575" y="762000"/>
                  </a:lnTo>
                  <a:lnTo>
                    <a:pt x="908050" y="758825"/>
                  </a:lnTo>
                  <a:lnTo>
                    <a:pt x="901700" y="768350"/>
                  </a:lnTo>
                  <a:lnTo>
                    <a:pt x="898525" y="762000"/>
                  </a:lnTo>
                  <a:lnTo>
                    <a:pt x="892175" y="771525"/>
                  </a:lnTo>
                  <a:lnTo>
                    <a:pt x="889000" y="768350"/>
                  </a:lnTo>
                  <a:lnTo>
                    <a:pt x="889000" y="774700"/>
                  </a:lnTo>
                  <a:lnTo>
                    <a:pt x="881063" y="774700"/>
                  </a:lnTo>
                  <a:lnTo>
                    <a:pt x="877888" y="774700"/>
                  </a:lnTo>
                  <a:lnTo>
                    <a:pt x="881063" y="768350"/>
                  </a:lnTo>
                  <a:lnTo>
                    <a:pt x="865188" y="758825"/>
                  </a:lnTo>
                  <a:lnTo>
                    <a:pt x="868363" y="746125"/>
                  </a:lnTo>
                  <a:lnTo>
                    <a:pt x="862013" y="744538"/>
                  </a:lnTo>
                  <a:lnTo>
                    <a:pt x="858838" y="735013"/>
                  </a:lnTo>
                  <a:lnTo>
                    <a:pt x="847725" y="728663"/>
                  </a:lnTo>
                  <a:lnTo>
                    <a:pt x="847725" y="725488"/>
                  </a:lnTo>
                  <a:lnTo>
                    <a:pt x="849313" y="719138"/>
                  </a:lnTo>
                  <a:lnTo>
                    <a:pt x="841375" y="709613"/>
                  </a:lnTo>
                  <a:lnTo>
                    <a:pt x="838200" y="706438"/>
                  </a:lnTo>
                  <a:lnTo>
                    <a:pt x="835025" y="709613"/>
                  </a:lnTo>
                  <a:lnTo>
                    <a:pt x="831850" y="706438"/>
                  </a:lnTo>
                  <a:lnTo>
                    <a:pt x="828675" y="709613"/>
                  </a:lnTo>
                  <a:lnTo>
                    <a:pt x="819150" y="712788"/>
                  </a:lnTo>
                  <a:lnTo>
                    <a:pt x="809625" y="719138"/>
                  </a:lnTo>
                  <a:lnTo>
                    <a:pt x="804863" y="725488"/>
                  </a:lnTo>
                  <a:lnTo>
                    <a:pt x="798513" y="725488"/>
                  </a:lnTo>
                  <a:lnTo>
                    <a:pt x="792163" y="728663"/>
                  </a:lnTo>
                  <a:lnTo>
                    <a:pt x="788988" y="725488"/>
                  </a:lnTo>
                  <a:lnTo>
                    <a:pt x="782638" y="725488"/>
                  </a:lnTo>
                  <a:lnTo>
                    <a:pt x="776288" y="728663"/>
                  </a:lnTo>
                  <a:lnTo>
                    <a:pt x="776288" y="735013"/>
                  </a:lnTo>
                  <a:lnTo>
                    <a:pt x="771525" y="738188"/>
                  </a:lnTo>
                  <a:lnTo>
                    <a:pt x="768350" y="731838"/>
                  </a:lnTo>
                  <a:lnTo>
                    <a:pt x="765175" y="731838"/>
                  </a:lnTo>
                  <a:lnTo>
                    <a:pt x="762000" y="725488"/>
                  </a:lnTo>
                  <a:lnTo>
                    <a:pt x="758825" y="728663"/>
                  </a:lnTo>
                  <a:lnTo>
                    <a:pt x="755650" y="722313"/>
                  </a:lnTo>
                  <a:lnTo>
                    <a:pt x="746125" y="715963"/>
                  </a:lnTo>
                  <a:lnTo>
                    <a:pt x="742950" y="722313"/>
                  </a:lnTo>
                  <a:lnTo>
                    <a:pt x="736600" y="722313"/>
                  </a:lnTo>
                  <a:lnTo>
                    <a:pt x="742950" y="715963"/>
                  </a:lnTo>
                  <a:lnTo>
                    <a:pt x="739775" y="706438"/>
                  </a:lnTo>
                  <a:lnTo>
                    <a:pt x="733425" y="706438"/>
                  </a:lnTo>
                  <a:lnTo>
                    <a:pt x="731838" y="709613"/>
                  </a:lnTo>
                  <a:lnTo>
                    <a:pt x="725488" y="704850"/>
                  </a:lnTo>
                  <a:lnTo>
                    <a:pt x="719138" y="706438"/>
                  </a:lnTo>
                  <a:lnTo>
                    <a:pt x="709613" y="704850"/>
                  </a:lnTo>
                  <a:lnTo>
                    <a:pt x="706438" y="698500"/>
                  </a:lnTo>
                  <a:lnTo>
                    <a:pt x="703263" y="688975"/>
                  </a:lnTo>
                  <a:lnTo>
                    <a:pt x="696913" y="685800"/>
                  </a:lnTo>
                  <a:lnTo>
                    <a:pt x="692150" y="685800"/>
                  </a:lnTo>
                  <a:lnTo>
                    <a:pt x="688975" y="679450"/>
                  </a:lnTo>
                  <a:lnTo>
                    <a:pt x="688975" y="669925"/>
                  </a:lnTo>
                  <a:lnTo>
                    <a:pt x="692150" y="661988"/>
                  </a:lnTo>
                  <a:lnTo>
                    <a:pt x="688975" y="661988"/>
                  </a:lnTo>
                  <a:lnTo>
                    <a:pt x="685800" y="661988"/>
                  </a:lnTo>
                  <a:lnTo>
                    <a:pt x="679450" y="661988"/>
                  </a:lnTo>
                  <a:lnTo>
                    <a:pt x="682625" y="665163"/>
                  </a:lnTo>
                  <a:lnTo>
                    <a:pt x="676275" y="673100"/>
                  </a:lnTo>
                  <a:lnTo>
                    <a:pt x="658813" y="676275"/>
                  </a:lnTo>
                  <a:lnTo>
                    <a:pt x="655638" y="673100"/>
                  </a:lnTo>
                  <a:lnTo>
                    <a:pt x="652463" y="669925"/>
                  </a:lnTo>
                  <a:lnTo>
                    <a:pt x="646113" y="668338"/>
                  </a:lnTo>
                  <a:lnTo>
                    <a:pt x="630238" y="673100"/>
                  </a:lnTo>
                  <a:lnTo>
                    <a:pt x="619125" y="673100"/>
                  </a:lnTo>
                  <a:lnTo>
                    <a:pt x="612775" y="676275"/>
                  </a:lnTo>
                  <a:lnTo>
                    <a:pt x="600075" y="682625"/>
                  </a:lnTo>
                  <a:lnTo>
                    <a:pt x="600075" y="685800"/>
                  </a:lnTo>
                  <a:lnTo>
                    <a:pt x="596900" y="698500"/>
                  </a:lnTo>
                  <a:lnTo>
                    <a:pt x="590550" y="701675"/>
                  </a:lnTo>
                  <a:lnTo>
                    <a:pt x="582613" y="701675"/>
                  </a:lnTo>
                  <a:lnTo>
                    <a:pt x="579438" y="704850"/>
                  </a:lnTo>
                  <a:lnTo>
                    <a:pt x="569913" y="704850"/>
                  </a:lnTo>
                  <a:lnTo>
                    <a:pt x="563563" y="709613"/>
                  </a:lnTo>
                  <a:lnTo>
                    <a:pt x="554038" y="719138"/>
                  </a:lnTo>
                  <a:lnTo>
                    <a:pt x="542925" y="725488"/>
                  </a:lnTo>
                  <a:lnTo>
                    <a:pt x="530225" y="715963"/>
                  </a:lnTo>
                  <a:lnTo>
                    <a:pt x="520700" y="715963"/>
                  </a:lnTo>
                  <a:lnTo>
                    <a:pt x="514350" y="725488"/>
                  </a:lnTo>
                  <a:lnTo>
                    <a:pt x="517525" y="728663"/>
                  </a:lnTo>
                  <a:lnTo>
                    <a:pt x="530225" y="738188"/>
                  </a:lnTo>
                  <a:lnTo>
                    <a:pt x="536575" y="746125"/>
                  </a:lnTo>
                  <a:lnTo>
                    <a:pt x="533400" y="758825"/>
                  </a:lnTo>
                  <a:lnTo>
                    <a:pt x="536575" y="765175"/>
                  </a:lnTo>
                  <a:lnTo>
                    <a:pt x="530225" y="774700"/>
                  </a:lnTo>
                  <a:lnTo>
                    <a:pt x="527050" y="777875"/>
                  </a:lnTo>
                  <a:lnTo>
                    <a:pt x="517525" y="788988"/>
                  </a:lnTo>
                  <a:lnTo>
                    <a:pt x="508000" y="798513"/>
                  </a:lnTo>
                  <a:lnTo>
                    <a:pt x="500063" y="798513"/>
                  </a:lnTo>
                  <a:lnTo>
                    <a:pt x="503238" y="801688"/>
                  </a:lnTo>
                  <a:lnTo>
                    <a:pt x="500063" y="801688"/>
                  </a:lnTo>
                  <a:lnTo>
                    <a:pt x="500063" y="808038"/>
                  </a:lnTo>
                  <a:lnTo>
                    <a:pt x="493713" y="811213"/>
                  </a:lnTo>
                  <a:lnTo>
                    <a:pt x="474662" y="814388"/>
                  </a:lnTo>
                  <a:lnTo>
                    <a:pt x="471487" y="817563"/>
                  </a:lnTo>
                  <a:lnTo>
                    <a:pt x="466725" y="820738"/>
                  </a:lnTo>
                  <a:lnTo>
                    <a:pt x="466725" y="828675"/>
                  </a:lnTo>
                  <a:lnTo>
                    <a:pt x="460375" y="825500"/>
                  </a:lnTo>
                  <a:lnTo>
                    <a:pt x="463550" y="822325"/>
                  </a:lnTo>
                  <a:lnTo>
                    <a:pt x="457200" y="822325"/>
                  </a:lnTo>
                  <a:lnTo>
                    <a:pt x="457200" y="820738"/>
                  </a:lnTo>
                  <a:lnTo>
                    <a:pt x="447675" y="822325"/>
                  </a:lnTo>
                  <a:lnTo>
                    <a:pt x="434975" y="817563"/>
                  </a:lnTo>
                  <a:lnTo>
                    <a:pt x="431800" y="820738"/>
                  </a:lnTo>
                  <a:lnTo>
                    <a:pt x="430212" y="820738"/>
                  </a:lnTo>
                  <a:lnTo>
                    <a:pt x="427037" y="814388"/>
                  </a:lnTo>
                  <a:lnTo>
                    <a:pt x="420687" y="814388"/>
                  </a:lnTo>
                  <a:lnTo>
                    <a:pt x="420687" y="811213"/>
                  </a:lnTo>
                  <a:lnTo>
                    <a:pt x="411162" y="808038"/>
                  </a:lnTo>
                  <a:lnTo>
                    <a:pt x="411162" y="804863"/>
                  </a:lnTo>
                  <a:lnTo>
                    <a:pt x="401637" y="808038"/>
                  </a:lnTo>
                  <a:lnTo>
                    <a:pt x="395287" y="795338"/>
                  </a:lnTo>
                  <a:lnTo>
                    <a:pt x="384175" y="792163"/>
                  </a:lnTo>
                  <a:lnTo>
                    <a:pt x="381000" y="798513"/>
                  </a:lnTo>
                  <a:lnTo>
                    <a:pt x="368300" y="798513"/>
                  </a:lnTo>
                  <a:lnTo>
                    <a:pt x="368300" y="795338"/>
                  </a:lnTo>
                  <a:lnTo>
                    <a:pt x="358775" y="795338"/>
                  </a:lnTo>
                  <a:lnTo>
                    <a:pt x="358775" y="792163"/>
                  </a:lnTo>
                  <a:lnTo>
                    <a:pt x="350837" y="792163"/>
                  </a:lnTo>
                  <a:lnTo>
                    <a:pt x="344487" y="795338"/>
                  </a:lnTo>
                  <a:lnTo>
                    <a:pt x="331787" y="795338"/>
                  </a:lnTo>
                  <a:lnTo>
                    <a:pt x="328612" y="792163"/>
                  </a:lnTo>
                  <a:lnTo>
                    <a:pt x="325437" y="792163"/>
                  </a:lnTo>
                  <a:lnTo>
                    <a:pt x="328612" y="785813"/>
                  </a:lnTo>
                  <a:lnTo>
                    <a:pt x="322262" y="782638"/>
                  </a:lnTo>
                  <a:lnTo>
                    <a:pt x="325437" y="781050"/>
                  </a:lnTo>
                  <a:lnTo>
                    <a:pt x="322262" y="781050"/>
                  </a:lnTo>
                  <a:lnTo>
                    <a:pt x="322262" y="774700"/>
                  </a:lnTo>
                  <a:lnTo>
                    <a:pt x="319087" y="771525"/>
                  </a:lnTo>
                  <a:lnTo>
                    <a:pt x="328612" y="762000"/>
                  </a:lnTo>
                  <a:lnTo>
                    <a:pt x="322262" y="755650"/>
                  </a:lnTo>
                  <a:lnTo>
                    <a:pt x="322262" y="749300"/>
                  </a:lnTo>
                  <a:lnTo>
                    <a:pt x="331787" y="741363"/>
                  </a:lnTo>
                  <a:lnTo>
                    <a:pt x="334962" y="735013"/>
                  </a:lnTo>
                  <a:lnTo>
                    <a:pt x="331787" y="731838"/>
                  </a:lnTo>
                  <a:lnTo>
                    <a:pt x="328612" y="731838"/>
                  </a:lnTo>
                  <a:lnTo>
                    <a:pt x="319087" y="744538"/>
                  </a:lnTo>
                  <a:lnTo>
                    <a:pt x="314325" y="746125"/>
                  </a:lnTo>
                  <a:lnTo>
                    <a:pt x="307975" y="746125"/>
                  </a:lnTo>
                  <a:lnTo>
                    <a:pt x="301625" y="749300"/>
                  </a:lnTo>
                  <a:lnTo>
                    <a:pt x="301625" y="746125"/>
                  </a:lnTo>
                  <a:lnTo>
                    <a:pt x="288925" y="741363"/>
                  </a:lnTo>
                  <a:lnTo>
                    <a:pt x="274637" y="744538"/>
                  </a:lnTo>
                  <a:lnTo>
                    <a:pt x="268287" y="741363"/>
                  </a:lnTo>
                  <a:lnTo>
                    <a:pt x="265112" y="735013"/>
                  </a:lnTo>
                  <a:lnTo>
                    <a:pt x="252412" y="731838"/>
                  </a:lnTo>
                  <a:lnTo>
                    <a:pt x="252412" y="728663"/>
                  </a:lnTo>
                  <a:lnTo>
                    <a:pt x="246062" y="725488"/>
                  </a:lnTo>
                  <a:lnTo>
                    <a:pt x="242887" y="722313"/>
                  </a:lnTo>
                  <a:lnTo>
                    <a:pt x="228600" y="719138"/>
                  </a:lnTo>
                  <a:lnTo>
                    <a:pt x="225425" y="715963"/>
                  </a:lnTo>
                  <a:lnTo>
                    <a:pt x="215900" y="715963"/>
                  </a:lnTo>
                  <a:lnTo>
                    <a:pt x="219075" y="712788"/>
                  </a:lnTo>
                  <a:lnTo>
                    <a:pt x="212725" y="709613"/>
                  </a:lnTo>
                  <a:lnTo>
                    <a:pt x="212725" y="706438"/>
                  </a:lnTo>
                  <a:lnTo>
                    <a:pt x="206375" y="706438"/>
                  </a:lnTo>
                  <a:lnTo>
                    <a:pt x="201612" y="704850"/>
                  </a:lnTo>
                  <a:lnTo>
                    <a:pt x="188912" y="704850"/>
                  </a:lnTo>
                  <a:lnTo>
                    <a:pt x="182562" y="704850"/>
                  </a:lnTo>
                  <a:lnTo>
                    <a:pt x="176212" y="695325"/>
                  </a:lnTo>
                  <a:lnTo>
                    <a:pt x="169862" y="688975"/>
                  </a:lnTo>
                  <a:lnTo>
                    <a:pt x="161925" y="682625"/>
                  </a:lnTo>
                  <a:lnTo>
                    <a:pt x="165100" y="669925"/>
                  </a:lnTo>
                  <a:lnTo>
                    <a:pt x="161925" y="668338"/>
                  </a:lnTo>
                  <a:lnTo>
                    <a:pt x="158750" y="669925"/>
                  </a:lnTo>
                  <a:lnTo>
                    <a:pt x="161925" y="665163"/>
                  </a:lnTo>
                  <a:lnTo>
                    <a:pt x="155575" y="661988"/>
                  </a:lnTo>
                  <a:lnTo>
                    <a:pt x="152400" y="649288"/>
                  </a:lnTo>
                  <a:lnTo>
                    <a:pt x="152400" y="642938"/>
                  </a:lnTo>
                  <a:lnTo>
                    <a:pt x="149225" y="639763"/>
                  </a:lnTo>
                  <a:lnTo>
                    <a:pt x="155575" y="630238"/>
                  </a:lnTo>
                  <a:lnTo>
                    <a:pt x="152400" y="630238"/>
                  </a:lnTo>
                  <a:lnTo>
                    <a:pt x="155575" y="628650"/>
                  </a:lnTo>
                  <a:lnTo>
                    <a:pt x="161925" y="628650"/>
                  </a:lnTo>
                  <a:lnTo>
                    <a:pt x="155575" y="619125"/>
                  </a:lnTo>
                  <a:lnTo>
                    <a:pt x="161925" y="612775"/>
                  </a:lnTo>
                  <a:lnTo>
                    <a:pt x="158750" y="600075"/>
                  </a:lnTo>
                  <a:lnTo>
                    <a:pt x="152400" y="596900"/>
                  </a:lnTo>
                  <a:lnTo>
                    <a:pt x="155575" y="593725"/>
                  </a:lnTo>
                  <a:lnTo>
                    <a:pt x="152400" y="590550"/>
                  </a:lnTo>
                  <a:lnTo>
                    <a:pt x="158750" y="579438"/>
                  </a:lnTo>
                  <a:lnTo>
                    <a:pt x="152400" y="569913"/>
                  </a:lnTo>
                  <a:lnTo>
                    <a:pt x="158750" y="557213"/>
                  </a:lnTo>
                  <a:lnTo>
                    <a:pt x="158750" y="552450"/>
                  </a:lnTo>
                  <a:lnTo>
                    <a:pt x="152400" y="542925"/>
                  </a:lnTo>
                  <a:lnTo>
                    <a:pt x="146050" y="533400"/>
                  </a:lnTo>
                  <a:lnTo>
                    <a:pt x="146050" y="527050"/>
                  </a:lnTo>
                  <a:lnTo>
                    <a:pt x="146050" y="520700"/>
                  </a:lnTo>
                  <a:lnTo>
                    <a:pt x="142875" y="512763"/>
                  </a:lnTo>
                  <a:lnTo>
                    <a:pt x="146050" y="496888"/>
                  </a:lnTo>
                  <a:lnTo>
                    <a:pt x="142875" y="487363"/>
                  </a:lnTo>
                  <a:lnTo>
                    <a:pt x="142875" y="481013"/>
                  </a:lnTo>
                  <a:lnTo>
                    <a:pt x="139700" y="484188"/>
                  </a:lnTo>
                  <a:lnTo>
                    <a:pt x="136525" y="473075"/>
                  </a:lnTo>
                  <a:lnTo>
                    <a:pt x="133350" y="473075"/>
                  </a:lnTo>
                  <a:lnTo>
                    <a:pt x="130175" y="469900"/>
                  </a:lnTo>
                  <a:lnTo>
                    <a:pt x="136525" y="457200"/>
                  </a:lnTo>
                  <a:lnTo>
                    <a:pt x="136525" y="441325"/>
                  </a:lnTo>
                  <a:lnTo>
                    <a:pt x="142875" y="436563"/>
                  </a:lnTo>
                  <a:lnTo>
                    <a:pt x="155575" y="433388"/>
                  </a:lnTo>
                  <a:lnTo>
                    <a:pt x="161925" y="430213"/>
                  </a:lnTo>
                  <a:lnTo>
                    <a:pt x="168275" y="433388"/>
                  </a:lnTo>
                  <a:lnTo>
                    <a:pt x="176212" y="436563"/>
                  </a:lnTo>
                  <a:lnTo>
                    <a:pt x="176212" y="430213"/>
                  </a:lnTo>
                  <a:lnTo>
                    <a:pt x="182562" y="420688"/>
                  </a:lnTo>
                  <a:lnTo>
                    <a:pt x="179387" y="417513"/>
                  </a:lnTo>
                  <a:lnTo>
                    <a:pt x="185737" y="407988"/>
                  </a:lnTo>
                  <a:lnTo>
                    <a:pt x="188912" y="398463"/>
                  </a:lnTo>
                  <a:lnTo>
                    <a:pt x="198437" y="396875"/>
                  </a:lnTo>
                  <a:lnTo>
                    <a:pt x="206375" y="396875"/>
                  </a:lnTo>
                  <a:lnTo>
                    <a:pt x="209550" y="393700"/>
                  </a:lnTo>
                  <a:lnTo>
                    <a:pt x="222250" y="393700"/>
                  </a:lnTo>
                  <a:lnTo>
                    <a:pt x="225425" y="390525"/>
                  </a:lnTo>
                  <a:lnTo>
                    <a:pt x="228600" y="387350"/>
                  </a:lnTo>
                  <a:lnTo>
                    <a:pt x="231775" y="384175"/>
                  </a:lnTo>
                  <a:lnTo>
                    <a:pt x="242887" y="377825"/>
                  </a:lnTo>
                  <a:lnTo>
                    <a:pt x="242887" y="374650"/>
                  </a:lnTo>
                  <a:lnTo>
                    <a:pt x="249237" y="371475"/>
                  </a:lnTo>
                  <a:lnTo>
                    <a:pt x="246062" y="368300"/>
                  </a:lnTo>
                  <a:lnTo>
                    <a:pt x="246062" y="361950"/>
                  </a:lnTo>
                  <a:lnTo>
                    <a:pt x="255587" y="357188"/>
                  </a:lnTo>
                  <a:lnTo>
                    <a:pt x="249237" y="350838"/>
                  </a:lnTo>
                  <a:lnTo>
                    <a:pt x="255587" y="341313"/>
                  </a:lnTo>
                  <a:lnTo>
                    <a:pt x="261937" y="341313"/>
                  </a:lnTo>
                  <a:lnTo>
                    <a:pt x="255587" y="338138"/>
                  </a:lnTo>
                  <a:lnTo>
                    <a:pt x="255587" y="334963"/>
                  </a:lnTo>
                  <a:lnTo>
                    <a:pt x="252412" y="334963"/>
                  </a:lnTo>
                  <a:lnTo>
                    <a:pt x="242887" y="334963"/>
                  </a:lnTo>
                  <a:lnTo>
                    <a:pt x="241300" y="328613"/>
                  </a:lnTo>
                  <a:lnTo>
                    <a:pt x="231775" y="331788"/>
                  </a:lnTo>
                  <a:lnTo>
                    <a:pt x="225425" y="322263"/>
                  </a:lnTo>
                  <a:lnTo>
                    <a:pt x="219075" y="325438"/>
                  </a:lnTo>
                  <a:lnTo>
                    <a:pt x="209550" y="320675"/>
                  </a:lnTo>
                  <a:lnTo>
                    <a:pt x="198437" y="322263"/>
                  </a:lnTo>
                  <a:lnTo>
                    <a:pt x="195262" y="314325"/>
                  </a:lnTo>
                  <a:lnTo>
                    <a:pt x="188912" y="304800"/>
                  </a:lnTo>
                  <a:lnTo>
                    <a:pt x="195262" y="292100"/>
                  </a:lnTo>
                  <a:lnTo>
                    <a:pt x="201612" y="282575"/>
                  </a:lnTo>
                  <a:lnTo>
                    <a:pt x="201612" y="280988"/>
                  </a:lnTo>
                  <a:lnTo>
                    <a:pt x="206375" y="274638"/>
                  </a:lnTo>
                  <a:lnTo>
                    <a:pt x="209550" y="271463"/>
                  </a:lnTo>
                  <a:lnTo>
                    <a:pt x="201612" y="271463"/>
                  </a:lnTo>
                  <a:lnTo>
                    <a:pt x="198437" y="268288"/>
                  </a:lnTo>
                  <a:lnTo>
                    <a:pt x="188912" y="268288"/>
                  </a:lnTo>
                  <a:lnTo>
                    <a:pt x="179387" y="265113"/>
                  </a:lnTo>
                  <a:lnTo>
                    <a:pt x="169862" y="268288"/>
                  </a:lnTo>
                  <a:lnTo>
                    <a:pt x="165100" y="265113"/>
                  </a:lnTo>
                  <a:lnTo>
                    <a:pt x="149225" y="268288"/>
                  </a:lnTo>
                  <a:lnTo>
                    <a:pt x="149225" y="261938"/>
                  </a:lnTo>
                  <a:lnTo>
                    <a:pt x="136525" y="255588"/>
                  </a:lnTo>
                  <a:lnTo>
                    <a:pt x="133350" y="246063"/>
                  </a:lnTo>
                  <a:lnTo>
                    <a:pt x="125412" y="244475"/>
                  </a:lnTo>
                  <a:lnTo>
                    <a:pt x="119062" y="246063"/>
                  </a:lnTo>
                  <a:lnTo>
                    <a:pt x="109537" y="241300"/>
                  </a:lnTo>
                  <a:lnTo>
                    <a:pt x="115887" y="228600"/>
                  </a:lnTo>
                  <a:lnTo>
                    <a:pt x="112712" y="215900"/>
                  </a:lnTo>
                  <a:lnTo>
                    <a:pt x="112712" y="212725"/>
                  </a:lnTo>
                  <a:lnTo>
                    <a:pt x="106362" y="215900"/>
                  </a:lnTo>
                  <a:lnTo>
                    <a:pt x="96837" y="209550"/>
                  </a:lnTo>
                  <a:lnTo>
                    <a:pt x="85725" y="215900"/>
                  </a:lnTo>
                  <a:lnTo>
                    <a:pt x="76200" y="209550"/>
                  </a:lnTo>
                  <a:lnTo>
                    <a:pt x="76200" y="212725"/>
                  </a:lnTo>
                  <a:lnTo>
                    <a:pt x="79375" y="215900"/>
                  </a:lnTo>
                  <a:lnTo>
                    <a:pt x="73025" y="215900"/>
                  </a:lnTo>
                  <a:lnTo>
                    <a:pt x="63500" y="219075"/>
                  </a:lnTo>
                  <a:lnTo>
                    <a:pt x="60325" y="212725"/>
                  </a:lnTo>
                  <a:lnTo>
                    <a:pt x="52387" y="206375"/>
                  </a:lnTo>
                  <a:lnTo>
                    <a:pt x="49212" y="215900"/>
                  </a:lnTo>
                  <a:lnTo>
                    <a:pt x="39687" y="219075"/>
                  </a:lnTo>
                  <a:lnTo>
                    <a:pt x="36512" y="212725"/>
                  </a:lnTo>
                  <a:lnTo>
                    <a:pt x="30162" y="212725"/>
                  </a:lnTo>
                  <a:lnTo>
                    <a:pt x="23812" y="215900"/>
                  </a:lnTo>
                  <a:lnTo>
                    <a:pt x="17462" y="209550"/>
                  </a:lnTo>
                  <a:lnTo>
                    <a:pt x="12700" y="212725"/>
                  </a:lnTo>
                  <a:lnTo>
                    <a:pt x="12700" y="209550"/>
                  </a:lnTo>
                  <a:lnTo>
                    <a:pt x="3175" y="206375"/>
                  </a:lnTo>
                  <a:lnTo>
                    <a:pt x="0" y="201613"/>
                  </a:lnTo>
                  <a:lnTo>
                    <a:pt x="9525" y="195263"/>
                  </a:lnTo>
                  <a:lnTo>
                    <a:pt x="12700" y="185738"/>
                  </a:lnTo>
                  <a:lnTo>
                    <a:pt x="6350" y="173038"/>
                  </a:lnTo>
                  <a:lnTo>
                    <a:pt x="6350" y="166688"/>
                  </a:lnTo>
                  <a:lnTo>
                    <a:pt x="12700" y="165100"/>
                  </a:lnTo>
                  <a:lnTo>
                    <a:pt x="12700" y="152400"/>
                  </a:lnTo>
                  <a:lnTo>
                    <a:pt x="15875" y="149225"/>
                  </a:lnTo>
                  <a:lnTo>
                    <a:pt x="17462" y="142875"/>
                  </a:lnTo>
                  <a:lnTo>
                    <a:pt x="20637" y="139700"/>
                  </a:lnTo>
                  <a:lnTo>
                    <a:pt x="33337" y="146050"/>
                  </a:lnTo>
                  <a:lnTo>
                    <a:pt x="33337" y="139700"/>
                  </a:lnTo>
                  <a:lnTo>
                    <a:pt x="42862" y="136525"/>
                  </a:lnTo>
                  <a:lnTo>
                    <a:pt x="46037" y="136525"/>
                  </a:lnTo>
                  <a:lnTo>
                    <a:pt x="57150" y="125412"/>
                  </a:lnTo>
                  <a:lnTo>
                    <a:pt x="63500" y="125412"/>
                  </a:lnTo>
                  <a:lnTo>
                    <a:pt x="66675" y="122237"/>
                  </a:lnTo>
                  <a:lnTo>
                    <a:pt x="63500" y="112712"/>
                  </a:lnTo>
                  <a:lnTo>
                    <a:pt x="73025" y="109537"/>
                  </a:lnTo>
                  <a:lnTo>
                    <a:pt x="85725" y="109537"/>
                  </a:lnTo>
                  <a:lnTo>
                    <a:pt x="88900" y="100012"/>
                  </a:lnTo>
                  <a:lnTo>
                    <a:pt x="96837" y="93662"/>
                  </a:lnTo>
                  <a:lnTo>
                    <a:pt x="106362" y="82550"/>
                  </a:lnTo>
                  <a:lnTo>
                    <a:pt x="103187" y="79375"/>
                  </a:lnTo>
                  <a:lnTo>
                    <a:pt x="100012" y="66675"/>
                  </a:lnTo>
                  <a:lnTo>
                    <a:pt x="109537" y="69850"/>
                  </a:lnTo>
                  <a:lnTo>
                    <a:pt x="122237" y="63500"/>
                  </a:lnTo>
                  <a:lnTo>
                    <a:pt x="125412" y="66675"/>
                  </a:lnTo>
                  <a:lnTo>
                    <a:pt x="130175" y="66675"/>
                  </a:lnTo>
                  <a:lnTo>
                    <a:pt x="130175" y="63500"/>
                  </a:lnTo>
                  <a:lnTo>
                    <a:pt x="139700" y="66675"/>
                  </a:lnTo>
                  <a:lnTo>
                    <a:pt x="149225" y="63500"/>
                  </a:lnTo>
                  <a:lnTo>
                    <a:pt x="149225" y="60325"/>
                  </a:lnTo>
                  <a:lnTo>
                    <a:pt x="161925" y="57150"/>
                  </a:lnTo>
                  <a:lnTo>
                    <a:pt x="173037" y="63500"/>
                  </a:lnTo>
                  <a:lnTo>
                    <a:pt x="185737" y="63500"/>
                  </a:lnTo>
                  <a:lnTo>
                    <a:pt x="188912" y="66675"/>
                  </a:lnTo>
                  <a:lnTo>
                    <a:pt x="204787" y="69850"/>
                  </a:lnTo>
                  <a:lnTo>
                    <a:pt x="209550" y="63500"/>
                  </a:lnTo>
                  <a:lnTo>
                    <a:pt x="219075" y="66675"/>
                  </a:lnTo>
                  <a:lnTo>
                    <a:pt x="228600" y="63500"/>
                  </a:lnTo>
                  <a:lnTo>
                    <a:pt x="234950" y="66675"/>
                  </a:lnTo>
                  <a:lnTo>
                    <a:pt x="238125" y="66675"/>
                  </a:lnTo>
                  <a:lnTo>
                    <a:pt x="238125" y="60325"/>
                  </a:lnTo>
                  <a:lnTo>
                    <a:pt x="234950" y="60325"/>
                  </a:lnTo>
                  <a:lnTo>
                    <a:pt x="238125" y="57150"/>
                  </a:lnTo>
                  <a:lnTo>
                    <a:pt x="234950" y="53975"/>
                  </a:lnTo>
                  <a:lnTo>
                    <a:pt x="225425" y="50800"/>
                  </a:lnTo>
                  <a:lnTo>
                    <a:pt x="222250" y="46037"/>
                  </a:lnTo>
                  <a:lnTo>
                    <a:pt x="219075" y="49212"/>
                  </a:lnTo>
                  <a:lnTo>
                    <a:pt x="206375" y="42862"/>
                  </a:lnTo>
                  <a:lnTo>
                    <a:pt x="209550" y="39687"/>
                  </a:lnTo>
                  <a:lnTo>
                    <a:pt x="204787" y="36512"/>
                  </a:lnTo>
                  <a:lnTo>
                    <a:pt x="204787" y="30162"/>
                  </a:lnTo>
                  <a:lnTo>
                    <a:pt x="219075" y="30162"/>
                  </a:lnTo>
                  <a:lnTo>
                    <a:pt x="228600" y="33337"/>
                  </a:lnTo>
                  <a:lnTo>
                    <a:pt x="234950" y="26987"/>
                  </a:lnTo>
                  <a:lnTo>
                    <a:pt x="241300" y="30162"/>
                  </a:lnTo>
                  <a:lnTo>
                    <a:pt x="242887" y="33337"/>
                  </a:lnTo>
                  <a:lnTo>
                    <a:pt x="241300" y="36512"/>
                  </a:lnTo>
                  <a:lnTo>
                    <a:pt x="246062" y="36512"/>
                  </a:lnTo>
                  <a:lnTo>
                    <a:pt x="252412" y="42862"/>
                  </a:lnTo>
                  <a:lnTo>
                    <a:pt x="265112" y="46037"/>
                  </a:lnTo>
                  <a:lnTo>
                    <a:pt x="268287" y="42862"/>
                  </a:lnTo>
                  <a:lnTo>
                    <a:pt x="277812" y="42862"/>
                  </a:lnTo>
                  <a:lnTo>
                    <a:pt x="282575" y="33337"/>
                  </a:lnTo>
                  <a:lnTo>
                    <a:pt x="285750" y="30162"/>
                  </a:lnTo>
                  <a:lnTo>
                    <a:pt x="298450" y="33337"/>
                  </a:lnTo>
                  <a:lnTo>
                    <a:pt x="307975" y="30162"/>
                  </a:lnTo>
                  <a:lnTo>
                    <a:pt x="317500" y="20637"/>
                  </a:lnTo>
                  <a:lnTo>
                    <a:pt x="328612" y="17462"/>
                  </a:lnTo>
                  <a:lnTo>
                    <a:pt x="328612" y="12700"/>
                  </a:lnTo>
                  <a:lnTo>
                    <a:pt x="341312" y="17462"/>
                  </a:lnTo>
                  <a:lnTo>
                    <a:pt x="341312" y="20637"/>
                  </a:lnTo>
                  <a:lnTo>
                    <a:pt x="347662" y="20637"/>
                  </a:lnTo>
                  <a:lnTo>
                    <a:pt x="344487" y="12700"/>
                  </a:lnTo>
                  <a:lnTo>
                    <a:pt x="358775" y="9525"/>
                  </a:lnTo>
                  <a:close/>
                </a:path>
              </a:pathLst>
            </a:custGeom>
            <a:solidFill>
              <a:srgbClr val="D0D0D0"/>
            </a:solidFill>
            <a:ln w="6350">
              <a:solidFill>
                <a:srgbClr val="B3B3B3"/>
              </a:solidFill>
            </a:ln>
          </p:spPr>
          <p:txBody>
            <a:bodyPr rtlCol="0" anchor="ctr"/>
            <a:lstStyle/>
            <a:p>
              <a:pPr algn="ctr"/>
              <a:endParaRPr lang="en-US" dirty="0"/>
            </a:p>
          </p:txBody>
        </p:sp>
        <p:sp>
          <p:nvSpPr>
            <p:cNvPr id="15" name="Freeform 7">
              <a:extLst>
                <a:ext uri="{FF2B5EF4-FFF2-40B4-BE49-F238E27FC236}">
                  <a16:creationId xmlns:a16="http://schemas.microsoft.com/office/drawing/2014/main" id="{4A10A443-6733-4D14-98A2-668F455C356D}"/>
                </a:ext>
              </a:extLst>
            </p:cNvPr>
            <p:cNvSpPr>
              <a:spLocks noEditPoints="1"/>
            </p:cNvSpPr>
            <p:nvPr/>
          </p:nvSpPr>
          <p:spPr bwMode="gray">
            <a:xfrm>
              <a:off x="4787901" y="5257803"/>
              <a:ext cx="712788" cy="944563"/>
            </a:xfrm>
            <a:custGeom>
              <a:avLst/>
              <a:gdLst>
                <a:gd name="T0" fmla="*/ 311 w 449"/>
                <a:gd name="T1" fmla="*/ 474 h 595"/>
                <a:gd name="T2" fmla="*/ 330 w 449"/>
                <a:gd name="T3" fmla="*/ 464 h 595"/>
                <a:gd name="T4" fmla="*/ 324 w 449"/>
                <a:gd name="T5" fmla="*/ 464 h 595"/>
                <a:gd name="T6" fmla="*/ 355 w 449"/>
                <a:gd name="T7" fmla="*/ 353 h 595"/>
                <a:gd name="T8" fmla="*/ 384 w 449"/>
                <a:gd name="T9" fmla="*/ 184 h 595"/>
                <a:gd name="T10" fmla="*/ 378 w 449"/>
                <a:gd name="T11" fmla="*/ 171 h 595"/>
                <a:gd name="T12" fmla="*/ 374 w 449"/>
                <a:gd name="T13" fmla="*/ 182 h 595"/>
                <a:gd name="T14" fmla="*/ 382 w 449"/>
                <a:gd name="T15" fmla="*/ 190 h 595"/>
                <a:gd name="T16" fmla="*/ 382 w 449"/>
                <a:gd name="T17" fmla="*/ 222 h 595"/>
                <a:gd name="T18" fmla="*/ 391 w 449"/>
                <a:gd name="T19" fmla="*/ 274 h 595"/>
                <a:gd name="T20" fmla="*/ 380 w 449"/>
                <a:gd name="T21" fmla="*/ 290 h 595"/>
                <a:gd name="T22" fmla="*/ 389 w 449"/>
                <a:gd name="T23" fmla="*/ 305 h 595"/>
                <a:gd name="T24" fmla="*/ 374 w 449"/>
                <a:gd name="T25" fmla="*/ 351 h 595"/>
                <a:gd name="T26" fmla="*/ 361 w 449"/>
                <a:gd name="T27" fmla="*/ 349 h 595"/>
                <a:gd name="T28" fmla="*/ 337 w 449"/>
                <a:gd name="T29" fmla="*/ 355 h 595"/>
                <a:gd name="T30" fmla="*/ 309 w 449"/>
                <a:gd name="T31" fmla="*/ 403 h 595"/>
                <a:gd name="T32" fmla="*/ 303 w 449"/>
                <a:gd name="T33" fmla="*/ 462 h 595"/>
                <a:gd name="T34" fmla="*/ 266 w 449"/>
                <a:gd name="T35" fmla="*/ 472 h 595"/>
                <a:gd name="T36" fmla="*/ 215 w 449"/>
                <a:gd name="T37" fmla="*/ 495 h 595"/>
                <a:gd name="T38" fmla="*/ 211 w 449"/>
                <a:gd name="T39" fmla="*/ 522 h 595"/>
                <a:gd name="T40" fmla="*/ 184 w 449"/>
                <a:gd name="T41" fmla="*/ 568 h 595"/>
                <a:gd name="T42" fmla="*/ 138 w 449"/>
                <a:gd name="T43" fmla="*/ 593 h 595"/>
                <a:gd name="T44" fmla="*/ 88 w 449"/>
                <a:gd name="T45" fmla="*/ 572 h 595"/>
                <a:gd name="T46" fmla="*/ 109 w 449"/>
                <a:gd name="T47" fmla="*/ 545 h 595"/>
                <a:gd name="T48" fmla="*/ 99 w 449"/>
                <a:gd name="T49" fmla="*/ 503 h 595"/>
                <a:gd name="T50" fmla="*/ 115 w 449"/>
                <a:gd name="T51" fmla="*/ 457 h 595"/>
                <a:gd name="T52" fmla="*/ 105 w 449"/>
                <a:gd name="T53" fmla="*/ 432 h 595"/>
                <a:gd name="T54" fmla="*/ 103 w 449"/>
                <a:gd name="T55" fmla="*/ 401 h 595"/>
                <a:gd name="T56" fmla="*/ 109 w 449"/>
                <a:gd name="T57" fmla="*/ 361 h 595"/>
                <a:gd name="T58" fmla="*/ 67 w 449"/>
                <a:gd name="T59" fmla="*/ 357 h 595"/>
                <a:gd name="T60" fmla="*/ 63 w 449"/>
                <a:gd name="T61" fmla="*/ 322 h 595"/>
                <a:gd name="T62" fmla="*/ 53 w 449"/>
                <a:gd name="T63" fmla="*/ 290 h 595"/>
                <a:gd name="T64" fmla="*/ 55 w 449"/>
                <a:gd name="T65" fmla="*/ 263 h 595"/>
                <a:gd name="T66" fmla="*/ 23 w 449"/>
                <a:gd name="T67" fmla="*/ 259 h 595"/>
                <a:gd name="T68" fmla="*/ 5 w 449"/>
                <a:gd name="T69" fmla="*/ 228 h 595"/>
                <a:gd name="T70" fmla="*/ 17 w 449"/>
                <a:gd name="T71" fmla="*/ 211 h 595"/>
                <a:gd name="T72" fmla="*/ 63 w 449"/>
                <a:gd name="T73" fmla="*/ 213 h 595"/>
                <a:gd name="T74" fmla="*/ 90 w 449"/>
                <a:gd name="T75" fmla="*/ 194 h 595"/>
                <a:gd name="T76" fmla="*/ 134 w 449"/>
                <a:gd name="T77" fmla="*/ 180 h 595"/>
                <a:gd name="T78" fmla="*/ 151 w 449"/>
                <a:gd name="T79" fmla="*/ 147 h 595"/>
                <a:gd name="T80" fmla="*/ 151 w 449"/>
                <a:gd name="T81" fmla="*/ 115 h 595"/>
                <a:gd name="T82" fmla="*/ 167 w 449"/>
                <a:gd name="T83" fmla="*/ 94 h 595"/>
                <a:gd name="T84" fmla="*/ 186 w 449"/>
                <a:gd name="T85" fmla="*/ 80 h 595"/>
                <a:gd name="T86" fmla="*/ 215 w 449"/>
                <a:gd name="T87" fmla="*/ 96 h 595"/>
                <a:gd name="T88" fmla="*/ 253 w 449"/>
                <a:gd name="T89" fmla="*/ 94 h 595"/>
                <a:gd name="T90" fmla="*/ 288 w 449"/>
                <a:gd name="T91" fmla="*/ 51 h 595"/>
                <a:gd name="T92" fmla="*/ 320 w 449"/>
                <a:gd name="T93" fmla="*/ 59 h 595"/>
                <a:gd name="T94" fmla="*/ 341 w 449"/>
                <a:gd name="T95" fmla="*/ 46 h 595"/>
                <a:gd name="T96" fmla="*/ 362 w 449"/>
                <a:gd name="T97" fmla="*/ 30 h 595"/>
                <a:gd name="T98" fmla="*/ 387 w 449"/>
                <a:gd name="T99" fmla="*/ 34 h 595"/>
                <a:gd name="T100" fmla="*/ 408 w 449"/>
                <a:gd name="T101" fmla="*/ 15 h 595"/>
                <a:gd name="T102" fmla="*/ 422 w 449"/>
                <a:gd name="T103" fmla="*/ 5 h 595"/>
                <a:gd name="T104" fmla="*/ 443 w 449"/>
                <a:gd name="T105" fmla="*/ 11 h 595"/>
                <a:gd name="T106" fmla="*/ 445 w 449"/>
                <a:gd name="T107" fmla="*/ 36 h 595"/>
                <a:gd name="T108" fmla="*/ 433 w 449"/>
                <a:gd name="T109" fmla="*/ 78 h 595"/>
                <a:gd name="T110" fmla="*/ 420 w 449"/>
                <a:gd name="T111" fmla="*/ 126 h 595"/>
                <a:gd name="T112" fmla="*/ 370 w 449"/>
                <a:gd name="T113" fmla="*/ 169 h 595"/>
                <a:gd name="T114" fmla="*/ 368 w 449"/>
                <a:gd name="T115" fmla="*/ 176 h 595"/>
                <a:gd name="T116" fmla="*/ 370 w 449"/>
                <a:gd name="T117" fmla="*/ 186 h 595"/>
                <a:gd name="T118" fmla="*/ 372 w 449"/>
                <a:gd name="T119" fmla="*/ 19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9" h="595">
                  <a:moveTo>
                    <a:pt x="284" y="476"/>
                  </a:moveTo>
                  <a:lnTo>
                    <a:pt x="288" y="476"/>
                  </a:lnTo>
                  <a:lnTo>
                    <a:pt x="284" y="476"/>
                  </a:lnTo>
                  <a:close/>
                  <a:moveTo>
                    <a:pt x="301" y="472"/>
                  </a:moveTo>
                  <a:lnTo>
                    <a:pt x="305" y="472"/>
                  </a:lnTo>
                  <a:lnTo>
                    <a:pt x="305" y="474"/>
                  </a:lnTo>
                  <a:lnTo>
                    <a:pt x="301" y="474"/>
                  </a:lnTo>
                  <a:lnTo>
                    <a:pt x="301" y="472"/>
                  </a:lnTo>
                  <a:close/>
                  <a:moveTo>
                    <a:pt x="311" y="472"/>
                  </a:moveTo>
                  <a:lnTo>
                    <a:pt x="313" y="472"/>
                  </a:lnTo>
                  <a:lnTo>
                    <a:pt x="313" y="474"/>
                  </a:lnTo>
                  <a:lnTo>
                    <a:pt x="311" y="474"/>
                  </a:lnTo>
                  <a:lnTo>
                    <a:pt x="311" y="472"/>
                  </a:lnTo>
                  <a:close/>
                  <a:moveTo>
                    <a:pt x="314" y="468"/>
                  </a:moveTo>
                  <a:lnTo>
                    <a:pt x="316" y="468"/>
                  </a:lnTo>
                  <a:lnTo>
                    <a:pt x="316" y="470"/>
                  </a:lnTo>
                  <a:lnTo>
                    <a:pt x="314" y="470"/>
                  </a:lnTo>
                  <a:lnTo>
                    <a:pt x="314" y="468"/>
                  </a:lnTo>
                  <a:close/>
                  <a:moveTo>
                    <a:pt x="316" y="468"/>
                  </a:moveTo>
                  <a:lnTo>
                    <a:pt x="318" y="468"/>
                  </a:lnTo>
                  <a:lnTo>
                    <a:pt x="318" y="470"/>
                  </a:lnTo>
                  <a:lnTo>
                    <a:pt x="316" y="470"/>
                  </a:lnTo>
                  <a:lnTo>
                    <a:pt x="316" y="468"/>
                  </a:lnTo>
                  <a:close/>
                  <a:moveTo>
                    <a:pt x="330" y="464"/>
                  </a:moveTo>
                  <a:lnTo>
                    <a:pt x="332" y="468"/>
                  </a:lnTo>
                  <a:lnTo>
                    <a:pt x="336" y="472"/>
                  </a:lnTo>
                  <a:lnTo>
                    <a:pt x="339" y="476"/>
                  </a:lnTo>
                  <a:lnTo>
                    <a:pt x="343" y="480"/>
                  </a:lnTo>
                  <a:lnTo>
                    <a:pt x="339" y="476"/>
                  </a:lnTo>
                  <a:lnTo>
                    <a:pt x="336" y="474"/>
                  </a:lnTo>
                  <a:lnTo>
                    <a:pt x="332" y="470"/>
                  </a:lnTo>
                  <a:lnTo>
                    <a:pt x="328" y="468"/>
                  </a:lnTo>
                  <a:lnTo>
                    <a:pt x="322" y="468"/>
                  </a:lnTo>
                  <a:lnTo>
                    <a:pt x="318" y="468"/>
                  </a:lnTo>
                  <a:lnTo>
                    <a:pt x="318" y="464"/>
                  </a:lnTo>
                  <a:lnTo>
                    <a:pt x="324" y="464"/>
                  </a:lnTo>
                  <a:lnTo>
                    <a:pt x="330" y="461"/>
                  </a:lnTo>
                  <a:lnTo>
                    <a:pt x="332" y="462"/>
                  </a:lnTo>
                  <a:lnTo>
                    <a:pt x="330" y="464"/>
                  </a:lnTo>
                  <a:close/>
                  <a:moveTo>
                    <a:pt x="378" y="357"/>
                  </a:moveTo>
                  <a:lnTo>
                    <a:pt x="384" y="357"/>
                  </a:lnTo>
                  <a:lnTo>
                    <a:pt x="380" y="357"/>
                  </a:lnTo>
                  <a:lnTo>
                    <a:pt x="378" y="357"/>
                  </a:lnTo>
                  <a:close/>
                  <a:moveTo>
                    <a:pt x="376" y="357"/>
                  </a:moveTo>
                  <a:lnTo>
                    <a:pt x="370" y="355"/>
                  </a:lnTo>
                  <a:lnTo>
                    <a:pt x="374" y="357"/>
                  </a:lnTo>
                  <a:lnTo>
                    <a:pt x="376" y="357"/>
                  </a:lnTo>
                  <a:close/>
                  <a:moveTo>
                    <a:pt x="355" y="353"/>
                  </a:moveTo>
                  <a:lnTo>
                    <a:pt x="357" y="353"/>
                  </a:lnTo>
                  <a:lnTo>
                    <a:pt x="364" y="355"/>
                  </a:lnTo>
                  <a:lnTo>
                    <a:pt x="368" y="355"/>
                  </a:lnTo>
                  <a:lnTo>
                    <a:pt x="370" y="357"/>
                  </a:lnTo>
                  <a:lnTo>
                    <a:pt x="366" y="355"/>
                  </a:lnTo>
                  <a:lnTo>
                    <a:pt x="359" y="355"/>
                  </a:lnTo>
                  <a:lnTo>
                    <a:pt x="357" y="355"/>
                  </a:lnTo>
                  <a:lnTo>
                    <a:pt x="353" y="353"/>
                  </a:lnTo>
                  <a:lnTo>
                    <a:pt x="355" y="353"/>
                  </a:lnTo>
                  <a:close/>
                  <a:moveTo>
                    <a:pt x="384" y="180"/>
                  </a:moveTo>
                  <a:lnTo>
                    <a:pt x="385" y="180"/>
                  </a:lnTo>
                  <a:lnTo>
                    <a:pt x="384" y="184"/>
                  </a:lnTo>
                  <a:lnTo>
                    <a:pt x="384" y="182"/>
                  </a:lnTo>
                  <a:lnTo>
                    <a:pt x="384" y="180"/>
                  </a:lnTo>
                  <a:close/>
                  <a:moveTo>
                    <a:pt x="395" y="163"/>
                  </a:moveTo>
                  <a:lnTo>
                    <a:pt x="391" y="161"/>
                  </a:lnTo>
                  <a:lnTo>
                    <a:pt x="389" y="167"/>
                  </a:lnTo>
                  <a:lnTo>
                    <a:pt x="393" y="169"/>
                  </a:lnTo>
                  <a:lnTo>
                    <a:pt x="391" y="171"/>
                  </a:lnTo>
                  <a:lnTo>
                    <a:pt x="387" y="171"/>
                  </a:lnTo>
                  <a:lnTo>
                    <a:pt x="382" y="176"/>
                  </a:lnTo>
                  <a:lnTo>
                    <a:pt x="382" y="172"/>
                  </a:lnTo>
                  <a:lnTo>
                    <a:pt x="378" y="172"/>
                  </a:lnTo>
                  <a:lnTo>
                    <a:pt x="378" y="171"/>
                  </a:lnTo>
                  <a:lnTo>
                    <a:pt x="382" y="171"/>
                  </a:lnTo>
                  <a:lnTo>
                    <a:pt x="382" y="169"/>
                  </a:lnTo>
                  <a:lnTo>
                    <a:pt x="374" y="174"/>
                  </a:lnTo>
                  <a:lnTo>
                    <a:pt x="378" y="176"/>
                  </a:lnTo>
                  <a:lnTo>
                    <a:pt x="376" y="174"/>
                  </a:lnTo>
                  <a:lnTo>
                    <a:pt x="378" y="174"/>
                  </a:lnTo>
                  <a:lnTo>
                    <a:pt x="380" y="180"/>
                  </a:lnTo>
                  <a:lnTo>
                    <a:pt x="378" y="182"/>
                  </a:lnTo>
                  <a:lnTo>
                    <a:pt x="376" y="182"/>
                  </a:lnTo>
                  <a:lnTo>
                    <a:pt x="378" y="178"/>
                  </a:lnTo>
                  <a:lnTo>
                    <a:pt x="376" y="178"/>
                  </a:lnTo>
                  <a:lnTo>
                    <a:pt x="374" y="182"/>
                  </a:lnTo>
                  <a:lnTo>
                    <a:pt x="376" y="182"/>
                  </a:lnTo>
                  <a:lnTo>
                    <a:pt x="376" y="184"/>
                  </a:lnTo>
                  <a:lnTo>
                    <a:pt x="380" y="184"/>
                  </a:lnTo>
                  <a:lnTo>
                    <a:pt x="380" y="186"/>
                  </a:lnTo>
                  <a:lnTo>
                    <a:pt x="382" y="184"/>
                  </a:lnTo>
                  <a:lnTo>
                    <a:pt x="382" y="186"/>
                  </a:lnTo>
                  <a:lnTo>
                    <a:pt x="384" y="188"/>
                  </a:lnTo>
                  <a:lnTo>
                    <a:pt x="384" y="186"/>
                  </a:lnTo>
                  <a:lnTo>
                    <a:pt x="387" y="186"/>
                  </a:lnTo>
                  <a:lnTo>
                    <a:pt x="387" y="188"/>
                  </a:lnTo>
                  <a:lnTo>
                    <a:pt x="385" y="188"/>
                  </a:lnTo>
                  <a:lnTo>
                    <a:pt x="382" y="190"/>
                  </a:lnTo>
                  <a:lnTo>
                    <a:pt x="380" y="186"/>
                  </a:lnTo>
                  <a:lnTo>
                    <a:pt x="380" y="190"/>
                  </a:lnTo>
                  <a:lnTo>
                    <a:pt x="376" y="192"/>
                  </a:lnTo>
                  <a:lnTo>
                    <a:pt x="382" y="194"/>
                  </a:lnTo>
                  <a:lnTo>
                    <a:pt x="385" y="194"/>
                  </a:lnTo>
                  <a:lnTo>
                    <a:pt x="384" y="201"/>
                  </a:lnTo>
                  <a:lnTo>
                    <a:pt x="382" y="205"/>
                  </a:lnTo>
                  <a:lnTo>
                    <a:pt x="384" y="201"/>
                  </a:lnTo>
                  <a:lnTo>
                    <a:pt x="382" y="205"/>
                  </a:lnTo>
                  <a:lnTo>
                    <a:pt x="382" y="213"/>
                  </a:lnTo>
                  <a:lnTo>
                    <a:pt x="382" y="219"/>
                  </a:lnTo>
                  <a:lnTo>
                    <a:pt x="382" y="222"/>
                  </a:lnTo>
                  <a:lnTo>
                    <a:pt x="382" y="226"/>
                  </a:lnTo>
                  <a:lnTo>
                    <a:pt x="384" y="224"/>
                  </a:lnTo>
                  <a:lnTo>
                    <a:pt x="385" y="230"/>
                  </a:lnTo>
                  <a:lnTo>
                    <a:pt x="387" y="240"/>
                  </a:lnTo>
                  <a:lnTo>
                    <a:pt x="382" y="236"/>
                  </a:lnTo>
                  <a:lnTo>
                    <a:pt x="389" y="240"/>
                  </a:lnTo>
                  <a:lnTo>
                    <a:pt x="389" y="245"/>
                  </a:lnTo>
                  <a:lnTo>
                    <a:pt x="389" y="249"/>
                  </a:lnTo>
                  <a:lnTo>
                    <a:pt x="391" y="257"/>
                  </a:lnTo>
                  <a:lnTo>
                    <a:pt x="391" y="263"/>
                  </a:lnTo>
                  <a:lnTo>
                    <a:pt x="391" y="265"/>
                  </a:lnTo>
                  <a:lnTo>
                    <a:pt x="391" y="274"/>
                  </a:lnTo>
                  <a:lnTo>
                    <a:pt x="391" y="276"/>
                  </a:lnTo>
                  <a:lnTo>
                    <a:pt x="389" y="282"/>
                  </a:lnTo>
                  <a:lnTo>
                    <a:pt x="387" y="278"/>
                  </a:lnTo>
                  <a:lnTo>
                    <a:pt x="384" y="280"/>
                  </a:lnTo>
                  <a:lnTo>
                    <a:pt x="380" y="278"/>
                  </a:lnTo>
                  <a:lnTo>
                    <a:pt x="380" y="282"/>
                  </a:lnTo>
                  <a:lnTo>
                    <a:pt x="376" y="282"/>
                  </a:lnTo>
                  <a:lnTo>
                    <a:pt x="376" y="284"/>
                  </a:lnTo>
                  <a:lnTo>
                    <a:pt x="378" y="284"/>
                  </a:lnTo>
                  <a:lnTo>
                    <a:pt x="376" y="286"/>
                  </a:lnTo>
                  <a:lnTo>
                    <a:pt x="380" y="288"/>
                  </a:lnTo>
                  <a:lnTo>
                    <a:pt x="380" y="290"/>
                  </a:lnTo>
                  <a:lnTo>
                    <a:pt x="382" y="290"/>
                  </a:lnTo>
                  <a:lnTo>
                    <a:pt x="380" y="290"/>
                  </a:lnTo>
                  <a:lnTo>
                    <a:pt x="384" y="288"/>
                  </a:lnTo>
                  <a:lnTo>
                    <a:pt x="382" y="290"/>
                  </a:lnTo>
                  <a:lnTo>
                    <a:pt x="387" y="292"/>
                  </a:lnTo>
                  <a:lnTo>
                    <a:pt x="385" y="292"/>
                  </a:lnTo>
                  <a:lnTo>
                    <a:pt x="387" y="293"/>
                  </a:lnTo>
                  <a:lnTo>
                    <a:pt x="385" y="293"/>
                  </a:lnTo>
                  <a:lnTo>
                    <a:pt x="387" y="295"/>
                  </a:lnTo>
                  <a:lnTo>
                    <a:pt x="387" y="297"/>
                  </a:lnTo>
                  <a:lnTo>
                    <a:pt x="389" y="297"/>
                  </a:lnTo>
                  <a:lnTo>
                    <a:pt x="389" y="305"/>
                  </a:lnTo>
                  <a:lnTo>
                    <a:pt x="389" y="309"/>
                  </a:lnTo>
                  <a:lnTo>
                    <a:pt x="389" y="318"/>
                  </a:lnTo>
                  <a:lnTo>
                    <a:pt x="391" y="328"/>
                  </a:lnTo>
                  <a:lnTo>
                    <a:pt x="391" y="334"/>
                  </a:lnTo>
                  <a:lnTo>
                    <a:pt x="391" y="338"/>
                  </a:lnTo>
                  <a:lnTo>
                    <a:pt x="391" y="341"/>
                  </a:lnTo>
                  <a:lnTo>
                    <a:pt x="391" y="345"/>
                  </a:lnTo>
                  <a:lnTo>
                    <a:pt x="393" y="353"/>
                  </a:lnTo>
                  <a:lnTo>
                    <a:pt x="391" y="355"/>
                  </a:lnTo>
                  <a:lnTo>
                    <a:pt x="384" y="357"/>
                  </a:lnTo>
                  <a:lnTo>
                    <a:pt x="380" y="353"/>
                  </a:lnTo>
                  <a:lnTo>
                    <a:pt x="374" y="351"/>
                  </a:lnTo>
                  <a:lnTo>
                    <a:pt x="368" y="351"/>
                  </a:lnTo>
                  <a:lnTo>
                    <a:pt x="368" y="349"/>
                  </a:lnTo>
                  <a:lnTo>
                    <a:pt x="368" y="351"/>
                  </a:lnTo>
                  <a:lnTo>
                    <a:pt x="366" y="353"/>
                  </a:lnTo>
                  <a:lnTo>
                    <a:pt x="366" y="347"/>
                  </a:lnTo>
                  <a:lnTo>
                    <a:pt x="364" y="349"/>
                  </a:lnTo>
                  <a:lnTo>
                    <a:pt x="364" y="351"/>
                  </a:lnTo>
                  <a:lnTo>
                    <a:pt x="364" y="353"/>
                  </a:lnTo>
                  <a:lnTo>
                    <a:pt x="357" y="353"/>
                  </a:lnTo>
                  <a:lnTo>
                    <a:pt x="357" y="351"/>
                  </a:lnTo>
                  <a:lnTo>
                    <a:pt x="361" y="351"/>
                  </a:lnTo>
                  <a:lnTo>
                    <a:pt x="361" y="349"/>
                  </a:lnTo>
                  <a:lnTo>
                    <a:pt x="357" y="349"/>
                  </a:lnTo>
                  <a:lnTo>
                    <a:pt x="355" y="351"/>
                  </a:lnTo>
                  <a:lnTo>
                    <a:pt x="353" y="353"/>
                  </a:lnTo>
                  <a:lnTo>
                    <a:pt x="353" y="351"/>
                  </a:lnTo>
                  <a:lnTo>
                    <a:pt x="351" y="353"/>
                  </a:lnTo>
                  <a:lnTo>
                    <a:pt x="351" y="351"/>
                  </a:lnTo>
                  <a:lnTo>
                    <a:pt x="347" y="349"/>
                  </a:lnTo>
                  <a:lnTo>
                    <a:pt x="349" y="351"/>
                  </a:lnTo>
                  <a:lnTo>
                    <a:pt x="353" y="353"/>
                  </a:lnTo>
                  <a:lnTo>
                    <a:pt x="349" y="353"/>
                  </a:lnTo>
                  <a:lnTo>
                    <a:pt x="339" y="353"/>
                  </a:lnTo>
                  <a:lnTo>
                    <a:pt x="337" y="355"/>
                  </a:lnTo>
                  <a:lnTo>
                    <a:pt x="328" y="359"/>
                  </a:lnTo>
                  <a:lnTo>
                    <a:pt x="326" y="361"/>
                  </a:lnTo>
                  <a:lnTo>
                    <a:pt x="328" y="365"/>
                  </a:lnTo>
                  <a:lnTo>
                    <a:pt x="322" y="366"/>
                  </a:lnTo>
                  <a:lnTo>
                    <a:pt x="322" y="372"/>
                  </a:lnTo>
                  <a:lnTo>
                    <a:pt x="322" y="378"/>
                  </a:lnTo>
                  <a:lnTo>
                    <a:pt x="326" y="382"/>
                  </a:lnTo>
                  <a:lnTo>
                    <a:pt x="322" y="384"/>
                  </a:lnTo>
                  <a:lnTo>
                    <a:pt x="318" y="389"/>
                  </a:lnTo>
                  <a:lnTo>
                    <a:pt x="313" y="393"/>
                  </a:lnTo>
                  <a:lnTo>
                    <a:pt x="309" y="401"/>
                  </a:lnTo>
                  <a:lnTo>
                    <a:pt x="309" y="403"/>
                  </a:lnTo>
                  <a:lnTo>
                    <a:pt x="307" y="405"/>
                  </a:lnTo>
                  <a:lnTo>
                    <a:pt x="303" y="411"/>
                  </a:lnTo>
                  <a:lnTo>
                    <a:pt x="301" y="413"/>
                  </a:lnTo>
                  <a:lnTo>
                    <a:pt x="295" y="418"/>
                  </a:lnTo>
                  <a:lnTo>
                    <a:pt x="291" y="428"/>
                  </a:lnTo>
                  <a:lnTo>
                    <a:pt x="289" y="430"/>
                  </a:lnTo>
                  <a:lnTo>
                    <a:pt x="288" y="434"/>
                  </a:lnTo>
                  <a:lnTo>
                    <a:pt x="286" y="441"/>
                  </a:lnTo>
                  <a:lnTo>
                    <a:pt x="286" y="443"/>
                  </a:lnTo>
                  <a:lnTo>
                    <a:pt x="288" y="451"/>
                  </a:lnTo>
                  <a:lnTo>
                    <a:pt x="295" y="457"/>
                  </a:lnTo>
                  <a:lnTo>
                    <a:pt x="303" y="462"/>
                  </a:lnTo>
                  <a:lnTo>
                    <a:pt x="307" y="464"/>
                  </a:lnTo>
                  <a:lnTo>
                    <a:pt x="316" y="464"/>
                  </a:lnTo>
                  <a:lnTo>
                    <a:pt x="311" y="466"/>
                  </a:lnTo>
                  <a:lnTo>
                    <a:pt x="305" y="466"/>
                  </a:lnTo>
                  <a:lnTo>
                    <a:pt x="303" y="466"/>
                  </a:lnTo>
                  <a:lnTo>
                    <a:pt x="293" y="466"/>
                  </a:lnTo>
                  <a:lnTo>
                    <a:pt x="288" y="466"/>
                  </a:lnTo>
                  <a:lnTo>
                    <a:pt x="286" y="468"/>
                  </a:lnTo>
                  <a:lnTo>
                    <a:pt x="282" y="468"/>
                  </a:lnTo>
                  <a:lnTo>
                    <a:pt x="274" y="470"/>
                  </a:lnTo>
                  <a:lnTo>
                    <a:pt x="268" y="472"/>
                  </a:lnTo>
                  <a:lnTo>
                    <a:pt x="266" y="472"/>
                  </a:lnTo>
                  <a:lnTo>
                    <a:pt x="265" y="474"/>
                  </a:lnTo>
                  <a:lnTo>
                    <a:pt x="259" y="474"/>
                  </a:lnTo>
                  <a:lnTo>
                    <a:pt x="257" y="476"/>
                  </a:lnTo>
                  <a:lnTo>
                    <a:pt x="259" y="478"/>
                  </a:lnTo>
                  <a:lnTo>
                    <a:pt x="249" y="482"/>
                  </a:lnTo>
                  <a:lnTo>
                    <a:pt x="247" y="480"/>
                  </a:lnTo>
                  <a:lnTo>
                    <a:pt x="243" y="482"/>
                  </a:lnTo>
                  <a:lnTo>
                    <a:pt x="236" y="482"/>
                  </a:lnTo>
                  <a:lnTo>
                    <a:pt x="228" y="486"/>
                  </a:lnTo>
                  <a:lnTo>
                    <a:pt x="224" y="489"/>
                  </a:lnTo>
                  <a:lnTo>
                    <a:pt x="218" y="493"/>
                  </a:lnTo>
                  <a:lnTo>
                    <a:pt x="215" y="495"/>
                  </a:lnTo>
                  <a:lnTo>
                    <a:pt x="211" y="499"/>
                  </a:lnTo>
                  <a:lnTo>
                    <a:pt x="207" y="505"/>
                  </a:lnTo>
                  <a:lnTo>
                    <a:pt x="205" y="509"/>
                  </a:lnTo>
                  <a:lnTo>
                    <a:pt x="205" y="514"/>
                  </a:lnTo>
                  <a:lnTo>
                    <a:pt x="203" y="520"/>
                  </a:lnTo>
                  <a:lnTo>
                    <a:pt x="205" y="520"/>
                  </a:lnTo>
                  <a:lnTo>
                    <a:pt x="207" y="518"/>
                  </a:lnTo>
                  <a:lnTo>
                    <a:pt x="209" y="518"/>
                  </a:lnTo>
                  <a:lnTo>
                    <a:pt x="209" y="520"/>
                  </a:lnTo>
                  <a:lnTo>
                    <a:pt x="211" y="522"/>
                  </a:lnTo>
                  <a:lnTo>
                    <a:pt x="209" y="522"/>
                  </a:lnTo>
                  <a:lnTo>
                    <a:pt x="211" y="522"/>
                  </a:lnTo>
                  <a:lnTo>
                    <a:pt x="205" y="522"/>
                  </a:lnTo>
                  <a:lnTo>
                    <a:pt x="201" y="530"/>
                  </a:lnTo>
                  <a:lnTo>
                    <a:pt x="199" y="535"/>
                  </a:lnTo>
                  <a:lnTo>
                    <a:pt x="201" y="539"/>
                  </a:lnTo>
                  <a:lnTo>
                    <a:pt x="199" y="547"/>
                  </a:lnTo>
                  <a:lnTo>
                    <a:pt x="201" y="551"/>
                  </a:lnTo>
                  <a:lnTo>
                    <a:pt x="197" y="555"/>
                  </a:lnTo>
                  <a:lnTo>
                    <a:pt x="194" y="559"/>
                  </a:lnTo>
                  <a:lnTo>
                    <a:pt x="192" y="562"/>
                  </a:lnTo>
                  <a:lnTo>
                    <a:pt x="194" y="564"/>
                  </a:lnTo>
                  <a:lnTo>
                    <a:pt x="186" y="566"/>
                  </a:lnTo>
                  <a:lnTo>
                    <a:pt x="184" y="568"/>
                  </a:lnTo>
                  <a:lnTo>
                    <a:pt x="182" y="570"/>
                  </a:lnTo>
                  <a:lnTo>
                    <a:pt x="176" y="572"/>
                  </a:lnTo>
                  <a:lnTo>
                    <a:pt x="172" y="576"/>
                  </a:lnTo>
                  <a:lnTo>
                    <a:pt x="165" y="578"/>
                  </a:lnTo>
                  <a:lnTo>
                    <a:pt x="163" y="583"/>
                  </a:lnTo>
                  <a:lnTo>
                    <a:pt x="155" y="585"/>
                  </a:lnTo>
                  <a:lnTo>
                    <a:pt x="155" y="587"/>
                  </a:lnTo>
                  <a:lnTo>
                    <a:pt x="155" y="585"/>
                  </a:lnTo>
                  <a:lnTo>
                    <a:pt x="147" y="587"/>
                  </a:lnTo>
                  <a:lnTo>
                    <a:pt x="140" y="589"/>
                  </a:lnTo>
                  <a:lnTo>
                    <a:pt x="138" y="591"/>
                  </a:lnTo>
                  <a:lnTo>
                    <a:pt x="138" y="593"/>
                  </a:lnTo>
                  <a:lnTo>
                    <a:pt x="138" y="595"/>
                  </a:lnTo>
                  <a:lnTo>
                    <a:pt x="136" y="595"/>
                  </a:lnTo>
                  <a:lnTo>
                    <a:pt x="126" y="593"/>
                  </a:lnTo>
                  <a:lnTo>
                    <a:pt x="119" y="593"/>
                  </a:lnTo>
                  <a:lnTo>
                    <a:pt x="115" y="591"/>
                  </a:lnTo>
                  <a:lnTo>
                    <a:pt x="113" y="591"/>
                  </a:lnTo>
                  <a:lnTo>
                    <a:pt x="109" y="587"/>
                  </a:lnTo>
                  <a:lnTo>
                    <a:pt x="103" y="585"/>
                  </a:lnTo>
                  <a:lnTo>
                    <a:pt x="101" y="583"/>
                  </a:lnTo>
                  <a:lnTo>
                    <a:pt x="98" y="580"/>
                  </a:lnTo>
                  <a:lnTo>
                    <a:pt x="94" y="578"/>
                  </a:lnTo>
                  <a:lnTo>
                    <a:pt x="88" y="572"/>
                  </a:lnTo>
                  <a:lnTo>
                    <a:pt x="92" y="568"/>
                  </a:lnTo>
                  <a:lnTo>
                    <a:pt x="98" y="570"/>
                  </a:lnTo>
                  <a:lnTo>
                    <a:pt x="98" y="566"/>
                  </a:lnTo>
                  <a:lnTo>
                    <a:pt x="94" y="566"/>
                  </a:lnTo>
                  <a:lnTo>
                    <a:pt x="94" y="562"/>
                  </a:lnTo>
                  <a:lnTo>
                    <a:pt x="96" y="562"/>
                  </a:lnTo>
                  <a:lnTo>
                    <a:pt x="99" y="557"/>
                  </a:lnTo>
                  <a:lnTo>
                    <a:pt x="103" y="555"/>
                  </a:lnTo>
                  <a:lnTo>
                    <a:pt x="99" y="549"/>
                  </a:lnTo>
                  <a:lnTo>
                    <a:pt x="101" y="549"/>
                  </a:lnTo>
                  <a:lnTo>
                    <a:pt x="105" y="551"/>
                  </a:lnTo>
                  <a:lnTo>
                    <a:pt x="109" y="545"/>
                  </a:lnTo>
                  <a:lnTo>
                    <a:pt x="105" y="537"/>
                  </a:lnTo>
                  <a:lnTo>
                    <a:pt x="101" y="534"/>
                  </a:lnTo>
                  <a:lnTo>
                    <a:pt x="101" y="530"/>
                  </a:lnTo>
                  <a:lnTo>
                    <a:pt x="98" y="524"/>
                  </a:lnTo>
                  <a:lnTo>
                    <a:pt x="99" y="524"/>
                  </a:lnTo>
                  <a:lnTo>
                    <a:pt x="99" y="520"/>
                  </a:lnTo>
                  <a:lnTo>
                    <a:pt x="101" y="520"/>
                  </a:lnTo>
                  <a:lnTo>
                    <a:pt x="107" y="512"/>
                  </a:lnTo>
                  <a:lnTo>
                    <a:pt x="103" y="507"/>
                  </a:lnTo>
                  <a:lnTo>
                    <a:pt x="101" y="507"/>
                  </a:lnTo>
                  <a:lnTo>
                    <a:pt x="101" y="505"/>
                  </a:lnTo>
                  <a:lnTo>
                    <a:pt x="99" y="503"/>
                  </a:lnTo>
                  <a:lnTo>
                    <a:pt x="98" y="495"/>
                  </a:lnTo>
                  <a:lnTo>
                    <a:pt x="101" y="487"/>
                  </a:lnTo>
                  <a:lnTo>
                    <a:pt x="101" y="486"/>
                  </a:lnTo>
                  <a:lnTo>
                    <a:pt x="107" y="480"/>
                  </a:lnTo>
                  <a:lnTo>
                    <a:pt x="107" y="476"/>
                  </a:lnTo>
                  <a:lnTo>
                    <a:pt x="105" y="476"/>
                  </a:lnTo>
                  <a:lnTo>
                    <a:pt x="109" y="472"/>
                  </a:lnTo>
                  <a:lnTo>
                    <a:pt x="109" y="462"/>
                  </a:lnTo>
                  <a:lnTo>
                    <a:pt x="111" y="462"/>
                  </a:lnTo>
                  <a:lnTo>
                    <a:pt x="111" y="459"/>
                  </a:lnTo>
                  <a:lnTo>
                    <a:pt x="115" y="459"/>
                  </a:lnTo>
                  <a:lnTo>
                    <a:pt x="115" y="457"/>
                  </a:lnTo>
                  <a:lnTo>
                    <a:pt x="117" y="449"/>
                  </a:lnTo>
                  <a:lnTo>
                    <a:pt x="119" y="445"/>
                  </a:lnTo>
                  <a:lnTo>
                    <a:pt x="123" y="445"/>
                  </a:lnTo>
                  <a:lnTo>
                    <a:pt x="124" y="439"/>
                  </a:lnTo>
                  <a:lnTo>
                    <a:pt x="123" y="439"/>
                  </a:lnTo>
                  <a:lnTo>
                    <a:pt x="121" y="439"/>
                  </a:lnTo>
                  <a:lnTo>
                    <a:pt x="117" y="436"/>
                  </a:lnTo>
                  <a:lnTo>
                    <a:pt x="119" y="430"/>
                  </a:lnTo>
                  <a:lnTo>
                    <a:pt x="117" y="434"/>
                  </a:lnTo>
                  <a:lnTo>
                    <a:pt x="113" y="430"/>
                  </a:lnTo>
                  <a:lnTo>
                    <a:pt x="109" y="434"/>
                  </a:lnTo>
                  <a:lnTo>
                    <a:pt x="105" y="432"/>
                  </a:lnTo>
                  <a:lnTo>
                    <a:pt x="101" y="428"/>
                  </a:lnTo>
                  <a:lnTo>
                    <a:pt x="98" y="430"/>
                  </a:lnTo>
                  <a:lnTo>
                    <a:pt x="99" y="424"/>
                  </a:lnTo>
                  <a:lnTo>
                    <a:pt x="101" y="420"/>
                  </a:lnTo>
                  <a:lnTo>
                    <a:pt x="101" y="416"/>
                  </a:lnTo>
                  <a:lnTo>
                    <a:pt x="103" y="416"/>
                  </a:lnTo>
                  <a:lnTo>
                    <a:pt x="103" y="411"/>
                  </a:lnTo>
                  <a:lnTo>
                    <a:pt x="107" y="409"/>
                  </a:lnTo>
                  <a:lnTo>
                    <a:pt x="103" y="407"/>
                  </a:lnTo>
                  <a:lnTo>
                    <a:pt x="103" y="403"/>
                  </a:lnTo>
                  <a:lnTo>
                    <a:pt x="105" y="403"/>
                  </a:lnTo>
                  <a:lnTo>
                    <a:pt x="103" y="401"/>
                  </a:lnTo>
                  <a:lnTo>
                    <a:pt x="103" y="397"/>
                  </a:lnTo>
                  <a:lnTo>
                    <a:pt x="109" y="391"/>
                  </a:lnTo>
                  <a:lnTo>
                    <a:pt x="107" y="386"/>
                  </a:lnTo>
                  <a:lnTo>
                    <a:pt x="109" y="384"/>
                  </a:lnTo>
                  <a:lnTo>
                    <a:pt x="101" y="378"/>
                  </a:lnTo>
                  <a:lnTo>
                    <a:pt x="101" y="376"/>
                  </a:lnTo>
                  <a:lnTo>
                    <a:pt x="103" y="374"/>
                  </a:lnTo>
                  <a:lnTo>
                    <a:pt x="109" y="372"/>
                  </a:lnTo>
                  <a:lnTo>
                    <a:pt x="111" y="366"/>
                  </a:lnTo>
                  <a:lnTo>
                    <a:pt x="113" y="363"/>
                  </a:lnTo>
                  <a:lnTo>
                    <a:pt x="111" y="363"/>
                  </a:lnTo>
                  <a:lnTo>
                    <a:pt x="109" y="361"/>
                  </a:lnTo>
                  <a:lnTo>
                    <a:pt x="109" y="359"/>
                  </a:lnTo>
                  <a:lnTo>
                    <a:pt x="105" y="353"/>
                  </a:lnTo>
                  <a:lnTo>
                    <a:pt x="107" y="349"/>
                  </a:lnTo>
                  <a:lnTo>
                    <a:pt x="99" y="347"/>
                  </a:lnTo>
                  <a:lnTo>
                    <a:pt x="94" y="353"/>
                  </a:lnTo>
                  <a:lnTo>
                    <a:pt x="90" y="353"/>
                  </a:lnTo>
                  <a:lnTo>
                    <a:pt x="86" y="357"/>
                  </a:lnTo>
                  <a:lnTo>
                    <a:pt x="84" y="359"/>
                  </a:lnTo>
                  <a:lnTo>
                    <a:pt x="78" y="363"/>
                  </a:lnTo>
                  <a:lnTo>
                    <a:pt x="71" y="361"/>
                  </a:lnTo>
                  <a:lnTo>
                    <a:pt x="69" y="359"/>
                  </a:lnTo>
                  <a:lnTo>
                    <a:pt x="67" y="357"/>
                  </a:lnTo>
                  <a:lnTo>
                    <a:pt x="67" y="355"/>
                  </a:lnTo>
                  <a:lnTo>
                    <a:pt x="65" y="357"/>
                  </a:lnTo>
                  <a:lnTo>
                    <a:pt x="61" y="353"/>
                  </a:lnTo>
                  <a:lnTo>
                    <a:pt x="63" y="349"/>
                  </a:lnTo>
                  <a:lnTo>
                    <a:pt x="65" y="347"/>
                  </a:lnTo>
                  <a:lnTo>
                    <a:pt x="65" y="345"/>
                  </a:lnTo>
                  <a:lnTo>
                    <a:pt x="61" y="345"/>
                  </a:lnTo>
                  <a:lnTo>
                    <a:pt x="65" y="343"/>
                  </a:lnTo>
                  <a:lnTo>
                    <a:pt x="61" y="341"/>
                  </a:lnTo>
                  <a:lnTo>
                    <a:pt x="63" y="338"/>
                  </a:lnTo>
                  <a:lnTo>
                    <a:pt x="65" y="328"/>
                  </a:lnTo>
                  <a:lnTo>
                    <a:pt x="63" y="322"/>
                  </a:lnTo>
                  <a:lnTo>
                    <a:pt x="61" y="322"/>
                  </a:lnTo>
                  <a:lnTo>
                    <a:pt x="61" y="318"/>
                  </a:lnTo>
                  <a:lnTo>
                    <a:pt x="69" y="317"/>
                  </a:lnTo>
                  <a:lnTo>
                    <a:pt x="69" y="315"/>
                  </a:lnTo>
                  <a:lnTo>
                    <a:pt x="67" y="313"/>
                  </a:lnTo>
                  <a:lnTo>
                    <a:pt x="71" y="309"/>
                  </a:lnTo>
                  <a:lnTo>
                    <a:pt x="71" y="303"/>
                  </a:lnTo>
                  <a:lnTo>
                    <a:pt x="71" y="299"/>
                  </a:lnTo>
                  <a:lnTo>
                    <a:pt x="65" y="297"/>
                  </a:lnTo>
                  <a:lnTo>
                    <a:pt x="65" y="295"/>
                  </a:lnTo>
                  <a:lnTo>
                    <a:pt x="63" y="292"/>
                  </a:lnTo>
                  <a:lnTo>
                    <a:pt x="53" y="290"/>
                  </a:lnTo>
                  <a:lnTo>
                    <a:pt x="48" y="288"/>
                  </a:lnTo>
                  <a:lnTo>
                    <a:pt x="44" y="286"/>
                  </a:lnTo>
                  <a:lnTo>
                    <a:pt x="46" y="284"/>
                  </a:lnTo>
                  <a:lnTo>
                    <a:pt x="46" y="282"/>
                  </a:lnTo>
                  <a:lnTo>
                    <a:pt x="51" y="274"/>
                  </a:lnTo>
                  <a:lnTo>
                    <a:pt x="55" y="276"/>
                  </a:lnTo>
                  <a:lnTo>
                    <a:pt x="61" y="272"/>
                  </a:lnTo>
                  <a:lnTo>
                    <a:pt x="57" y="272"/>
                  </a:lnTo>
                  <a:lnTo>
                    <a:pt x="55" y="272"/>
                  </a:lnTo>
                  <a:lnTo>
                    <a:pt x="55" y="268"/>
                  </a:lnTo>
                  <a:lnTo>
                    <a:pt x="53" y="267"/>
                  </a:lnTo>
                  <a:lnTo>
                    <a:pt x="55" y="263"/>
                  </a:lnTo>
                  <a:lnTo>
                    <a:pt x="53" y="265"/>
                  </a:lnTo>
                  <a:lnTo>
                    <a:pt x="48" y="261"/>
                  </a:lnTo>
                  <a:lnTo>
                    <a:pt x="50" y="259"/>
                  </a:lnTo>
                  <a:lnTo>
                    <a:pt x="53" y="257"/>
                  </a:lnTo>
                  <a:lnTo>
                    <a:pt x="53" y="255"/>
                  </a:lnTo>
                  <a:lnTo>
                    <a:pt x="50" y="253"/>
                  </a:lnTo>
                  <a:lnTo>
                    <a:pt x="42" y="257"/>
                  </a:lnTo>
                  <a:lnTo>
                    <a:pt x="40" y="255"/>
                  </a:lnTo>
                  <a:lnTo>
                    <a:pt x="32" y="257"/>
                  </a:lnTo>
                  <a:lnTo>
                    <a:pt x="28" y="255"/>
                  </a:lnTo>
                  <a:lnTo>
                    <a:pt x="25" y="255"/>
                  </a:lnTo>
                  <a:lnTo>
                    <a:pt x="23" y="259"/>
                  </a:lnTo>
                  <a:lnTo>
                    <a:pt x="23" y="253"/>
                  </a:lnTo>
                  <a:lnTo>
                    <a:pt x="30" y="249"/>
                  </a:lnTo>
                  <a:lnTo>
                    <a:pt x="34" y="240"/>
                  </a:lnTo>
                  <a:lnTo>
                    <a:pt x="28" y="240"/>
                  </a:lnTo>
                  <a:lnTo>
                    <a:pt x="30" y="238"/>
                  </a:lnTo>
                  <a:lnTo>
                    <a:pt x="23" y="236"/>
                  </a:lnTo>
                  <a:lnTo>
                    <a:pt x="19" y="232"/>
                  </a:lnTo>
                  <a:lnTo>
                    <a:pt x="19" y="230"/>
                  </a:lnTo>
                  <a:lnTo>
                    <a:pt x="15" y="228"/>
                  </a:lnTo>
                  <a:lnTo>
                    <a:pt x="11" y="228"/>
                  </a:lnTo>
                  <a:lnTo>
                    <a:pt x="9" y="228"/>
                  </a:lnTo>
                  <a:lnTo>
                    <a:pt x="5" y="228"/>
                  </a:lnTo>
                  <a:lnTo>
                    <a:pt x="5" y="226"/>
                  </a:lnTo>
                  <a:lnTo>
                    <a:pt x="2" y="228"/>
                  </a:lnTo>
                  <a:lnTo>
                    <a:pt x="2" y="224"/>
                  </a:lnTo>
                  <a:lnTo>
                    <a:pt x="0" y="220"/>
                  </a:lnTo>
                  <a:lnTo>
                    <a:pt x="2" y="220"/>
                  </a:lnTo>
                  <a:lnTo>
                    <a:pt x="0" y="217"/>
                  </a:lnTo>
                  <a:lnTo>
                    <a:pt x="4" y="213"/>
                  </a:lnTo>
                  <a:lnTo>
                    <a:pt x="9" y="217"/>
                  </a:lnTo>
                  <a:lnTo>
                    <a:pt x="11" y="213"/>
                  </a:lnTo>
                  <a:lnTo>
                    <a:pt x="11" y="215"/>
                  </a:lnTo>
                  <a:lnTo>
                    <a:pt x="15" y="213"/>
                  </a:lnTo>
                  <a:lnTo>
                    <a:pt x="17" y="211"/>
                  </a:lnTo>
                  <a:lnTo>
                    <a:pt x="23" y="209"/>
                  </a:lnTo>
                  <a:lnTo>
                    <a:pt x="21" y="207"/>
                  </a:lnTo>
                  <a:lnTo>
                    <a:pt x="25" y="205"/>
                  </a:lnTo>
                  <a:lnTo>
                    <a:pt x="30" y="201"/>
                  </a:lnTo>
                  <a:lnTo>
                    <a:pt x="34" y="205"/>
                  </a:lnTo>
                  <a:lnTo>
                    <a:pt x="36" y="211"/>
                  </a:lnTo>
                  <a:lnTo>
                    <a:pt x="42" y="213"/>
                  </a:lnTo>
                  <a:lnTo>
                    <a:pt x="44" y="211"/>
                  </a:lnTo>
                  <a:lnTo>
                    <a:pt x="48" y="211"/>
                  </a:lnTo>
                  <a:lnTo>
                    <a:pt x="55" y="211"/>
                  </a:lnTo>
                  <a:lnTo>
                    <a:pt x="57" y="211"/>
                  </a:lnTo>
                  <a:lnTo>
                    <a:pt x="63" y="213"/>
                  </a:lnTo>
                  <a:lnTo>
                    <a:pt x="67" y="215"/>
                  </a:lnTo>
                  <a:lnTo>
                    <a:pt x="67" y="211"/>
                  </a:lnTo>
                  <a:lnTo>
                    <a:pt x="65" y="207"/>
                  </a:lnTo>
                  <a:lnTo>
                    <a:pt x="69" y="201"/>
                  </a:lnTo>
                  <a:lnTo>
                    <a:pt x="71" y="197"/>
                  </a:lnTo>
                  <a:lnTo>
                    <a:pt x="73" y="192"/>
                  </a:lnTo>
                  <a:lnTo>
                    <a:pt x="80" y="194"/>
                  </a:lnTo>
                  <a:lnTo>
                    <a:pt x="82" y="190"/>
                  </a:lnTo>
                  <a:lnTo>
                    <a:pt x="84" y="190"/>
                  </a:lnTo>
                  <a:lnTo>
                    <a:pt x="88" y="192"/>
                  </a:lnTo>
                  <a:lnTo>
                    <a:pt x="86" y="194"/>
                  </a:lnTo>
                  <a:lnTo>
                    <a:pt x="90" y="194"/>
                  </a:lnTo>
                  <a:lnTo>
                    <a:pt x="90" y="195"/>
                  </a:lnTo>
                  <a:lnTo>
                    <a:pt x="96" y="199"/>
                  </a:lnTo>
                  <a:lnTo>
                    <a:pt x="96" y="194"/>
                  </a:lnTo>
                  <a:lnTo>
                    <a:pt x="105" y="192"/>
                  </a:lnTo>
                  <a:lnTo>
                    <a:pt x="109" y="192"/>
                  </a:lnTo>
                  <a:lnTo>
                    <a:pt x="111" y="190"/>
                  </a:lnTo>
                  <a:lnTo>
                    <a:pt x="117" y="192"/>
                  </a:lnTo>
                  <a:lnTo>
                    <a:pt x="119" y="194"/>
                  </a:lnTo>
                  <a:lnTo>
                    <a:pt x="124" y="192"/>
                  </a:lnTo>
                  <a:lnTo>
                    <a:pt x="130" y="195"/>
                  </a:lnTo>
                  <a:lnTo>
                    <a:pt x="134" y="186"/>
                  </a:lnTo>
                  <a:lnTo>
                    <a:pt x="134" y="180"/>
                  </a:lnTo>
                  <a:lnTo>
                    <a:pt x="136" y="182"/>
                  </a:lnTo>
                  <a:lnTo>
                    <a:pt x="136" y="176"/>
                  </a:lnTo>
                  <a:lnTo>
                    <a:pt x="142" y="176"/>
                  </a:lnTo>
                  <a:lnTo>
                    <a:pt x="144" y="176"/>
                  </a:lnTo>
                  <a:lnTo>
                    <a:pt x="149" y="176"/>
                  </a:lnTo>
                  <a:lnTo>
                    <a:pt x="157" y="174"/>
                  </a:lnTo>
                  <a:lnTo>
                    <a:pt x="159" y="169"/>
                  </a:lnTo>
                  <a:lnTo>
                    <a:pt x="165" y="161"/>
                  </a:lnTo>
                  <a:lnTo>
                    <a:pt x="167" y="157"/>
                  </a:lnTo>
                  <a:lnTo>
                    <a:pt x="163" y="149"/>
                  </a:lnTo>
                  <a:lnTo>
                    <a:pt x="155" y="147"/>
                  </a:lnTo>
                  <a:lnTo>
                    <a:pt x="151" y="147"/>
                  </a:lnTo>
                  <a:lnTo>
                    <a:pt x="149" y="147"/>
                  </a:lnTo>
                  <a:lnTo>
                    <a:pt x="140" y="149"/>
                  </a:lnTo>
                  <a:lnTo>
                    <a:pt x="134" y="147"/>
                  </a:lnTo>
                  <a:lnTo>
                    <a:pt x="136" y="140"/>
                  </a:lnTo>
                  <a:lnTo>
                    <a:pt x="142" y="140"/>
                  </a:lnTo>
                  <a:lnTo>
                    <a:pt x="146" y="136"/>
                  </a:lnTo>
                  <a:lnTo>
                    <a:pt x="147" y="130"/>
                  </a:lnTo>
                  <a:lnTo>
                    <a:pt x="151" y="130"/>
                  </a:lnTo>
                  <a:lnTo>
                    <a:pt x="153" y="124"/>
                  </a:lnTo>
                  <a:lnTo>
                    <a:pt x="153" y="117"/>
                  </a:lnTo>
                  <a:lnTo>
                    <a:pt x="147" y="119"/>
                  </a:lnTo>
                  <a:lnTo>
                    <a:pt x="151" y="115"/>
                  </a:lnTo>
                  <a:lnTo>
                    <a:pt x="147" y="113"/>
                  </a:lnTo>
                  <a:lnTo>
                    <a:pt x="147" y="109"/>
                  </a:lnTo>
                  <a:lnTo>
                    <a:pt x="149" y="103"/>
                  </a:lnTo>
                  <a:lnTo>
                    <a:pt x="149" y="101"/>
                  </a:lnTo>
                  <a:lnTo>
                    <a:pt x="149" y="98"/>
                  </a:lnTo>
                  <a:lnTo>
                    <a:pt x="157" y="96"/>
                  </a:lnTo>
                  <a:lnTo>
                    <a:pt x="159" y="98"/>
                  </a:lnTo>
                  <a:lnTo>
                    <a:pt x="161" y="98"/>
                  </a:lnTo>
                  <a:lnTo>
                    <a:pt x="161" y="96"/>
                  </a:lnTo>
                  <a:lnTo>
                    <a:pt x="165" y="96"/>
                  </a:lnTo>
                  <a:lnTo>
                    <a:pt x="165" y="94"/>
                  </a:lnTo>
                  <a:lnTo>
                    <a:pt x="167" y="94"/>
                  </a:lnTo>
                  <a:lnTo>
                    <a:pt x="169" y="92"/>
                  </a:lnTo>
                  <a:lnTo>
                    <a:pt x="167" y="90"/>
                  </a:lnTo>
                  <a:lnTo>
                    <a:pt x="170" y="88"/>
                  </a:lnTo>
                  <a:lnTo>
                    <a:pt x="169" y="86"/>
                  </a:lnTo>
                  <a:lnTo>
                    <a:pt x="172" y="84"/>
                  </a:lnTo>
                  <a:lnTo>
                    <a:pt x="170" y="78"/>
                  </a:lnTo>
                  <a:lnTo>
                    <a:pt x="174" y="76"/>
                  </a:lnTo>
                  <a:lnTo>
                    <a:pt x="180" y="74"/>
                  </a:lnTo>
                  <a:lnTo>
                    <a:pt x="186" y="73"/>
                  </a:lnTo>
                  <a:lnTo>
                    <a:pt x="186" y="76"/>
                  </a:lnTo>
                  <a:lnTo>
                    <a:pt x="184" y="80"/>
                  </a:lnTo>
                  <a:lnTo>
                    <a:pt x="186" y="80"/>
                  </a:lnTo>
                  <a:lnTo>
                    <a:pt x="188" y="76"/>
                  </a:lnTo>
                  <a:lnTo>
                    <a:pt x="194" y="82"/>
                  </a:lnTo>
                  <a:lnTo>
                    <a:pt x="195" y="76"/>
                  </a:lnTo>
                  <a:lnTo>
                    <a:pt x="199" y="76"/>
                  </a:lnTo>
                  <a:lnTo>
                    <a:pt x="203" y="80"/>
                  </a:lnTo>
                  <a:lnTo>
                    <a:pt x="203" y="82"/>
                  </a:lnTo>
                  <a:lnTo>
                    <a:pt x="207" y="84"/>
                  </a:lnTo>
                  <a:lnTo>
                    <a:pt x="209" y="84"/>
                  </a:lnTo>
                  <a:lnTo>
                    <a:pt x="218" y="88"/>
                  </a:lnTo>
                  <a:lnTo>
                    <a:pt x="218" y="90"/>
                  </a:lnTo>
                  <a:lnTo>
                    <a:pt x="215" y="94"/>
                  </a:lnTo>
                  <a:lnTo>
                    <a:pt x="215" y="96"/>
                  </a:lnTo>
                  <a:lnTo>
                    <a:pt x="222" y="94"/>
                  </a:lnTo>
                  <a:lnTo>
                    <a:pt x="226" y="98"/>
                  </a:lnTo>
                  <a:lnTo>
                    <a:pt x="232" y="101"/>
                  </a:lnTo>
                  <a:lnTo>
                    <a:pt x="240" y="101"/>
                  </a:lnTo>
                  <a:lnTo>
                    <a:pt x="243" y="101"/>
                  </a:lnTo>
                  <a:lnTo>
                    <a:pt x="243" y="98"/>
                  </a:lnTo>
                  <a:lnTo>
                    <a:pt x="245" y="98"/>
                  </a:lnTo>
                  <a:lnTo>
                    <a:pt x="247" y="96"/>
                  </a:lnTo>
                  <a:lnTo>
                    <a:pt x="245" y="90"/>
                  </a:lnTo>
                  <a:lnTo>
                    <a:pt x="249" y="92"/>
                  </a:lnTo>
                  <a:lnTo>
                    <a:pt x="251" y="96"/>
                  </a:lnTo>
                  <a:lnTo>
                    <a:pt x="253" y="94"/>
                  </a:lnTo>
                  <a:lnTo>
                    <a:pt x="253" y="88"/>
                  </a:lnTo>
                  <a:lnTo>
                    <a:pt x="257" y="84"/>
                  </a:lnTo>
                  <a:lnTo>
                    <a:pt x="259" y="78"/>
                  </a:lnTo>
                  <a:lnTo>
                    <a:pt x="263" y="69"/>
                  </a:lnTo>
                  <a:lnTo>
                    <a:pt x="265" y="69"/>
                  </a:lnTo>
                  <a:lnTo>
                    <a:pt x="261" y="63"/>
                  </a:lnTo>
                  <a:lnTo>
                    <a:pt x="265" y="57"/>
                  </a:lnTo>
                  <a:lnTo>
                    <a:pt x="270" y="59"/>
                  </a:lnTo>
                  <a:lnTo>
                    <a:pt x="270" y="53"/>
                  </a:lnTo>
                  <a:lnTo>
                    <a:pt x="274" y="55"/>
                  </a:lnTo>
                  <a:lnTo>
                    <a:pt x="282" y="51"/>
                  </a:lnTo>
                  <a:lnTo>
                    <a:pt x="288" y="51"/>
                  </a:lnTo>
                  <a:lnTo>
                    <a:pt x="289" y="50"/>
                  </a:lnTo>
                  <a:lnTo>
                    <a:pt x="289" y="51"/>
                  </a:lnTo>
                  <a:lnTo>
                    <a:pt x="289" y="57"/>
                  </a:lnTo>
                  <a:lnTo>
                    <a:pt x="295" y="57"/>
                  </a:lnTo>
                  <a:lnTo>
                    <a:pt x="291" y="55"/>
                  </a:lnTo>
                  <a:lnTo>
                    <a:pt x="291" y="53"/>
                  </a:lnTo>
                  <a:lnTo>
                    <a:pt x="293" y="53"/>
                  </a:lnTo>
                  <a:lnTo>
                    <a:pt x="301" y="51"/>
                  </a:lnTo>
                  <a:lnTo>
                    <a:pt x="309" y="55"/>
                  </a:lnTo>
                  <a:lnTo>
                    <a:pt x="311" y="59"/>
                  </a:lnTo>
                  <a:lnTo>
                    <a:pt x="316" y="57"/>
                  </a:lnTo>
                  <a:lnTo>
                    <a:pt x="320" y="59"/>
                  </a:lnTo>
                  <a:lnTo>
                    <a:pt x="322" y="57"/>
                  </a:lnTo>
                  <a:lnTo>
                    <a:pt x="322" y="51"/>
                  </a:lnTo>
                  <a:lnTo>
                    <a:pt x="326" y="50"/>
                  </a:lnTo>
                  <a:lnTo>
                    <a:pt x="326" y="46"/>
                  </a:lnTo>
                  <a:lnTo>
                    <a:pt x="328" y="46"/>
                  </a:lnTo>
                  <a:lnTo>
                    <a:pt x="330" y="44"/>
                  </a:lnTo>
                  <a:lnTo>
                    <a:pt x="332" y="44"/>
                  </a:lnTo>
                  <a:lnTo>
                    <a:pt x="332" y="48"/>
                  </a:lnTo>
                  <a:lnTo>
                    <a:pt x="336" y="48"/>
                  </a:lnTo>
                  <a:lnTo>
                    <a:pt x="336" y="50"/>
                  </a:lnTo>
                  <a:lnTo>
                    <a:pt x="337" y="48"/>
                  </a:lnTo>
                  <a:lnTo>
                    <a:pt x="341" y="46"/>
                  </a:lnTo>
                  <a:lnTo>
                    <a:pt x="339" y="42"/>
                  </a:lnTo>
                  <a:lnTo>
                    <a:pt x="341" y="42"/>
                  </a:lnTo>
                  <a:lnTo>
                    <a:pt x="343" y="40"/>
                  </a:lnTo>
                  <a:lnTo>
                    <a:pt x="349" y="40"/>
                  </a:lnTo>
                  <a:lnTo>
                    <a:pt x="349" y="38"/>
                  </a:lnTo>
                  <a:lnTo>
                    <a:pt x="351" y="34"/>
                  </a:lnTo>
                  <a:lnTo>
                    <a:pt x="347" y="36"/>
                  </a:lnTo>
                  <a:lnTo>
                    <a:pt x="349" y="28"/>
                  </a:lnTo>
                  <a:lnTo>
                    <a:pt x="343" y="26"/>
                  </a:lnTo>
                  <a:lnTo>
                    <a:pt x="351" y="25"/>
                  </a:lnTo>
                  <a:lnTo>
                    <a:pt x="361" y="25"/>
                  </a:lnTo>
                  <a:lnTo>
                    <a:pt x="362" y="30"/>
                  </a:lnTo>
                  <a:lnTo>
                    <a:pt x="364" y="32"/>
                  </a:lnTo>
                  <a:lnTo>
                    <a:pt x="368" y="30"/>
                  </a:lnTo>
                  <a:lnTo>
                    <a:pt x="370" y="32"/>
                  </a:lnTo>
                  <a:lnTo>
                    <a:pt x="376" y="30"/>
                  </a:lnTo>
                  <a:lnTo>
                    <a:pt x="378" y="32"/>
                  </a:lnTo>
                  <a:lnTo>
                    <a:pt x="376" y="34"/>
                  </a:lnTo>
                  <a:lnTo>
                    <a:pt x="378" y="34"/>
                  </a:lnTo>
                  <a:lnTo>
                    <a:pt x="378" y="36"/>
                  </a:lnTo>
                  <a:lnTo>
                    <a:pt x="380" y="38"/>
                  </a:lnTo>
                  <a:lnTo>
                    <a:pt x="382" y="36"/>
                  </a:lnTo>
                  <a:lnTo>
                    <a:pt x="384" y="38"/>
                  </a:lnTo>
                  <a:lnTo>
                    <a:pt x="387" y="34"/>
                  </a:lnTo>
                  <a:lnTo>
                    <a:pt x="382" y="30"/>
                  </a:lnTo>
                  <a:lnTo>
                    <a:pt x="384" y="28"/>
                  </a:lnTo>
                  <a:lnTo>
                    <a:pt x="384" y="26"/>
                  </a:lnTo>
                  <a:lnTo>
                    <a:pt x="387" y="28"/>
                  </a:lnTo>
                  <a:lnTo>
                    <a:pt x="389" y="26"/>
                  </a:lnTo>
                  <a:lnTo>
                    <a:pt x="395" y="26"/>
                  </a:lnTo>
                  <a:lnTo>
                    <a:pt x="401" y="23"/>
                  </a:lnTo>
                  <a:lnTo>
                    <a:pt x="403" y="23"/>
                  </a:lnTo>
                  <a:lnTo>
                    <a:pt x="407" y="19"/>
                  </a:lnTo>
                  <a:lnTo>
                    <a:pt x="405" y="19"/>
                  </a:lnTo>
                  <a:lnTo>
                    <a:pt x="405" y="15"/>
                  </a:lnTo>
                  <a:lnTo>
                    <a:pt x="408" y="15"/>
                  </a:lnTo>
                  <a:lnTo>
                    <a:pt x="407" y="11"/>
                  </a:lnTo>
                  <a:lnTo>
                    <a:pt x="410" y="9"/>
                  </a:lnTo>
                  <a:lnTo>
                    <a:pt x="412" y="7"/>
                  </a:lnTo>
                  <a:lnTo>
                    <a:pt x="416" y="7"/>
                  </a:lnTo>
                  <a:lnTo>
                    <a:pt x="416" y="5"/>
                  </a:lnTo>
                  <a:lnTo>
                    <a:pt x="410" y="3"/>
                  </a:lnTo>
                  <a:lnTo>
                    <a:pt x="410" y="1"/>
                  </a:lnTo>
                  <a:lnTo>
                    <a:pt x="416" y="3"/>
                  </a:lnTo>
                  <a:lnTo>
                    <a:pt x="420" y="1"/>
                  </a:lnTo>
                  <a:lnTo>
                    <a:pt x="418" y="7"/>
                  </a:lnTo>
                  <a:lnTo>
                    <a:pt x="422" y="7"/>
                  </a:lnTo>
                  <a:lnTo>
                    <a:pt x="422" y="5"/>
                  </a:lnTo>
                  <a:lnTo>
                    <a:pt x="424" y="5"/>
                  </a:lnTo>
                  <a:lnTo>
                    <a:pt x="430" y="7"/>
                  </a:lnTo>
                  <a:lnTo>
                    <a:pt x="435" y="9"/>
                  </a:lnTo>
                  <a:lnTo>
                    <a:pt x="439" y="1"/>
                  </a:lnTo>
                  <a:lnTo>
                    <a:pt x="439" y="0"/>
                  </a:lnTo>
                  <a:lnTo>
                    <a:pt x="441" y="3"/>
                  </a:lnTo>
                  <a:lnTo>
                    <a:pt x="443" y="9"/>
                  </a:lnTo>
                  <a:lnTo>
                    <a:pt x="443" y="11"/>
                  </a:lnTo>
                  <a:lnTo>
                    <a:pt x="443" y="15"/>
                  </a:lnTo>
                  <a:lnTo>
                    <a:pt x="445" y="15"/>
                  </a:lnTo>
                  <a:lnTo>
                    <a:pt x="445" y="11"/>
                  </a:lnTo>
                  <a:lnTo>
                    <a:pt x="443" y="11"/>
                  </a:lnTo>
                  <a:lnTo>
                    <a:pt x="445" y="11"/>
                  </a:lnTo>
                  <a:lnTo>
                    <a:pt x="447" y="19"/>
                  </a:lnTo>
                  <a:lnTo>
                    <a:pt x="447" y="25"/>
                  </a:lnTo>
                  <a:lnTo>
                    <a:pt x="447" y="26"/>
                  </a:lnTo>
                  <a:lnTo>
                    <a:pt x="449" y="26"/>
                  </a:lnTo>
                  <a:lnTo>
                    <a:pt x="447" y="26"/>
                  </a:lnTo>
                  <a:lnTo>
                    <a:pt x="449" y="34"/>
                  </a:lnTo>
                  <a:lnTo>
                    <a:pt x="447" y="30"/>
                  </a:lnTo>
                  <a:lnTo>
                    <a:pt x="445" y="36"/>
                  </a:lnTo>
                  <a:lnTo>
                    <a:pt x="443" y="34"/>
                  </a:lnTo>
                  <a:lnTo>
                    <a:pt x="443" y="38"/>
                  </a:lnTo>
                  <a:lnTo>
                    <a:pt x="445" y="36"/>
                  </a:lnTo>
                  <a:lnTo>
                    <a:pt x="443" y="42"/>
                  </a:lnTo>
                  <a:lnTo>
                    <a:pt x="441" y="46"/>
                  </a:lnTo>
                  <a:lnTo>
                    <a:pt x="443" y="48"/>
                  </a:lnTo>
                  <a:lnTo>
                    <a:pt x="441" y="48"/>
                  </a:lnTo>
                  <a:lnTo>
                    <a:pt x="441" y="51"/>
                  </a:lnTo>
                  <a:lnTo>
                    <a:pt x="443" y="50"/>
                  </a:lnTo>
                  <a:lnTo>
                    <a:pt x="441" y="55"/>
                  </a:lnTo>
                  <a:lnTo>
                    <a:pt x="437" y="65"/>
                  </a:lnTo>
                  <a:lnTo>
                    <a:pt x="437" y="69"/>
                  </a:lnTo>
                  <a:lnTo>
                    <a:pt x="435" y="76"/>
                  </a:lnTo>
                  <a:lnTo>
                    <a:pt x="435" y="82"/>
                  </a:lnTo>
                  <a:lnTo>
                    <a:pt x="433" y="78"/>
                  </a:lnTo>
                  <a:lnTo>
                    <a:pt x="433" y="84"/>
                  </a:lnTo>
                  <a:lnTo>
                    <a:pt x="435" y="82"/>
                  </a:lnTo>
                  <a:lnTo>
                    <a:pt x="435" y="84"/>
                  </a:lnTo>
                  <a:lnTo>
                    <a:pt x="435" y="82"/>
                  </a:lnTo>
                  <a:lnTo>
                    <a:pt x="437" y="84"/>
                  </a:lnTo>
                  <a:lnTo>
                    <a:pt x="433" y="94"/>
                  </a:lnTo>
                  <a:lnTo>
                    <a:pt x="430" y="101"/>
                  </a:lnTo>
                  <a:lnTo>
                    <a:pt x="430" y="103"/>
                  </a:lnTo>
                  <a:lnTo>
                    <a:pt x="430" y="105"/>
                  </a:lnTo>
                  <a:lnTo>
                    <a:pt x="426" y="113"/>
                  </a:lnTo>
                  <a:lnTo>
                    <a:pt x="426" y="119"/>
                  </a:lnTo>
                  <a:lnTo>
                    <a:pt x="420" y="126"/>
                  </a:lnTo>
                  <a:lnTo>
                    <a:pt x="416" y="130"/>
                  </a:lnTo>
                  <a:lnTo>
                    <a:pt x="412" y="136"/>
                  </a:lnTo>
                  <a:lnTo>
                    <a:pt x="410" y="140"/>
                  </a:lnTo>
                  <a:lnTo>
                    <a:pt x="405" y="144"/>
                  </a:lnTo>
                  <a:lnTo>
                    <a:pt x="405" y="146"/>
                  </a:lnTo>
                  <a:lnTo>
                    <a:pt x="408" y="142"/>
                  </a:lnTo>
                  <a:lnTo>
                    <a:pt x="405" y="147"/>
                  </a:lnTo>
                  <a:lnTo>
                    <a:pt x="401" y="153"/>
                  </a:lnTo>
                  <a:lnTo>
                    <a:pt x="397" y="159"/>
                  </a:lnTo>
                  <a:lnTo>
                    <a:pt x="395" y="163"/>
                  </a:lnTo>
                  <a:close/>
                  <a:moveTo>
                    <a:pt x="374" y="167"/>
                  </a:moveTo>
                  <a:lnTo>
                    <a:pt x="370" y="169"/>
                  </a:lnTo>
                  <a:lnTo>
                    <a:pt x="370" y="171"/>
                  </a:lnTo>
                  <a:lnTo>
                    <a:pt x="372" y="172"/>
                  </a:lnTo>
                  <a:lnTo>
                    <a:pt x="378" y="171"/>
                  </a:lnTo>
                  <a:lnTo>
                    <a:pt x="374" y="167"/>
                  </a:lnTo>
                  <a:close/>
                  <a:moveTo>
                    <a:pt x="368" y="171"/>
                  </a:moveTo>
                  <a:lnTo>
                    <a:pt x="370" y="167"/>
                  </a:lnTo>
                  <a:lnTo>
                    <a:pt x="366" y="167"/>
                  </a:lnTo>
                  <a:lnTo>
                    <a:pt x="366" y="171"/>
                  </a:lnTo>
                  <a:lnTo>
                    <a:pt x="368" y="180"/>
                  </a:lnTo>
                  <a:lnTo>
                    <a:pt x="372" y="178"/>
                  </a:lnTo>
                  <a:lnTo>
                    <a:pt x="370" y="174"/>
                  </a:lnTo>
                  <a:lnTo>
                    <a:pt x="368" y="176"/>
                  </a:lnTo>
                  <a:lnTo>
                    <a:pt x="368" y="171"/>
                  </a:lnTo>
                  <a:close/>
                  <a:moveTo>
                    <a:pt x="370" y="172"/>
                  </a:moveTo>
                  <a:lnTo>
                    <a:pt x="372" y="172"/>
                  </a:lnTo>
                  <a:lnTo>
                    <a:pt x="372" y="176"/>
                  </a:lnTo>
                  <a:lnTo>
                    <a:pt x="370" y="176"/>
                  </a:lnTo>
                  <a:lnTo>
                    <a:pt x="370" y="172"/>
                  </a:lnTo>
                  <a:close/>
                  <a:moveTo>
                    <a:pt x="366" y="182"/>
                  </a:moveTo>
                  <a:lnTo>
                    <a:pt x="364" y="182"/>
                  </a:lnTo>
                  <a:lnTo>
                    <a:pt x="364" y="186"/>
                  </a:lnTo>
                  <a:lnTo>
                    <a:pt x="366" y="184"/>
                  </a:lnTo>
                  <a:lnTo>
                    <a:pt x="366" y="186"/>
                  </a:lnTo>
                  <a:lnTo>
                    <a:pt x="370" y="186"/>
                  </a:lnTo>
                  <a:lnTo>
                    <a:pt x="370" y="184"/>
                  </a:lnTo>
                  <a:lnTo>
                    <a:pt x="366" y="182"/>
                  </a:lnTo>
                  <a:close/>
                  <a:moveTo>
                    <a:pt x="368" y="186"/>
                  </a:moveTo>
                  <a:lnTo>
                    <a:pt x="372" y="186"/>
                  </a:lnTo>
                  <a:lnTo>
                    <a:pt x="372" y="190"/>
                  </a:lnTo>
                  <a:lnTo>
                    <a:pt x="368" y="190"/>
                  </a:lnTo>
                  <a:lnTo>
                    <a:pt x="368" y="186"/>
                  </a:lnTo>
                  <a:close/>
                  <a:moveTo>
                    <a:pt x="372" y="190"/>
                  </a:moveTo>
                  <a:lnTo>
                    <a:pt x="374" y="190"/>
                  </a:lnTo>
                  <a:lnTo>
                    <a:pt x="374" y="192"/>
                  </a:lnTo>
                  <a:lnTo>
                    <a:pt x="372" y="192"/>
                  </a:lnTo>
                  <a:lnTo>
                    <a:pt x="372" y="190"/>
                  </a:lnTo>
                  <a:close/>
                </a:path>
              </a:pathLst>
            </a:custGeom>
            <a:solidFill>
              <a:schemeClr val="accent3"/>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 name="Freeform 8">
              <a:extLst>
                <a:ext uri="{FF2B5EF4-FFF2-40B4-BE49-F238E27FC236}">
                  <a16:creationId xmlns:a16="http://schemas.microsoft.com/office/drawing/2014/main" id="{49C714B6-2B75-4D33-8558-55BA93D87853}"/>
                </a:ext>
              </a:extLst>
            </p:cNvPr>
            <p:cNvSpPr>
              <a:spLocks noEditPoints="1"/>
            </p:cNvSpPr>
            <p:nvPr/>
          </p:nvSpPr>
          <p:spPr bwMode="gray">
            <a:xfrm>
              <a:off x="4556126" y="5391153"/>
              <a:ext cx="428625" cy="774700"/>
            </a:xfrm>
            <a:custGeom>
              <a:avLst/>
              <a:gdLst>
                <a:gd name="T0" fmla="*/ 146 w 270"/>
                <a:gd name="T1" fmla="*/ 304 h 488"/>
                <a:gd name="T2" fmla="*/ 46 w 270"/>
                <a:gd name="T3" fmla="*/ 87 h 488"/>
                <a:gd name="T4" fmla="*/ 157 w 270"/>
                <a:gd name="T5" fmla="*/ 131 h 488"/>
                <a:gd name="T6" fmla="*/ 148 w 270"/>
                <a:gd name="T7" fmla="*/ 144 h 488"/>
                <a:gd name="T8" fmla="*/ 169 w 270"/>
                <a:gd name="T9" fmla="*/ 152 h 488"/>
                <a:gd name="T10" fmla="*/ 174 w 270"/>
                <a:gd name="T11" fmla="*/ 171 h 488"/>
                <a:gd name="T12" fmla="*/ 194 w 270"/>
                <a:gd name="T13" fmla="*/ 177 h 488"/>
                <a:gd name="T14" fmla="*/ 201 w 270"/>
                <a:gd name="T15" fmla="*/ 192 h 488"/>
                <a:gd name="T16" fmla="*/ 211 w 270"/>
                <a:gd name="T17" fmla="*/ 211 h 488"/>
                <a:gd name="T18" fmla="*/ 207 w 270"/>
                <a:gd name="T19" fmla="*/ 234 h 488"/>
                <a:gd name="T20" fmla="*/ 211 w 270"/>
                <a:gd name="T21" fmla="*/ 261 h 488"/>
                <a:gd name="T22" fmla="*/ 217 w 270"/>
                <a:gd name="T23" fmla="*/ 277 h 488"/>
                <a:gd name="T24" fmla="*/ 251 w 270"/>
                <a:gd name="T25" fmla="*/ 269 h 488"/>
                <a:gd name="T26" fmla="*/ 247 w 270"/>
                <a:gd name="T27" fmla="*/ 292 h 488"/>
                <a:gd name="T28" fmla="*/ 249 w 270"/>
                <a:gd name="T29" fmla="*/ 319 h 488"/>
                <a:gd name="T30" fmla="*/ 244 w 270"/>
                <a:gd name="T31" fmla="*/ 346 h 488"/>
                <a:gd name="T32" fmla="*/ 267 w 270"/>
                <a:gd name="T33" fmla="*/ 355 h 488"/>
                <a:gd name="T34" fmla="*/ 257 w 270"/>
                <a:gd name="T35" fmla="*/ 375 h 488"/>
                <a:gd name="T36" fmla="*/ 247 w 270"/>
                <a:gd name="T37" fmla="*/ 403 h 488"/>
                <a:gd name="T38" fmla="*/ 245 w 270"/>
                <a:gd name="T39" fmla="*/ 436 h 488"/>
                <a:gd name="T40" fmla="*/ 247 w 270"/>
                <a:gd name="T41" fmla="*/ 465 h 488"/>
                <a:gd name="T42" fmla="*/ 244 w 270"/>
                <a:gd name="T43" fmla="*/ 486 h 488"/>
                <a:gd name="T44" fmla="*/ 217 w 270"/>
                <a:gd name="T45" fmla="*/ 471 h 488"/>
                <a:gd name="T46" fmla="*/ 192 w 270"/>
                <a:gd name="T47" fmla="*/ 440 h 488"/>
                <a:gd name="T48" fmla="*/ 178 w 270"/>
                <a:gd name="T49" fmla="*/ 421 h 488"/>
                <a:gd name="T50" fmla="*/ 184 w 270"/>
                <a:gd name="T51" fmla="*/ 415 h 488"/>
                <a:gd name="T52" fmla="*/ 188 w 270"/>
                <a:gd name="T53" fmla="*/ 415 h 488"/>
                <a:gd name="T54" fmla="*/ 182 w 270"/>
                <a:gd name="T55" fmla="*/ 413 h 488"/>
                <a:gd name="T56" fmla="*/ 173 w 270"/>
                <a:gd name="T57" fmla="*/ 409 h 488"/>
                <a:gd name="T58" fmla="*/ 169 w 270"/>
                <a:gd name="T59" fmla="*/ 394 h 488"/>
                <a:gd name="T60" fmla="*/ 157 w 270"/>
                <a:gd name="T61" fmla="*/ 377 h 488"/>
                <a:gd name="T62" fmla="*/ 150 w 270"/>
                <a:gd name="T63" fmla="*/ 338 h 488"/>
                <a:gd name="T64" fmla="*/ 151 w 270"/>
                <a:gd name="T65" fmla="*/ 311 h 488"/>
                <a:gd name="T66" fmla="*/ 142 w 270"/>
                <a:gd name="T67" fmla="*/ 305 h 488"/>
                <a:gd name="T68" fmla="*/ 132 w 270"/>
                <a:gd name="T69" fmla="*/ 275 h 488"/>
                <a:gd name="T70" fmla="*/ 125 w 270"/>
                <a:gd name="T71" fmla="*/ 244 h 488"/>
                <a:gd name="T72" fmla="*/ 115 w 270"/>
                <a:gd name="T73" fmla="*/ 229 h 488"/>
                <a:gd name="T74" fmla="*/ 109 w 270"/>
                <a:gd name="T75" fmla="*/ 217 h 488"/>
                <a:gd name="T76" fmla="*/ 107 w 270"/>
                <a:gd name="T77" fmla="*/ 202 h 488"/>
                <a:gd name="T78" fmla="*/ 102 w 270"/>
                <a:gd name="T79" fmla="*/ 181 h 488"/>
                <a:gd name="T80" fmla="*/ 96 w 270"/>
                <a:gd name="T81" fmla="*/ 169 h 488"/>
                <a:gd name="T82" fmla="*/ 79 w 270"/>
                <a:gd name="T83" fmla="*/ 142 h 488"/>
                <a:gd name="T84" fmla="*/ 71 w 270"/>
                <a:gd name="T85" fmla="*/ 117 h 488"/>
                <a:gd name="T86" fmla="*/ 63 w 270"/>
                <a:gd name="T87" fmla="*/ 108 h 488"/>
                <a:gd name="T88" fmla="*/ 52 w 270"/>
                <a:gd name="T89" fmla="*/ 92 h 488"/>
                <a:gd name="T90" fmla="*/ 46 w 270"/>
                <a:gd name="T91" fmla="*/ 90 h 488"/>
                <a:gd name="T92" fmla="*/ 27 w 270"/>
                <a:gd name="T93" fmla="*/ 63 h 488"/>
                <a:gd name="T94" fmla="*/ 13 w 270"/>
                <a:gd name="T95" fmla="*/ 35 h 488"/>
                <a:gd name="T96" fmla="*/ 7 w 270"/>
                <a:gd name="T97" fmla="*/ 19 h 488"/>
                <a:gd name="T98" fmla="*/ 13 w 270"/>
                <a:gd name="T99" fmla="*/ 6 h 488"/>
                <a:gd name="T100" fmla="*/ 25 w 270"/>
                <a:gd name="T101" fmla="*/ 10 h 488"/>
                <a:gd name="T102" fmla="*/ 38 w 270"/>
                <a:gd name="T103" fmla="*/ 21 h 488"/>
                <a:gd name="T104" fmla="*/ 46 w 270"/>
                <a:gd name="T105" fmla="*/ 29 h 488"/>
                <a:gd name="T106" fmla="*/ 57 w 270"/>
                <a:gd name="T107" fmla="*/ 37 h 488"/>
                <a:gd name="T108" fmla="*/ 67 w 270"/>
                <a:gd name="T109" fmla="*/ 54 h 488"/>
                <a:gd name="T110" fmla="*/ 92 w 270"/>
                <a:gd name="T111" fmla="*/ 79 h 488"/>
                <a:gd name="T112" fmla="*/ 115 w 270"/>
                <a:gd name="T113" fmla="*/ 92 h 488"/>
                <a:gd name="T114" fmla="*/ 144 w 270"/>
                <a:gd name="T115" fmla="*/ 100 h 488"/>
                <a:gd name="T116" fmla="*/ 165 w 270"/>
                <a:gd name="T117" fmla="*/ 119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0" h="488">
                  <a:moveTo>
                    <a:pt x="150" y="311"/>
                  </a:moveTo>
                  <a:lnTo>
                    <a:pt x="148" y="309"/>
                  </a:lnTo>
                  <a:lnTo>
                    <a:pt x="146" y="305"/>
                  </a:lnTo>
                  <a:lnTo>
                    <a:pt x="148" y="307"/>
                  </a:lnTo>
                  <a:lnTo>
                    <a:pt x="150" y="311"/>
                  </a:lnTo>
                  <a:close/>
                  <a:moveTo>
                    <a:pt x="146" y="305"/>
                  </a:moveTo>
                  <a:lnTo>
                    <a:pt x="144" y="302"/>
                  </a:lnTo>
                  <a:lnTo>
                    <a:pt x="146" y="304"/>
                  </a:lnTo>
                  <a:lnTo>
                    <a:pt x="146" y="305"/>
                  </a:lnTo>
                  <a:close/>
                  <a:moveTo>
                    <a:pt x="113" y="213"/>
                  </a:moveTo>
                  <a:lnTo>
                    <a:pt x="115" y="213"/>
                  </a:lnTo>
                  <a:lnTo>
                    <a:pt x="115" y="215"/>
                  </a:lnTo>
                  <a:lnTo>
                    <a:pt x="113" y="215"/>
                  </a:lnTo>
                  <a:lnTo>
                    <a:pt x="113" y="213"/>
                  </a:lnTo>
                  <a:close/>
                  <a:moveTo>
                    <a:pt x="44" y="87"/>
                  </a:moveTo>
                  <a:lnTo>
                    <a:pt x="46" y="87"/>
                  </a:lnTo>
                  <a:lnTo>
                    <a:pt x="46" y="90"/>
                  </a:lnTo>
                  <a:lnTo>
                    <a:pt x="44" y="90"/>
                  </a:lnTo>
                  <a:lnTo>
                    <a:pt x="44" y="87"/>
                  </a:lnTo>
                  <a:close/>
                  <a:moveTo>
                    <a:pt x="167" y="123"/>
                  </a:moveTo>
                  <a:lnTo>
                    <a:pt x="169" y="125"/>
                  </a:lnTo>
                  <a:lnTo>
                    <a:pt x="163" y="127"/>
                  </a:lnTo>
                  <a:lnTo>
                    <a:pt x="161" y="129"/>
                  </a:lnTo>
                  <a:lnTo>
                    <a:pt x="157" y="131"/>
                  </a:lnTo>
                  <a:lnTo>
                    <a:pt x="157" y="129"/>
                  </a:lnTo>
                  <a:lnTo>
                    <a:pt x="155" y="133"/>
                  </a:lnTo>
                  <a:lnTo>
                    <a:pt x="150" y="129"/>
                  </a:lnTo>
                  <a:lnTo>
                    <a:pt x="146" y="133"/>
                  </a:lnTo>
                  <a:lnTo>
                    <a:pt x="148" y="136"/>
                  </a:lnTo>
                  <a:lnTo>
                    <a:pt x="146" y="136"/>
                  </a:lnTo>
                  <a:lnTo>
                    <a:pt x="148" y="140"/>
                  </a:lnTo>
                  <a:lnTo>
                    <a:pt x="148" y="144"/>
                  </a:lnTo>
                  <a:lnTo>
                    <a:pt x="151" y="142"/>
                  </a:lnTo>
                  <a:lnTo>
                    <a:pt x="151" y="144"/>
                  </a:lnTo>
                  <a:lnTo>
                    <a:pt x="155" y="144"/>
                  </a:lnTo>
                  <a:lnTo>
                    <a:pt x="157" y="144"/>
                  </a:lnTo>
                  <a:lnTo>
                    <a:pt x="161" y="144"/>
                  </a:lnTo>
                  <a:lnTo>
                    <a:pt x="165" y="146"/>
                  </a:lnTo>
                  <a:lnTo>
                    <a:pt x="165" y="148"/>
                  </a:lnTo>
                  <a:lnTo>
                    <a:pt x="169" y="152"/>
                  </a:lnTo>
                  <a:lnTo>
                    <a:pt x="176" y="154"/>
                  </a:lnTo>
                  <a:lnTo>
                    <a:pt x="174" y="156"/>
                  </a:lnTo>
                  <a:lnTo>
                    <a:pt x="180" y="156"/>
                  </a:lnTo>
                  <a:lnTo>
                    <a:pt x="176" y="165"/>
                  </a:lnTo>
                  <a:lnTo>
                    <a:pt x="169" y="169"/>
                  </a:lnTo>
                  <a:lnTo>
                    <a:pt x="169" y="175"/>
                  </a:lnTo>
                  <a:lnTo>
                    <a:pt x="171" y="171"/>
                  </a:lnTo>
                  <a:lnTo>
                    <a:pt x="174" y="171"/>
                  </a:lnTo>
                  <a:lnTo>
                    <a:pt x="178" y="173"/>
                  </a:lnTo>
                  <a:lnTo>
                    <a:pt x="186" y="171"/>
                  </a:lnTo>
                  <a:lnTo>
                    <a:pt x="188" y="173"/>
                  </a:lnTo>
                  <a:lnTo>
                    <a:pt x="196" y="169"/>
                  </a:lnTo>
                  <a:lnTo>
                    <a:pt x="199" y="171"/>
                  </a:lnTo>
                  <a:lnTo>
                    <a:pt x="199" y="173"/>
                  </a:lnTo>
                  <a:lnTo>
                    <a:pt x="196" y="175"/>
                  </a:lnTo>
                  <a:lnTo>
                    <a:pt x="194" y="177"/>
                  </a:lnTo>
                  <a:lnTo>
                    <a:pt x="199" y="181"/>
                  </a:lnTo>
                  <a:lnTo>
                    <a:pt x="201" y="179"/>
                  </a:lnTo>
                  <a:lnTo>
                    <a:pt x="199" y="183"/>
                  </a:lnTo>
                  <a:lnTo>
                    <a:pt x="201" y="184"/>
                  </a:lnTo>
                  <a:lnTo>
                    <a:pt x="201" y="188"/>
                  </a:lnTo>
                  <a:lnTo>
                    <a:pt x="203" y="188"/>
                  </a:lnTo>
                  <a:lnTo>
                    <a:pt x="207" y="188"/>
                  </a:lnTo>
                  <a:lnTo>
                    <a:pt x="201" y="192"/>
                  </a:lnTo>
                  <a:lnTo>
                    <a:pt x="197" y="190"/>
                  </a:lnTo>
                  <a:lnTo>
                    <a:pt x="192" y="198"/>
                  </a:lnTo>
                  <a:lnTo>
                    <a:pt x="192" y="200"/>
                  </a:lnTo>
                  <a:lnTo>
                    <a:pt x="190" y="202"/>
                  </a:lnTo>
                  <a:lnTo>
                    <a:pt x="194" y="204"/>
                  </a:lnTo>
                  <a:lnTo>
                    <a:pt x="199" y="206"/>
                  </a:lnTo>
                  <a:lnTo>
                    <a:pt x="209" y="208"/>
                  </a:lnTo>
                  <a:lnTo>
                    <a:pt x="211" y="211"/>
                  </a:lnTo>
                  <a:lnTo>
                    <a:pt x="211" y="213"/>
                  </a:lnTo>
                  <a:lnTo>
                    <a:pt x="217" y="215"/>
                  </a:lnTo>
                  <a:lnTo>
                    <a:pt x="217" y="219"/>
                  </a:lnTo>
                  <a:lnTo>
                    <a:pt x="217" y="225"/>
                  </a:lnTo>
                  <a:lnTo>
                    <a:pt x="213" y="229"/>
                  </a:lnTo>
                  <a:lnTo>
                    <a:pt x="215" y="231"/>
                  </a:lnTo>
                  <a:lnTo>
                    <a:pt x="215" y="233"/>
                  </a:lnTo>
                  <a:lnTo>
                    <a:pt x="207" y="234"/>
                  </a:lnTo>
                  <a:lnTo>
                    <a:pt x="207" y="238"/>
                  </a:lnTo>
                  <a:lnTo>
                    <a:pt x="209" y="238"/>
                  </a:lnTo>
                  <a:lnTo>
                    <a:pt x="211" y="244"/>
                  </a:lnTo>
                  <a:lnTo>
                    <a:pt x="209" y="254"/>
                  </a:lnTo>
                  <a:lnTo>
                    <a:pt x="207" y="257"/>
                  </a:lnTo>
                  <a:lnTo>
                    <a:pt x="211" y="259"/>
                  </a:lnTo>
                  <a:lnTo>
                    <a:pt x="207" y="261"/>
                  </a:lnTo>
                  <a:lnTo>
                    <a:pt x="211" y="261"/>
                  </a:lnTo>
                  <a:lnTo>
                    <a:pt x="211" y="263"/>
                  </a:lnTo>
                  <a:lnTo>
                    <a:pt x="209" y="265"/>
                  </a:lnTo>
                  <a:lnTo>
                    <a:pt x="207" y="269"/>
                  </a:lnTo>
                  <a:lnTo>
                    <a:pt x="211" y="273"/>
                  </a:lnTo>
                  <a:lnTo>
                    <a:pt x="213" y="271"/>
                  </a:lnTo>
                  <a:lnTo>
                    <a:pt x="213" y="273"/>
                  </a:lnTo>
                  <a:lnTo>
                    <a:pt x="215" y="275"/>
                  </a:lnTo>
                  <a:lnTo>
                    <a:pt x="217" y="277"/>
                  </a:lnTo>
                  <a:lnTo>
                    <a:pt x="224" y="279"/>
                  </a:lnTo>
                  <a:lnTo>
                    <a:pt x="230" y="275"/>
                  </a:lnTo>
                  <a:lnTo>
                    <a:pt x="232" y="273"/>
                  </a:lnTo>
                  <a:lnTo>
                    <a:pt x="236" y="269"/>
                  </a:lnTo>
                  <a:lnTo>
                    <a:pt x="240" y="269"/>
                  </a:lnTo>
                  <a:lnTo>
                    <a:pt x="245" y="263"/>
                  </a:lnTo>
                  <a:lnTo>
                    <a:pt x="253" y="265"/>
                  </a:lnTo>
                  <a:lnTo>
                    <a:pt x="251" y="269"/>
                  </a:lnTo>
                  <a:lnTo>
                    <a:pt x="255" y="275"/>
                  </a:lnTo>
                  <a:lnTo>
                    <a:pt x="255" y="277"/>
                  </a:lnTo>
                  <a:lnTo>
                    <a:pt x="257" y="279"/>
                  </a:lnTo>
                  <a:lnTo>
                    <a:pt x="259" y="279"/>
                  </a:lnTo>
                  <a:lnTo>
                    <a:pt x="257" y="282"/>
                  </a:lnTo>
                  <a:lnTo>
                    <a:pt x="255" y="288"/>
                  </a:lnTo>
                  <a:lnTo>
                    <a:pt x="249" y="290"/>
                  </a:lnTo>
                  <a:lnTo>
                    <a:pt x="247" y="292"/>
                  </a:lnTo>
                  <a:lnTo>
                    <a:pt x="247" y="294"/>
                  </a:lnTo>
                  <a:lnTo>
                    <a:pt x="255" y="300"/>
                  </a:lnTo>
                  <a:lnTo>
                    <a:pt x="253" y="302"/>
                  </a:lnTo>
                  <a:lnTo>
                    <a:pt x="255" y="307"/>
                  </a:lnTo>
                  <a:lnTo>
                    <a:pt x="249" y="313"/>
                  </a:lnTo>
                  <a:lnTo>
                    <a:pt x="249" y="317"/>
                  </a:lnTo>
                  <a:lnTo>
                    <a:pt x="251" y="319"/>
                  </a:lnTo>
                  <a:lnTo>
                    <a:pt x="249" y="319"/>
                  </a:lnTo>
                  <a:lnTo>
                    <a:pt x="249" y="323"/>
                  </a:lnTo>
                  <a:lnTo>
                    <a:pt x="253" y="325"/>
                  </a:lnTo>
                  <a:lnTo>
                    <a:pt x="249" y="327"/>
                  </a:lnTo>
                  <a:lnTo>
                    <a:pt x="249" y="332"/>
                  </a:lnTo>
                  <a:lnTo>
                    <a:pt x="247" y="332"/>
                  </a:lnTo>
                  <a:lnTo>
                    <a:pt x="247" y="336"/>
                  </a:lnTo>
                  <a:lnTo>
                    <a:pt x="245" y="340"/>
                  </a:lnTo>
                  <a:lnTo>
                    <a:pt x="244" y="346"/>
                  </a:lnTo>
                  <a:lnTo>
                    <a:pt x="247" y="344"/>
                  </a:lnTo>
                  <a:lnTo>
                    <a:pt x="251" y="348"/>
                  </a:lnTo>
                  <a:lnTo>
                    <a:pt x="255" y="350"/>
                  </a:lnTo>
                  <a:lnTo>
                    <a:pt x="259" y="346"/>
                  </a:lnTo>
                  <a:lnTo>
                    <a:pt x="263" y="350"/>
                  </a:lnTo>
                  <a:lnTo>
                    <a:pt x="265" y="346"/>
                  </a:lnTo>
                  <a:lnTo>
                    <a:pt x="263" y="352"/>
                  </a:lnTo>
                  <a:lnTo>
                    <a:pt x="267" y="355"/>
                  </a:lnTo>
                  <a:lnTo>
                    <a:pt x="269" y="355"/>
                  </a:lnTo>
                  <a:lnTo>
                    <a:pt x="270" y="355"/>
                  </a:lnTo>
                  <a:lnTo>
                    <a:pt x="269" y="361"/>
                  </a:lnTo>
                  <a:lnTo>
                    <a:pt x="265" y="361"/>
                  </a:lnTo>
                  <a:lnTo>
                    <a:pt x="263" y="365"/>
                  </a:lnTo>
                  <a:lnTo>
                    <a:pt x="261" y="373"/>
                  </a:lnTo>
                  <a:lnTo>
                    <a:pt x="261" y="375"/>
                  </a:lnTo>
                  <a:lnTo>
                    <a:pt x="257" y="375"/>
                  </a:lnTo>
                  <a:lnTo>
                    <a:pt x="257" y="378"/>
                  </a:lnTo>
                  <a:lnTo>
                    <a:pt x="255" y="378"/>
                  </a:lnTo>
                  <a:lnTo>
                    <a:pt x="255" y="388"/>
                  </a:lnTo>
                  <a:lnTo>
                    <a:pt x="251" y="392"/>
                  </a:lnTo>
                  <a:lnTo>
                    <a:pt x="253" y="392"/>
                  </a:lnTo>
                  <a:lnTo>
                    <a:pt x="253" y="396"/>
                  </a:lnTo>
                  <a:lnTo>
                    <a:pt x="247" y="402"/>
                  </a:lnTo>
                  <a:lnTo>
                    <a:pt x="247" y="403"/>
                  </a:lnTo>
                  <a:lnTo>
                    <a:pt x="244" y="411"/>
                  </a:lnTo>
                  <a:lnTo>
                    <a:pt x="245" y="419"/>
                  </a:lnTo>
                  <a:lnTo>
                    <a:pt x="247" y="421"/>
                  </a:lnTo>
                  <a:lnTo>
                    <a:pt x="247" y="423"/>
                  </a:lnTo>
                  <a:lnTo>
                    <a:pt x="249" y="423"/>
                  </a:lnTo>
                  <a:lnTo>
                    <a:pt x="253" y="428"/>
                  </a:lnTo>
                  <a:lnTo>
                    <a:pt x="247" y="436"/>
                  </a:lnTo>
                  <a:lnTo>
                    <a:pt x="245" y="436"/>
                  </a:lnTo>
                  <a:lnTo>
                    <a:pt x="245" y="440"/>
                  </a:lnTo>
                  <a:lnTo>
                    <a:pt x="244" y="440"/>
                  </a:lnTo>
                  <a:lnTo>
                    <a:pt x="247" y="446"/>
                  </a:lnTo>
                  <a:lnTo>
                    <a:pt x="247" y="450"/>
                  </a:lnTo>
                  <a:lnTo>
                    <a:pt x="251" y="453"/>
                  </a:lnTo>
                  <a:lnTo>
                    <a:pt x="255" y="461"/>
                  </a:lnTo>
                  <a:lnTo>
                    <a:pt x="251" y="467"/>
                  </a:lnTo>
                  <a:lnTo>
                    <a:pt x="247" y="465"/>
                  </a:lnTo>
                  <a:lnTo>
                    <a:pt x="245" y="465"/>
                  </a:lnTo>
                  <a:lnTo>
                    <a:pt x="249" y="471"/>
                  </a:lnTo>
                  <a:lnTo>
                    <a:pt x="245" y="473"/>
                  </a:lnTo>
                  <a:lnTo>
                    <a:pt x="242" y="478"/>
                  </a:lnTo>
                  <a:lnTo>
                    <a:pt x="240" y="478"/>
                  </a:lnTo>
                  <a:lnTo>
                    <a:pt x="240" y="482"/>
                  </a:lnTo>
                  <a:lnTo>
                    <a:pt x="244" y="482"/>
                  </a:lnTo>
                  <a:lnTo>
                    <a:pt x="244" y="486"/>
                  </a:lnTo>
                  <a:lnTo>
                    <a:pt x="238" y="484"/>
                  </a:lnTo>
                  <a:lnTo>
                    <a:pt x="234" y="488"/>
                  </a:lnTo>
                  <a:lnTo>
                    <a:pt x="228" y="484"/>
                  </a:lnTo>
                  <a:lnTo>
                    <a:pt x="224" y="482"/>
                  </a:lnTo>
                  <a:lnTo>
                    <a:pt x="224" y="480"/>
                  </a:lnTo>
                  <a:lnTo>
                    <a:pt x="221" y="478"/>
                  </a:lnTo>
                  <a:lnTo>
                    <a:pt x="219" y="475"/>
                  </a:lnTo>
                  <a:lnTo>
                    <a:pt x="217" y="471"/>
                  </a:lnTo>
                  <a:lnTo>
                    <a:pt x="213" y="465"/>
                  </a:lnTo>
                  <a:lnTo>
                    <a:pt x="209" y="461"/>
                  </a:lnTo>
                  <a:lnTo>
                    <a:pt x="205" y="457"/>
                  </a:lnTo>
                  <a:lnTo>
                    <a:pt x="201" y="453"/>
                  </a:lnTo>
                  <a:lnTo>
                    <a:pt x="201" y="451"/>
                  </a:lnTo>
                  <a:lnTo>
                    <a:pt x="196" y="444"/>
                  </a:lnTo>
                  <a:lnTo>
                    <a:pt x="194" y="442"/>
                  </a:lnTo>
                  <a:lnTo>
                    <a:pt x="192" y="440"/>
                  </a:lnTo>
                  <a:lnTo>
                    <a:pt x="190" y="436"/>
                  </a:lnTo>
                  <a:lnTo>
                    <a:pt x="184" y="428"/>
                  </a:lnTo>
                  <a:lnTo>
                    <a:pt x="180" y="425"/>
                  </a:lnTo>
                  <a:lnTo>
                    <a:pt x="178" y="425"/>
                  </a:lnTo>
                  <a:lnTo>
                    <a:pt x="174" y="421"/>
                  </a:lnTo>
                  <a:lnTo>
                    <a:pt x="174" y="419"/>
                  </a:lnTo>
                  <a:lnTo>
                    <a:pt x="176" y="419"/>
                  </a:lnTo>
                  <a:lnTo>
                    <a:pt x="178" y="421"/>
                  </a:lnTo>
                  <a:lnTo>
                    <a:pt x="182" y="419"/>
                  </a:lnTo>
                  <a:lnTo>
                    <a:pt x="180" y="417"/>
                  </a:lnTo>
                  <a:lnTo>
                    <a:pt x="178" y="419"/>
                  </a:lnTo>
                  <a:lnTo>
                    <a:pt x="180" y="417"/>
                  </a:lnTo>
                  <a:lnTo>
                    <a:pt x="180" y="415"/>
                  </a:lnTo>
                  <a:lnTo>
                    <a:pt x="182" y="417"/>
                  </a:lnTo>
                  <a:lnTo>
                    <a:pt x="182" y="415"/>
                  </a:lnTo>
                  <a:lnTo>
                    <a:pt x="184" y="415"/>
                  </a:lnTo>
                  <a:lnTo>
                    <a:pt x="184" y="417"/>
                  </a:lnTo>
                  <a:lnTo>
                    <a:pt x="186" y="417"/>
                  </a:lnTo>
                  <a:lnTo>
                    <a:pt x="184" y="417"/>
                  </a:lnTo>
                  <a:lnTo>
                    <a:pt x="184" y="415"/>
                  </a:lnTo>
                  <a:lnTo>
                    <a:pt x="186" y="415"/>
                  </a:lnTo>
                  <a:lnTo>
                    <a:pt x="188" y="415"/>
                  </a:lnTo>
                  <a:lnTo>
                    <a:pt x="188" y="417"/>
                  </a:lnTo>
                  <a:lnTo>
                    <a:pt x="188" y="415"/>
                  </a:lnTo>
                  <a:lnTo>
                    <a:pt x="188" y="413"/>
                  </a:lnTo>
                  <a:lnTo>
                    <a:pt x="186" y="415"/>
                  </a:lnTo>
                  <a:lnTo>
                    <a:pt x="184" y="413"/>
                  </a:lnTo>
                  <a:lnTo>
                    <a:pt x="188" y="413"/>
                  </a:lnTo>
                  <a:lnTo>
                    <a:pt x="188" y="411"/>
                  </a:lnTo>
                  <a:lnTo>
                    <a:pt x="186" y="413"/>
                  </a:lnTo>
                  <a:lnTo>
                    <a:pt x="186" y="411"/>
                  </a:lnTo>
                  <a:lnTo>
                    <a:pt x="182" y="413"/>
                  </a:lnTo>
                  <a:lnTo>
                    <a:pt x="180" y="411"/>
                  </a:lnTo>
                  <a:lnTo>
                    <a:pt x="178" y="417"/>
                  </a:lnTo>
                  <a:lnTo>
                    <a:pt x="176" y="415"/>
                  </a:lnTo>
                  <a:lnTo>
                    <a:pt x="178" y="413"/>
                  </a:lnTo>
                  <a:lnTo>
                    <a:pt x="174" y="415"/>
                  </a:lnTo>
                  <a:lnTo>
                    <a:pt x="176" y="417"/>
                  </a:lnTo>
                  <a:lnTo>
                    <a:pt x="174" y="419"/>
                  </a:lnTo>
                  <a:lnTo>
                    <a:pt x="173" y="409"/>
                  </a:lnTo>
                  <a:lnTo>
                    <a:pt x="173" y="407"/>
                  </a:lnTo>
                  <a:lnTo>
                    <a:pt x="169" y="402"/>
                  </a:lnTo>
                  <a:lnTo>
                    <a:pt x="167" y="400"/>
                  </a:lnTo>
                  <a:lnTo>
                    <a:pt x="167" y="396"/>
                  </a:lnTo>
                  <a:lnTo>
                    <a:pt x="169" y="398"/>
                  </a:lnTo>
                  <a:lnTo>
                    <a:pt x="169" y="394"/>
                  </a:lnTo>
                  <a:lnTo>
                    <a:pt x="171" y="394"/>
                  </a:lnTo>
                  <a:lnTo>
                    <a:pt x="169" y="394"/>
                  </a:lnTo>
                  <a:lnTo>
                    <a:pt x="167" y="396"/>
                  </a:lnTo>
                  <a:lnTo>
                    <a:pt x="167" y="394"/>
                  </a:lnTo>
                  <a:lnTo>
                    <a:pt x="163" y="384"/>
                  </a:lnTo>
                  <a:lnTo>
                    <a:pt x="165" y="390"/>
                  </a:lnTo>
                  <a:lnTo>
                    <a:pt x="167" y="396"/>
                  </a:lnTo>
                  <a:lnTo>
                    <a:pt x="163" y="390"/>
                  </a:lnTo>
                  <a:lnTo>
                    <a:pt x="159" y="380"/>
                  </a:lnTo>
                  <a:lnTo>
                    <a:pt x="157" y="377"/>
                  </a:lnTo>
                  <a:lnTo>
                    <a:pt x="155" y="371"/>
                  </a:lnTo>
                  <a:lnTo>
                    <a:pt x="153" y="367"/>
                  </a:lnTo>
                  <a:lnTo>
                    <a:pt x="151" y="361"/>
                  </a:lnTo>
                  <a:lnTo>
                    <a:pt x="151" y="354"/>
                  </a:lnTo>
                  <a:lnTo>
                    <a:pt x="150" y="348"/>
                  </a:lnTo>
                  <a:lnTo>
                    <a:pt x="150" y="344"/>
                  </a:lnTo>
                  <a:lnTo>
                    <a:pt x="150" y="340"/>
                  </a:lnTo>
                  <a:lnTo>
                    <a:pt x="150" y="338"/>
                  </a:lnTo>
                  <a:lnTo>
                    <a:pt x="148" y="330"/>
                  </a:lnTo>
                  <a:lnTo>
                    <a:pt x="148" y="321"/>
                  </a:lnTo>
                  <a:lnTo>
                    <a:pt x="146" y="313"/>
                  </a:lnTo>
                  <a:lnTo>
                    <a:pt x="144" y="307"/>
                  </a:lnTo>
                  <a:lnTo>
                    <a:pt x="146" y="305"/>
                  </a:lnTo>
                  <a:lnTo>
                    <a:pt x="146" y="309"/>
                  </a:lnTo>
                  <a:lnTo>
                    <a:pt x="150" y="313"/>
                  </a:lnTo>
                  <a:lnTo>
                    <a:pt x="151" y="311"/>
                  </a:lnTo>
                  <a:lnTo>
                    <a:pt x="148" y="307"/>
                  </a:lnTo>
                  <a:lnTo>
                    <a:pt x="148" y="302"/>
                  </a:lnTo>
                  <a:lnTo>
                    <a:pt x="146" y="302"/>
                  </a:lnTo>
                  <a:lnTo>
                    <a:pt x="148" y="305"/>
                  </a:lnTo>
                  <a:lnTo>
                    <a:pt x="144" y="300"/>
                  </a:lnTo>
                  <a:lnTo>
                    <a:pt x="144" y="302"/>
                  </a:lnTo>
                  <a:lnTo>
                    <a:pt x="144" y="305"/>
                  </a:lnTo>
                  <a:lnTo>
                    <a:pt x="142" y="305"/>
                  </a:lnTo>
                  <a:lnTo>
                    <a:pt x="142" y="300"/>
                  </a:lnTo>
                  <a:lnTo>
                    <a:pt x="140" y="296"/>
                  </a:lnTo>
                  <a:lnTo>
                    <a:pt x="138" y="288"/>
                  </a:lnTo>
                  <a:lnTo>
                    <a:pt x="136" y="284"/>
                  </a:lnTo>
                  <a:lnTo>
                    <a:pt x="142" y="282"/>
                  </a:lnTo>
                  <a:lnTo>
                    <a:pt x="140" y="281"/>
                  </a:lnTo>
                  <a:lnTo>
                    <a:pt x="136" y="284"/>
                  </a:lnTo>
                  <a:lnTo>
                    <a:pt x="132" y="275"/>
                  </a:lnTo>
                  <a:lnTo>
                    <a:pt x="132" y="271"/>
                  </a:lnTo>
                  <a:lnTo>
                    <a:pt x="130" y="265"/>
                  </a:lnTo>
                  <a:lnTo>
                    <a:pt x="128" y="259"/>
                  </a:lnTo>
                  <a:lnTo>
                    <a:pt x="126" y="256"/>
                  </a:lnTo>
                  <a:lnTo>
                    <a:pt x="123" y="248"/>
                  </a:lnTo>
                  <a:lnTo>
                    <a:pt x="123" y="246"/>
                  </a:lnTo>
                  <a:lnTo>
                    <a:pt x="126" y="246"/>
                  </a:lnTo>
                  <a:lnTo>
                    <a:pt x="125" y="244"/>
                  </a:lnTo>
                  <a:lnTo>
                    <a:pt x="126" y="244"/>
                  </a:lnTo>
                  <a:lnTo>
                    <a:pt x="125" y="242"/>
                  </a:lnTo>
                  <a:lnTo>
                    <a:pt x="125" y="244"/>
                  </a:lnTo>
                  <a:lnTo>
                    <a:pt x="123" y="244"/>
                  </a:lnTo>
                  <a:lnTo>
                    <a:pt x="123" y="248"/>
                  </a:lnTo>
                  <a:lnTo>
                    <a:pt x="119" y="238"/>
                  </a:lnTo>
                  <a:lnTo>
                    <a:pt x="117" y="234"/>
                  </a:lnTo>
                  <a:lnTo>
                    <a:pt x="115" y="229"/>
                  </a:lnTo>
                  <a:lnTo>
                    <a:pt x="113" y="223"/>
                  </a:lnTo>
                  <a:lnTo>
                    <a:pt x="113" y="221"/>
                  </a:lnTo>
                  <a:lnTo>
                    <a:pt x="113" y="223"/>
                  </a:lnTo>
                  <a:lnTo>
                    <a:pt x="109" y="217"/>
                  </a:lnTo>
                  <a:lnTo>
                    <a:pt x="113" y="217"/>
                  </a:lnTo>
                  <a:lnTo>
                    <a:pt x="115" y="215"/>
                  </a:lnTo>
                  <a:lnTo>
                    <a:pt x="115" y="213"/>
                  </a:lnTo>
                  <a:lnTo>
                    <a:pt x="109" y="217"/>
                  </a:lnTo>
                  <a:lnTo>
                    <a:pt x="111" y="215"/>
                  </a:lnTo>
                  <a:lnTo>
                    <a:pt x="109" y="213"/>
                  </a:lnTo>
                  <a:lnTo>
                    <a:pt x="109" y="215"/>
                  </a:lnTo>
                  <a:lnTo>
                    <a:pt x="109" y="217"/>
                  </a:lnTo>
                  <a:lnTo>
                    <a:pt x="109" y="215"/>
                  </a:lnTo>
                  <a:lnTo>
                    <a:pt x="107" y="211"/>
                  </a:lnTo>
                  <a:lnTo>
                    <a:pt x="107" y="204"/>
                  </a:lnTo>
                  <a:lnTo>
                    <a:pt x="107" y="202"/>
                  </a:lnTo>
                  <a:lnTo>
                    <a:pt x="105" y="198"/>
                  </a:lnTo>
                  <a:lnTo>
                    <a:pt x="103" y="192"/>
                  </a:lnTo>
                  <a:lnTo>
                    <a:pt x="103" y="186"/>
                  </a:lnTo>
                  <a:lnTo>
                    <a:pt x="102" y="181"/>
                  </a:lnTo>
                  <a:lnTo>
                    <a:pt x="103" y="179"/>
                  </a:lnTo>
                  <a:lnTo>
                    <a:pt x="105" y="181"/>
                  </a:lnTo>
                  <a:lnTo>
                    <a:pt x="103" y="179"/>
                  </a:lnTo>
                  <a:lnTo>
                    <a:pt x="102" y="181"/>
                  </a:lnTo>
                  <a:lnTo>
                    <a:pt x="98" y="177"/>
                  </a:lnTo>
                  <a:lnTo>
                    <a:pt x="102" y="177"/>
                  </a:lnTo>
                  <a:lnTo>
                    <a:pt x="100" y="177"/>
                  </a:lnTo>
                  <a:lnTo>
                    <a:pt x="102" y="175"/>
                  </a:lnTo>
                  <a:lnTo>
                    <a:pt x="98" y="177"/>
                  </a:lnTo>
                  <a:lnTo>
                    <a:pt x="96" y="169"/>
                  </a:lnTo>
                  <a:lnTo>
                    <a:pt x="98" y="169"/>
                  </a:lnTo>
                  <a:lnTo>
                    <a:pt x="96" y="169"/>
                  </a:lnTo>
                  <a:lnTo>
                    <a:pt x="94" y="160"/>
                  </a:lnTo>
                  <a:lnTo>
                    <a:pt x="92" y="158"/>
                  </a:lnTo>
                  <a:lnTo>
                    <a:pt x="92" y="156"/>
                  </a:lnTo>
                  <a:lnTo>
                    <a:pt x="94" y="156"/>
                  </a:lnTo>
                  <a:lnTo>
                    <a:pt x="92" y="156"/>
                  </a:lnTo>
                  <a:lnTo>
                    <a:pt x="90" y="152"/>
                  </a:lnTo>
                  <a:lnTo>
                    <a:pt x="86" y="146"/>
                  </a:lnTo>
                  <a:lnTo>
                    <a:pt x="79" y="142"/>
                  </a:lnTo>
                  <a:lnTo>
                    <a:pt x="77" y="133"/>
                  </a:lnTo>
                  <a:lnTo>
                    <a:pt x="77" y="135"/>
                  </a:lnTo>
                  <a:lnTo>
                    <a:pt x="77" y="133"/>
                  </a:lnTo>
                  <a:lnTo>
                    <a:pt x="77" y="131"/>
                  </a:lnTo>
                  <a:lnTo>
                    <a:pt x="77" y="133"/>
                  </a:lnTo>
                  <a:lnTo>
                    <a:pt x="73" y="125"/>
                  </a:lnTo>
                  <a:lnTo>
                    <a:pt x="71" y="119"/>
                  </a:lnTo>
                  <a:lnTo>
                    <a:pt x="71" y="117"/>
                  </a:lnTo>
                  <a:lnTo>
                    <a:pt x="73" y="115"/>
                  </a:lnTo>
                  <a:lnTo>
                    <a:pt x="73" y="111"/>
                  </a:lnTo>
                  <a:lnTo>
                    <a:pt x="71" y="117"/>
                  </a:lnTo>
                  <a:lnTo>
                    <a:pt x="63" y="111"/>
                  </a:lnTo>
                  <a:lnTo>
                    <a:pt x="65" y="111"/>
                  </a:lnTo>
                  <a:lnTo>
                    <a:pt x="61" y="110"/>
                  </a:lnTo>
                  <a:lnTo>
                    <a:pt x="63" y="110"/>
                  </a:lnTo>
                  <a:lnTo>
                    <a:pt x="63" y="108"/>
                  </a:lnTo>
                  <a:lnTo>
                    <a:pt x="63" y="110"/>
                  </a:lnTo>
                  <a:lnTo>
                    <a:pt x="61" y="110"/>
                  </a:lnTo>
                  <a:lnTo>
                    <a:pt x="59" y="108"/>
                  </a:lnTo>
                  <a:lnTo>
                    <a:pt x="55" y="102"/>
                  </a:lnTo>
                  <a:lnTo>
                    <a:pt x="52" y="100"/>
                  </a:lnTo>
                  <a:lnTo>
                    <a:pt x="46" y="94"/>
                  </a:lnTo>
                  <a:lnTo>
                    <a:pt x="46" y="92"/>
                  </a:lnTo>
                  <a:lnTo>
                    <a:pt x="52" y="92"/>
                  </a:lnTo>
                  <a:lnTo>
                    <a:pt x="48" y="90"/>
                  </a:lnTo>
                  <a:lnTo>
                    <a:pt x="48" y="88"/>
                  </a:lnTo>
                  <a:lnTo>
                    <a:pt x="46" y="88"/>
                  </a:lnTo>
                  <a:lnTo>
                    <a:pt x="48" y="90"/>
                  </a:lnTo>
                  <a:lnTo>
                    <a:pt x="46" y="90"/>
                  </a:lnTo>
                  <a:lnTo>
                    <a:pt x="44" y="87"/>
                  </a:lnTo>
                  <a:lnTo>
                    <a:pt x="44" y="88"/>
                  </a:lnTo>
                  <a:lnTo>
                    <a:pt x="46" y="90"/>
                  </a:lnTo>
                  <a:lnTo>
                    <a:pt x="46" y="92"/>
                  </a:lnTo>
                  <a:lnTo>
                    <a:pt x="42" y="87"/>
                  </a:lnTo>
                  <a:lnTo>
                    <a:pt x="40" y="85"/>
                  </a:lnTo>
                  <a:lnTo>
                    <a:pt x="34" y="85"/>
                  </a:lnTo>
                  <a:lnTo>
                    <a:pt x="32" y="79"/>
                  </a:lnTo>
                  <a:lnTo>
                    <a:pt x="31" y="75"/>
                  </a:lnTo>
                  <a:lnTo>
                    <a:pt x="29" y="69"/>
                  </a:lnTo>
                  <a:lnTo>
                    <a:pt x="27" y="63"/>
                  </a:lnTo>
                  <a:lnTo>
                    <a:pt x="29" y="63"/>
                  </a:lnTo>
                  <a:lnTo>
                    <a:pt x="27" y="62"/>
                  </a:lnTo>
                  <a:lnTo>
                    <a:pt x="27" y="63"/>
                  </a:lnTo>
                  <a:lnTo>
                    <a:pt x="25" y="58"/>
                  </a:lnTo>
                  <a:lnTo>
                    <a:pt x="21" y="50"/>
                  </a:lnTo>
                  <a:lnTo>
                    <a:pt x="19" y="44"/>
                  </a:lnTo>
                  <a:lnTo>
                    <a:pt x="17" y="42"/>
                  </a:lnTo>
                  <a:lnTo>
                    <a:pt x="13" y="35"/>
                  </a:lnTo>
                  <a:lnTo>
                    <a:pt x="15" y="33"/>
                  </a:lnTo>
                  <a:lnTo>
                    <a:pt x="13" y="35"/>
                  </a:lnTo>
                  <a:lnTo>
                    <a:pt x="13" y="31"/>
                  </a:lnTo>
                  <a:lnTo>
                    <a:pt x="13" y="33"/>
                  </a:lnTo>
                  <a:lnTo>
                    <a:pt x="11" y="31"/>
                  </a:lnTo>
                  <a:lnTo>
                    <a:pt x="7" y="23"/>
                  </a:lnTo>
                  <a:lnTo>
                    <a:pt x="7" y="21"/>
                  </a:lnTo>
                  <a:lnTo>
                    <a:pt x="7" y="19"/>
                  </a:lnTo>
                  <a:lnTo>
                    <a:pt x="6" y="17"/>
                  </a:lnTo>
                  <a:lnTo>
                    <a:pt x="4" y="10"/>
                  </a:lnTo>
                  <a:lnTo>
                    <a:pt x="0" y="4"/>
                  </a:lnTo>
                  <a:lnTo>
                    <a:pt x="9" y="0"/>
                  </a:lnTo>
                  <a:lnTo>
                    <a:pt x="13" y="2"/>
                  </a:lnTo>
                  <a:lnTo>
                    <a:pt x="15" y="0"/>
                  </a:lnTo>
                  <a:lnTo>
                    <a:pt x="17" y="2"/>
                  </a:lnTo>
                  <a:lnTo>
                    <a:pt x="13" y="6"/>
                  </a:lnTo>
                  <a:lnTo>
                    <a:pt x="17" y="6"/>
                  </a:lnTo>
                  <a:lnTo>
                    <a:pt x="15" y="8"/>
                  </a:lnTo>
                  <a:lnTo>
                    <a:pt x="21" y="8"/>
                  </a:lnTo>
                  <a:lnTo>
                    <a:pt x="19" y="10"/>
                  </a:lnTo>
                  <a:lnTo>
                    <a:pt x="19" y="14"/>
                  </a:lnTo>
                  <a:lnTo>
                    <a:pt x="23" y="14"/>
                  </a:lnTo>
                  <a:lnTo>
                    <a:pt x="25" y="12"/>
                  </a:lnTo>
                  <a:lnTo>
                    <a:pt x="25" y="10"/>
                  </a:lnTo>
                  <a:lnTo>
                    <a:pt x="31" y="12"/>
                  </a:lnTo>
                  <a:lnTo>
                    <a:pt x="32" y="12"/>
                  </a:lnTo>
                  <a:lnTo>
                    <a:pt x="32" y="14"/>
                  </a:lnTo>
                  <a:lnTo>
                    <a:pt x="31" y="15"/>
                  </a:lnTo>
                  <a:lnTo>
                    <a:pt x="31" y="17"/>
                  </a:lnTo>
                  <a:lnTo>
                    <a:pt x="36" y="17"/>
                  </a:lnTo>
                  <a:lnTo>
                    <a:pt x="36" y="19"/>
                  </a:lnTo>
                  <a:lnTo>
                    <a:pt x="38" y="21"/>
                  </a:lnTo>
                  <a:lnTo>
                    <a:pt x="36" y="21"/>
                  </a:lnTo>
                  <a:lnTo>
                    <a:pt x="38" y="25"/>
                  </a:lnTo>
                  <a:lnTo>
                    <a:pt x="46" y="19"/>
                  </a:lnTo>
                  <a:lnTo>
                    <a:pt x="48" y="21"/>
                  </a:lnTo>
                  <a:lnTo>
                    <a:pt x="50" y="21"/>
                  </a:lnTo>
                  <a:lnTo>
                    <a:pt x="50" y="23"/>
                  </a:lnTo>
                  <a:lnTo>
                    <a:pt x="44" y="25"/>
                  </a:lnTo>
                  <a:lnTo>
                    <a:pt x="46" y="29"/>
                  </a:lnTo>
                  <a:lnTo>
                    <a:pt x="48" y="29"/>
                  </a:lnTo>
                  <a:lnTo>
                    <a:pt x="48" y="31"/>
                  </a:lnTo>
                  <a:lnTo>
                    <a:pt x="52" y="33"/>
                  </a:lnTo>
                  <a:lnTo>
                    <a:pt x="52" y="37"/>
                  </a:lnTo>
                  <a:lnTo>
                    <a:pt x="57" y="31"/>
                  </a:lnTo>
                  <a:lnTo>
                    <a:pt x="61" y="31"/>
                  </a:lnTo>
                  <a:lnTo>
                    <a:pt x="61" y="35"/>
                  </a:lnTo>
                  <a:lnTo>
                    <a:pt x="57" y="37"/>
                  </a:lnTo>
                  <a:lnTo>
                    <a:pt x="55" y="37"/>
                  </a:lnTo>
                  <a:lnTo>
                    <a:pt x="54" y="38"/>
                  </a:lnTo>
                  <a:lnTo>
                    <a:pt x="55" y="42"/>
                  </a:lnTo>
                  <a:lnTo>
                    <a:pt x="59" y="44"/>
                  </a:lnTo>
                  <a:lnTo>
                    <a:pt x="59" y="48"/>
                  </a:lnTo>
                  <a:lnTo>
                    <a:pt x="61" y="52"/>
                  </a:lnTo>
                  <a:lnTo>
                    <a:pt x="59" y="54"/>
                  </a:lnTo>
                  <a:lnTo>
                    <a:pt x="67" y="54"/>
                  </a:lnTo>
                  <a:lnTo>
                    <a:pt x="69" y="60"/>
                  </a:lnTo>
                  <a:lnTo>
                    <a:pt x="73" y="62"/>
                  </a:lnTo>
                  <a:lnTo>
                    <a:pt x="71" y="63"/>
                  </a:lnTo>
                  <a:lnTo>
                    <a:pt x="79" y="69"/>
                  </a:lnTo>
                  <a:lnTo>
                    <a:pt x="82" y="69"/>
                  </a:lnTo>
                  <a:lnTo>
                    <a:pt x="84" y="75"/>
                  </a:lnTo>
                  <a:lnTo>
                    <a:pt x="90" y="75"/>
                  </a:lnTo>
                  <a:lnTo>
                    <a:pt x="92" y="79"/>
                  </a:lnTo>
                  <a:lnTo>
                    <a:pt x="96" y="77"/>
                  </a:lnTo>
                  <a:lnTo>
                    <a:pt x="100" y="77"/>
                  </a:lnTo>
                  <a:lnTo>
                    <a:pt x="100" y="81"/>
                  </a:lnTo>
                  <a:lnTo>
                    <a:pt x="103" y="87"/>
                  </a:lnTo>
                  <a:lnTo>
                    <a:pt x="102" y="88"/>
                  </a:lnTo>
                  <a:lnTo>
                    <a:pt x="105" y="88"/>
                  </a:lnTo>
                  <a:lnTo>
                    <a:pt x="107" y="90"/>
                  </a:lnTo>
                  <a:lnTo>
                    <a:pt x="115" y="92"/>
                  </a:lnTo>
                  <a:lnTo>
                    <a:pt x="121" y="94"/>
                  </a:lnTo>
                  <a:lnTo>
                    <a:pt x="128" y="88"/>
                  </a:lnTo>
                  <a:lnTo>
                    <a:pt x="134" y="88"/>
                  </a:lnTo>
                  <a:lnTo>
                    <a:pt x="134" y="98"/>
                  </a:lnTo>
                  <a:lnTo>
                    <a:pt x="134" y="102"/>
                  </a:lnTo>
                  <a:lnTo>
                    <a:pt x="138" y="100"/>
                  </a:lnTo>
                  <a:lnTo>
                    <a:pt x="142" y="100"/>
                  </a:lnTo>
                  <a:lnTo>
                    <a:pt x="144" y="100"/>
                  </a:lnTo>
                  <a:lnTo>
                    <a:pt x="146" y="106"/>
                  </a:lnTo>
                  <a:lnTo>
                    <a:pt x="151" y="106"/>
                  </a:lnTo>
                  <a:lnTo>
                    <a:pt x="155" y="113"/>
                  </a:lnTo>
                  <a:lnTo>
                    <a:pt x="157" y="113"/>
                  </a:lnTo>
                  <a:lnTo>
                    <a:pt x="165" y="111"/>
                  </a:lnTo>
                  <a:lnTo>
                    <a:pt x="165" y="113"/>
                  </a:lnTo>
                  <a:lnTo>
                    <a:pt x="167" y="115"/>
                  </a:lnTo>
                  <a:lnTo>
                    <a:pt x="165" y="119"/>
                  </a:lnTo>
                  <a:lnTo>
                    <a:pt x="167" y="12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7" name="Freeform 9">
              <a:extLst>
                <a:ext uri="{FF2B5EF4-FFF2-40B4-BE49-F238E27FC236}">
                  <a16:creationId xmlns:a16="http://schemas.microsoft.com/office/drawing/2014/main" id="{B0BD0EEF-85DE-48C2-A18E-C0CF2E50EDEB}"/>
                </a:ext>
              </a:extLst>
            </p:cNvPr>
            <p:cNvSpPr>
              <a:spLocks noEditPoints="1"/>
            </p:cNvSpPr>
            <p:nvPr/>
          </p:nvSpPr>
          <p:spPr bwMode="gray">
            <a:xfrm>
              <a:off x="4089401" y="5576890"/>
              <a:ext cx="261938" cy="595314"/>
            </a:xfrm>
            <a:custGeom>
              <a:avLst/>
              <a:gdLst>
                <a:gd name="T0" fmla="*/ 90 w 165"/>
                <a:gd name="T1" fmla="*/ 373 h 375"/>
                <a:gd name="T2" fmla="*/ 88 w 165"/>
                <a:gd name="T3" fmla="*/ 375 h 375"/>
                <a:gd name="T4" fmla="*/ 87 w 165"/>
                <a:gd name="T5" fmla="*/ 373 h 375"/>
                <a:gd name="T6" fmla="*/ 90 w 165"/>
                <a:gd name="T7" fmla="*/ 373 h 375"/>
                <a:gd name="T8" fmla="*/ 94 w 165"/>
                <a:gd name="T9" fmla="*/ 367 h 375"/>
                <a:gd name="T10" fmla="*/ 90 w 165"/>
                <a:gd name="T11" fmla="*/ 373 h 375"/>
                <a:gd name="T12" fmla="*/ 161 w 165"/>
                <a:gd name="T13" fmla="*/ 96 h 375"/>
                <a:gd name="T14" fmla="*/ 165 w 165"/>
                <a:gd name="T15" fmla="*/ 98 h 375"/>
                <a:gd name="T16" fmla="*/ 161 w 165"/>
                <a:gd name="T17" fmla="*/ 98 h 375"/>
                <a:gd name="T18" fmla="*/ 159 w 165"/>
                <a:gd name="T19" fmla="*/ 96 h 375"/>
                <a:gd name="T20" fmla="*/ 161 w 165"/>
                <a:gd name="T21" fmla="*/ 96 h 375"/>
                <a:gd name="T22" fmla="*/ 63 w 165"/>
                <a:gd name="T23" fmla="*/ 58 h 375"/>
                <a:gd name="T24" fmla="*/ 65 w 165"/>
                <a:gd name="T25" fmla="*/ 50 h 375"/>
                <a:gd name="T26" fmla="*/ 67 w 165"/>
                <a:gd name="T27" fmla="*/ 48 h 375"/>
                <a:gd name="T28" fmla="*/ 63 w 165"/>
                <a:gd name="T29" fmla="*/ 58 h 375"/>
                <a:gd name="T30" fmla="*/ 50 w 165"/>
                <a:gd name="T31" fmla="*/ 125 h 375"/>
                <a:gd name="T32" fmla="*/ 46 w 165"/>
                <a:gd name="T33" fmla="*/ 127 h 375"/>
                <a:gd name="T34" fmla="*/ 50 w 165"/>
                <a:gd name="T35" fmla="*/ 123 h 375"/>
                <a:gd name="T36" fmla="*/ 50 w 165"/>
                <a:gd name="T37" fmla="*/ 125 h 375"/>
                <a:gd name="T38" fmla="*/ 60 w 165"/>
                <a:gd name="T39" fmla="*/ 62 h 375"/>
                <a:gd name="T40" fmla="*/ 60 w 165"/>
                <a:gd name="T41" fmla="*/ 66 h 375"/>
                <a:gd name="T42" fmla="*/ 60 w 165"/>
                <a:gd name="T43" fmla="*/ 62 h 375"/>
                <a:gd name="T44" fmla="*/ 0 w 165"/>
                <a:gd name="T45" fmla="*/ 96 h 375"/>
                <a:gd name="T46" fmla="*/ 2 w 165"/>
                <a:gd name="T47" fmla="*/ 91 h 375"/>
                <a:gd name="T48" fmla="*/ 4 w 165"/>
                <a:gd name="T49" fmla="*/ 91 h 375"/>
                <a:gd name="T50" fmla="*/ 0 w 165"/>
                <a:gd name="T51" fmla="*/ 96 h 375"/>
                <a:gd name="T52" fmla="*/ 158 w 165"/>
                <a:gd name="T53" fmla="*/ 179 h 375"/>
                <a:gd name="T54" fmla="*/ 156 w 165"/>
                <a:gd name="T55" fmla="*/ 179 h 375"/>
                <a:gd name="T56" fmla="*/ 158 w 165"/>
                <a:gd name="T57" fmla="*/ 175 h 375"/>
                <a:gd name="T58" fmla="*/ 158 w 165"/>
                <a:gd name="T59" fmla="*/ 179 h 375"/>
                <a:gd name="T60" fmla="*/ 90 w 165"/>
                <a:gd name="T61" fmla="*/ 23 h 375"/>
                <a:gd name="T62" fmla="*/ 90 w 165"/>
                <a:gd name="T63" fmla="*/ 27 h 375"/>
                <a:gd name="T64" fmla="*/ 90 w 165"/>
                <a:gd name="T65" fmla="*/ 23 h 375"/>
                <a:gd name="T66" fmla="*/ 60 w 165"/>
                <a:gd name="T67" fmla="*/ 0 h 375"/>
                <a:gd name="T68" fmla="*/ 60 w 165"/>
                <a:gd name="T69" fmla="*/ 4 h 375"/>
                <a:gd name="T70" fmla="*/ 60 w 165"/>
                <a:gd name="T71" fmla="*/ 0 h 375"/>
                <a:gd name="T72" fmla="*/ 159 w 165"/>
                <a:gd name="T73" fmla="*/ 169 h 375"/>
                <a:gd name="T74" fmla="*/ 159 w 165"/>
                <a:gd name="T75" fmla="*/ 171 h 375"/>
                <a:gd name="T76" fmla="*/ 159 w 165"/>
                <a:gd name="T77" fmla="*/ 169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5" h="375">
                  <a:moveTo>
                    <a:pt x="90" y="373"/>
                  </a:moveTo>
                  <a:lnTo>
                    <a:pt x="88" y="375"/>
                  </a:lnTo>
                  <a:lnTo>
                    <a:pt x="87" y="373"/>
                  </a:lnTo>
                  <a:lnTo>
                    <a:pt x="90" y="373"/>
                  </a:lnTo>
                  <a:lnTo>
                    <a:pt x="94" y="367"/>
                  </a:lnTo>
                  <a:lnTo>
                    <a:pt x="90" y="373"/>
                  </a:lnTo>
                  <a:close/>
                  <a:moveTo>
                    <a:pt x="161" y="96"/>
                  </a:moveTo>
                  <a:lnTo>
                    <a:pt x="165" y="98"/>
                  </a:lnTo>
                  <a:lnTo>
                    <a:pt x="161" y="98"/>
                  </a:lnTo>
                  <a:lnTo>
                    <a:pt x="159" y="96"/>
                  </a:lnTo>
                  <a:lnTo>
                    <a:pt x="161" y="96"/>
                  </a:lnTo>
                  <a:close/>
                  <a:moveTo>
                    <a:pt x="63" y="58"/>
                  </a:moveTo>
                  <a:lnTo>
                    <a:pt x="65" y="50"/>
                  </a:lnTo>
                  <a:lnTo>
                    <a:pt x="67" y="48"/>
                  </a:lnTo>
                  <a:lnTo>
                    <a:pt x="63" y="58"/>
                  </a:lnTo>
                  <a:close/>
                  <a:moveTo>
                    <a:pt x="50" y="125"/>
                  </a:moveTo>
                  <a:lnTo>
                    <a:pt x="46" y="127"/>
                  </a:lnTo>
                  <a:lnTo>
                    <a:pt x="50" y="123"/>
                  </a:lnTo>
                  <a:lnTo>
                    <a:pt x="50" y="125"/>
                  </a:lnTo>
                  <a:close/>
                  <a:moveTo>
                    <a:pt x="60" y="62"/>
                  </a:moveTo>
                  <a:lnTo>
                    <a:pt x="60" y="66"/>
                  </a:lnTo>
                  <a:lnTo>
                    <a:pt x="60" y="62"/>
                  </a:lnTo>
                  <a:close/>
                  <a:moveTo>
                    <a:pt x="0" y="96"/>
                  </a:moveTo>
                  <a:lnTo>
                    <a:pt x="2" y="91"/>
                  </a:lnTo>
                  <a:lnTo>
                    <a:pt x="4" y="91"/>
                  </a:lnTo>
                  <a:lnTo>
                    <a:pt x="0" y="96"/>
                  </a:lnTo>
                  <a:close/>
                  <a:moveTo>
                    <a:pt x="158" y="179"/>
                  </a:moveTo>
                  <a:lnTo>
                    <a:pt x="156" y="179"/>
                  </a:lnTo>
                  <a:lnTo>
                    <a:pt x="158" y="175"/>
                  </a:lnTo>
                  <a:lnTo>
                    <a:pt x="158" y="179"/>
                  </a:lnTo>
                  <a:close/>
                  <a:moveTo>
                    <a:pt x="90" y="23"/>
                  </a:moveTo>
                  <a:lnTo>
                    <a:pt x="90" y="27"/>
                  </a:lnTo>
                  <a:lnTo>
                    <a:pt x="90" y="23"/>
                  </a:lnTo>
                  <a:close/>
                  <a:moveTo>
                    <a:pt x="60" y="0"/>
                  </a:moveTo>
                  <a:lnTo>
                    <a:pt x="60" y="4"/>
                  </a:lnTo>
                  <a:lnTo>
                    <a:pt x="60" y="0"/>
                  </a:lnTo>
                  <a:close/>
                  <a:moveTo>
                    <a:pt x="159" y="169"/>
                  </a:moveTo>
                  <a:lnTo>
                    <a:pt x="159" y="171"/>
                  </a:lnTo>
                  <a:lnTo>
                    <a:pt x="159" y="16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0">
              <a:extLst>
                <a:ext uri="{FF2B5EF4-FFF2-40B4-BE49-F238E27FC236}">
                  <a16:creationId xmlns:a16="http://schemas.microsoft.com/office/drawing/2014/main" id="{ED6B5008-8658-4FA6-85C7-BAA2C11ACDA4}"/>
                </a:ext>
              </a:extLst>
            </p:cNvPr>
            <p:cNvSpPr>
              <a:spLocks/>
            </p:cNvSpPr>
            <p:nvPr/>
          </p:nvSpPr>
          <p:spPr bwMode="gray">
            <a:xfrm>
              <a:off x="4364039" y="4873627"/>
              <a:ext cx="112713" cy="153988"/>
            </a:xfrm>
            <a:custGeom>
              <a:avLst/>
              <a:gdLst>
                <a:gd name="T0" fmla="*/ 54 w 71"/>
                <a:gd name="T1" fmla="*/ 15 h 97"/>
                <a:gd name="T2" fmla="*/ 57 w 71"/>
                <a:gd name="T3" fmla="*/ 15 h 97"/>
                <a:gd name="T4" fmla="*/ 63 w 71"/>
                <a:gd name="T5" fmla="*/ 15 h 97"/>
                <a:gd name="T6" fmla="*/ 63 w 71"/>
                <a:gd name="T7" fmla="*/ 19 h 97"/>
                <a:gd name="T8" fmla="*/ 63 w 71"/>
                <a:gd name="T9" fmla="*/ 25 h 97"/>
                <a:gd name="T10" fmla="*/ 61 w 71"/>
                <a:gd name="T11" fmla="*/ 32 h 97"/>
                <a:gd name="T12" fmla="*/ 65 w 71"/>
                <a:gd name="T13" fmla="*/ 44 h 97"/>
                <a:gd name="T14" fmla="*/ 69 w 71"/>
                <a:gd name="T15" fmla="*/ 49 h 97"/>
                <a:gd name="T16" fmla="*/ 63 w 71"/>
                <a:gd name="T17" fmla="*/ 55 h 97"/>
                <a:gd name="T18" fmla="*/ 65 w 71"/>
                <a:gd name="T19" fmla="*/ 61 h 97"/>
                <a:gd name="T20" fmla="*/ 65 w 71"/>
                <a:gd name="T21" fmla="*/ 71 h 97"/>
                <a:gd name="T22" fmla="*/ 65 w 71"/>
                <a:gd name="T23" fmla="*/ 82 h 97"/>
                <a:gd name="T24" fmla="*/ 61 w 71"/>
                <a:gd name="T25" fmla="*/ 86 h 97"/>
                <a:gd name="T26" fmla="*/ 56 w 71"/>
                <a:gd name="T27" fmla="*/ 94 h 97"/>
                <a:gd name="T28" fmla="*/ 50 w 71"/>
                <a:gd name="T29" fmla="*/ 92 h 97"/>
                <a:gd name="T30" fmla="*/ 48 w 71"/>
                <a:gd name="T31" fmla="*/ 94 h 97"/>
                <a:gd name="T32" fmla="*/ 38 w 71"/>
                <a:gd name="T33" fmla="*/ 96 h 97"/>
                <a:gd name="T34" fmla="*/ 36 w 71"/>
                <a:gd name="T35" fmla="*/ 88 h 97"/>
                <a:gd name="T36" fmla="*/ 33 w 71"/>
                <a:gd name="T37" fmla="*/ 84 h 97"/>
                <a:gd name="T38" fmla="*/ 25 w 71"/>
                <a:gd name="T39" fmla="*/ 76 h 97"/>
                <a:gd name="T40" fmla="*/ 25 w 71"/>
                <a:gd name="T41" fmla="*/ 74 h 97"/>
                <a:gd name="T42" fmla="*/ 27 w 71"/>
                <a:gd name="T43" fmla="*/ 71 h 97"/>
                <a:gd name="T44" fmla="*/ 29 w 71"/>
                <a:gd name="T45" fmla="*/ 67 h 97"/>
                <a:gd name="T46" fmla="*/ 31 w 71"/>
                <a:gd name="T47" fmla="*/ 65 h 97"/>
                <a:gd name="T48" fmla="*/ 31 w 71"/>
                <a:gd name="T49" fmla="*/ 65 h 97"/>
                <a:gd name="T50" fmla="*/ 29 w 71"/>
                <a:gd name="T51" fmla="*/ 71 h 97"/>
                <a:gd name="T52" fmla="*/ 25 w 71"/>
                <a:gd name="T53" fmla="*/ 55 h 97"/>
                <a:gd name="T54" fmla="*/ 21 w 71"/>
                <a:gd name="T55" fmla="*/ 46 h 97"/>
                <a:gd name="T56" fmla="*/ 11 w 71"/>
                <a:gd name="T57" fmla="*/ 42 h 97"/>
                <a:gd name="T58" fmla="*/ 13 w 71"/>
                <a:gd name="T59" fmla="*/ 42 h 97"/>
                <a:gd name="T60" fmla="*/ 21 w 71"/>
                <a:gd name="T61" fmla="*/ 44 h 97"/>
                <a:gd name="T62" fmla="*/ 29 w 71"/>
                <a:gd name="T63" fmla="*/ 42 h 97"/>
                <a:gd name="T64" fmla="*/ 29 w 71"/>
                <a:gd name="T65" fmla="*/ 42 h 97"/>
                <a:gd name="T66" fmla="*/ 27 w 71"/>
                <a:gd name="T67" fmla="*/ 42 h 97"/>
                <a:gd name="T68" fmla="*/ 23 w 71"/>
                <a:gd name="T69" fmla="*/ 40 h 97"/>
                <a:gd name="T70" fmla="*/ 19 w 71"/>
                <a:gd name="T71" fmla="*/ 40 h 97"/>
                <a:gd name="T72" fmla="*/ 13 w 71"/>
                <a:gd name="T73" fmla="*/ 36 h 97"/>
                <a:gd name="T74" fmla="*/ 13 w 71"/>
                <a:gd name="T75" fmla="*/ 36 h 97"/>
                <a:gd name="T76" fmla="*/ 19 w 71"/>
                <a:gd name="T77" fmla="*/ 30 h 97"/>
                <a:gd name="T78" fmla="*/ 15 w 71"/>
                <a:gd name="T79" fmla="*/ 32 h 97"/>
                <a:gd name="T80" fmla="*/ 8 w 71"/>
                <a:gd name="T81" fmla="*/ 25 h 97"/>
                <a:gd name="T82" fmla="*/ 9 w 71"/>
                <a:gd name="T83" fmla="*/ 17 h 97"/>
                <a:gd name="T84" fmla="*/ 6 w 71"/>
                <a:gd name="T85" fmla="*/ 17 h 97"/>
                <a:gd name="T86" fmla="*/ 4 w 71"/>
                <a:gd name="T87" fmla="*/ 7 h 97"/>
                <a:gd name="T88" fmla="*/ 6 w 71"/>
                <a:gd name="T89" fmla="*/ 7 h 97"/>
                <a:gd name="T90" fmla="*/ 13 w 71"/>
                <a:gd name="T91" fmla="*/ 7 h 97"/>
                <a:gd name="T92" fmla="*/ 21 w 71"/>
                <a:gd name="T93" fmla="*/ 0 h 97"/>
                <a:gd name="T94" fmla="*/ 29 w 71"/>
                <a:gd name="T95" fmla="*/ 5 h 97"/>
                <a:gd name="T96" fmla="*/ 33 w 71"/>
                <a:gd name="T97" fmla="*/ 17 h 97"/>
                <a:gd name="T98" fmla="*/ 38 w 71"/>
                <a:gd name="T99" fmla="*/ 21 h 97"/>
                <a:gd name="T100" fmla="*/ 42 w 71"/>
                <a:gd name="T101" fmla="*/ 1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 h="97">
                  <a:moveTo>
                    <a:pt x="48" y="15"/>
                  </a:moveTo>
                  <a:lnTo>
                    <a:pt x="54" y="15"/>
                  </a:lnTo>
                  <a:lnTo>
                    <a:pt x="56" y="11"/>
                  </a:lnTo>
                  <a:lnTo>
                    <a:pt x="57" y="15"/>
                  </a:lnTo>
                  <a:lnTo>
                    <a:pt x="61" y="13"/>
                  </a:lnTo>
                  <a:lnTo>
                    <a:pt x="63" y="15"/>
                  </a:lnTo>
                  <a:lnTo>
                    <a:pt x="61" y="19"/>
                  </a:lnTo>
                  <a:lnTo>
                    <a:pt x="63" y="19"/>
                  </a:lnTo>
                  <a:lnTo>
                    <a:pt x="61" y="25"/>
                  </a:lnTo>
                  <a:lnTo>
                    <a:pt x="63" y="25"/>
                  </a:lnTo>
                  <a:lnTo>
                    <a:pt x="65" y="28"/>
                  </a:lnTo>
                  <a:lnTo>
                    <a:pt x="61" y="32"/>
                  </a:lnTo>
                  <a:lnTo>
                    <a:pt x="65" y="38"/>
                  </a:lnTo>
                  <a:lnTo>
                    <a:pt x="65" y="44"/>
                  </a:lnTo>
                  <a:lnTo>
                    <a:pt x="69" y="46"/>
                  </a:lnTo>
                  <a:lnTo>
                    <a:pt x="69" y="49"/>
                  </a:lnTo>
                  <a:lnTo>
                    <a:pt x="71" y="53"/>
                  </a:lnTo>
                  <a:lnTo>
                    <a:pt x="63" y="55"/>
                  </a:lnTo>
                  <a:lnTo>
                    <a:pt x="61" y="57"/>
                  </a:lnTo>
                  <a:lnTo>
                    <a:pt x="65" y="61"/>
                  </a:lnTo>
                  <a:lnTo>
                    <a:pt x="67" y="65"/>
                  </a:lnTo>
                  <a:lnTo>
                    <a:pt x="65" y="71"/>
                  </a:lnTo>
                  <a:lnTo>
                    <a:pt x="63" y="74"/>
                  </a:lnTo>
                  <a:lnTo>
                    <a:pt x="65" y="82"/>
                  </a:lnTo>
                  <a:lnTo>
                    <a:pt x="63" y="86"/>
                  </a:lnTo>
                  <a:lnTo>
                    <a:pt x="61" y="86"/>
                  </a:lnTo>
                  <a:lnTo>
                    <a:pt x="61" y="88"/>
                  </a:lnTo>
                  <a:lnTo>
                    <a:pt x="56" y="94"/>
                  </a:lnTo>
                  <a:lnTo>
                    <a:pt x="52" y="90"/>
                  </a:lnTo>
                  <a:lnTo>
                    <a:pt x="50" y="92"/>
                  </a:lnTo>
                  <a:lnTo>
                    <a:pt x="52" y="96"/>
                  </a:lnTo>
                  <a:lnTo>
                    <a:pt x="48" y="94"/>
                  </a:lnTo>
                  <a:lnTo>
                    <a:pt x="42" y="97"/>
                  </a:lnTo>
                  <a:lnTo>
                    <a:pt x="38" y="96"/>
                  </a:lnTo>
                  <a:lnTo>
                    <a:pt x="40" y="90"/>
                  </a:lnTo>
                  <a:lnTo>
                    <a:pt x="36" y="88"/>
                  </a:lnTo>
                  <a:lnTo>
                    <a:pt x="38" y="88"/>
                  </a:lnTo>
                  <a:lnTo>
                    <a:pt x="33" y="84"/>
                  </a:lnTo>
                  <a:lnTo>
                    <a:pt x="31" y="78"/>
                  </a:lnTo>
                  <a:lnTo>
                    <a:pt x="25" y="76"/>
                  </a:lnTo>
                  <a:lnTo>
                    <a:pt x="27" y="74"/>
                  </a:lnTo>
                  <a:lnTo>
                    <a:pt x="25" y="74"/>
                  </a:lnTo>
                  <a:lnTo>
                    <a:pt x="27" y="73"/>
                  </a:lnTo>
                  <a:lnTo>
                    <a:pt x="27" y="71"/>
                  </a:lnTo>
                  <a:lnTo>
                    <a:pt x="29" y="71"/>
                  </a:lnTo>
                  <a:lnTo>
                    <a:pt x="29" y="67"/>
                  </a:lnTo>
                  <a:lnTo>
                    <a:pt x="31" y="67"/>
                  </a:lnTo>
                  <a:lnTo>
                    <a:pt x="31" y="65"/>
                  </a:lnTo>
                  <a:lnTo>
                    <a:pt x="29" y="61"/>
                  </a:lnTo>
                  <a:lnTo>
                    <a:pt x="31" y="65"/>
                  </a:lnTo>
                  <a:lnTo>
                    <a:pt x="29" y="67"/>
                  </a:lnTo>
                  <a:lnTo>
                    <a:pt x="29" y="71"/>
                  </a:lnTo>
                  <a:lnTo>
                    <a:pt x="27" y="61"/>
                  </a:lnTo>
                  <a:lnTo>
                    <a:pt x="25" y="55"/>
                  </a:lnTo>
                  <a:lnTo>
                    <a:pt x="23" y="49"/>
                  </a:lnTo>
                  <a:lnTo>
                    <a:pt x="21" y="46"/>
                  </a:lnTo>
                  <a:lnTo>
                    <a:pt x="17" y="48"/>
                  </a:lnTo>
                  <a:lnTo>
                    <a:pt x="11" y="42"/>
                  </a:lnTo>
                  <a:lnTo>
                    <a:pt x="11" y="40"/>
                  </a:lnTo>
                  <a:lnTo>
                    <a:pt x="13" y="42"/>
                  </a:lnTo>
                  <a:lnTo>
                    <a:pt x="15" y="42"/>
                  </a:lnTo>
                  <a:lnTo>
                    <a:pt x="21" y="44"/>
                  </a:lnTo>
                  <a:lnTo>
                    <a:pt x="23" y="42"/>
                  </a:lnTo>
                  <a:lnTo>
                    <a:pt x="29" y="42"/>
                  </a:lnTo>
                  <a:lnTo>
                    <a:pt x="31" y="46"/>
                  </a:lnTo>
                  <a:lnTo>
                    <a:pt x="29" y="42"/>
                  </a:lnTo>
                  <a:lnTo>
                    <a:pt x="31" y="42"/>
                  </a:lnTo>
                  <a:lnTo>
                    <a:pt x="27" y="42"/>
                  </a:lnTo>
                  <a:lnTo>
                    <a:pt x="27" y="40"/>
                  </a:lnTo>
                  <a:lnTo>
                    <a:pt x="23" y="40"/>
                  </a:lnTo>
                  <a:lnTo>
                    <a:pt x="23" y="38"/>
                  </a:lnTo>
                  <a:lnTo>
                    <a:pt x="19" y="40"/>
                  </a:lnTo>
                  <a:lnTo>
                    <a:pt x="19" y="36"/>
                  </a:lnTo>
                  <a:lnTo>
                    <a:pt x="13" y="36"/>
                  </a:lnTo>
                  <a:lnTo>
                    <a:pt x="11" y="36"/>
                  </a:lnTo>
                  <a:lnTo>
                    <a:pt x="13" y="36"/>
                  </a:lnTo>
                  <a:lnTo>
                    <a:pt x="15" y="32"/>
                  </a:lnTo>
                  <a:lnTo>
                    <a:pt x="19" y="30"/>
                  </a:lnTo>
                  <a:lnTo>
                    <a:pt x="15" y="30"/>
                  </a:lnTo>
                  <a:lnTo>
                    <a:pt x="15" y="32"/>
                  </a:lnTo>
                  <a:lnTo>
                    <a:pt x="9" y="32"/>
                  </a:lnTo>
                  <a:lnTo>
                    <a:pt x="8" y="25"/>
                  </a:lnTo>
                  <a:lnTo>
                    <a:pt x="6" y="23"/>
                  </a:lnTo>
                  <a:lnTo>
                    <a:pt x="9" y="17"/>
                  </a:lnTo>
                  <a:lnTo>
                    <a:pt x="6" y="19"/>
                  </a:lnTo>
                  <a:lnTo>
                    <a:pt x="6" y="17"/>
                  </a:lnTo>
                  <a:lnTo>
                    <a:pt x="2" y="9"/>
                  </a:lnTo>
                  <a:lnTo>
                    <a:pt x="4" y="7"/>
                  </a:lnTo>
                  <a:lnTo>
                    <a:pt x="0" y="7"/>
                  </a:lnTo>
                  <a:lnTo>
                    <a:pt x="6" y="7"/>
                  </a:lnTo>
                  <a:lnTo>
                    <a:pt x="8" y="5"/>
                  </a:lnTo>
                  <a:lnTo>
                    <a:pt x="13" y="7"/>
                  </a:lnTo>
                  <a:lnTo>
                    <a:pt x="17" y="5"/>
                  </a:lnTo>
                  <a:lnTo>
                    <a:pt x="21" y="0"/>
                  </a:lnTo>
                  <a:lnTo>
                    <a:pt x="23" y="3"/>
                  </a:lnTo>
                  <a:lnTo>
                    <a:pt x="29" y="5"/>
                  </a:lnTo>
                  <a:lnTo>
                    <a:pt x="31" y="11"/>
                  </a:lnTo>
                  <a:lnTo>
                    <a:pt x="33" y="17"/>
                  </a:lnTo>
                  <a:lnTo>
                    <a:pt x="34" y="19"/>
                  </a:lnTo>
                  <a:lnTo>
                    <a:pt x="38" y="21"/>
                  </a:lnTo>
                  <a:lnTo>
                    <a:pt x="38" y="19"/>
                  </a:lnTo>
                  <a:lnTo>
                    <a:pt x="42" y="17"/>
                  </a:lnTo>
                  <a:lnTo>
                    <a:pt x="48" y="1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1">
              <a:extLst>
                <a:ext uri="{FF2B5EF4-FFF2-40B4-BE49-F238E27FC236}">
                  <a16:creationId xmlns:a16="http://schemas.microsoft.com/office/drawing/2014/main" id="{51CB57DC-C8A7-4918-B24A-A5B7CA246E82}"/>
                </a:ext>
              </a:extLst>
            </p:cNvPr>
            <p:cNvSpPr>
              <a:spLocks noEditPoints="1"/>
            </p:cNvSpPr>
            <p:nvPr/>
          </p:nvSpPr>
          <p:spPr bwMode="gray">
            <a:xfrm>
              <a:off x="4430714" y="4411665"/>
              <a:ext cx="765175" cy="1187451"/>
            </a:xfrm>
            <a:custGeom>
              <a:avLst/>
              <a:gdLst>
                <a:gd name="T0" fmla="*/ 382 w 482"/>
                <a:gd name="T1" fmla="*/ 20 h 748"/>
                <a:gd name="T2" fmla="*/ 390 w 482"/>
                <a:gd name="T3" fmla="*/ 58 h 748"/>
                <a:gd name="T4" fmla="*/ 376 w 482"/>
                <a:gd name="T5" fmla="*/ 100 h 748"/>
                <a:gd name="T6" fmla="*/ 376 w 482"/>
                <a:gd name="T7" fmla="*/ 114 h 748"/>
                <a:gd name="T8" fmla="*/ 365 w 482"/>
                <a:gd name="T9" fmla="*/ 146 h 748"/>
                <a:gd name="T10" fmla="*/ 361 w 482"/>
                <a:gd name="T11" fmla="*/ 206 h 748"/>
                <a:gd name="T12" fmla="*/ 378 w 482"/>
                <a:gd name="T13" fmla="*/ 235 h 748"/>
                <a:gd name="T14" fmla="*/ 348 w 482"/>
                <a:gd name="T15" fmla="*/ 273 h 748"/>
                <a:gd name="T16" fmla="*/ 319 w 482"/>
                <a:gd name="T17" fmla="*/ 321 h 748"/>
                <a:gd name="T18" fmla="*/ 330 w 482"/>
                <a:gd name="T19" fmla="*/ 360 h 748"/>
                <a:gd name="T20" fmla="*/ 288 w 482"/>
                <a:gd name="T21" fmla="*/ 379 h 748"/>
                <a:gd name="T22" fmla="*/ 300 w 482"/>
                <a:gd name="T23" fmla="*/ 435 h 748"/>
                <a:gd name="T24" fmla="*/ 326 w 482"/>
                <a:gd name="T25" fmla="*/ 454 h 748"/>
                <a:gd name="T26" fmla="*/ 361 w 482"/>
                <a:gd name="T27" fmla="*/ 454 h 748"/>
                <a:gd name="T28" fmla="*/ 355 w 482"/>
                <a:gd name="T29" fmla="*/ 485 h 748"/>
                <a:gd name="T30" fmla="*/ 340 w 482"/>
                <a:gd name="T31" fmla="*/ 485 h 748"/>
                <a:gd name="T32" fmla="*/ 311 w 482"/>
                <a:gd name="T33" fmla="*/ 479 h 748"/>
                <a:gd name="T34" fmla="*/ 326 w 482"/>
                <a:gd name="T35" fmla="*/ 511 h 748"/>
                <a:gd name="T36" fmla="*/ 348 w 482"/>
                <a:gd name="T37" fmla="*/ 504 h 748"/>
                <a:gd name="T38" fmla="*/ 380 w 482"/>
                <a:gd name="T39" fmla="*/ 513 h 748"/>
                <a:gd name="T40" fmla="*/ 419 w 482"/>
                <a:gd name="T41" fmla="*/ 490 h 748"/>
                <a:gd name="T42" fmla="*/ 432 w 482"/>
                <a:gd name="T43" fmla="*/ 519 h 748"/>
                <a:gd name="T44" fmla="*/ 459 w 482"/>
                <a:gd name="T45" fmla="*/ 544 h 748"/>
                <a:gd name="T46" fmla="*/ 480 w 482"/>
                <a:gd name="T47" fmla="*/ 575 h 748"/>
                <a:gd name="T48" fmla="*/ 457 w 482"/>
                <a:gd name="T49" fmla="*/ 600 h 748"/>
                <a:gd name="T50" fmla="*/ 411 w 482"/>
                <a:gd name="T51" fmla="*/ 613 h 748"/>
                <a:gd name="T52" fmla="*/ 386 w 482"/>
                <a:gd name="T53" fmla="*/ 631 h 748"/>
                <a:gd name="T54" fmla="*/ 361 w 482"/>
                <a:gd name="T55" fmla="*/ 673 h 748"/>
                <a:gd name="T56" fmla="*/ 359 w 482"/>
                <a:gd name="T57" fmla="*/ 713 h 748"/>
                <a:gd name="T58" fmla="*/ 307 w 482"/>
                <a:gd name="T59" fmla="*/ 723 h 748"/>
                <a:gd name="T60" fmla="*/ 255 w 482"/>
                <a:gd name="T61" fmla="*/ 734 h 748"/>
                <a:gd name="T62" fmla="*/ 213 w 482"/>
                <a:gd name="T63" fmla="*/ 705 h 748"/>
                <a:gd name="T64" fmla="*/ 150 w 482"/>
                <a:gd name="T65" fmla="*/ 680 h 748"/>
                <a:gd name="T66" fmla="*/ 131 w 482"/>
                <a:gd name="T67" fmla="*/ 650 h 748"/>
                <a:gd name="T68" fmla="*/ 111 w 482"/>
                <a:gd name="T69" fmla="*/ 631 h 748"/>
                <a:gd name="T70" fmla="*/ 79 w 482"/>
                <a:gd name="T71" fmla="*/ 621 h 748"/>
                <a:gd name="T72" fmla="*/ 67 w 482"/>
                <a:gd name="T73" fmla="*/ 573 h 748"/>
                <a:gd name="T74" fmla="*/ 62 w 482"/>
                <a:gd name="T75" fmla="*/ 538 h 748"/>
                <a:gd name="T76" fmla="*/ 58 w 482"/>
                <a:gd name="T77" fmla="*/ 521 h 748"/>
                <a:gd name="T78" fmla="*/ 37 w 482"/>
                <a:gd name="T79" fmla="*/ 454 h 748"/>
                <a:gd name="T80" fmla="*/ 31 w 482"/>
                <a:gd name="T81" fmla="*/ 427 h 748"/>
                <a:gd name="T82" fmla="*/ 14 w 482"/>
                <a:gd name="T83" fmla="*/ 406 h 748"/>
                <a:gd name="T84" fmla="*/ 8 w 482"/>
                <a:gd name="T85" fmla="*/ 394 h 748"/>
                <a:gd name="T86" fmla="*/ 23 w 482"/>
                <a:gd name="T87" fmla="*/ 352 h 748"/>
                <a:gd name="T88" fmla="*/ 15 w 482"/>
                <a:gd name="T89" fmla="*/ 306 h 748"/>
                <a:gd name="T90" fmla="*/ 31 w 482"/>
                <a:gd name="T91" fmla="*/ 294 h 748"/>
                <a:gd name="T92" fmla="*/ 40 w 482"/>
                <a:gd name="T93" fmla="*/ 256 h 748"/>
                <a:gd name="T94" fmla="*/ 31 w 482"/>
                <a:gd name="T95" fmla="*/ 231 h 748"/>
                <a:gd name="T96" fmla="*/ 29 w 482"/>
                <a:gd name="T97" fmla="*/ 214 h 748"/>
                <a:gd name="T98" fmla="*/ 63 w 482"/>
                <a:gd name="T99" fmla="*/ 204 h 748"/>
                <a:gd name="T100" fmla="*/ 96 w 482"/>
                <a:gd name="T101" fmla="*/ 168 h 748"/>
                <a:gd name="T102" fmla="*/ 134 w 482"/>
                <a:gd name="T103" fmla="*/ 164 h 748"/>
                <a:gd name="T104" fmla="*/ 175 w 482"/>
                <a:gd name="T105" fmla="*/ 156 h 748"/>
                <a:gd name="T106" fmla="*/ 181 w 482"/>
                <a:gd name="T107" fmla="*/ 116 h 748"/>
                <a:gd name="T108" fmla="*/ 230 w 482"/>
                <a:gd name="T109" fmla="*/ 123 h 748"/>
                <a:gd name="T110" fmla="*/ 250 w 482"/>
                <a:gd name="T111" fmla="*/ 112 h 748"/>
                <a:gd name="T112" fmla="*/ 282 w 482"/>
                <a:gd name="T113" fmla="*/ 81 h 748"/>
                <a:gd name="T114" fmla="*/ 305 w 482"/>
                <a:gd name="T115" fmla="*/ 64 h 748"/>
                <a:gd name="T116" fmla="*/ 326 w 482"/>
                <a:gd name="T117" fmla="*/ 33 h 748"/>
                <a:gd name="T118" fmla="*/ 361 w 482"/>
                <a:gd name="T119" fmla="*/ 4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2" h="748">
                  <a:moveTo>
                    <a:pt x="63" y="523"/>
                  </a:moveTo>
                  <a:lnTo>
                    <a:pt x="65" y="523"/>
                  </a:lnTo>
                  <a:lnTo>
                    <a:pt x="65" y="525"/>
                  </a:lnTo>
                  <a:lnTo>
                    <a:pt x="63" y="525"/>
                  </a:lnTo>
                  <a:lnTo>
                    <a:pt x="63" y="523"/>
                  </a:lnTo>
                  <a:close/>
                  <a:moveTo>
                    <a:pt x="4" y="404"/>
                  </a:moveTo>
                  <a:lnTo>
                    <a:pt x="8" y="404"/>
                  </a:lnTo>
                  <a:lnTo>
                    <a:pt x="8" y="406"/>
                  </a:lnTo>
                  <a:lnTo>
                    <a:pt x="4" y="406"/>
                  </a:lnTo>
                  <a:lnTo>
                    <a:pt x="4" y="404"/>
                  </a:lnTo>
                  <a:close/>
                  <a:moveTo>
                    <a:pt x="27" y="291"/>
                  </a:moveTo>
                  <a:lnTo>
                    <a:pt x="21" y="291"/>
                  </a:lnTo>
                  <a:lnTo>
                    <a:pt x="21" y="287"/>
                  </a:lnTo>
                  <a:lnTo>
                    <a:pt x="25" y="287"/>
                  </a:lnTo>
                  <a:lnTo>
                    <a:pt x="27" y="291"/>
                  </a:lnTo>
                  <a:close/>
                  <a:moveTo>
                    <a:pt x="382" y="20"/>
                  </a:moveTo>
                  <a:lnTo>
                    <a:pt x="388" y="20"/>
                  </a:lnTo>
                  <a:lnTo>
                    <a:pt x="386" y="24"/>
                  </a:lnTo>
                  <a:lnTo>
                    <a:pt x="386" y="27"/>
                  </a:lnTo>
                  <a:lnTo>
                    <a:pt x="384" y="29"/>
                  </a:lnTo>
                  <a:lnTo>
                    <a:pt x="388" y="35"/>
                  </a:lnTo>
                  <a:lnTo>
                    <a:pt x="388" y="41"/>
                  </a:lnTo>
                  <a:lnTo>
                    <a:pt x="382" y="45"/>
                  </a:lnTo>
                  <a:lnTo>
                    <a:pt x="382" y="47"/>
                  </a:lnTo>
                  <a:lnTo>
                    <a:pt x="384" y="47"/>
                  </a:lnTo>
                  <a:lnTo>
                    <a:pt x="386" y="50"/>
                  </a:lnTo>
                  <a:lnTo>
                    <a:pt x="388" y="49"/>
                  </a:lnTo>
                  <a:lnTo>
                    <a:pt x="390" y="50"/>
                  </a:lnTo>
                  <a:lnTo>
                    <a:pt x="392" y="50"/>
                  </a:lnTo>
                  <a:lnTo>
                    <a:pt x="394" y="54"/>
                  </a:lnTo>
                  <a:lnTo>
                    <a:pt x="392" y="56"/>
                  </a:lnTo>
                  <a:lnTo>
                    <a:pt x="390" y="58"/>
                  </a:lnTo>
                  <a:lnTo>
                    <a:pt x="390" y="62"/>
                  </a:lnTo>
                  <a:lnTo>
                    <a:pt x="386" y="62"/>
                  </a:lnTo>
                  <a:lnTo>
                    <a:pt x="386" y="66"/>
                  </a:lnTo>
                  <a:lnTo>
                    <a:pt x="384" y="66"/>
                  </a:lnTo>
                  <a:lnTo>
                    <a:pt x="382" y="72"/>
                  </a:lnTo>
                  <a:lnTo>
                    <a:pt x="378" y="70"/>
                  </a:lnTo>
                  <a:lnTo>
                    <a:pt x="376" y="73"/>
                  </a:lnTo>
                  <a:lnTo>
                    <a:pt x="382" y="77"/>
                  </a:lnTo>
                  <a:lnTo>
                    <a:pt x="382" y="79"/>
                  </a:lnTo>
                  <a:lnTo>
                    <a:pt x="380" y="81"/>
                  </a:lnTo>
                  <a:lnTo>
                    <a:pt x="371" y="83"/>
                  </a:lnTo>
                  <a:lnTo>
                    <a:pt x="371" y="85"/>
                  </a:lnTo>
                  <a:lnTo>
                    <a:pt x="371" y="91"/>
                  </a:lnTo>
                  <a:lnTo>
                    <a:pt x="369" y="97"/>
                  </a:lnTo>
                  <a:lnTo>
                    <a:pt x="374" y="98"/>
                  </a:lnTo>
                  <a:lnTo>
                    <a:pt x="376" y="100"/>
                  </a:lnTo>
                  <a:lnTo>
                    <a:pt x="378" y="97"/>
                  </a:lnTo>
                  <a:lnTo>
                    <a:pt x="380" y="100"/>
                  </a:lnTo>
                  <a:lnTo>
                    <a:pt x="386" y="98"/>
                  </a:lnTo>
                  <a:lnTo>
                    <a:pt x="386" y="102"/>
                  </a:lnTo>
                  <a:lnTo>
                    <a:pt x="392" y="102"/>
                  </a:lnTo>
                  <a:lnTo>
                    <a:pt x="395" y="104"/>
                  </a:lnTo>
                  <a:lnTo>
                    <a:pt x="395" y="108"/>
                  </a:lnTo>
                  <a:lnTo>
                    <a:pt x="392" y="106"/>
                  </a:lnTo>
                  <a:lnTo>
                    <a:pt x="392" y="104"/>
                  </a:lnTo>
                  <a:lnTo>
                    <a:pt x="390" y="108"/>
                  </a:lnTo>
                  <a:lnTo>
                    <a:pt x="388" y="108"/>
                  </a:lnTo>
                  <a:lnTo>
                    <a:pt x="388" y="112"/>
                  </a:lnTo>
                  <a:lnTo>
                    <a:pt x="384" y="110"/>
                  </a:lnTo>
                  <a:lnTo>
                    <a:pt x="382" y="112"/>
                  </a:lnTo>
                  <a:lnTo>
                    <a:pt x="378" y="112"/>
                  </a:lnTo>
                  <a:lnTo>
                    <a:pt x="376" y="114"/>
                  </a:lnTo>
                  <a:lnTo>
                    <a:pt x="378" y="116"/>
                  </a:lnTo>
                  <a:lnTo>
                    <a:pt x="378" y="118"/>
                  </a:lnTo>
                  <a:lnTo>
                    <a:pt x="378" y="120"/>
                  </a:lnTo>
                  <a:lnTo>
                    <a:pt x="374" y="122"/>
                  </a:lnTo>
                  <a:lnTo>
                    <a:pt x="371" y="120"/>
                  </a:lnTo>
                  <a:lnTo>
                    <a:pt x="369" y="127"/>
                  </a:lnTo>
                  <a:lnTo>
                    <a:pt x="371" y="129"/>
                  </a:lnTo>
                  <a:lnTo>
                    <a:pt x="367" y="131"/>
                  </a:lnTo>
                  <a:lnTo>
                    <a:pt x="365" y="135"/>
                  </a:lnTo>
                  <a:lnTo>
                    <a:pt x="365" y="133"/>
                  </a:lnTo>
                  <a:lnTo>
                    <a:pt x="361" y="135"/>
                  </a:lnTo>
                  <a:lnTo>
                    <a:pt x="363" y="137"/>
                  </a:lnTo>
                  <a:lnTo>
                    <a:pt x="363" y="139"/>
                  </a:lnTo>
                  <a:lnTo>
                    <a:pt x="361" y="139"/>
                  </a:lnTo>
                  <a:lnTo>
                    <a:pt x="361" y="143"/>
                  </a:lnTo>
                  <a:lnTo>
                    <a:pt x="365" y="146"/>
                  </a:lnTo>
                  <a:lnTo>
                    <a:pt x="371" y="148"/>
                  </a:lnTo>
                  <a:lnTo>
                    <a:pt x="374" y="158"/>
                  </a:lnTo>
                  <a:lnTo>
                    <a:pt x="371" y="160"/>
                  </a:lnTo>
                  <a:lnTo>
                    <a:pt x="369" y="170"/>
                  </a:lnTo>
                  <a:lnTo>
                    <a:pt x="369" y="179"/>
                  </a:lnTo>
                  <a:lnTo>
                    <a:pt x="371" y="183"/>
                  </a:lnTo>
                  <a:lnTo>
                    <a:pt x="367" y="183"/>
                  </a:lnTo>
                  <a:lnTo>
                    <a:pt x="365" y="191"/>
                  </a:lnTo>
                  <a:lnTo>
                    <a:pt x="371" y="191"/>
                  </a:lnTo>
                  <a:lnTo>
                    <a:pt x="369" y="194"/>
                  </a:lnTo>
                  <a:lnTo>
                    <a:pt x="365" y="196"/>
                  </a:lnTo>
                  <a:lnTo>
                    <a:pt x="367" y="198"/>
                  </a:lnTo>
                  <a:lnTo>
                    <a:pt x="371" y="198"/>
                  </a:lnTo>
                  <a:lnTo>
                    <a:pt x="369" y="200"/>
                  </a:lnTo>
                  <a:lnTo>
                    <a:pt x="369" y="204"/>
                  </a:lnTo>
                  <a:lnTo>
                    <a:pt x="361" y="206"/>
                  </a:lnTo>
                  <a:lnTo>
                    <a:pt x="365" y="208"/>
                  </a:lnTo>
                  <a:lnTo>
                    <a:pt x="363" y="212"/>
                  </a:lnTo>
                  <a:lnTo>
                    <a:pt x="359" y="214"/>
                  </a:lnTo>
                  <a:lnTo>
                    <a:pt x="359" y="216"/>
                  </a:lnTo>
                  <a:lnTo>
                    <a:pt x="351" y="214"/>
                  </a:lnTo>
                  <a:lnTo>
                    <a:pt x="349" y="218"/>
                  </a:lnTo>
                  <a:lnTo>
                    <a:pt x="344" y="218"/>
                  </a:lnTo>
                  <a:lnTo>
                    <a:pt x="349" y="223"/>
                  </a:lnTo>
                  <a:lnTo>
                    <a:pt x="351" y="225"/>
                  </a:lnTo>
                  <a:lnTo>
                    <a:pt x="359" y="227"/>
                  </a:lnTo>
                  <a:lnTo>
                    <a:pt x="363" y="229"/>
                  </a:lnTo>
                  <a:lnTo>
                    <a:pt x="369" y="227"/>
                  </a:lnTo>
                  <a:lnTo>
                    <a:pt x="374" y="227"/>
                  </a:lnTo>
                  <a:lnTo>
                    <a:pt x="382" y="233"/>
                  </a:lnTo>
                  <a:lnTo>
                    <a:pt x="382" y="237"/>
                  </a:lnTo>
                  <a:lnTo>
                    <a:pt x="378" y="235"/>
                  </a:lnTo>
                  <a:lnTo>
                    <a:pt x="376" y="239"/>
                  </a:lnTo>
                  <a:lnTo>
                    <a:pt x="372" y="239"/>
                  </a:lnTo>
                  <a:lnTo>
                    <a:pt x="371" y="241"/>
                  </a:lnTo>
                  <a:lnTo>
                    <a:pt x="371" y="243"/>
                  </a:lnTo>
                  <a:lnTo>
                    <a:pt x="374" y="244"/>
                  </a:lnTo>
                  <a:lnTo>
                    <a:pt x="372" y="244"/>
                  </a:lnTo>
                  <a:lnTo>
                    <a:pt x="371" y="250"/>
                  </a:lnTo>
                  <a:lnTo>
                    <a:pt x="371" y="256"/>
                  </a:lnTo>
                  <a:lnTo>
                    <a:pt x="372" y="256"/>
                  </a:lnTo>
                  <a:lnTo>
                    <a:pt x="371" y="264"/>
                  </a:lnTo>
                  <a:lnTo>
                    <a:pt x="372" y="271"/>
                  </a:lnTo>
                  <a:lnTo>
                    <a:pt x="372" y="277"/>
                  </a:lnTo>
                  <a:lnTo>
                    <a:pt x="365" y="273"/>
                  </a:lnTo>
                  <a:lnTo>
                    <a:pt x="359" y="275"/>
                  </a:lnTo>
                  <a:lnTo>
                    <a:pt x="355" y="273"/>
                  </a:lnTo>
                  <a:lnTo>
                    <a:pt x="348" y="273"/>
                  </a:lnTo>
                  <a:lnTo>
                    <a:pt x="344" y="271"/>
                  </a:lnTo>
                  <a:lnTo>
                    <a:pt x="338" y="273"/>
                  </a:lnTo>
                  <a:lnTo>
                    <a:pt x="328" y="275"/>
                  </a:lnTo>
                  <a:lnTo>
                    <a:pt x="321" y="283"/>
                  </a:lnTo>
                  <a:lnTo>
                    <a:pt x="319" y="287"/>
                  </a:lnTo>
                  <a:lnTo>
                    <a:pt x="324" y="287"/>
                  </a:lnTo>
                  <a:lnTo>
                    <a:pt x="324" y="291"/>
                  </a:lnTo>
                  <a:lnTo>
                    <a:pt x="321" y="296"/>
                  </a:lnTo>
                  <a:lnTo>
                    <a:pt x="324" y="298"/>
                  </a:lnTo>
                  <a:lnTo>
                    <a:pt x="324" y="302"/>
                  </a:lnTo>
                  <a:lnTo>
                    <a:pt x="330" y="304"/>
                  </a:lnTo>
                  <a:lnTo>
                    <a:pt x="330" y="308"/>
                  </a:lnTo>
                  <a:lnTo>
                    <a:pt x="326" y="306"/>
                  </a:lnTo>
                  <a:lnTo>
                    <a:pt x="321" y="308"/>
                  </a:lnTo>
                  <a:lnTo>
                    <a:pt x="319" y="314"/>
                  </a:lnTo>
                  <a:lnTo>
                    <a:pt x="319" y="321"/>
                  </a:lnTo>
                  <a:lnTo>
                    <a:pt x="313" y="321"/>
                  </a:lnTo>
                  <a:lnTo>
                    <a:pt x="313" y="323"/>
                  </a:lnTo>
                  <a:lnTo>
                    <a:pt x="319" y="329"/>
                  </a:lnTo>
                  <a:lnTo>
                    <a:pt x="319" y="333"/>
                  </a:lnTo>
                  <a:lnTo>
                    <a:pt x="321" y="335"/>
                  </a:lnTo>
                  <a:lnTo>
                    <a:pt x="321" y="337"/>
                  </a:lnTo>
                  <a:lnTo>
                    <a:pt x="323" y="339"/>
                  </a:lnTo>
                  <a:lnTo>
                    <a:pt x="323" y="340"/>
                  </a:lnTo>
                  <a:lnTo>
                    <a:pt x="328" y="340"/>
                  </a:lnTo>
                  <a:lnTo>
                    <a:pt x="328" y="344"/>
                  </a:lnTo>
                  <a:lnTo>
                    <a:pt x="332" y="344"/>
                  </a:lnTo>
                  <a:lnTo>
                    <a:pt x="334" y="348"/>
                  </a:lnTo>
                  <a:lnTo>
                    <a:pt x="328" y="352"/>
                  </a:lnTo>
                  <a:lnTo>
                    <a:pt x="332" y="356"/>
                  </a:lnTo>
                  <a:lnTo>
                    <a:pt x="332" y="360"/>
                  </a:lnTo>
                  <a:lnTo>
                    <a:pt x="330" y="360"/>
                  </a:lnTo>
                  <a:lnTo>
                    <a:pt x="332" y="364"/>
                  </a:lnTo>
                  <a:lnTo>
                    <a:pt x="328" y="365"/>
                  </a:lnTo>
                  <a:lnTo>
                    <a:pt x="326" y="373"/>
                  </a:lnTo>
                  <a:lnTo>
                    <a:pt x="324" y="373"/>
                  </a:lnTo>
                  <a:lnTo>
                    <a:pt x="324" y="377"/>
                  </a:lnTo>
                  <a:lnTo>
                    <a:pt x="321" y="375"/>
                  </a:lnTo>
                  <a:lnTo>
                    <a:pt x="321" y="373"/>
                  </a:lnTo>
                  <a:lnTo>
                    <a:pt x="315" y="373"/>
                  </a:lnTo>
                  <a:lnTo>
                    <a:pt x="313" y="375"/>
                  </a:lnTo>
                  <a:lnTo>
                    <a:pt x="309" y="373"/>
                  </a:lnTo>
                  <a:lnTo>
                    <a:pt x="301" y="373"/>
                  </a:lnTo>
                  <a:lnTo>
                    <a:pt x="301" y="371"/>
                  </a:lnTo>
                  <a:lnTo>
                    <a:pt x="294" y="367"/>
                  </a:lnTo>
                  <a:lnTo>
                    <a:pt x="290" y="369"/>
                  </a:lnTo>
                  <a:lnTo>
                    <a:pt x="292" y="373"/>
                  </a:lnTo>
                  <a:lnTo>
                    <a:pt x="288" y="379"/>
                  </a:lnTo>
                  <a:lnTo>
                    <a:pt x="296" y="381"/>
                  </a:lnTo>
                  <a:lnTo>
                    <a:pt x="300" y="381"/>
                  </a:lnTo>
                  <a:lnTo>
                    <a:pt x="301" y="383"/>
                  </a:lnTo>
                  <a:lnTo>
                    <a:pt x="300" y="388"/>
                  </a:lnTo>
                  <a:lnTo>
                    <a:pt x="298" y="388"/>
                  </a:lnTo>
                  <a:lnTo>
                    <a:pt x="300" y="398"/>
                  </a:lnTo>
                  <a:lnTo>
                    <a:pt x="298" y="398"/>
                  </a:lnTo>
                  <a:lnTo>
                    <a:pt x="298" y="400"/>
                  </a:lnTo>
                  <a:lnTo>
                    <a:pt x="292" y="400"/>
                  </a:lnTo>
                  <a:lnTo>
                    <a:pt x="292" y="406"/>
                  </a:lnTo>
                  <a:lnTo>
                    <a:pt x="290" y="412"/>
                  </a:lnTo>
                  <a:lnTo>
                    <a:pt x="288" y="421"/>
                  </a:lnTo>
                  <a:lnTo>
                    <a:pt x="290" y="421"/>
                  </a:lnTo>
                  <a:lnTo>
                    <a:pt x="294" y="427"/>
                  </a:lnTo>
                  <a:lnTo>
                    <a:pt x="298" y="431"/>
                  </a:lnTo>
                  <a:lnTo>
                    <a:pt x="300" y="435"/>
                  </a:lnTo>
                  <a:lnTo>
                    <a:pt x="303" y="433"/>
                  </a:lnTo>
                  <a:lnTo>
                    <a:pt x="311" y="433"/>
                  </a:lnTo>
                  <a:lnTo>
                    <a:pt x="309" y="437"/>
                  </a:lnTo>
                  <a:lnTo>
                    <a:pt x="307" y="437"/>
                  </a:lnTo>
                  <a:lnTo>
                    <a:pt x="307" y="440"/>
                  </a:lnTo>
                  <a:lnTo>
                    <a:pt x="305" y="440"/>
                  </a:lnTo>
                  <a:lnTo>
                    <a:pt x="301" y="442"/>
                  </a:lnTo>
                  <a:lnTo>
                    <a:pt x="301" y="448"/>
                  </a:lnTo>
                  <a:lnTo>
                    <a:pt x="309" y="454"/>
                  </a:lnTo>
                  <a:lnTo>
                    <a:pt x="305" y="456"/>
                  </a:lnTo>
                  <a:lnTo>
                    <a:pt x="307" y="460"/>
                  </a:lnTo>
                  <a:lnTo>
                    <a:pt x="315" y="460"/>
                  </a:lnTo>
                  <a:lnTo>
                    <a:pt x="319" y="460"/>
                  </a:lnTo>
                  <a:lnTo>
                    <a:pt x="323" y="461"/>
                  </a:lnTo>
                  <a:lnTo>
                    <a:pt x="324" y="461"/>
                  </a:lnTo>
                  <a:lnTo>
                    <a:pt x="326" y="454"/>
                  </a:lnTo>
                  <a:lnTo>
                    <a:pt x="328" y="448"/>
                  </a:lnTo>
                  <a:lnTo>
                    <a:pt x="330" y="448"/>
                  </a:lnTo>
                  <a:lnTo>
                    <a:pt x="334" y="450"/>
                  </a:lnTo>
                  <a:lnTo>
                    <a:pt x="340" y="452"/>
                  </a:lnTo>
                  <a:lnTo>
                    <a:pt x="344" y="448"/>
                  </a:lnTo>
                  <a:lnTo>
                    <a:pt x="344" y="454"/>
                  </a:lnTo>
                  <a:lnTo>
                    <a:pt x="351" y="456"/>
                  </a:lnTo>
                  <a:lnTo>
                    <a:pt x="351" y="460"/>
                  </a:lnTo>
                  <a:lnTo>
                    <a:pt x="355" y="461"/>
                  </a:lnTo>
                  <a:lnTo>
                    <a:pt x="355" y="463"/>
                  </a:lnTo>
                  <a:lnTo>
                    <a:pt x="359" y="463"/>
                  </a:lnTo>
                  <a:lnTo>
                    <a:pt x="359" y="461"/>
                  </a:lnTo>
                  <a:lnTo>
                    <a:pt x="355" y="452"/>
                  </a:lnTo>
                  <a:lnTo>
                    <a:pt x="355" y="450"/>
                  </a:lnTo>
                  <a:lnTo>
                    <a:pt x="361" y="452"/>
                  </a:lnTo>
                  <a:lnTo>
                    <a:pt x="361" y="454"/>
                  </a:lnTo>
                  <a:lnTo>
                    <a:pt x="365" y="454"/>
                  </a:lnTo>
                  <a:lnTo>
                    <a:pt x="367" y="456"/>
                  </a:lnTo>
                  <a:lnTo>
                    <a:pt x="367" y="460"/>
                  </a:lnTo>
                  <a:lnTo>
                    <a:pt x="369" y="465"/>
                  </a:lnTo>
                  <a:lnTo>
                    <a:pt x="367" y="467"/>
                  </a:lnTo>
                  <a:lnTo>
                    <a:pt x="363" y="467"/>
                  </a:lnTo>
                  <a:lnTo>
                    <a:pt x="357" y="467"/>
                  </a:lnTo>
                  <a:lnTo>
                    <a:pt x="355" y="471"/>
                  </a:lnTo>
                  <a:lnTo>
                    <a:pt x="351" y="471"/>
                  </a:lnTo>
                  <a:lnTo>
                    <a:pt x="351" y="473"/>
                  </a:lnTo>
                  <a:lnTo>
                    <a:pt x="355" y="471"/>
                  </a:lnTo>
                  <a:lnTo>
                    <a:pt x="357" y="473"/>
                  </a:lnTo>
                  <a:lnTo>
                    <a:pt x="353" y="477"/>
                  </a:lnTo>
                  <a:lnTo>
                    <a:pt x="349" y="479"/>
                  </a:lnTo>
                  <a:lnTo>
                    <a:pt x="349" y="483"/>
                  </a:lnTo>
                  <a:lnTo>
                    <a:pt x="355" y="485"/>
                  </a:lnTo>
                  <a:lnTo>
                    <a:pt x="353" y="488"/>
                  </a:lnTo>
                  <a:lnTo>
                    <a:pt x="359" y="488"/>
                  </a:lnTo>
                  <a:lnTo>
                    <a:pt x="357" y="492"/>
                  </a:lnTo>
                  <a:lnTo>
                    <a:pt x="359" y="496"/>
                  </a:lnTo>
                  <a:lnTo>
                    <a:pt x="355" y="498"/>
                  </a:lnTo>
                  <a:lnTo>
                    <a:pt x="355" y="496"/>
                  </a:lnTo>
                  <a:lnTo>
                    <a:pt x="351" y="496"/>
                  </a:lnTo>
                  <a:lnTo>
                    <a:pt x="349" y="494"/>
                  </a:lnTo>
                  <a:lnTo>
                    <a:pt x="351" y="490"/>
                  </a:lnTo>
                  <a:lnTo>
                    <a:pt x="349" y="490"/>
                  </a:lnTo>
                  <a:lnTo>
                    <a:pt x="351" y="486"/>
                  </a:lnTo>
                  <a:lnTo>
                    <a:pt x="349" y="486"/>
                  </a:lnTo>
                  <a:lnTo>
                    <a:pt x="348" y="483"/>
                  </a:lnTo>
                  <a:lnTo>
                    <a:pt x="344" y="483"/>
                  </a:lnTo>
                  <a:lnTo>
                    <a:pt x="342" y="483"/>
                  </a:lnTo>
                  <a:lnTo>
                    <a:pt x="340" y="485"/>
                  </a:lnTo>
                  <a:lnTo>
                    <a:pt x="330" y="485"/>
                  </a:lnTo>
                  <a:lnTo>
                    <a:pt x="328" y="486"/>
                  </a:lnTo>
                  <a:lnTo>
                    <a:pt x="326" y="481"/>
                  </a:lnTo>
                  <a:lnTo>
                    <a:pt x="321" y="481"/>
                  </a:lnTo>
                  <a:lnTo>
                    <a:pt x="317" y="479"/>
                  </a:lnTo>
                  <a:lnTo>
                    <a:pt x="317" y="475"/>
                  </a:lnTo>
                  <a:lnTo>
                    <a:pt x="315" y="475"/>
                  </a:lnTo>
                  <a:lnTo>
                    <a:pt x="315" y="465"/>
                  </a:lnTo>
                  <a:lnTo>
                    <a:pt x="309" y="465"/>
                  </a:lnTo>
                  <a:lnTo>
                    <a:pt x="307" y="463"/>
                  </a:lnTo>
                  <a:lnTo>
                    <a:pt x="307" y="467"/>
                  </a:lnTo>
                  <a:lnTo>
                    <a:pt x="301" y="467"/>
                  </a:lnTo>
                  <a:lnTo>
                    <a:pt x="301" y="471"/>
                  </a:lnTo>
                  <a:lnTo>
                    <a:pt x="305" y="471"/>
                  </a:lnTo>
                  <a:lnTo>
                    <a:pt x="311" y="477"/>
                  </a:lnTo>
                  <a:lnTo>
                    <a:pt x="311" y="479"/>
                  </a:lnTo>
                  <a:lnTo>
                    <a:pt x="307" y="479"/>
                  </a:lnTo>
                  <a:lnTo>
                    <a:pt x="305" y="483"/>
                  </a:lnTo>
                  <a:lnTo>
                    <a:pt x="313" y="486"/>
                  </a:lnTo>
                  <a:lnTo>
                    <a:pt x="313" y="490"/>
                  </a:lnTo>
                  <a:lnTo>
                    <a:pt x="317" y="492"/>
                  </a:lnTo>
                  <a:lnTo>
                    <a:pt x="317" y="496"/>
                  </a:lnTo>
                  <a:lnTo>
                    <a:pt x="315" y="496"/>
                  </a:lnTo>
                  <a:lnTo>
                    <a:pt x="313" y="502"/>
                  </a:lnTo>
                  <a:lnTo>
                    <a:pt x="309" y="506"/>
                  </a:lnTo>
                  <a:lnTo>
                    <a:pt x="311" y="506"/>
                  </a:lnTo>
                  <a:lnTo>
                    <a:pt x="313" y="513"/>
                  </a:lnTo>
                  <a:lnTo>
                    <a:pt x="315" y="510"/>
                  </a:lnTo>
                  <a:lnTo>
                    <a:pt x="319" y="513"/>
                  </a:lnTo>
                  <a:lnTo>
                    <a:pt x="321" y="513"/>
                  </a:lnTo>
                  <a:lnTo>
                    <a:pt x="323" y="511"/>
                  </a:lnTo>
                  <a:lnTo>
                    <a:pt x="326" y="511"/>
                  </a:lnTo>
                  <a:lnTo>
                    <a:pt x="330" y="511"/>
                  </a:lnTo>
                  <a:lnTo>
                    <a:pt x="330" y="506"/>
                  </a:lnTo>
                  <a:lnTo>
                    <a:pt x="330" y="504"/>
                  </a:lnTo>
                  <a:lnTo>
                    <a:pt x="326" y="502"/>
                  </a:lnTo>
                  <a:lnTo>
                    <a:pt x="330" y="500"/>
                  </a:lnTo>
                  <a:lnTo>
                    <a:pt x="330" y="496"/>
                  </a:lnTo>
                  <a:lnTo>
                    <a:pt x="332" y="494"/>
                  </a:lnTo>
                  <a:lnTo>
                    <a:pt x="332" y="500"/>
                  </a:lnTo>
                  <a:lnTo>
                    <a:pt x="334" y="500"/>
                  </a:lnTo>
                  <a:lnTo>
                    <a:pt x="336" y="498"/>
                  </a:lnTo>
                  <a:lnTo>
                    <a:pt x="336" y="500"/>
                  </a:lnTo>
                  <a:lnTo>
                    <a:pt x="336" y="496"/>
                  </a:lnTo>
                  <a:lnTo>
                    <a:pt x="340" y="496"/>
                  </a:lnTo>
                  <a:lnTo>
                    <a:pt x="340" y="502"/>
                  </a:lnTo>
                  <a:lnTo>
                    <a:pt x="346" y="500"/>
                  </a:lnTo>
                  <a:lnTo>
                    <a:pt x="348" y="504"/>
                  </a:lnTo>
                  <a:lnTo>
                    <a:pt x="351" y="502"/>
                  </a:lnTo>
                  <a:lnTo>
                    <a:pt x="353" y="504"/>
                  </a:lnTo>
                  <a:lnTo>
                    <a:pt x="359" y="502"/>
                  </a:lnTo>
                  <a:lnTo>
                    <a:pt x="357" y="508"/>
                  </a:lnTo>
                  <a:lnTo>
                    <a:pt x="363" y="506"/>
                  </a:lnTo>
                  <a:lnTo>
                    <a:pt x="361" y="508"/>
                  </a:lnTo>
                  <a:lnTo>
                    <a:pt x="363" y="511"/>
                  </a:lnTo>
                  <a:lnTo>
                    <a:pt x="361" y="521"/>
                  </a:lnTo>
                  <a:lnTo>
                    <a:pt x="365" y="519"/>
                  </a:lnTo>
                  <a:lnTo>
                    <a:pt x="365" y="517"/>
                  </a:lnTo>
                  <a:lnTo>
                    <a:pt x="369" y="519"/>
                  </a:lnTo>
                  <a:lnTo>
                    <a:pt x="369" y="511"/>
                  </a:lnTo>
                  <a:lnTo>
                    <a:pt x="371" y="511"/>
                  </a:lnTo>
                  <a:lnTo>
                    <a:pt x="372" y="515"/>
                  </a:lnTo>
                  <a:lnTo>
                    <a:pt x="376" y="511"/>
                  </a:lnTo>
                  <a:lnTo>
                    <a:pt x="380" y="513"/>
                  </a:lnTo>
                  <a:lnTo>
                    <a:pt x="382" y="513"/>
                  </a:lnTo>
                  <a:lnTo>
                    <a:pt x="378" y="511"/>
                  </a:lnTo>
                  <a:lnTo>
                    <a:pt x="384" y="510"/>
                  </a:lnTo>
                  <a:lnTo>
                    <a:pt x="386" y="510"/>
                  </a:lnTo>
                  <a:lnTo>
                    <a:pt x="384" y="511"/>
                  </a:lnTo>
                  <a:lnTo>
                    <a:pt x="388" y="511"/>
                  </a:lnTo>
                  <a:lnTo>
                    <a:pt x="390" y="513"/>
                  </a:lnTo>
                  <a:lnTo>
                    <a:pt x="390" y="508"/>
                  </a:lnTo>
                  <a:lnTo>
                    <a:pt x="397" y="506"/>
                  </a:lnTo>
                  <a:lnTo>
                    <a:pt x="397" y="502"/>
                  </a:lnTo>
                  <a:lnTo>
                    <a:pt x="403" y="500"/>
                  </a:lnTo>
                  <a:lnTo>
                    <a:pt x="399" y="494"/>
                  </a:lnTo>
                  <a:lnTo>
                    <a:pt x="401" y="492"/>
                  </a:lnTo>
                  <a:lnTo>
                    <a:pt x="409" y="492"/>
                  </a:lnTo>
                  <a:lnTo>
                    <a:pt x="411" y="496"/>
                  </a:lnTo>
                  <a:lnTo>
                    <a:pt x="419" y="490"/>
                  </a:lnTo>
                  <a:lnTo>
                    <a:pt x="419" y="496"/>
                  </a:lnTo>
                  <a:lnTo>
                    <a:pt x="415" y="498"/>
                  </a:lnTo>
                  <a:lnTo>
                    <a:pt x="415" y="504"/>
                  </a:lnTo>
                  <a:lnTo>
                    <a:pt x="419" y="504"/>
                  </a:lnTo>
                  <a:lnTo>
                    <a:pt x="420" y="500"/>
                  </a:lnTo>
                  <a:lnTo>
                    <a:pt x="424" y="500"/>
                  </a:lnTo>
                  <a:lnTo>
                    <a:pt x="426" y="496"/>
                  </a:lnTo>
                  <a:lnTo>
                    <a:pt x="428" y="498"/>
                  </a:lnTo>
                  <a:lnTo>
                    <a:pt x="430" y="500"/>
                  </a:lnTo>
                  <a:lnTo>
                    <a:pt x="432" y="500"/>
                  </a:lnTo>
                  <a:lnTo>
                    <a:pt x="434" y="502"/>
                  </a:lnTo>
                  <a:lnTo>
                    <a:pt x="432" y="506"/>
                  </a:lnTo>
                  <a:lnTo>
                    <a:pt x="434" y="510"/>
                  </a:lnTo>
                  <a:lnTo>
                    <a:pt x="430" y="513"/>
                  </a:lnTo>
                  <a:lnTo>
                    <a:pt x="432" y="515"/>
                  </a:lnTo>
                  <a:lnTo>
                    <a:pt x="432" y="519"/>
                  </a:lnTo>
                  <a:lnTo>
                    <a:pt x="428" y="519"/>
                  </a:lnTo>
                  <a:lnTo>
                    <a:pt x="426" y="521"/>
                  </a:lnTo>
                  <a:lnTo>
                    <a:pt x="430" y="525"/>
                  </a:lnTo>
                  <a:lnTo>
                    <a:pt x="438" y="523"/>
                  </a:lnTo>
                  <a:lnTo>
                    <a:pt x="438" y="525"/>
                  </a:lnTo>
                  <a:lnTo>
                    <a:pt x="442" y="527"/>
                  </a:lnTo>
                  <a:lnTo>
                    <a:pt x="440" y="531"/>
                  </a:lnTo>
                  <a:lnTo>
                    <a:pt x="442" y="533"/>
                  </a:lnTo>
                  <a:lnTo>
                    <a:pt x="445" y="531"/>
                  </a:lnTo>
                  <a:lnTo>
                    <a:pt x="453" y="531"/>
                  </a:lnTo>
                  <a:lnTo>
                    <a:pt x="455" y="533"/>
                  </a:lnTo>
                  <a:lnTo>
                    <a:pt x="459" y="531"/>
                  </a:lnTo>
                  <a:lnTo>
                    <a:pt x="461" y="531"/>
                  </a:lnTo>
                  <a:lnTo>
                    <a:pt x="463" y="533"/>
                  </a:lnTo>
                  <a:lnTo>
                    <a:pt x="459" y="536"/>
                  </a:lnTo>
                  <a:lnTo>
                    <a:pt x="459" y="544"/>
                  </a:lnTo>
                  <a:lnTo>
                    <a:pt x="459" y="548"/>
                  </a:lnTo>
                  <a:lnTo>
                    <a:pt x="459" y="554"/>
                  </a:lnTo>
                  <a:lnTo>
                    <a:pt x="463" y="556"/>
                  </a:lnTo>
                  <a:lnTo>
                    <a:pt x="461" y="558"/>
                  </a:lnTo>
                  <a:lnTo>
                    <a:pt x="463" y="559"/>
                  </a:lnTo>
                  <a:lnTo>
                    <a:pt x="467" y="559"/>
                  </a:lnTo>
                  <a:lnTo>
                    <a:pt x="468" y="561"/>
                  </a:lnTo>
                  <a:lnTo>
                    <a:pt x="470" y="559"/>
                  </a:lnTo>
                  <a:lnTo>
                    <a:pt x="476" y="565"/>
                  </a:lnTo>
                  <a:lnTo>
                    <a:pt x="476" y="561"/>
                  </a:lnTo>
                  <a:lnTo>
                    <a:pt x="480" y="561"/>
                  </a:lnTo>
                  <a:lnTo>
                    <a:pt x="482" y="563"/>
                  </a:lnTo>
                  <a:lnTo>
                    <a:pt x="480" y="567"/>
                  </a:lnTo>
                  <a:lnTo>
                    <a:pt x="482" y="571"/>
                  </a:lnTo>
                  <a:lnTo>
                    <a:pt x="478" y="571"/>
                  </a:lnTo>
                  <a:lnTo>
                    <a:pt x="480" y="575"/>
                  </a:lnTo>
                  <a:lnTo>
                    <a:pt x="476" y="579"/>
                  </a:lnTo>
                  <a:lnTo>
                    <a:pt x="478" y="583"/>
                  </a:lnTo>
                  <a:lnTo>
                    <a:pt x="474" y="583"/>
                  </a:lnTo>
                  <a:lnTo>
                    <a:pt x="474" y="586"/>
                  </a:lnTo>
                  <a:lnTo>
                    <a:pt x="467" y="588"/>
                  </a:lnTo>
                  <a:lnTo>
                    <a:pt x="468" y="596"/>
                  </a:lnTo>
                  <a:lnTo>
                    <a:pt x="465" y="596"/>
                  </a:lnTo>
                  <a:lnTo>
                    <a:pt x="465" y="598"/>
                  </a:lnTo>
                  <a:lnTo>
                    <a:pt x="463" y="600"/>
                  </a:lnTo>
                  <a:lnTo>
                    <a:pt x="463" y="604"/>
                  </a:lnTo>
                  <a:lnTo>
                    <a:pt x="465" y="602"/>
                  </a:lnTo>
                  <a:lnTo>
                    <a:pt x="468" y="606"/>
                  </a:lnTo>
                  <a:lnTo>
                    <a:pt x="468" y="607"/>
                  </a:lnTo>
                  <a:lnTo>
                    <a:pt x="467" y="604"/>
                  </a:lnTo>
                  <a:lnTo>
                    <a:pt x="461" y="604"/>
                  </a:lnTo>
                  <a:lnTo>
                    <a:pt x="457" y="600"/>
                  </a:lnTo>
                  <a:lnTo>
                    <a:pt x="455" y="606"/>
                  </a:lnTo>
                  <a:lnTo>
                    <a:pt x="453" y="606"/>
                  </a:lnTo>
                  <a:lnTo>
                    <a:pt x="453" y="607"/>
                  </a:lnTo>
                  <a:lnTo>
                    <a:pt x="451" y="609"/>
                  </a:lnTo>
                  <a:lnTo>
                    <a:pt x="445" y="609"/>
                  </a:lnTo>
                  <a:lnTo>
                    <a:pt x="445" y="613"/>
                  </a:lnTo>
                  <a:lnTo>
                    <a:pt x="443" y="621"/>
                  </a:lnTo>
                  <a:lnTo>
                    <a:pt x="434" y="617"/>
                  </a:lnTo>
                  <a:lnTo>
                    <a:pt x="432" y="617"/>
                  </a:lnTo>
                  <a:lnTo>
                    <a:pt x="428" y="615"/>
                  </a:lnTo>
                  <a:lnTo>
                    <a:pt x="428" y="613"/>
                  </a:lnTo>
                  <a:lnTo>
                    <a:pt x="424" y="609"/>
                  </a:lnTo>
                  <a:lnTo>
                    <a:pt x="420" y="609"/>
                  </a:lnTo>
                  <a:lnTo>
                    <a:pt x="419" y="615"/>
                  </a:lnTo>
                  <a:lnTo>
                    <a:pt x="413" y="609"/>
                  </a:lnTo>
                  <a:lnTo>
                    <a:pt x="411" y="613"/>
                  </a:lnTo>
                  <a:lnTo>
                    <a:pt x="409" y="613"/>
                  </a:lnTo>
                  <a:lnTo>
                    <a:pt x="411" y="609"/>
                  </a:lnTo>
                  <a:lnTo>
                    <a:pt x="411" y="606"/>
                  </a:lnTo>
                  <a:lnTo>
                    <a:pt x="405" y="607"/>
                  </a:lnTo>
                  <a:lnTo>
                    <a:pt x="399" y="609"/>
                  </a:lnTo>
                  <a:lnTo>
                    <a:pt x="395" y="611"/>
                  </a:lnTo>
                  <a:lnTo>
                    <a:pt x="397" y="617"/>
                  </a:lnTo>
                  <a:lnTo>
                    <a:pt x="394" y="619"/>
                  </a:lnTo>
                  <a:lnTo>
                    <a:pt x="395" y="621"/>
                  </a:lnTo>
                  <a:lnTo>
                    <a:pt x="392" y="623"/>
                  </a:lnTo>
                  <a:lnTo>
                    <a:pt x="394" y="625"/>
                  </a:lnTo>
                  <a:lnTo>
                    <a:pt x="392" y="627"/>
                  </a:lnTo>
                  <a:lnTo>
                    <a:pt x="390" y="627"/>
                  </a:lnTo>
                  <a:lnTo>
                    <a:pt x="390" y="629"/>
                  </a:lnTo>
                  <a:lnTo>
                    <a:pt x="386" y="629"/>
                  </a:lnTo>
                  <a:lnTo>
                    <a:pt x="386" y="631"/>
                  </a:lnTo>
                  <a:lnTo>
                    <a:pt x="384" y="631"/>
                  </a:lnTo>
                  <a:lnTo>
                    <a:pt x="382" y="629"/>
                  </a:lnTo>
                  <a:lnTo>
                    <a:pt x="374" y="631"/>
                  </a:lnTo>
                  <a:lnTo>
                    <a:pt x="374" y="634"/>
                  </a:lnTo>
                  <a:lnTo>
                    <a:pt x="374" y="636"/>
                  </a:lnTo>
                  <a:lnTo>
                    <a:pt x="372" y="642"/>
                  </a:lnTo>
                  <a:lnTo>
                    <a:pt x="372" y="646"/>
                  </a:lnTo>
                  <a:lnTo>
                    <a:pt x="376" y="648"/>
                  </a:lnTo>
                  <a:lnTo>
                    <a:pt x="372" y="652"/>
                  </a:lnTo>
                  <a:lnTo>
                    <a:pt x="378" y="650"/>
                  </a:lnTo>
                  <a:lnTo>
                    <a:pt x="378" y="657"/>
                  </a:lnTo>
                  <a:lnTo>
                    <a:pt x="376" y="663"/>
                  </a:lnTo>
                  <a:lnTo>
                    <a:pt x="372" y="663"/>
                  </a:lnTo>
                  <a:lnTo>
                    <a:pt x="371" y="669"/>
                  </a:lnTo>
                  <a:lnTo>
                    <a:pt x="367" y="673"/>
                  </a:lnTo>
                  <a:lnTo>
                    <a:pt x="361" y="673"/>
                  </a:lnTo>
                  <a:lnTo>
                    <a:pt x="359" y="680"/>
                  </a:lnTo>
                  <a:lnTo>
                    <a:pt x="365" y="682"/>
                  </a:lnTo>
                  <a:lnTo>
                    <a:pt x="374" y="680"/>
                  </a:lnTo>
                  <a:lnTo>
                    <a:pt x="376" y="680"/>
                  </a:lnTo>
                  <a:lnTo>
                    <a:pt x="380" y="680"/>
                  </a:lnTo>
                  <a:lnTo>
                    <a:pt x="388" y="682"/>
                  </a:lnTo>
                  <a:lnTo>
                    <a:pt x="392" y="690"/>
                  </a:lnTo>
                  <a:lnTo>
                    <a:pt x="390" y="694"/>
                  </a:lnTo>
                  <a:lnTo>
                    <a:pt x="384" y="702"/>
                  </a:lnTo>
                  <a:lnTo>
                    <a:pt x="382" y="707"/>
                  </a:lnTo>
                  <a:lnTo>
                    <a:pt x="374" y="709"/>
                  </a:lnTo>
                  <a:lnTo>
                    <a:pt x="369" y="709"/>
                  </a:lnTo>
                  <a:lnTo>
                    <a:pt x="367" y="709"/>
                  </a:lnTo>
                  <a:lnTo>
                    <a:pt x="361" y="709"/>
                  </a:lnTo>
                  <a:lnTo>
                    <a:pt x="361" y="715"/>
                  </a:lnTo>
                  <a:lnTo>
                    <a:pt x="359" y="713"/>
                  </a:lnTo>
                  <a:lnTo>
                    <a:pt x="359" y="719"/>
                  </a:lnTo>
                  <a:lnTo>
                    <a:pt x="355" y="728"/>
                  </a:lnTo>
                  <a:lnTo>
                    <a:pt x="349" y="725"/>
                  </a:lnTo>
                  <a:lnTo>
                    <a:pt x="344" y="727"/>
                  </a:lnTo>
                  <a:lnTo>
                    <a:pt x="342" y="725"/>
                  </a:lnTo>
                  <a:lnTo>
                    <a:pt x="336" y="723"/>
                  </a:lnTo>
                  <a:lnTo>
                    <a:pt x="334" y="725"/>
                  </a:lnTo>
                  <a:lnTo>
                    <a:pt x="330" y="725"/>
                  </a:lnTo>
                  <a:lnTo>
                    <a:pt x="321" y="727"/>
                  </a:lnTo>
                  <a:lnTo>
                    <a:pt x="321" y="732"/>
                  </a:lnTo>
                  <a:lnTo>
                    <a:pt x="315" y="728"/>
                  </a:lnTo>
                  <a:lnTo>
                    <a:pt x="315" y="727"/>
                  </a:lnTo>
                  <a:lnTo>
                    <a:pt x="311" y="727"/>
                  </a:lnTo>
                  <a:lnTo>
                    <a:pt x="313" y="725"/>
                  </a:lnTo>
                  <a:lnTo>
                    <a:pt x="309" y="723"/>
                  </a:lnTo>
                  <a:lnTo>
                    <a:pt x="307" y="723"/>
                  </a:lnTo>
                  <a:lnTo>
                    <a:pt x="305" y="727"/>
                  </a:lnTo>
                  <a:lnTo>
                    <a:pt x="298" y="725"/>
                  </a:lnTo>
                  <a:lnTo>
                    <a:pt x="296" y="730"/>
                  </a:lnTo>
                  <a:lnTo>
                    <a:pt x="294" y="734"/>
                  </a:lnTo>
                  <a:lnTo>
                    <a:pt x="290" y="740"/>
                  </a:lnTo>
                  <a:lnTo>
                    <a:pt x="292" y="744"/>
                  </a:lnTo>
                  <a:lnTo>
                    <a:pt x="292" y="748"/>
                  </a:lnTo>
                  <a:lnTo>
                    <a:pt x="288" y="746"/>
                  </a:lnTo>
                  <a:lnTo>
                    <a:pt x="282" y="744"/>
                  </a:lnTo>
                  <a:lnTo>
                    <a:pt x="280" y="744"/>
                  </a:lnTo>
                  <a:lnTo>
                    <a:pt x="273" y="744"/>
                  </a:lnTo>
                  <a:lnTo>
                    <a:pt x="269" y="744"/>
                  </a:lnTo>
                  <a:lnTo>
                    <a:pt x="267" y="746"/>
                  </a:lnTo>
                  <a:lnTo>
                    <a:pt x="261" y="744"/>
                  </a:lnTo>
                  <a:lnTo>
                    <a:pt x="259" y="738"/>
                  </a:lnTo>
                  <a:lnTo>
                    <a:pt x="255" y="734"/>
                  </a:lnTo>
                  <a:lnTo>
                    <a:pt x="250" y="738"/>
                  </a:lnTo>
                  <a:lnTo>
                    <a:pt x="246" y="740"/>
                  </a:lnTo>
                  <a:lnTo>
                    <a:pt x="244" y="736"/>
                  </a:lnTo>
                  <a:lnTo>
                    <a:pt x="246" y="732"/>
                  </a:lnTo>
                  <a:lnTo>
                    <a:pt x="244" y="730"/>
                  </a:lnTo>
                  <a:lnTo>
                    <a:pt x="244" y="728"/>
                  </a:lnTo>
                  <a:lnTo>
                    <a:pt x="236" y="730"/>
                  </a:lnTo>
                  <a:lnTo>
                    <a:pt x="234" y="730"/>
                  </a:lnTo>
                  <a:lnTo>
                    <a:pt x="230" y="723"/>
                  </a:lnTo>
                  <a:lnTo>
                    <a:pt x="225" y="723"/>
                  </a:lnTo>
                  <a:lnTo>
                    <a:pt x="223" y="717"/>
                  </a:lnTo>
                  <a:lnTo>
                    <a:pt x="221" y="717"/>
                  </a:lnTo>
                  <a:lnTo>
                    <a:pt x="217" y="717"/>
                  </a:lnTo>
                  <a:lnTo>
                    <a:pt x="213" y="719"/>
                  </a:lnTo>
                  <a:lnTo>
                    <a:pt x="213" y="715"/>
                  </a:lnTo>
                  <a:lnTo>
                    <a:pt x="213" y="705"/>
                  </a:lnTo>
                  <a:lnTo>
                    <a:pt x="207" y="705"/>
                  </a:lnTo>
                  <a:lnTo>
                    <a:pt x="200" y="711"/>
                  </a:lnTo>
                  <a:lnTo>
                    <a:pt x="194" y="709"/>
                  </a:lnTo>
                  <a:lnTo>
                    <a:pt x="186" y="707"/>
                  </a:lnTo>
                  <a:lnTo>
                    <a:pt x="184" y="705"/>
                  </a:lnTo>
                  <a:lnTo>
                    <a:pt x="181" y="705"/>
                  </a:lnTo>
                  <a:lnTo>
                    <a:pt x="182" y="704"/>
                  </a:lnTo>
                  <a:lnTo>
                    <a:pt x="179" y="698"/>
                  </a:lnTo>
                  <a:lnTo>
                    <a:pt x="179" y="694"/>
                  </a:lnTo>
                  <a:lnTo>
                    <a:pt x="175" y="694"/>
                  </a:lnTo>
                  <a:lnTo>
                    <a:pt x="171" y="696"/>
                  </a:lnTo>
                  <a:lnTo>
                    <a:pt x="169" y="692"/>
                  </a:lnTo>
                  <a:lnTo>
                    <a:pt x="163" y="692"/>
                  </a:lnTo>
                  <a:lnTo>
                    <a:pt x="161" y="686"/>
                  </a:lnTo>
                  <a:lnTo>
                    <a:pt x="158" y="686"/>
                  </a:lnTo>
                  <a:lnTo>
                    <a:pt x="150" y="680"/>
                  </a:lnTo>
                  <a:lnTo>
                    <a:pt x="152" y="679"/>
                  </a:lnTo>
                  <a:lnTo>
                    <a:pt x="148" y="677"/>
                  </a:lnTo>
                  <a:lnTo>
                    <a:pt x="146" y="671"/>
                  </a:lnTo>
                  <a:lnTo>
                    <a:pt x="138" y="671"/>
                  </a:lnTo>
                  <a:lnTo>
                    <a:pt x="140" y="669"/>
                  </a:lnTo>
                  <a:lnTo>
                    <a:pt x="138" y="665"/>
                  </a:lnTo>
                  <a:lnTo>
                    <a:pt x="138" y="661"/>
                  </a:lnTo>
                  <a:lnTo>
                    <a:pt x="134" y="659"/>
                  </a:lnTo>
                  <a:lnTo>
                    <a:pt x="133" y="655"/>
                  </a:lnTo>
                  <a:lnTo>
                    <a:pt x="134" y="654"/>
                  </a:lnTo>
                  <a:lnTo>
                    <a:pt x="136" y="654"/>
                  </a:lnTo>
                  <a:lnTo>
                    <a:pt x="140" y="652"/>
                  </a:lnTo>
                  <a:lnTo>
                    <a:pt x="140" y="648"/>
                  </a:lnTo>
                  <a:lnTo>
                    <a:pt x="136" y="648"/>
                  </a:lnTo>
                  <a:lnTo>
                    <a:pt x="131" y="654"/>
                  </a:lnTo>
                  <a:lnTo>
                    <a:pt x="131" y="650"/>
                  </a:lnTo>
                  <a:lnTo>
                    <a:pt x="127" y="648"/>
                  </a:lnTo>
                  <a:lnTo>
                    <a:pt x="127" y="646"/>
                  </a:lnTo>
                  <a:lnTo>
                    <a:pt x="125" y="646"/>
                  </a:lnTo>
                  <a:lnTo>
                    <a:pt x="123" y="642"/>
                  </a:lnTo>
                  <a:lnTo>
                    <a:pt x="129" y="640"/>
                  </a:lnTo>
                  <a:lnTo>
                    <a:pt x="129" y="638"/>
                  </a:lnTo>
                  <a:lnTo>
                    <a:pt x="127" y="638"/>
                  </a:lnTo>
                  <a:lnTo>
                    <a:pt x="125" y="636"/>
                  </a:lnTo>
                  <a:lnTo>
                    <a:pt x="117" y="642"/>
                  </a:lnTo>
                  <a:lnTo>
                    <a:pt x="115" y="638"/>
                  </a:lnTo>
                  <a:lnTo>
                    <a:pt x="117" y="638"/>
                  </a:lnTo>
                  <a:lnTo>
                    <a:pt x="115" y="636"/>
                  </a:lnTo>
                  <a:lnTo>
                    <a:pt x="115" y="634"/>
                  </a:lnTo>
                  <a:lnTo>
                    <a:pt x="110" y="634"/>
                  </a:lnTo>
                  <a:lnTo>
                    <a:pt x="110" y="632"/>
                  </a:lnTo>
                  <a:lnTo>
                    <a:pt x="111" y="631"/>
                  </a:lnTo>
                  <a:lnTo>
                    <a:pt x="111" y="629"/>
                  </a:lnTo>
                  <a:lnTo>
                    <a:pt x="110" y="629"/>
                  </a:lnTo>
                  <a:lnTo>
                    <a:pt x="104" y="627"/>
                  </a:lnTo>
                  <a:lnTo>
                    <a:pt x="104" y="629"/>
                  </a:lnTo>
                  <a:lnTo>
                    <a:pt x="102" y="631"/>
                  </a:lnTo>
                  <a:lnTo>
                    <a:pt x="98" y="631"/>
                  </a:lnTo>
                  <a:lnTo>
                    <a:pt x="98" y="627"/>
                  </a:lnTo>
                  <a:lnTo>
                    <a:pt x="100" y="625"/>
                  </a:lnTo>
                  <a:lnTo>
                    <a:pt x="94" y="625"/>
                  </a:lnTo>
                  <a:lnTo>
                    <a:pt x="96" y="623"/>
                  </a:lnTo>
                  <a:lnTo>
                    <a:pt x="92" y="623"/>
                  </a:lnTo>
                  <a:lnTo>
                    <a:pt x="96" y="619"/>
                  </a:lnTo>
                  <a:lnTo>
                    <a:pt x="94" y="617"/>
                  </a:lnTo>
                  <a:lnTo>
                    <a:pt x="92" y="619"/>
                  </a:lnTo>
                  <a:lnTo>
                    <a:pt x="88" y="617"/>
                  </a:lnTo>
                  <a:lnTo>
                    <a:pt x="79" y="621"/>
                  </a:lnTo>
                  <a:lnTo>
                    <a:pt x="77" y="615"/>
                  </a:lnTo>
                  <a:lnTo>
                    <a:pt x="75" y="611"/>
                  </a:lnTo>
                  <a:lnTo>
                    <a:pt x="77" y="611"/>
                  </a:lnTo>
                  <a:lnTo>
                    <a:pt x="81" y="611"/>
                  </a:lnTo>
                  <a:lnTo>
                    <a:pt x="77" y="611"/>
                  </a:lnTo>
                  <a:lnTo>
                    <a:pt x="75" y="606"/>
                  </a:lnTo>
                  <a:lnTo>
                    <a:pt x="75" y="604"/>
                  </a:lnTo>
                  <a:lnTo>
                    <a:pt x="75" y="609"/>
                  </a:lnTo>
                  <a:lnTo>
                    <a:pt x="73" y="602"/>
                  </a:lnTo>
                  <a:lnTo>
                    <a:pt x="75" y="602"/>
                  </a:lnTo>
                  <a:lnTo>
                    <a:pt x="73" y="602"/>
                  </a:lnTo>
                  <a:lnTo>
                    <a:pt x="71" y="592"/>
                  </a:lnTo>
                  <a:lnTo>
                    <a:pt x="71" y="586"/>
                  </a:lnTo>
                  <a:lnTo>
                    <a:pt x="71" y="584"/>
                  </a:lnTo>
                  <a:lnTo>
                    <a:pt x="69" y="577"/>
                  </a:lnTo>
                  <a:lnTo>
                    <a:pt x="67" y="573"/>
                  </a:lnTo>
                  <a:lnTo>
                    <a:pt x="65" y="565"/>
                  </a:lnTo>
                  <a:lnTo>
                    <a:pt x="65" y="563"/>
                  </a:lnTo>
                  <a:lnTo>
                    <a:pt x="63" y="559"/>
                  </a:lnTo>
                  <a:lnTo>
                    <a:pt x="62" y="556"/>
                  </a:lnTo>
                  <a:lnTo>
                    <a:pt x="63" y="556"/>
                  </a:lnTo>
                  <a:lnTo>
                    <a:pt x="63" y="550"/>
                  </a:lnTo>
                  <a:lnTo>
                    <a:pt x="63" y="546"/>
                  </a:lnTo>
                  <a:lnTo>
                    <a:pt x="63" y="548"/>
                  </a:lnTo>
                  <a:lnTo>
                    <a:pt x="65" y="550"/>
                  </a:lnTo>
                  <a:lnTo>
                    <a:pt x="63" y="548"/>
                  </a:lnTo>
                  <a:lnTo>
                    <a:pt x="65" y="544"/>
                  </a:lnTo>
                  <a:lnTo>
                    <a:pt x="63" y="546"/>
                  </a:lnTo>
                  <a:lnTo>
                    <a:pt x="63" y="542"/>
                  </a:lnTo>
                  <a:lnTo>
                    <a:pt x="63" y="546"/>
                  </a:lnTo>
                  <a:lnTo>
                    <a:pt x="62" y="544"/>
                  </a:lnTo>
                  <a:lnTo>
                    <a:pt x="62" y="538"/>
                  </a:lnTo>
                  <a:lnTo>
                    <a:pt x="62" y="531"/>
                  </a:lnTo>
                  <a:lnTo>
                    <a:pt x="60" y="525"/>
                  </a:lnTo>
                  <a:lnTo>
                    <a:pt x="62" y="529"/>
                  </a:lnTo>
                  <a:lnTo>
                    <a:pt x="62" y="525"/>
                  </a:lnTo>
                  <a:lnTo>
                    <a:pt x="63" y="525"/>
                  </a:lnTo>
                  <a:lnTo>
                    <a:pt x="63" y="527"/>
                  </a:lnTo>
                  <a:lnTo>
                    <a:pt x="65" y="525"/>
                  </a:lnTo>
                  <a:lnTo>
                    <a:pt x="63" y="523"/>
                  </a:lnTo>
                  <a:lnTo>
                    <a:pt x="62" y="523"/>
                  </a:lnTo>
                  <a:lnTo>
                    <a:pt x="62" y="521"/>
                  </a:lnTo>
                  <a:lnTo>
                    <a:pt x="63" y="521"/>
                  </a:lnTo>
                  <a:lnTo>
                    <a:pt x="62" y="521"/>
                  </a:lnTo>
                  <a:lnTo>
                    <a:pt x="62" y="519"/>
                  </a:lnTo>
                  <a:lnTo>
                    <a:pt x="62" y="521"/>
                  </a:lnTo>
                  <a:lnTo>
                    <a:pt x="60" y="525"/>
                  </a:lnTo>
                  <a:lnTo>
                    <a:pt x="58" y="521"/>
                  </a:lnTo>
                  <a:lnTo>
                    <a:pt x="58" y="519"/>
                  </a:lnTo>
                  <a:lnTo>
                    <a:pt x="58" y="515"/>
                  </a:lnTo>
                  <a:lnTo>
                    <a:pt x="56" y="510"/>
                  </a:lnTo>
                  <a:lnTo>
                    <a:pt x="54" y="500"/>
                  </a:lnTo>
                  <a:lnTo>
                    <a:pt x="50" y="492"/>
                  </a:lnTo>
                  <a:lnTo>
                    <a:pt x="48" y="490"/>
                  </a:lnTo>
                  <a:lnTo>
                    <a:pt x="44" y="486"/>
                  </a:lnTo>
                  <a:lnTo>
                    <a:pt x="42" y="483"/>
                  </a:lnTo>
                  <a:lnTo>
                    <a:pt x="44" y="483"/>
                  </a:lnTo>
                  <a:lnTo>
                    <a:pt x="42" y="483"/>
                  </a:lnTo>
                  <a:lnTo>
                    <a:pt x="40" y="475"/>
                  </a:lnTo>
                  <a:lnTo>
                    <a:pt x="42" y="473"/>
                  </a:lnTo>
                  <a:lnTo>
                    <a:pt x="40" y="465"/>
                  </a:lnTo>
                  <a:lnTo>
                    <a:pt x="37" y="461"/>
                  </a:lnTo>
                  <a:lnTo>
                    <a:pt x="35" y="454"/>
                  </a:lnTo>
                  <a:lnTo>
                    <a:pt x="37" y="454"/>
                  </a:lnTo>
                  <a:lnTo>
                    <a:pt x="37" y="458"/>
                  </a:lnTo>
                  <a:lnTo>
                    <a:pt x="46" y="460"/>
                  </a:lnTo>
                  <a:lnTo>
                    <a:pt x="40" y="456"/>
                  </a:lnTo>
                  <a:lnTo>
                    <a:pt x="39" y="456"/>
                  </a:lnTo>
                  <a:lnTo>
                    <a:pt x="40" y="456"/>
                  </a:lnTo>
                  <a:lnTo>
                    <a:pt x="37" y="456"/>
                  </a:lnTo>
                  <a:lnTo>
                    <a:pt x="37" y="454"/>
                  </a:lnTo>
                  <a:lnTo>
                    <a:pt x="35" y="452"/>
                  </a:lnTo>
                  <a:lnTo>
                    <a:pt x="33" y="444"/>
                  </a:lnTo>
                  <a:lnTo>
                    <a:pt x="33" y="440"/>
                  </a:lnTo>
                  <a:lnTo>
                    <a:pt x="31" y="440"/>
                  </a:lnTo>
                  <a:lnTo>
                    <a:pt x="29" y="431"/>
                  </a:lnTo>
                  <a:lnTo>
                    <a:pt x="31" y="429"/>
                  </a:lnTo>
                  <a:lnTo>
                    <a:pt x="31" y="433"/>
                  </a:lnTo>
                  <a:lnTo>
                    <a:pt x="33" y="433"/>
                  </a:lnTo>
                  <a:lnTo>
                    <a:pt x="31" y="427"/>
                  </a:lnTo>
                  <a:lnTo>
                    <a:pt x="29" y="427"/>
                  </a:lnTo>
                  <a:lnTo>
                    <a:pt x="31" y="425"/>
                  </a:lnTo>
                  <a:lnTo>
                    <a:pt x="29" y="427"/>
                  </a:lnTo>
                  <a:lnTo>
                    <a:pt x="29" y="429"/>
                  </a:lnTo>
                  <a:lnTo>
                    <a:pt x="23" y="429"/>
                  </a:lnTo>
                  <a:lnTo>
                    <a:pt x="21" y="421"/>
                  </a:lnTo>
                  <a:lnTo>
                    <a:pt x="29" y="419"/>
                  </a:lnTo>
                  <a:lnTo>
                    <a:pt x="21" y="419"/>
                  </a:lnTo>
                  <a:lnTo>
                    <a:pt x="19" y="417"/>
                  </a:lnTo>
                  <a:lnTo>
                    <a:pt x="21" y="417"/>
                  </a:lnTo>
                  <a:lnTo>
                    <a:pt x="21" y="412"/>
                  </a:lnTo>
                  <a:lnTo>
                    <a:pt x="17" y="410"/>
                  </a:lnTo>
                  <a:lnTo>
                    <a:pt x="19" y="408"/>
                  </a:lnTo>
                  <a:lnTo>
                    <a:pt x="17" y="406"/>
                  </a:lnTo>
                  <a:lnTo>
                    <a:pt x="15" y="404"/>
                  </a:lnTo>
                  <a:lnTo>
                    <a:pt x="14" y="406"/>
                  </a:lnTo>
                  <a:lnTo>
                    <a:pt x="14" y="408"/>
                  </a:lnTo>
                  <a:lnTo>
                    <a:pt x="10" y="404"/>
                  </a:lnTo>
                  <a:lnTo>
                    <a:pt x="8" y="404"/>
                  </a:lnTo>
                  <a:lnTo>
                    <a:pt x="8" y="402"/>
                  </a:lnTo>
                  <a:lnTo>
                    <a:pt x="6" y="400"/>
                  </a:lnTo>
                  <a:lnTo>
                    <a:pt x="2" y="402"/>
                  </a:lnTo>
                  <a:lnTo>
                    <a:pt x="4" y="404"/>
                  </a:lnTo>
                  <a:lnTo>
                    <a:pt x="2" y="404"/>
                  </a:lnTo>
                  <a:lnTo>
                    <a:pt x="4" y="400"/>
                  </a:lnTo>
                  <a:lnTo>
                    <a:pt x="0" y="398"/>
                  </a:lnTo>
                  <a:lnTo>
                    <a:pt x="4" y="398"/>
                  </a:lnTo>
                  <a:lnTo>
                    <a:pt x="4" y="394"/>
                  </a:lnTo>
                  <a:lnTo>
                    <a:pt x="10" y="394"/>
                  </a:lnTo>
                  <a:lnTo>
                    <a:pt x="10" y="396"/>
                  </a:lnTo>
                  <a:lnTo>
                    <a:pt x="10" y="394"/>
                  </a:lnTo>
                  <a:lnTo>
                    <a:pt x="8" y="394"/>
                  </a:lnTo>
                  <a:lnTo>
                    <a:pt x="10" y="392"/>
                  </a:lnTo>
                  <a:lnTo>
                    <a:pt x="4" y="394"/>
                  </a:lnTo>
                  <a:lnTo>
                    <a:pt x="0" y="388"/>
                  </a:lnTo>
                  <a:lnTo>
                    <a:pt x="6" y="385"/>
                  </a:lnTo>
                  <a:lnTo>
                    <a:pt x="10" y="387"/>
                  </a:lnTo>
                  <a:lnTo>
                    <a:pt x="8" y="383"/>
                  </a:lnTo>
                  <a:lnTo>
                    <a:pt x="10" y="381"/>
                  </a:lnTo>
                  <a:lnTo>
                    <a:pt x="14" y="385"/>
                  </a:lnTo>
                  <a:lnTo>
                    <a:pt x="19" y="379"/>
                  </a:lnTo>
                  <a:lnTo>
                    <a:pt x="19" y="377"/>
                  </a:lnTo>
                  <a:lnTo>
                    <a:pt x="21" y="377"/>
                  </a:lnTo>
                  <a:lnTo>
                    <a:pt x="23" y="373"/>
                  </a:lnTo>
                  <a:lnTo>
                    <a:pt x="21" y="365"/>
                  </a:lnTo>
                  <a:lnTo>
                    <a:pt x="23" y="362"/>
                  </a:lnTo>
                  <a:lnTo>
                    <a:pt x="25" y="356"/>
                  </a:lnTo>
                  <a:lnTo>
                    <a:pt x="23" y="352"/>
                  </a:lnTo>
                  <a:lnTo>
                    <a:pt x="19" y="348"/>
                  </a:lnTo>
                  <a:lnTo>
                    <a:pt x="21" y="346"/>
                  </a:lnTo>
                  <a:lnTo>
                    <a:pt x="29" y="344"/>
                  </a:lnTo>
                  <a:lnTo>
                    <a:pt x="27" y="340"/>
                  </a:lnTo>
                  <a:lnTo>
                    <a:pt x="27" y="337"/>
                  </a:lnTo>
                  <a:lnTo>
                    <a:pt x="23" y="335"/>
                  </a:lnTo>
                  <a:lnTo>
                    <a:pt x="23" y="329"/>
                  </a:lnTo>
                  <a:lnTo>
                    <a:pt x="19" y="323"/>
                  </a:lnTo>
                  <a:lnTo>
                    <a:pt x="23" y="319"/>
                  </a:lnTo>
                  <a:lnTo>
                    <a:pt x="21" y="316"/>
                  </a:lnTo>
                  <a:lnTo>
                    <a:pt x="19" y="316"/>
                  </a:lnTo>
                  <a:lnTo>
                    <a:pt x="21" y="310"/>
                  </a:lnTo>
                  <a:lnTo>
                    <a:pt x="19" y="310"/>
                  </a:lnTo>
                  <a:lnTo>
                    <a:pt x="21" y="306"/>
                  </a:lnTo>
                  <a:lnTo>
                    <a:pt x="19" y="304"/>
                  </a:lnTo>
                  <a:lnTo>
                    <a:pt x="15" y="306"/>
                  </a:lnTo>
                  <a:lnTo>
                    <a:pt x="14" y="302"/>
                  </a:lnTo>
                  <a:lnTo>
                    <a:pt x="12" y="306"/>
                  </a:lnTo>
                  <a:lnTo>
                    <a:pt x="6" y="306"/>
                  </a:lnTo>
                  <a:lnTo>
                    <a:pt x="2" y="304"/>
                  </a:lnTo>
                  <a:lnTo>
                    <a:pt x="8" y="302"/>
                  </a:lnTo>
                  <a:lnTo>
                    <a:pt x="8" y="298"/>
                  </a:lnTo>
                  <a:lnTo>
                    <a:pt x="12" y="294"/>
                  </a:lnTo>
                  <a:lnTo>
                    <a:pt x="15" y="294"/>
                  </a:lnTo>
                  <a:lnTo>
                    <a:pt x="17" y="291"/>
                  </a:lnTo>
                  <a:lnTo>
                    <a:pt x="19" y="291"/>
                  </a:lnTo>
                  <a:lnTo>
                    <a:pt x="17" y="294"/>
                  </a:lnTo>
                  <a:lnTo>
                    <a:pt x="19" y="296"/>
                  </a:lnTo>
                  <a:lnTo>
                    <a:pt x="21" y="294"/>
                  </a:lnTo>
                  <a:lnTo>
                    <a:pt x="25" y="296"/>
                  </a:lnTo>
                  <a:lnTo>
                    <a:pt x="29" y="292"/>
                  </a:lnTo>
                  <a:lnTo>
                    <a:pt x="31" y="294"/>
                  </a:lnTo>
                  <a:lnTo>
                    <a:pt x="33" y="291"/>
                  </a:lnTo>
                  <a:lnTo>
                    <a:pt x="33" y="289"/>
                  </a:lnTo>
                  <a:lnTo>
                    <a:pt x="35" y="285"/>
                  </a:lnTo>
                  <a:lnTo>
                    <a:pt x="31" y="285"/>
                  </a:lnTo>
                  <a:lnTo>
                    <a:pt x="33" y="279"/>
                  </a:lnTo>
                  <a:lnTo>
                    <a:pt x="35" y="285"/>
                  </a:lnTo>
                  <a:lnTo>
                    <a:pt x="37" y="285"/>
                  </a:lnTo>
                  <a:lnTo>
                    <a:pt x="37" y="279"/>
                  </a:lnTo>
                  <a:lnTo>
                    <a:pt x="40" y="273"/>
                  </a:lnTo>
                  <a:lnTo>
                    <a:pt x="42" y="267"/>
                  </a:lnTo>
                  <a:lnTo>
                    <a:pt x="44" y="264"/>
                  </a:lnTo>
                  <a:lnTo>
                    <a:pt x="40" y="262"/>
                  </a:lnTo>
                  <a:lnTo>
                    <a:pt x="35" y="264"/>
                  </a:lnTo>
                  <a:lnTo>
                    <a:pt x="35" y="262"/>
                  </a:lnTo>
                  <a:lnTo>
                    <a:pt x="33" y="262"/>
                  </a:lnTo>
                  <a:lnTo>
                    <a:pt x="40" y="256"/>
                  </a:lnTo>
                  <a:lnTo>
                    <a:pt x="46" y="258"/>
                  </a:lnTo>
                  <a:lnTo>
                    <a:pt x="46" y="252"/>
                  </a:lnTo>
                  <a:lnTo>
                    <a:pt x="50" y="248"/>
                  </a:lnTo>
                  <a:lnTo>
                    <a:pt x="46" y="241"/>
                  </a:lnTo>
                  <a:lnTo>
                    <a:pt x="44" y="243"/>
                  </a:lnTo>
                  <a:lnTo>
                    <a:pt x="40" y="241"/>
                  </a:lnTo>
                  <a:lnTo>
                    <a:pt x="40" y="237"/>
                  </a:lnTo>
                  <a:lnTo>
                    <a:pt x="37" y="239"/>
                  </a:lnTo>
                  <a:lnTo>
                    <a:pt x="35" y="237"/>
                  </a:lnTo>
                  <a:lnTo>
                    <a:pt x="31" y="239"/>
                  </a:lnTo>
                  <a:lnTo>
                    <a:pt x="31" y="237"/>
                  </a:lnTo>
                  <a:lnTo>
                    <a:pt x="31" y="235"/>
                  </a:lnTo>
                  <a:lnTo>
                    <a:pt x="29" y="235"/>
                  </a:lnTo>
                  <a:lnTo>
                    <a:pt x="31" y="233"/>
                  </a:lnTo>
                  <a:lnTo>
                    <a:pt x="29" y="233"/>
                  </a:lnTo>
                  <a:lnTo>
                    <a:pt x="31" y="231"/>
                  </a:lnTo>
                  <a:lnTo>
                    <a:pt x="31" y="227"/>
                  </a:lnTo>
                  <a:lnTo>
                    <a:pt x="31" y="225"/>
                  </a:lnTo>
                  <a:lnTo>
                    <a:pt x="33" y="227"/>
                  </a:lnTo>
                  <a:lnTo>
                    <a:pt x="35" y="223"/>
                  </a:lnTo>
                  <a:lnTo>
                    <a:pt x="31" y="225"/>
                  </a:lnTo>
                  <a:lnTo>
                    <a:pt x="31" y="219"/>
                  </a:lnTo>
                  <a:lnTo>
                    <a:pt x="27" y="218"/>
                  </a:lnTo>
                  <a:lnTo>
                    <a:pt x="27" y="214"/>
                  </a:lnTo>
                  <a:lnTo>
                    <a:pt x="23" y="216"/>
                  </a:lnTo>
                  <a:lnTo>
                    <a:pt x="23" y="214"/>
                  </a:lnTo>
                  <a:lnTo>
                    <a:pt x="25" y="214"/>
                  </a:lnTo>
                  <a:lnTo>
                    <a:pt x="25" y="210"/>
                  </a:lnTo>
                  <a:lnTo>
                    <a:pt x="25" y="208"/>
                  </a:lnTo>
                  <a:lnTo>
                    <a:pt x="27" y="212"/>
                  </a:lnTo>
                  <a:lnTo>
                    <a:pt x="29" y="210"/>
                  </a:lnTo>
                  <a:lnTo>
                    <a:pt x="29" y="214"/>
                  </a:lnTo>
                  <a:lnTo>
                    <a:pt x="31" y="208"/>
                  </a:lnTo>
                  <a:lnTo>
                    <a:pt x="33" y="208"/>
                  </a:lnTo>
                  <a:lnTo>
                    <a:pt x="35" y="208"/>
                  </a:lnTo>
                  <a:lnTo>
                    <a:pt x="35" y="210"/>
                  </a:lnTo>
                  <a:lnTo>
                    <a:pt x="37" y="210"/>
                  </a:lnTo>
                  <a:lnTo>
                    <a:pt x="39" y="204"/>
                  </a:lnTo>
                  <a:lnTo>
                    <a:pt x="46" y="202"/>
                  </a:lnTo>
                  <a:lnTo>
                    <a:pt x="44" y="198"/>
                  </a:lnTo>
                  <a:lnTo>
                    <a:pt x="46" y="196"/>
                  </a:lnTo>
                  <a:lnTo>
                    <a:pt x="48" y="200"/>
                  </a:lnTo>
                  <a:lnTo>
                    <a:pt x="54" y="198"/>
                  </a:lnTo>
                  <a:lnTo>
                    <a:pt x="54" y="204"/>
                  </a:lnTo>
                  <a:lnTo>
                    <a:pt x="58" y="204"/>
                  </a:lnTo>
                  <a:lnTo>
                    <a:pt x="56" y="206"/>
                  </a:lnTo>
                  <a:lnTo>
                    <a:pt x="58" y="208"/>
                  </a:lnTo>
                  <a:lnTo>
                    <a:pt x="63" y="204"/>
                  </a:lnTo>
                  <a:lnTo>
                    <a:pt x="63" y="206"/>
                  </a:lnTo>
                  <a:lnTo>
                    <a:pt x="65" y="202"/>
                  </a:lnTo>
                  <a:lnTo>
                    <a:pt x="69" y="202"/>
                  </a:lnTo>
                  <a:lnTo>
                    <a:pt x="69" y="200"/>
                  </a:lnTo>
                  <a:lnTo>
                    <a:pt x="67" y="198"/>
                  </a:lnTo>
                  <a:lnTo>
                    <a:pt x="71" y="194"/>
                  </a:lnTo>
                  <a:lnTo>
                    <a:pt x="69" y="194"/>
                  </a:lnTo>
                  <a:lnTo>
                    <a:pt x="71" y="191"/>
                  </a:lnTo>
                  <a:lnTo>
                    <a:pt x="75" y="191"/>
                  </a:lnTo>
                  <a:lnTo>
                    <a:pt x="81" y="187"/>
                  </a:lnTo>
                  <a:lnTo>
                    <a:pt x="88" y="185"/>
                  </a:lnTo>
                  <a:lnTo>
                    <a:pt x="96" y="185"/>
                  </a:lnTo>
                  <a:lnTo>
                    <a:pt x="94" y="175"/>
                  </a:lnTo>
                  <a:lnTo>
                    <a:pt x="100" y="173"/>
                  </a:lnTo>
                  <a:lnTo>
                    <a:pt x="100" y="170"/>
                  </a:lnTo>
                  <a:lnTo>
                    <a:pt x="96" y="168"/>
                  </a:lnTo>
                  <a:lnTo>
                    <a:pt x="98" y="166"/>
                  </a:lnTo>
                  <a:lnTo>
                    <a:pt x="102" y="168"/>
                  </a:lnTo>
                  <a:lnTo>
                    <a:pt x="108" y="166"/>
                  </a:lnTo>
                  <a:lnTo>
                    <a:pt x="108" y="168"/>
                  </a:lnTo>
                  <a:lnTo>
                    <a:pt x="113" y="166"/>
                  </a:lnTo>
                  <a:lnTo>
                    <a:pt x="113" y="168"/>
                  </a:lnTo>
                  <a:lnTo>
                    <a:pt x="119" y="171"/>
                  </a:lnTo>
                  <a:lnTo>
                    <a:pt x="119" y="173"/>
                  </a:lnTo>
                  <a:lnTo>
                    <a:pt x="123" y="173"/>
                  </a:lnTo>
                  <a:lnTo>
                    <a:pt x="125" y="173"/>
                  </a:lnTo>
                  <a:lnTo>
                    <a:pt x="125" y="177"/>
                  </a:lnTo>
                  <a:lnTo>
                    <a:pt x="129" y="177"/>
                  </a:lnTo>
                  <a:lnTo>
                    <a:pt x="131" y="173"/>
                  </a:lnTo>
                  <a:lnTo>
                    <a:pt x="133" y="175"/>
                  </a:lnTo>
                  <a:lnTo>
                    <a:pt x="134" y="173"/>
                  </a:lnTo>
                  <a:lnTo>
                    <a:pt x="134" y="164"/>
                  </a:lnTo>
                  <a:lnTo>
                    <a:pt x="142" y="164"/>
                  </a:lnTo>
                  <a:lnTo>
                    <a:pt x="146" y="162"/>
                  </a:lnTo>
                  <a:lnTo>
                    <a:pt x="150" y="164"/>
                  </a:lnTo>
                  <a:lnTo>
                    <a:pt x="154" y="162"/>
                  </a:lnTo>
                  <a:lnTo>
                    <a:pt x="158" y="162"/>
                  </a:lnTo>
                  <a:lnTo>
                    <a:pt x="158" y="166"/>
                  </a:lnTo>
                  <a:lnTo>
                    <a:pt x="161" y="164"/>
                  </a:lnTo>
                  <a:lnTo>
                    <a:pt x="165" y="164"/>
                  </a:lnTo>
                  <a:lnTo>
                    <a:pt x="167" y="158"/>
                  </a:lnTo>
                  <a:lnTo>
                    <a:pt x="171" y="160"/>
                  </a:lnTo>
                  <a:lnTo>
                    <a:pt x="169" y="162"/>
                  </a:lnTo>
                  <a:lnTo>
                    <a:pt x="173" y="164"/>
                  </a:lnTo>
                  <a:lnTo>
                    <a:pt x="173" y="166"/>
                  </a:lnTo>
                  <a:lnTo>
                    <a:pt x="177" y="164"/>
                  </a:lnTo>
                  <a:lnTo>
                    <a:pt x="177" y="156"/>
                  </a:lnTo>
                  <a:lnTo>
                    <a:pt x="175" y="156"/>
                  </a:lnTo>
                  <a:lnTo>
                    <a:pt x="177" y="152"/>
                  </a:lnTo>
                  <a:lnTo>
                    <a:pt x="179" y="148"/>
                  </a:lnTo>
                  <a:lnTo>
                    <a:pt x="177" y="146"/>
                  </a:lnTo>
                  <a:lnTo>
                    <a:pt x="175" y="146"/>
                  </a:lnTo>
                  <a:lnTo>
                    <a:pt x="173" y="141"/>
                  </a:lnTo>
                  <a:lnTo>
                    <a:pt x="177" y="137"/>
                  </a:lnTo>
                  <a:lnTo>
                    <a:pt x="177" y="131"/>
                  </a:lnTo>
                  <a:lnTo>
                    <a:pt x="171" y="125"/>
                  </a:lnTo>
                  <a:lnTo>
                    <a:pt x="171" y="122"/>
                  </a:lnTo>
                  <a:lnTo>
                    <a:pt x="169" y="122"/>
                  </a:lnTo>
                  <a:lnTo>
                    <a:pt x="167" y="118"/>
                  </a:lnTo>
                  <a:lnTo>
                    <a:pt x="171" y="118"/>
                  </a:lnTo>
                  <a:lnTo>
                    <a:pt x="171" y="114"/>
                  </a:lnTo>
                  <a:lnTo>
                    <a:pt x="175" y="108"/>
                  </a:lnTo>
                  <a:lnTo>
                    <a:pt x="179" y="110"/>
                  </a:lnTo>
                  <a:lnTo>
                    <a:pt x="181" y="116"/>
                  </a:lnTo>
                  <a:lnTo>
                    <a:pt x="184" y="114"/>
                  </a:lnTo>
                  <a:lnTo>
                    <a:pt x="188" y="116"/>
                  </a:lnTo>
                  <a:lnTo>
                    <a:pt x="190" y="120"/>
                  </a:lnTo>
                  <a:lnTo>
                    <a:pt x="194" y="120"/>
                  </a:lnTo>
                  <a:lnTo>
                    <a:pt x="194" y="114"/>
                  </a:lnTo>
                  <a:lnTo>
                    <a:pt x="198" y="116"/>
                  </a:lnTo>
                  <a:lnTo>
                    <a:pt x="198" y="118"/>
                  </a:lnTo>
                  <a:lnTo>
                    <a:pt x="202" y="114"/>
                  </a:lnTo>
                  <a:lnTo>
                    <a:pt x="202" y="122"/>
                  </a:lnTo>
                  <a:lnTo>
                    <a:pt x="205" y="125"/>
                  </a:lnTo>
                  <a:lnTo>
                    <a:pt x="215" y="122"/>
                  </a:lnTo>
                  <a:lnTo>
                    <a:pt x="219" y="122"/>
                  </a:lnTo>
                  <a:lnTo>
                    <a:pt x="223" y="123"/>
                  </a:lnTo>
                  <a:lnTo>
                    <a:pt x="225" y="120"/>
                  </a:lnTo>
                  <a:lnTo>
                    <a:pt x="227" y="120"/>
                  </a:lnTo>
                  <a:lnTo>
                    <a:pt x="230" y="123"/>
                  </a:lnTo>
                  <a:lnTo>
                    <a:pt x="230" y="127"/>
                  </a:lnTo>
                  <a:lnTo>
                    <a:pt x="232" y="127"/>
                  </a:lnTo>
                  <a:lnTo>
                    <a:pt x="232" y="122"/>
                  </a:lnTo>
                  <a:lnTo>
                    <a:pt x="240" y="120"/>
                  </a:lnTo>
                  <a:lnTo>
                    <a:pt x="242" y="122"/>
                  </a:lnTo>
                  <a:lnTo>
                    <a:pt x="242" y="123"/>
                  </a:lnTo>
                  <a:lnTo>
                    <a:pt x="248" y="123"/>
                  </a:lnTo>
                  <a:lnTo>
                    <a:pt x="248" y="122"/>
                  </a:lnTo>
                  <a:lnTo>
                    <a:pt x="250" y="122"/>
                  </a:lnTo>
                  <a:lnTo>
                    <a:pt x="252" y="125"/>
                  </a:lnTo>
                  <a:lnTo>
                    <a:pt x="253" y="125"/>
                  </a:lnTo>
                  <a:lnTo>
                    <a:pt x="257" y="122"/>
                  </a:lnTo>
                  <a:lnTo>
                    <a:pt x="257" y="120"/>
                  </a:lnTo>
                  <a:lnTo>
                    <a:pt x="252" y="118"/>
                  </a:lnTo>
                  <a:lnTo>
                    <a:pt x="253" y="112"/>
                  </a:lnTo>
                  <a:lnTo>
                    <a:pt x="250" y="112"/>
                  </a:lnTo>
                  <a:lnTo>
                    <a:pt x="250" y="108"/>
                  </a:lnTo>
                  <a:lnTo>
                    <a:pt x="253" y="106"/>
                  </a:lnTo>
                  <a:lnTo>
                    <a:pt x="252" y="106"/>
                  </a:lnTo>
                  <a:lnTo>
                    <a:pt x="253" y="100"/>
                  </a:lnTo>
                  <a:lnTo>
                    <a:pt x="250" y="100"/>
                  </a:lnTo>
                  <a:lnTo>
                    <a:pt x="250" y="95"/>
                  </a:lnTo>
                  <a:lnTo>
                    <a:pt x="259" y="95"/>
                  </a:lnTo>
                  <a:lnTo>
                    <a:pt x="259" y="89"/>
                  </a:lnTo>
                  <a:lnTo>
                    <a:pt x="267" y="87"/>
                  </a:lnTo>
                  <a:lnTo>
                    <a:pt x="267" y="81"/>
                  </a:lnTo>
                  <a:lnTo>
                    <a:pt x="271" y="81"/>
                  </a:lnTo>
                  <a:lnTo>
                    <a:pt x="271" y="77"/>
                  </a:lnTo>
                  <a:lnTo>
                    <a:pt x="276" y="77"/>
                  </a:lnTo>
                  <a:lnTo>
                    <a:pt x="276" y="83"/>
                  </a:lnTo>
                  <a:lnTo>
                    <a:pt x="280" y="75"/>
                  </a:lnTo>
                  <a:lnTo>
                    <a:pt x="282" y="81"/>
                  </a:lnTo>
                  <a:lnTo>
                    <a:pt x="284" y="81"/>
                  </a:lnTo>
                  <a:lnTo>
                    <a:pt x="286" y="85"/>
                  </a:lnTo>
                  <a:lnTo>
                    <a:pt x="288" y="85"/>
                  </a:lnTo>
                  <a:lnTo>
                    <a:pt x="290" y="81"/>
                  </a:lnTo>
                  <a:lnTo>
                    <a:pt x="292" y="79"/>
                  </a:lnTo>
                  <a:lnTo>
                    <a:pt x="292" y="75"/>
                  </a:lnTo>
                  <a:lnTo>
                    <a:pt x="296" y="73"/>
                  </a:lnTo>
                  <a:lnTo>
                    <a:pt x="300" y="70"/>
                  </a:lnTo>
                  <a:lnTo>
                    <a:pt x="298" y="68"/>
                  </a:lnTo>
                  <a:lnTo>
                    <a:pt x="294" y="66"/>
                  </a:lnTo>
                  <a:lnTo>
                    <a:pt x="294" y="62"/>
                  </a:lnTo>
                  <a:lnTo>
                    <a:pt x="298" y="62"/>
                  </a:lnTo>
                  <a:lnTo>
                    <a:pt x="298" y="64"/>
                  </a:lnTo>
                  <a:lnTo>
                    <a:pt x="301" y="66"/>
                  </a:lnTo>
                  <a:lnTo>
                    <a:pt x="301" y="64"/>
                  </a:lnTo>
                  <a:lnTo>
                    <a:pt x="305" y="64"/>
                  </a:lnTo>
                  <a:lnTo>
                    <a:pt x="307" y="62"/>
                  </a:lnTo>
                  <a:lnTo>
                    <a:pt x="309" y="62"/>
                  </a:lnTo>
                  <a:lnTo>
                    <a:pt x="311" y="60"/>
                  </a:lnTo>
                  <a:lnTo>
                    <a:pt x="313" y="60"/>
                  </a:lnTo>
                  <a:lnTo>
                    <a:pt x="315" y="58"/>
                  </a:lnTo>
                  <a:lnTo>
                    <a:pt x="313" y="58"/>
                  </a:lnTo>
                  <a:lnTo>
                    <a:pt x="315" y="52"/>
                  </a:lnTo>
                  <a:lnTo>
                    <a:pt x="315" y="47"/>
                  </a:lnTo>
                  <a:lnTo>
                    <a:pt x="317" y="47"/>
                  </a:lnTo>
                  <a:lnTo>
                    <a:pt x="317" y="43"/>
                  </a:lnTo>
                  <a:lnTo>
                    <a:pt x="319" y="41"/>
                  </a:lnTo>
                  <a:lnTo>
                    <a:pt x="315" y="37"/>
                  </a:lnTo>
                  <a:lnTo>
                    <a:pt x="319" y="31"/>
                  </a:lnTo>
                  <a:lnTo>
                    <a:pt x="323" y="31"/>
                  </a:lnTo>
                  <a:lnTo>
                    <a:pt x="323" y="33"/>
                  </a:lnTo>
                  <a:lnTo>
                    <a:pt x="326" y="33"/>
                  </a:lnTo>
                  <a:lnTo>
                    <a:pt x="326" y="31"/>
                  </a:lnTo>
                  <a:lnTo>
                    <a:pt x="330" y="35"/>
                  </a:lnTo>
                  <a:lnTo>
                    <a:pt x="336" y="33"/>
                  </a:lnTo>
                  <a:lnTo>
                    <a:pt x="334" y="29"/>
                  </a:lnTo>
                  <a:lnTo>
                    <a:pt x="340" y="27"/>
                  </a:lnTo>
                  <a:lnTo>
                    <a:pt x="342" y="20"/>
                  </a:lnTo>
                  <a:lnTo>
                    <a:pt x="346" y="20"/>
                  </a:lnTo>
                  <a:lnTo>
                    <a:pt x="346" y="16"/>
                  </a:lnTo>
                  <a:lnTo>
                    <a:pt x="348" y="14"/>
                  </a:lnTo>
                  <a:lnTo>
                    <a:pt x="348" y="12"/>
                  </a:lnTo>
                  <a:lnTo>
                    <a:pt x="349" y="10"/>
                  </a:lnTo>
                  <a:lnTo>
                    <a:pt x="349" y="8"/>
                  </a:lnTo>
                  <a:lnTo>
                    <a:pt x="349" y="6"/>
                  </a:lnTo>
                  <a:lnTo>
                    <a:pt x="351" y="6"/>
                  </a:lnTo>
                  <a:lnTo>
                    <a:pt x="359" y="0"/>
                  </a:lnTo>
                  <a:lnTo>
                    <a:pt x="361" y="4"/>
                  </a:lnTo>
                  <a:lnTo>
                    <a:pt x="363" y="2"/>
                  </a:lnTo>
                  <a:lnTo>
                    <a:pt x="365" y="8"/>
                  </a:lnTo>
                  <a:lnTo>
                    <a:pt x="369" y="8"/>
                  </a:lnTo>
                  <a:lnTo>
                    <a:pt x="367" y="14"/>
                  </a:lnTo>
                  <a:lnTo>
                    <a:pt x="361" y="16"/>
                  </a:lnTo>
                  <a:lnTo>
                    <a:pt x="363" y="18"/>
                  </a:lnTo>
                  <a:lnTo>
                    <a:pt x="367" y="18"/>
                  </a:lnTo>
                  <a:lnTo>
                    <a:pt x="371" y="18"/>
                  </a:lnTo>
                  <a:lnTo>
                    <a:pt x="372" y="22"/>
                  </a:lnTo>
                  <a:lnTo>
                    <a:pt x="378" y="22"/>
                  </a:lnTo>
                  <a:lnTo>
                    <a:pt x="378" y="18"/>
                  </a:lnTo>
                  <a:lnTo>
                    <a:pt x="382" y="2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2">
              <a:extLst>
                <a:ext uri="{FF2B5EF4-FFF2-40B4-BE49-F238E27FC236}">
                  <a16:creationId xmlns:a16="http://schemas.microsoft.com/office/drawing/2014/main" id="{04795449-F10B-4920-B8C2-46A48485CBA6}"/>
                </a:ext>
              </a:extLst>
            </p:cNvPr>
            <p:cNvSpPr>
              <a:spLocks noEditPoints="1"/>
            </p:cNvSpPr>
            <p:nvPr/>
          </p:nvSpPr>
          <p:spPr bwMode="gray">
            <a:xfrm>
              <a:off x="4668839" y="4708527"/>
              <a:ext cx="1176338" cy="1020763"/>
            </a:xfrm>
            <a:custGeom>
              <a:avLst/>
              <a:gdLst>
                <a:gd name="T0" fmla="*/ 464 w 741"/>
                <a:gd name="T1" fmla="*/ 638 h 643"/>
                <a:gd name="T2" fmla="*/ 464 w 741"/>
                <a:gd name="T3" fmla="*/ 641 h 643"/>
                <a:gd name="T4" fmla="*/ 462 w 741"/>
                <a:gd name="T5" fmla="*/ 641 h 643"/>
                <a:gd name="T6" fmla="*/ 460 w 741"/>
                <a:gd name="T7" fmla="*/ 638 h 643"/>
                <a:gd name="T8" fmla="*/ 459 w 741"/>
                <a:gd name="T9" fmla="*/ 634 h 643"/>
                <a:gd name="T10" fmla="*/ 455 w 741"/>
                <a:gd name="T11" fmla="*/ 636 h 643"/>
                <a:gd name="T12" fmla="*/ 453 w 741"/>
                <a:gd name="T13" fmla="*/ 630 h 643"/>
                <a:gd name="T14" fmla="*/ 455 w 741"/>
                <a:gd name="T15" fmla="*/ 628 h 643"/>
                <a:gd name="T16" fmla="*/ 462 w 741"/>
                <a:gd name="T17" fmla="*/ 624 h 643"/>
                <a:gd name="T18" fmla="*/ 0 w 741"/>
                <a:gd name="T19" fmla="*/ 547 h 643"/>
                <a:gd name="T20" fmla="*/ 0 w 741"/>
                <a:gd name="T21" fmla="*/ 547 h 643"/>
                <a:gd name="T22" fmla="*/ 449 w 741"/>
                <a:gd name="T23" fmla="*/ 536 h 643"/>
                <a:gd name="T24" fmla="*/ 447 w 741"/>
                <a:gd name="T25" fmla="*/ 536 h 643"/>
                <a:gd name="T26" fmla="*/ 447 w 741"/>
                <a:gd name="T27" fmla="*/ 536 h 643"/>
                <a:gd name="T28" fmla="*/ 462 w 741"/>
                <a:gd name="T29" fmla="*/ 534 h 643"/>
                <a:gd name="T30" fmla="*/ 451 w 741"/>
                <a:gd name="T31" fmla="*/ 538 h 643"/>
                <a:gd name="T32" fmla="*/ 457 w 741"/>
                <a:gd name="T33" fmla="*/ 536 h 643"/>
                <a:gd name="T34" fmla="*/ 441 w 741"/>
                <a:gd name="T35" fmla="*/ 528 h 643"/>
                <a:gd name="T36" fmla="*/ 441 w 741"/>
                <a:gd name="T37" fmla="*/ 532 h 643"/>
                <a:gd name="T38" fmla="*/ 439 w 741"/>
                <a:gd name="T39" fmla="*/ 528 h 643"/>
                <a:gd name="T40" fmla="*/ 447 w 741"/>
                <a:gd name="T41" fmla="*/ 518 h 643"/>
                <a:gd name="T42" fmla="*/ 445 w 741"/>
                <a:gd name="T43" fmla="*/ 518 h 643"/>
                <a:gd name="T44" fmla="*/ 462 w 741"/>
                <a:gd name="T45" fmla="*/ 526 h 643"/>
                <a:gd name="T46" fmla="*/ 459 w 741"/>
                <a:gd name="T47" fmla="*/ 532 h 643"/>
                <a:gd name="T48" fmla="*/ 457 w 741"/>
                <a:gd name="T49" fmla="*/ 530 h 643"/>
                <a:gd name="T50" fmla="*/ 451 w 741"/>
                <a:gd name="T51" fmla="*/ 530 h 643"/>
                <a:gd name="T52" fmla="*/ 451 w 741"/>
                <a:gd name="T53" fmla="*/ 524 h 643"/>
                <a:gd name="T54" fmla="*/ 453 w 741"/>
                <a:gd name="T55" fmla="*/ 528 h 643"/>
                <a:gd name="T56" fmla="*/ 451 w 741"/>
                <a:gd name="T57" fmla="*/ 520 h 643"/>
                <a:gd name="T58" fmla="*/ 457 w 741"/>
                <a:gd name="T59" fmla="*/ 515 h 643"/>
                <a:gd name="T60" fmla="*/ 453 w 741"/>
                <a:gd name="T61" fmla="*/ 518 h 643"/>
                <a:gd name="T62" fmla="*/ 462 w 741"/>
                <a:gd name="T63" fmla="*/ 517 h 643"/>
                <a:gd name="T64" fmla="*/ 459 w 741"/>
                <a:gd name="T65" fmla="*/ 528 h 643"/>
                <a:gd name="T66" fmla="*/ 459 w 741"/>
                <a:gd name="T67" fmla="*/ 526 h 643"/>
                <a:gd name="T68" fmla="*/ 445 w 741"/>
                <a:gd name="T69" fmla="*/ 520 h 643"/>
                <a:gd name="T70" fmla="*/ 441 w 741"/>
                <a:gd name="T71" fmla="*/ 517 h 643"/>
                <a:gd name="T72" fmla="*/ 443 w 741"/>
                <a:gd name="T73" fmla="*/ 517 h 643"/>
                <a:gd name="T74" fmla="*/ 447 w 741"/>
                <a:gd name="T75" fmla="*/ 518 h 643"/>
                <a:gd name="T76" fmla="*/ 449 w 741"/>
                <a:gd name="T77" fmla="*/ 513 h 643"/>
                <a:gd name="T78" fmla="*/ 464 w 741"/>
                <a:gd name="T79" fmla="*/ 513 h 643"/>
                <a:gd name="T80" fmla="*/ 733 w 741"/>
                <a:gd name="T81" fmla="*/ 4 h 643"/>
                <a:gd name="T82" fmla="*/ 741 w 741"/>
                <a:gd name="T83" fmla="*/ 2 h 643"/>
                <a:gd name="T84" fmla="*/ 727 w 741"/>
                <a:gd name="T85" fmla="*/ 4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1" h="643">
                  <a:moveTo>
                    <a:pt x="464" y="628"/>
                  </a:moveTo>
                  <a:lnTo>
                    <a:pt x="464" y="634"/>
                  </a:lnTo>
                  <a:lnTo>
                    <a:pt x="464" y="638"/>
                  </a:lnTo>
                  <a:lnTo>
                    <a:pt x="464" y="641"/>
                  </a:lnTo>
                  <a:lnTo>
                    <a:pt x="466" y="641"/>
                  </a:lnTo>
                  <a:lnTo>
                    <a:pt x="464" y="641"/>
                  </a:lnTo>
                  <a:lnTo>
                    <a:pt x="464" y="643"/>
                  </a:lnTo>
                  <a:lnTo>
                    <a:pt x="462" y="643"/>
                  </a:lnTo>
                  <a:lnTo>
                    <a:pt x="462" y="641"/>
                  </a:lnTo>
                  <a:lnTo>
                    <a:pt x="460" y="639"/>
                  </a:lnTo>
                  <a:lnTo>
                    <a:pt x="462" y="639"/>
                  </a:lnTo>
                  <a:lnTo>
                    <a:pt x="460" y="638"/>
                  </a:lnTo>
                  <a:lnTo>
                    <a:pt x="462" y="638"/>
                  </a:lnTo>
                  <a:lnTo>
                    <a:pt x="457" y="636"/>
                  </a:lnTo>
                  <a:lnTo>
                    <a:pt x="459" y="634"/>
                  </a:lnTo>
                  <a:lnTo>
                    <a:pt x="455" y="636"/>
                  </a:lnTo>
                  <a:lnTo>
                    <a:pt x="457" y="636"/>
                  </a:lnTo>
                  <a:lnTo>
                    <a:pt x="455" y="636"/>
                  </a:lnTo>
                  <a:lnTo>
                    <a:pt x="455" y="634"/>
                  </a:lnTo>
                  <a:lnTo>
                    <a:pt x="451" y="632"/>
                  </a:lnTo>
                  <a:lnTo>
                    <a:pt x="453" y="630"/>
                  </a:lnTo>
                  <a:lnTo>
                    <a:pt x="451" y="630"/>
                  </a:lnTo>
                  <a:lnTo>
                    <a:pt x="451" y="628"/>
                  </a:lnTo>
                  <a:lnTo>
                    <a:pt x="455" y="628"/>
                  </a:lnTo>
                  <a:lnTo>
                    <a:pt x="455" y="624"/>
                  </a:lnTo>
                  <a:lnTo>
                    <a:pt x="459" y="626"/>
                  </a:lnTo>
                  <a:lnTo>
                    <a:pt x="462" y="624"/>
                  </a:lnTo>
                  <a:lnTo>
                    <a:pt x="464" y="628"/>
                  </a:lnTo>
                  <a:close/>
                  <a:moveTo>
                    <a:pt x="0" y="549"/>
                  </a:moveTo>
                  <a:lnTo>
                    <a:pt x="0" y="547"/>
                  </a:lnTo>
                  <a:lnTo>
                    <a:pt x="2" y="541"/>
                  </a:lnTo>
                  <a:lnTo>
                    <a:pt x="2" y="545"/>
                  </a:lnTo>
                  <a:lnTo>
                    <a:pt x="0" y="547"/>
                  </a:lnTo>
                  <a:lnTo>
                    <a:pt x="0" y="549"/>
                  </a:lnTo>
                  <a:close/>
                  <a:moveTo>
                    <a:pt x="447" y="536"/>
                  </a:moveTo>
                  <a:lnTo>
                    <a:pt x="449" y="536"/>
                  </a:lnTo>
                  <a:lnTo>
                    <a:pt x="449" y="538"/>
                  </a:lnTo>
                  <a:lnTo>
                    <a:pt x="447" y="538"/>
                  </a:lnTo>
                  <a:lnTo>
                    <a:pt x="447" y="536"/>
                  </a:lnTo>
                  <a:close/>
                  <a:moveTo>
                    <a:pt x="443" y="532"/>
                  </a:moveTo>
                  <a:lnTo>
                    <a:pt x="447" y="532"/>
                  </a:lnTo>
                  <a:lnTo>
                    <a:pt x="447" y="536"/>
                  </a:lnTo>
                  <a:lnTo>
                    <a:pt x="443" y="536"/>
                  </a:lnTo>
                  <a:lnTo>
                    <a:pt x="443" y="532"/>
                  </a:lnTo>
                  <a:close/>
                  <a:moveTo>
                    <a:pt x="462" y="534"/>
                  </a:moveTo>
                  <a:lnTo>
                    <a:pt x="460" y="540"/>
                  </a:lnTo>
                  <a:lnTo>
                    <a:pt x="457" y="540"/>
                  </a:lnTo>
                  <a:lnTo>
                    <a:pt x="451" y="538"/>
                  </a:lnTo>
                  <a:lnTo>
                    <a:pt x="455" y="536"/>
                  </a:lnTo>
                  <a:lnTo>
                    <a:pt x="455" y="532"/>
                  </a:lnTo>
                  <a:lnTo>
                    <a:pt x="457" y="536"/>
                  </a:lnTo>
                  <a:lnTo>
                    <a:pt x="460" y="534"/>
                  </a:lnTo>
                  <a:lnTo>
                    <a:pt x="462" y="534"/>
                  </a:lnTo>
                  <a:close/>
                  <a:moveTo>
                    <a:pt x="441" y="528"/>
                  </a:moveTo>
                  <a:lnTo>
                    <a:pt x="445" y="530"/>
                  </a:lnTo>
                  <a:lnTo>
                    <a:pt x="445" y="532"/>
                  </a:lnTo>
                  <a:lnTo>
                    <a:pt x="441" y="532"/>
                  </a:lnTo>
                  <a:lnTo>
                    <a:pt x="441" y="530"/>
                  </a:lnTo>
                  <a:lnTo>
                    <a:pt x="439" y="532"/>
                  </a:lnTo>
                  <a:lnTo>
                    <a:pt x="439" y="528"/>
                  </a:lnTo>
                  <a:lnTo>
                    <a:pt x="441" y="528"/>
                  </a:lnTo>
                  <a:close/>
                  <a:moveTo>
                    <a:pt x="445" y="518"/>
                  </a:moveTo>
                  <a:lnTo>
                    <a:pt x="447" y="518"/>
                  </a:lnTo>
                  <a:lnTo>
                    <a:pt x="447" y="522"/>
                  </a:lnTo>
                  <a:lnTo>
                    <a:pt x="445" y="522"/>
                  </a:lnTo>
                  <a:lnTo>
                    <a:pt x="445" y="518"/>
                  </a:lnTo>
                  <a:close/>
                  <a:moveTo>
                    <a:pt x="466" y="517"/>
                  </a:moveTo>
                  <a:lnTo>
                    <a:pt x="464" y="526"/>
                  </a:lnTo>
                  <a:lnTo>
                    <a:pt x="462" y="526"/>
                  </a:lnTo>
                  <a:lnTo>
                    <a:pt x="464" y="526"/>
                  </a:lnTo>
                  <a:lnTo>
                    <a:pt x="462" y="532"/>
                  </a:lnTo>
                  <a:lnTo>
                    <a:pt x="459" y="532"/>
                  </a:lnTo>
                  <a:lnTo>
                    <a:pt x="459" y="534"/>
                  </a:lnTo>
                  <a:lnTo>
                    <a:pt x="457" y="532"/>
                  </a:lnTo>
                  <a:lnTo>
                    <a:pt x="457" y="530"/>
                  </a:lnTo>
                  <a:lnTo>
                    <a:pt x="455" y="532"/>
                  </a:lnTo>
                  <a:lnTo>
                    <a:pt x="455" y="530"/>
                  </a:lnTo>
                  <a:lnTo>
                    <a:pt x="451" y="530"/>
                  </a:lnTo>
                  <a:lnTo>
                    <a:pt x="451" y="528"/>
                  </a:lnTo>
                  <a:lnTo>
                    <a:pt x="449" y="528"/>
                  </a:lnTo>
                  <a:lnTo>
                    <a:pt x="451" y="524"/>
                  </a:lnTo>
                  <a:lnTo>
                    <a:pt x="453" y="524"/>
                  </a:lnTo>
                  <a:lnTo>
                    <a:pt x="451" y="528"/>
                  </a:lnTo>
                  <a:lnTo>
                    <a:pt x="453" y="528"/>
                  </a:lnTo>
                  <a:lnTo>
                    <a:pt x="455" y="526"/>
                  </a:lnTo>
                  <a:lnTo>
                    <a:pt x="453" y="520"/>
                  </a:lnTo>
                  <a:lnTo>
                    <a:pt x="451" y="520"/>
                  </a:lnTo>
                  <a:lnTo>
                    <a:pt x="453" y="522"/>
                  </a:lnTo>
                  <a:lnTo>
                    <a:pt x="449" y="520"/>
                  </a:lnTo>
                  <a:lnTo>
                    <a:pt x="457" y="515"/>
                  </a:lnTo>
                  <a:lnTo>
                    <a:pt x="457" y="517"/>
                  </a:lnTo>
                  <a:lnTo>
                    <a:pt x="453" y="517"/>
                  </a:lnTo>
                  <a:lnTo>
                    <a:pt x="453" y="518"/>
                  </a:lnTo>
                  <a:lnTo>
                    <a:pt x="457" y="518"/>
                  </a:lnTo>
                  <a:lnTo>
                    <a:pt x="457" y="522"/>
                  </a:lnTo>
                  <a:lnTo>
                    <a:pt x="462" y="517"/>
                  </a:lnTo>
                  <a:lnTo>
                    <a:pt x="466" y="517"/>
                  </a:lnTo>
                  <a:close/>
                  <a:moveTo>
                    <a:pt x="459" y="526"/>
                  </a:moveTo>
                  <a:lnTo>
                    <a:pt x="459" y="528"/>
                  </a:lnTo>
                  <a:lnTo>
                    <a:pt x="459" y="530"/>
                  </a:lnTo>
                  <a:lnTo>
                    <a:pt x="460" y="526"/>
                  </a:lnTo>
                  <a:lnTo>
                    <a:pt x="459" y="526"/>
                  </a:lnTo>
                  <a:close/>
                  <a:moveTo>
                    <a:pt x="443" y="517"/>
                  </a:moveTo>
                  <a:lnTo>
                    <a:pt x="443" y="522"/>
                  </a:lnTo>
                  <a:lnTo>
                    <a:pt x="445" y="520"/>
                  </a:lnTo>
                  <a:lnTo>
                    <a:pt x="447" y="524"/>
                  </a:lnTo>
                  <a:lnTo>
                    <a:pt x="443" y="526"/>
                  </a:lnTo>
                  <a:lnTo>
                    <a:pt x="441" y="517"/>
                  </a:lnTo>
                  <a:lnTo>
                    <a:pt x="441" y="513"/>
                  </a:lnTo>
                  <a:lnTo>
                    <a:pt x="445" y="513"/>
                  </a:lnTo>
                  <a:lnTo>
                    <a:pt x="443" y="517"/>
                  </a:lnTo>
                  <a:close/>
                  <a:moveTo>
                    <a:pt x="449" y="513"/>
                  </a:moveTo>
                  <a:lnTo>
                    <a:pt x="453" y="517"/>
                  </a:lnTo>
                  <a:lnTo>
                    <a:pt x="447" y="518"/>
                  </a:lnTo>
                  <a:lnTo>
                    <a:pt x="445" y="517"/>
                  </a:lnTo>
                  <a:lnTo>
                    <a:pt x="445" y="515"/>
                  </a:lnTo>
                  <a:lnTo>
                    <a:pt x="449" y="513"/>
                  </a:lnTo>
                  <a:close/>
                  <a:moveTo>
                    <a:pt x="470" y="509"/>
                  </a:moveTo>
                  <a:lnTo>
                    <a:pt x="468" y="515"/>
                  </a:lnTo>
                  <a:lnTo>
                    <a:pt x="464" y="513"/>
                  </a:lnTo>
                  <a:lnTo>
                    <a:pt x="466" y="507"/>
                  </a:lnTo>
                  <a:lnTo>
                    <a:pt x="470" y="509"/>
                  </a:lnTo>
                  <a:close/>
                  <a:moveTo>
                    <a:pt x="733" y="4"/>
                  </a:moveTo>
                  <a:lnTo>
                    <a:pt x="737" y="4"/>
                  </a:lnTo>
                  <a:lnTo>
                    <a:pt x="741" y="0"/>
                  </a:lnTo>
                  <a:lnTo>
                    <a:pt x="741" y="2"/>
                  </a:lnTo>
                  <a:lnTo>
                    <a:pt x="739" y="6"/>
                  </a:lnTo>
                  <a:lnTo>
                    <a:pt x="729" y="4"/>
                  </a:lnTo>
                  <a:lnTo>
                    <a:pt x="727" y="4"/>
                  </a:lnTo>
                  <a:lnTo>
                    <a:pt x="729" y="0"/>
                  </a:lnTo>
                  <a:lnTo>
                    <a:pt x="733" y="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21" name="Freeform 13">
              <a:extLst>
                <a:ext uri="{FF2B5EF4-FFF2-40B4-BE49-F238E27FC236}">
                  <a16:creationId xmlns:a16="http://schemas.microsoft.com/office/drawing/2014/main" id="{D7942CE4-6B3E-4676-94C3-99ADFCEBD274}"/>
                </a:ext>
              </a:extLst>
            </p:cNvPr>
            <p:cNvSpPr>
              <a:spLocks noEditPoints="1"/>
            </p:cNvSpPr>
            <p:nvPr/>
          </p:nvSpPr>
          <p:spPr bwMode="gray">
            <a:xfrm>
              <a:off x="4887913" y="4291015"/>
              <a:ext cx="1385887" cy="1127125"/>
            </a:xfrm>
            <a:custGeom>
              <a:avLst/>
              <a:gdLst>
                <a:gd name="T0" fmla="*/ 601 w 873"/>
                <a:gd name="T1" fmla="*/ 126 h 710"/>
                <a:gd name="T2" fmla="*/ 610 w 873"/>
                <a:gd name="T3" fmla="*/ 98 h 710"/>
                <a:gd name="T4" fmla="*/ 631 w 873"/>
                <a:gd name="T5" fmla="*/ 84 h 710"/>
                <a:gd name="T6" fmla="*/ 668 w 873"/>
                <a:gd name="T7" fmla="*/ 80 h 710"/>
                <a:gd name="T8" fmla="*/ 687 w 873"/>
                <a:gd name="T9" fmla="*/ 63 h 710"/>
                <a:gd name="T10" fmla="*/ 718 w 873"/>
                <a:gd name="T11" fmla="*/ 40 h 710"/>
                <a:gd name="T12" fmla="*/ 718 w 873"/>
                <a:gd name="T13" fmla="*/ 23 h 710"/>
                <a:gd name="T14" fmla="*/ 741 w 873"/>
                <a:gd name="T15" fmla="*/ 13 h 710"/>
                <a:gd name="T16" fmla="*/ 766 w 873"/>
                <a:gd name="T17" fmla="*/ 27 h 710"/>
                <a:gd name="T18" fmla="*/ 820 w 873"/>
                <a:gd name="T19" fmla="*/ 40 h 710"/>
                <a:gd name="T20" fmla="*/ 848 w 873"/>
                <a:gd name="T21" fmla="*/ 13 h 710"/>
                <a:gd name="T22" fmla="*/ 873 w 873"/>
                <a:gd name="T23" fmla="*/ 5 h 710"/>
                <a:gd name="T24" fmla="*/ 818 w 873"/>
                <a:gd name="T25" fmla="*/ 73 h 710"/>
                <a:gd name="T26" fmla="*/ 758 w 873"/>
                <a:gd name="T27" fmla="*/ 113 h 710"/>
                <a:gd name="T28" fmla="*/ 710 w 873"/>
                <a:gd name="T29" fmla="*/ 159 h 710"/>
                <a:gd name="T30" fmla="*/ 666 w 873"/>
                <a:gd name="T31" fmla="*/ 186 h 710"/>
                <a:gd name="T32" fmla="*/ 599 w 873"/>
                <a:gd name="T33" fmla="*/ 242 h 710"/>
                <a:gd name="T34" fmla="*/ 608 w 873"/>
                <a:gd name="T35" fmla="*/ 253 h 710"/>
                <a:gd name="T36" fmla="*/ 601 w 873"/>
                <a:gd name="T37" fmla="*/ 282 h 710"/>
                <a:gd name="T38" fmla="*/ 537 w 873"/>
                <a:gd name="T39" fmla="*/ 309 h 710"/>
                <a:gd name="T40" fmla="*/ 482 w 873"/>
                <a:gd name="T41" fmla="*/ 332 h 710"/>
                <a:gd name="T42" fmla="*/ 445 w 873"/>
                <a:gd name="T43" fmla="*/ 363 h 710"/>
                <a:gd name="T44" fmla="*/ 382 w 873"/>
                <a:gd name="T45" fmla="*/ 378 h 710"/>
                <a:gd name="T46" fmla="*/ 359 w 873"/>
                <a:gd name="T47" fmla="*/ 474 h 710"/>
                <a:gd name="T48" fmla="*/ 370 w 873"/>
                <a:gd name="T49" fmla="*/ 497 h 710"/>
                <a:gd name="T50" fmla="*/ 374 w 873"/>
                <a:gd name="T51" fmla="*/ 582 h 710"/>
                <a:gd name="T52" fmla="*/ 353 w 873"/>
                <a:gd name="T53" fmla="*/ 614 h 710"/>
                <a:gd name="T54" fmla="*/ 324 w 873"/>
                <a:gd name="T55" fmla="*/ 643 h 710"/>
                <a:gd name="T56" fmla="*/ 284 w 873"/>
                <a:gd name="T57" fmla="*/ 645 h 710"/>
                <a:gd name="T58" fmla="*/ 259 w 873"/>
                <a:gd name="T59" fmla="*/ 660 h 710"/>
                <a:gd name="T60" fmla="*/ 207 w 873"/>
                <a:gd name="T61" fmla="*/ 662 h 710"/>
                <a:gd name="T62" fmla="*/ 177 w 873"/>
                <a:gd name="T63" fmla="*/ 710 h 710"/>
                <a:gd name="T64" fmla="*/ 180 w 873"/>
                <a:gd name="T65" fmla="*/ 683 h 710"/>
                <a:gd name="T66" fmla="*/ 194 w 873"/>
                <a:gd name="T67" fmla="*/ 639 h 710"/>
                <a:gd name="T68" fmla="*/ 167 w 873"/>
                <a:gd name="T69" fmla="*/ 609 h 710"/>
                <a:gd name="T70" fmla="*/ 144 w 873"/>
                <a:gd name="T71" fmla="*/ 576 h 710"/>
                <a:gd name="T72" fmla="*/ 109 w 873"/>
                <a:gd name="T73" fmla="*/ 582 h 710"/>
                <a:gd name="T74" fmla="*/ 73 w 873"/>
                <a:gd name="T75" fmla="*/ 597 h 710"/>
                <a:gd name="T76" fmla="*/ 44 w 873"/>
                <a:gd name="T77" fmla="*/ 570 h 710"/>
                <a:gd name="T78" fmla="*/ 29 w 873"/>
                <a:gd name="T79" fmla="*/ 572 h 710"/>
                <a:gd name="T80" fmla="*/ 29 w 873"/>
                <a:gd name="T81" fmla="*/ 555 h 710"/>
                <a:gd name="T82" fmla="*/ 71 w 873"/>
                <a:gd name="T83" fmla="*/ 572 h 710"/>
                <a:gd name="T84" fmla="*/ 79 w 873"/>
                <a:gd name="T85" fmla="*/ 536 h 710"/>
                <a:gd name="T86" fmla="*/ 42 w 873"/>
                <a:gd name="T87" fmla="*/ 524 h 710"/>
                <a:gd name="T88" fmla="*/ 15 w 873"/>
                <a:gd name="T89" fmla="*/ 509 h 710"/>
                <a:gd name="T90" fmla="*/ 0 w 873"/>
                <a:gd name="T91" fmla="*/ 455 h 710"/>
                <a:gd name="T92" fmla="*/ 44 w 873"/>
                <a:gd name="T93" fmla="*/ 436 h 710"/>
                <a:gd name="T94" fmla="*/ 33 w 873"/>
                <a:gd name="T95" fmla="*/ 384 h 710"/>
                <a:gd name="T96" fmla="*/ 77 w 873"/>
                <a:gd name="T97" fmla="*/ 349 h 710"/>
                <a:gd name="T98" fmla="*/ 155 w 873"/>
                <a:gd name="T99" fmla="*/ 361 h 710"/>
                <a:gd name="T100" fmla="*/ 228 w 873"/>
                <a:gd name="T101" fmla="*/ 336 h 710"/>
                <a:gd name="T102" fmla="*/ 271 w 873"/>
                <a:gd name="T103" fmla="*/ 294 h 710"/>
                <a:gd name="T104" fmla="*/ 344 w 873"/>
                <a:gd name="T105" fmla="*/ 276 h 710"/>
                <a:gd name="T106" fmla="*/ 386 w 873"/>
                <a:gd name="T107" fmla="*/ 236 h 710"/>
                <a:gd name="T108" fmla="*/ 418 w 873"/>
                <a:gd name="T109" fmla="*/ 246 h 710"/>
                <a:gd name="T110" fmla="*/ 424 w 873"/>
                <a:gd name="T111" fmla="*/ 226 h 710"/>
                <a:gd name="T112" fmla="*/ 482 w 873"/>
                <a:gd name="T113" fmla="*/ 211 h 710"/>
                <a:gd name="T114" fmla="*/ 528 w 873"/>
                <a:gd name="T115" fmla="*/ 155 h 710"/>
                <a:gd name="T116" fmla="*/ 453 w 873"/>
                <a:gd name="T117" fmla="*/ 374 h 710"/>
                <a:gd name="T118" fmla="*/ 595 w 873"/>
                <a:gd name="T119" fmla="*/ 267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3" h="710">
                  <a:moveTo>
                    <a:pt x="545" y="138"/>
                  </a:moveTo>
                  <a:lnTo>
                    <a:pt x="551" y="132"/>
                  </a:lnTo>
                  <a:lnTo>
                    <a:pt x="557" y="130"/>
                  </a:lnTo>
                  <a:lnTo>
                    <a:pt x="562" y="128"/>
                  </a:lnTo>
                  <a:lnTo>
                    <a:pt x="568" y="126"/>
                  </a:lnTo>
                  <a:lnTo>
                    <a:pt x="572" y="125"/>
                  </a:lnTo>
                  <a:lnTo>
                    <a:pt x="572" y="121"/>
                  </a:lnTo>
                  <a:lnTo>
                    <a:pt x="576" y="119"/>
                  </a:lnTo>
                  <a:lnTo>
                    <a:pt x="578" y="121"/>
                  </a:lnTo>
                  <a:lnTo>
                    <a:pt x="580" y="119"/>
                  </a:lnTo>
                  <a:lnTo>
                    <a:pt x="585" y="121"/>
                  </a:lnTo>
                  <a:lnTo>
                    <a:pt x="587" y="123"/>
                  </a:lnTo>
                  <a:lnTo>
                    <a:pt x="589" y="121"/>
                  </a:lnTo>
                  <a:lnTo>
                    <a:pt x="591" y="125"/>
                  </a:lnTo>
                  <a:lnTo>
                    <a:pt x="593" y="125"/>
                  </a:lnTo>
                  <a:lnTo>
                    <a:pt x="599" y="128"/>
                  </a:lnTo>
                  <a:lnTo>
                    <a:pt x="601" y="126"/>
                  </a:lnTo>
                  <a:lnTo>
                    <a:pt x="601" y="123"/>
                  </a:lnTo>
                  <a:lnTo>
                    <a:pt x="603" y="121"/>
                  </a:lnTo>
                  <a:lnTo>
                    <a:pt x="605" y="119"/>
                  </a:lnTo>
                  <a:lnTo>
                    <a:pt x="605" y="123"/>
                  </a:lnTo>
                  <a:lnTo>
                    <a:pt x="607" y="121"/>
                  </a:lnTo>
                  <a:lnTo>
                    <a:pt x="608" y="121"/>
                  </a:lnTo>
                  <a:lnTo>
                    <a:pt x="610" y="119"/>
                  </a:lnTo>
                  <a:lnTo>
                    <a:pt x="608" y="115"/>
                  </a:lnTo>
                  <a:lnTo>
                    <a:pt x="608" y="111"/>
                  </a:lnTo>
                  <a:lnTo>
                    <a:pt x="610" y="113"/>
                  </a:lnTo>
                  <a:lnTo>
                    <a:pt x="612" y="111"/>
                  </a:lnTo>
                  <a:lnTo>
                    <a:pt x="610" y="109"/>
                  </a:lnTo>
                  <a:lnTo>
                    <a:pt x="607" y="107"/>
                  </a:lnTo>
                  <a:lnTo>
                    <a:pt x="607" y="105"/>
                  </a:lnTo>
                  <a:lnTo>
                    <a:pt x="608" y="103"/>
                  </a:lnTo>
                  <a:lnTo>
                    <a:pt x="607" y="101"/>
                  </a:lnTo>
                  <a:lnTo>
                    <a:pt x="610" y="98"/>
                  </a:lnTo>
                  <a:lnTo>
                    <a:pt x="612" y="96"/>
                  </a:lnTo>
                  <a:lnTo>
                    <a:pt x="614" y="94"/>
                  </a:lnTo>
                  <a:lnTo>
                    <a:pt x="614" y="92"/>
                  </a:lnTo>
                  <a:lnTo>
                    <a:pt x="608" y="92"/>
                  </a:lnTo>
                  <a:lnTo>
                    <a:pt x="614" y="86"/>
                  </a:lnTo>
                  <a:lnTo>
                    <a:pt x="610" y="84"/>
                  </a:lnTo>
                  <a:lnTo>
                    <a:pt x="614" y="80"/>
                  </a:lnTo>
                  <a:lnTo>
                    <a:pt x="620" y="73"/>
                  </a:lnTo>
                  <a:lnTo>
                    <a:pt x="626" y="67"/>
                  </a:lnTo>
                  <a:lnTo>
                    <a:pt x="626" y="71"/>
                  </a:lnTo>
                  <a:lnTo>
                    <a:pt x="630" y="71"/>
                  </a:lnTo>
                  <a:lnTo>
                    <a:pt x="630" y="75"/>
                  </a:lnTo>
                  <a:lnTo>
                    <a:pt x="628" y="76"/>
                  </a:lnTo>
                  <a:lnTo>
                    <a:pt x="631" y="78"/>
                  </a:lnTo>
                  <a:lnTo>
                    <a:pt x="631" y="76"/>
                  </a:lnTo>
                  <a:lnTo>
                    <a:pt x="633" y="78"/>
                  </a:lnTo>
                  <a:lnTo>
                    <a:pt x="631" y="84"/>
                  </a:lnTo>
                  <a:lnTo>
                    <a:pt x="637" y="84"/>
                  </a:lnTo>
                  <a:lnTo>
                    <a:pt x="639" y="88"/>
                  </a:lnTo>
                  <a:lnTo>
                    <a:pt x="637" y="88"/>
                  </a:lnTo>
                  <a:lnTo>
                    <a:pt x="637" y="92"/>
                  </a:lnTo>
                  <a:lnTo>
                    <a:pt x="635" y="94"/>
                  </a:lnTo>
                  <a:lnTo>
                    <a:pt x="637" y="94"/>
                  </a:lnTo>
                  <a:lnTo>
                    <a:pt x="635" y="98"/>
                  </a:lnTo>
                  <a:lnTo>
                    <a:pt x="641" y="101"/>
                  </a:lnTo>
                  <a:lnTo>
                    <a:pt x="643" y="100"/>
                  </a:lnTo>
                  <a:lnTo>
                    <a:pt x="645" y="94"/>
                  </a:lnTo>
                  <a:lnTo>
                    <a:pt x="649" y="94"/>
                  </a:lnTo>
                  <a:lnTo>
                    <a:pt x="656" y="90"/>
                  </a:lnTo>
                  <a:lnTo>
                    <a:pt x="658" y="82"/>
                  </a:lnTo>
                  <a:lnTo>
                    <a:pt x="656" y="80"/>
                  </a:lnTo>
                  <a:lnTo>
                    <a:pt x="658" y="78"/>
                  </a:lnTo>
                  <a:lnTo>
                    <a:pt x="664" y="82"/>
                  </a:lnTo>
                  <a:lnTo>
                    <a:pt x="668" y="80"/>
                  </a:lnTo>
                  <a:lnTo>
                    <a:pt x="668" y="86"/>
                  </a:lnTo>
                  <a:lnTo>
                    <a:pt x="674" y="88"/>
                  </a:lnTo>
                  <a:lnTo>
                    <a:pt x="679" y="88"/>
                  </a:lnTo>
                  <a:lnTo>
                    <a:pt x="683" y="84"/>
                  </a:lnTo>
                  <a:lnTo>
                    <a:pt x="685" y="86"/>
                  </a:lnTo>
                  <a:lnTo>
                    <a:pt x="687" y="86"/>
                  </a:lnTo>
                  <a:lnTo>
                    <a:pt x="687" y="84"/>
                  </a:lnTo>
                  <a:lnTo>
                    <a:pt x="687" y="80"/>
                  </a:lnTo>
                  <a:lnTo>
                    <a:pt x="685" y="82"/>
                  </a:lnTo>
                  <a:lnTo>
                    <a:pt x="685" y="78"/>
                  </a:lnTo>
                  <a:lnTo>
                    <a:pt x="681" y="78"/>
                  </a:lnTo>
                  <a:lnTo>
                    <a:pt x="685" y="75"/>
                  </a:lnTo>
                  <a:lnTo>
                    <a:pt x="691" y="69"/>
                  </a:lnTo>
                  <a:lnTo>
                    <a:pt x="687" y="69"/>
                  </a:lnTo>
                  <a:lnTo>
                    <a:pt x="685" y="67"/>
                  </a:lnTo>
                  <a:lnTo>
                    <a:pt x="683" y="65"/>
                  </a:lnTo>
                  <a:lnTo>
                    <a:pt x="687" y="63"/>
                  </a:lnTo>
                  <a:lnTo>
                    <a:pt x="685" y="61"/>
                  </a:lnTo>
                  <a:lnTo>
                    <a:pt x="681" y="63"/>
                  </a:lnTo>
                  <a:lnTo>
                    <a:pt x="683" y="61"/>
                  </a:lnTo>
                  <a:lnTo>
                    <a:pt x="683" y="57"/>
                  </a:lnTo>
                  <a:lnTo>
                    <a:pt x="687" y="55"/>
                  </a:lnTo>
                  <a:lnTo>
                    <a:pt x="689" y="50"/>
                  </a:lnTo>
                  <a:lnTo>
                    <a:pt x="695" y="46"/>
                  </a:lnTo>
                  <a:lnTo>
                    <a:pt x="693" y="44"/>
                  </a:lnTo>
                  <a:lnTo>
                    <a:pt x="695" y="42"/>
                  </a:lnTo>
                  <a:lnTo>
                    <a:pt x="702" y="46"/>
                  </a:lnTo>
                  <a:lnTo>
                    <a:pt x="704" y="48"/>
                  </a:lnTo>
                  <a:lnTo>
                    <a:pt x="704" y="44"/>
                  </a:lnTo>
                  <a:lnTo>
                    <a:pt x="710" y="44"/>
                  </a:lnTo>
                  <a:lnTo>
                    <a:pt x="712" y="40"/>
                  </a:lnTo>
                  <a:lnTo>
                    <a:pt x="714" y="40"/>
                  </a:lnTo>
                  <a:lnTo>
                    <a:pt x="718" y="42"/>
                  </a:lnTo>
                  <a:lnTo>
                    <a:pt x="718" y="40"/>
                  </a:lnTo>
                  <a:lnTo>
                    <a:pt x="720" y="40"/>
                  </a:lnTo>
                  <a:lnTo>
                    <a:pt x="720" y="38"/>
                  </a:lnTo>
                  <a:lnTo>
                    <a:pt x="720" y="36"/>
                  </a:lnTo>
                  <a:lnTo>
                    <a:pt x="722" y="38"/>
                  </a:lnTo>
                  <a:lnTo>
                    <a:pt x="726" y="36"/>
                  </a:lnTo>
                  <a:lnTo>
                    <a:pt x="726" y="32"/>
                  </a:lnTo>
                  <a:lnTo>
                    <a:pt x="722" y="30"/>
                  </a:lnTo>
                  <a:lnTo>
                    <a:pt x="724" y="28"/>
                  </a:lnTo>
                  <a:lnTo>
                    <a:pt x="720" y="28"/>
                  </a:lnTo>
                  <a:lnTo>
                    <a:pt x="720" y="27"/>
                  </a:lnTo>
                  <a:lnTo>
                    <a:pt x="720" y="25"/>
                  </a:lnTo>
                  <a:lnTo>
                    <a:pt x="722" y="27"/>
                  </a:lnTo>
                  <a:lnTo>
                    <a:pt x="724" y="27"/>
                  </a:lnTo>
                  <a:lnTo>
                    <a:pt x="722" y="23"/>
                  </a:lnTo>
                  <a:lnTo>
                    <a:pt x="720" y="23"/>
                  </a:lnTo>
                  <a:lnTo>
                    <a:pt x="718" y="27"/>
                  </a:lnTo>
                  <a:lnTo>
                    <a:pt x="718" y="23"/>
                  </a:lnTo>
                  <a:lnTo>
                    <a:pt x="714" y="19"/>
                  </a:lnTo>
                  <a:lnTo>
                    <a:pt x="718" y="19"/>
                  </a:lnTo>
                  <a:lnTo>
                    <a:pt x="718" y="17"/>
                  </a:lnTo>
                  <a:lnTo>
                    <a:pt x="722" y="19"/>
                  </a:lnTo>
                  <a:lnTo>
                    <a:pt x="724" y="17"/>
                  </a:lnTo>
                  <a:lnTo>
                    <a:pt x="731" y="23"/>
                  </a:lnTo>
                  <a:lnTo>
                    <a:pt x="731" y="19"/>
                  </a:lnTo>
                  <a:lnTo>
                    <a:pt x="729" y="19"/>
                  </a:lnTo>
                  <a:lnTo>
                    <a:pt x="733" y="17"/>
                  </a:lnTo>
                  <a:lnTo>
                    <a:pt x="733" y="15"/>
                  </a:lnTo>
                  <a:lnTo>
                    <a:pt x="731" y="9"/>
                  </a:lnTo>
                  <a:lnTo>
                    <a:pt x="735" y="11"/>
                  </a:lnTo>
                  <a:lnTo>
                    <a:pt x="737" y="11"/>
                  </a:lnTo>
                  <a:lnTo>
                    <a:pt x="737" y="15"/>
                  </a:lnTo>
                  <a:lnTo>
                    <a:pt x="735" y="15"/>
                  </a:lnTo>
                  <a:lnTo>
                    <a:pt x="739" y="17"/>
                  </a:lnTo>
                  <a:lnTo>
                    <a:pt x="741" y="13"/>
                  </a:lnTo>
                  <a:lnTo>
                    <a:pt x="741" y="9"/>
                  </a:lnTo>
                  <a:lnTo>
                    <a:pt x="743" y="11"/>
                  </a:lnTo>
                  <a:lnTo>
                    <a:pt x="745" y="13"/>
                  </a:lnTo>
                  <a:lnTo>
                    <a:pt x="745" y="9"/>
                  </a:lnTo>
                  <a:lnTo>
                    <a:pt x="747" y="7"/>
                  </a:lnTo>
                  <a:lnTo>
                    <a:pt x="747" y="3"/>
                  </a:lnTo>
                  <a:lnTo>
                    <a:pt x="749" y="2"/>
                  </a:lnTo>
                  <a:lnTo>
                    <a:pt x="750" y="3"/>
                  </a:lnTo>
                  <a:lnTo>
                    <a:pt x="752" y="3"/>
                  </a:lnTo>
                  <a:lnTo>
                    <a:pt x="752" y="9"/>
                  </a:lnTo>
                  <a:lnTo>
                    <a:pt x="756" y="15"/>
                  </a:lnTo>
                  <a:lnTo>
                    <a:pt x="760" y="17"/>
                  </a:lnTo>
                  <a:lnTo>
                    <a:pt x="758" y="19"/>
                  </a:lnTo>
                  <a:lnTo>
                    <a:pt x="760" y="21"/>
                  </a:lnTo>
                  <a:lnTo>
                    <a:pt x="762" y="27"/>
                  </a:lnTo>
                  <a:lnTo>
                    <a:pt x="764" y="28"/>
                  </a:lnTo>
                  <a:lnTo>
                    <a:pt x="766" y="27"/>
                  </a:lnTo>
                  <a:lnTo>
                    <a:pt x="762" y="19"/>
                  </a:lnTo>
                  <a:lnTo>
                    <a:pt x="766" y="17"/>
                  </a:lnTo>
                  <a:lnTo>
                    <a:pt x="770" y="23"/>
                  </a:lnTo>
                  <a:lnTo>
                    <a:pt x="770" y="28"/>
                  </a:lnTo>
                  <a:lnTo>
                    <a:pt x="772" y="28"/>
                  </a:lnTo>
                  <a:lnTo>
                    <a:pt x="772" y="32"/>
                  </a:lnTo>
                  <a:lnTo>
                    <a:pt x="777" y="38"/>
                  </a:lnTo>
                  <a:lnTo>
                    <a:pt x="779" y="38"/>
                  </a:lnTo>
                  <a:lnTo>
                    <a:pt x="783" y="40"/>
                  </a:lnTo>
                  <a:lnTo>
                    <a:pt x="793" y="38"/>
                  </a:lnTo>
                  <a:lnTo>
                    <a:pt x="798" y="46"/>
                  </a:lnTo>
                  <a:lnTo>
                    <a:pt x="802" y="44"/>
                  </a:lnTo>
                  <a:lnTo>
                    <a:pt x="804" y="42"/>
                  </a:lnTo>
                  <a:lnTo>
                    <a:pt x="808" y="42"/>
                  </a:lnTo>
                  <a:lnTo>
                    <a:pt x="814" y="40"/>
                  </a:lnTo>
                  <a:lnTo>
                    <a:pt x="816" y="42"/>
                  </a:lnTo>
                  <a:lnTo>
                    <a:pt x="820" y="40"/>
                  </a:lnTo>
                  <a:lnTo>
                    <a:pt x="821" y="42"/>
                  </a:lnTo>
                  <a:lnTo>
                    <a:pt x="823" y="40"/>
                  </a:lnTo>
                  <a:lnTo>
                    <a:pt x="825" y="36"/>
                  </a:lnTo>
                  <a:lnTo>
                    <a:pt x="825" y="32"/>
                  </a:lnTo>
                  <a:lnTo>
                    <a:pt x="827" y="32"/>
                  </a:lnTo>
                  <a:lnTo>
                    <a:pt x="829" y="32"/>
                  </a:lnTo>
                  <a:lnTo>
                    <a:pt x="827" y="30"/>
                  </a:lnTo>
                  <a:lnTo>
                    <a:pt x="831" y="32"/>
                  </a:lnTo>
                  <a:lnTo>
                    <a:pt x="827" y="28"/>
                  </a:lnTo>
                  <a:lnTo>
                    <a:pt x="833" y="28"/>
                  </a:lnTo>
                  <a:lnTo>
                    <a:pt x="835" y="27"/>
                  </a:lnTo>
                  <a:lnTo>
                    <a:pt x="833" y="25"/>
                  </a:lnTo>
                  <a:lnTo>
                    <a:pt x="837" y="21"/>
                  </a:lnTo>
                  <a:lnTo>
                    <a:pt x="833" y="17"/>
                  </a:lnTo>
                  <a:lnTo>
                    <a:pt x="839" y="19"/>
                  </a:lnTo>
                  <a:lnTo>
                    <a:pt x="845" y="13"/>
                  </a:lnTo>
                  <a:lnTo>
                    <a:pt x="848" y="13"/>
                  </a:lnTo>
                  <a:lnTo>
                    <a:pt x="850" y="11"/>
                  </a:lnTo>
                  <a:lnTo>
                    <a:pt x="852" y="11"/>
                  </a:lnTo>
                  <a:lnTo>
                    <a:pt x="850" y="15"/>
                  </a:lnTo>
                  <a:lnTo>
                    <a:pt x="852" y="15"/>
                  </a:lnTo>
                  <a:lnTo>
                    <a:pt x="856" y="11"/>
                  </a:lnTo>
                  <a:lnTo>
                    <a:pt x="860" y="11"/>
                  </a:lnTo>
                  <a:lnTo>
                    <a:pt x="860" y="9"/>
                  </a:lnTo>
                  <a:lnTo>
                    <a:pt x="856" y="9"/>
                  </a:lnTo>
                  <a:lnTo>
                    <a:pt x="852" y="3"/>
                  </a:lnTo>
                  <a:lnTo>
                    <a:pt x="860" y="3"/>
                  </a:lnTo>
                  <a:lnTo>
                    <a:pt x="860" y="0"/>
                  </a:lnTo>
                  <a:lnTo>
                    <a:pt x="866" y="2"/>
                  </a:lnTo>
                  <a:lnTo>
                    <a:pt x="864" y="5"/>
                  </a:lnTo>
                  <a:lnTo>
                    <a:pt x="868" y="7"/>
                  </a:lnTo>
                  <a:lnTo>
                    <a:pt x="866" y="9"/>
                  </a:lnTo>
                  <a:lnTo>
                    <a:pt x="869" y="9"/>
                  </a:lnTo>
                  <a:lnTo>
                    <a:pt x="873" y="5"/>
                  </a:lnTo>
                  <a:lnTo>
                    <a:pt x="869" y="13"/>
                  </a:lnTo>
                  <a:lnTo>
                    <a:pt x="864" y="19"/>
                  </a:lnTo>
                  <a:lnTo>
                    <a:pt x="862" y="21"/>
                  </a:lnTo>
                  <a:lnTo>
                    <a:pt x="854" y="28"/>
                  </a:lnTo>
                  <a:lnTo>
                    <a:pt x="852" y="30"/>
                  </a:lnTo>
                  <a:lnTo>
                    <a:pt x="848" y="38"/>
                  </a:lnTo>
                  <a:lnTo>
                    <a:pt x="846" y="42"/>
                  </a:lnTo>
                  <a:lnTo>
                    <a:pt x="841" y="46"/>
                  </a:lnTo>
                  <a:lnTo>
                    <a:pt x="839" y="50"/>
                  </a:lnTo>
                  <a:lnTo>
                    <a:pt x="835" y="55"/>
                  </a:lnTo>
                  <a:lnTo>
                    <a:pt x="829" y="61"/>
                  </a:lnTo>
                  <a:lnTo>
                    <a:pt x="827" y="63"/>
                  </a:lnTo>
                  <a:lnTo>
                    <a:pt x="825" y="65"/>
                  </a:lnTo>
                  <a:lnTo>
                    <a:pt x="821" y="67"/>
                  </a:lnTo>
                  <a:lnTo>
                    <a:pt x="821" y="69"/>
                  </a:lnTo>
                  <a:lnTo>
                    <a:pt x="825" y="67"/>
                  </a:lnTo>
                  <a:lnTo>
                    <a:pt x="818" y="73"/>
                  </a:lnTo>
                  <a:lnTo>
                    <a:pt x="816" y="75"/>
                  </a:lnTo>
                  <a:lnTo>
                    <a:pt x="814" y="76"/>
                  </a:lnTo>
                  <a:lnTo>
                    <a:pt x="808" y="82"/>
                  </a:lnTo>
                  <a:lnTo>
                    <a:pt x="802" y="90"/>
                  </a:lnTo>
                  <a:lnTo>
                    <a:pt x="798" y="88"/>
                  </a:lnTo>
                  <a:lnTo>
                    <a:pt x="800" y="90"/>
                  </a:lnTo>
                  <a:lnTo>
                    <a:pt x="802" y="90"/>
                  </a:lnTo>
                  <a:lnTo>
                    <a:pt x="800" y="94"/>
                  </a:lnTo>
                  <a:lnTo>
                    <a:pt x="795" y="98"/>
                  </a:lnTo>
                  <a:lnTo>
                    <a:pt x="787" y="100"/>
                  </a:lnTo>
                  <a:lnTo>
                    <a:pt x="781" y="103"/>
                  </a:lnTo>
                  <a:lnTo>
                    <a:pt x="779" y="103"/>
                  </a:lnTo>
                  <a:lnTo>
                    <a:pt x="781" y="103"/>
                  </a:lnTo>
                  <a:lnTo>
                    <a:pt x="775" y="105"/>
                  </a:lnTo>
                  <a:lnTo>
                    <a:pt x="772" y="107"/>
                  </a:lnTo>
                  <a:lnTo>
                    <a:pt x="764" y="111"/>
                  </a:lnTo>
                  <a:lnTo>
                    <a:pt x="758" y="113"/>
                  </a:lnTo>
                  <a:lnTo>
                    <a:pt x="752" y="117"/>
                  </a:lnTo>
                  <a:lnTo>
                    <a:pt x="750" y="117"/>
                  </a:lnTo>
                  <a:lnTo>
                    <a:pt x="752" y="117"/>
                  </a:lnTo>
                  <a:lnTo>
                    <a:pt x="745" y="123"/>
                  </a:lnTo>
                  <a:lnTo>
                    <a:pt x="741" y="125"/>
                  </a:lnTo>
                  <a:lnTo>
                    <a:pt x="739" y="125"/>
                  </a:lnTo>
                  <a:lnTo>
                    <a:pt x="741" y="125"/>
                  </a:lnTo>
                  <a:lnTo>
                    <a:pt x="739" y="128"/>
                  </a:lnTo>
                  <a:lnTo>
                    <a:pt x="735" y="132"/>
                  </a:lnTo>
                  <a:lnTo>
                    <a:pt x="727" y="138"/>
                  </a:lnTo>
                  <a:lnTo>
                    <a:pt x="727" y="136"/>
                  </a:lnTo>
                  <a:lnTo>
                    <a:pt x="727" y="140"/>
                  </a:lnTo>
                  <a:lnTo>
                    <a:pt x="724" y="144"/>
                  </a:lnTo>
                  <a:lnTo>
                    <a:pt x="724" y="148"/>
                  </a:lnTo>
                  <a:lnTo>
                    <a:pt x="716" y="153"/>
                  </a:lnTo>
                  <a:lnTo>
                    <a:pt x="716" y="157"/>
                  </a:lnTo>
                  <a:lnTo>
                    <a:pt x="710" y="159"/>
                  </a:lnTo>
                  <a:lnTo>
                    <a:pt x="712" y="161"/>
                  </a:lnTo>
                  <a:lnTo>
                    <a:pt x="708" y="161"/>
                  </a:lnTo>
                  <a:lnTo>
                    <a:pt x="708" y="159"/>
                  </a:lnTo>
                  <a:lnTo>
                    <a:pt x="708" y="161"/>
                  </a:lnTo>
                  <a:lnTo>
                    <a:pt x="706" y="159"/>
                  </a:lnTo>
                  <a:lnTo>
                    <a:pt x="708" y="161"/>
                  </a:lnTo>
                  <a:lnTo>
                    <a:pt x="710" y="161"/>
                  </a:lnTo>
                  <a:lnTo>
                    <a:pt x="702" y="169"/>
                  </a:lnTo>
                  <a:lnTo>
                    <a:pt x="704" y="169"/>
                  </a:lnTo>
                  <a:lnTo>
                    <a:pt x="701" y="171"/>
                  </a:lnTo>
                  <a:lnTo>
                    <a:pt x="695" y="174"/>
                  </a:lnTo>
                  <a:lnTo>
                    <a:pt x="689" y="176"/>
                  </a:lnTo>
                  <a:lnTo>
                    <a:pt x="679" y="180"/>
                  </a:lnTo>
                  <a:lnTo>
                    <a:pt x="678" y="184"/>
                  </a:lnTo>
                  <a:lnTo>
                    <a:pt x="674" y="186"/>
                  </a:lnTo>
                  <a:lnTo>
                    <a:pt x="664" y="190"/>
                  </a:lnTo>
                  <a:lnTo>
                    <a:pt x="666" y="186"/>
                  </a:lnTo>
                  <a:lnTo>
                    <a:pt x="664" y="190"/>
                  </a:lnTo>
                  <a:lnTo>
                    <a:pt x="662" y="190"/>
                  </a:lnTo>
                  <a:lnTo>
                    <a:pt x="664" y="190"/>
                  </a:lnTo>
                  <a:lnTo>
                    <a:pt x="660" y="192"/>
                  </a:lnTo>
                  <a:lnTo>
                    <a:pt x="658" y="194"/>
                  </a:lnTo>
                  <a:lnTo>
                    <a:pt x="653" y="196"/>
                  </a:lnTo>
                  <a:lnTo>
                    <a:pt x="647" y="198"/>
                  </a:lnTo>
                  <a:lnTo>
                    <a:pt x="639" y="201"/>
                  </a:lnTo>
                  <a:lnTo>
                    <a:pt x="631" y="207"/>
                  </a:lnTo>
                  <a:lnTo>
                    <a:pt x="624" y="213"/>
                  </a:lnTo>
                  <a:lnTo>
                    <a:pt x="618" y="215"/>
                  </a:lnTo>
                  <a:lnTo>
                    <a:pt x="614" y="219"/>
                  </a:lnTo>
                  <a:lnTo>
                    <a:pt x="608" y="224"/>
                  </a:lnTo>
                  <a:lnTo>
                    <a:pt x="607" y="228"/>
                  </a:lnTo>
                  <a:lnTo>
                    <a:pt x="605" y="230"/>
                  </a:lnTo>
                  <a:lnTo>
                    <a:pt x="599" y="238"/>
                  </a:lnTo>
                  <a:lnTo>
                    <a:pt x="599" y="242"/>
                  </a:lnTo>
                  <a:lnTo>
                    <a:pt x="597" y="242"/>
                  </a:lnTo>
                  <a:lnTo>
                    <a:pt x="597" y="246"/>
                  </a:lnTo>
                  <a:lnTo>
                    <a:pt x="597" y="249"/>
                  </a:lnTo>
                  <a:lnTo>
                    <a:pt x="597" y="247"/>
                  </a:lnTo>
                  <a:lnTo>
                    <a:pt x="601" y="249"/>
                  </a:lnTo>
                  <a:lnTo>
                    <a:pt x="599" y="251"/>
                  </a:lnTo>
                  <a:lnTo>
                    <a:pt x="601" y="249"/>
                  </a:lnTo>
                  <a:lnTo>
                    <a:pt x="603" y="253"/>
                  </a:lnTo>
                  <a:lnTo>
                    <a:pt x="605" y="251"/>
                  </a:lnTo>
                  <a:lnTo>
                    <a:pt x="607" y="253"/>
                  </a:lnTo>
                  <a:lnTo>
                    <a:pt x="608" y="246"/>
                  </a:lnTo>
                  <a:lnTo>
                    <a:pt x="608" y="242"/>
                  </a:lnTo>
                  <a:lnTo>
                    <a:pt x="605" y="238"/>
                  </a:lnTo>
                  <a:lnTo>
                    <a:pt x="607" y="236"/>
                  </a:lnTo>
                  <a:lnTo>
                    <a:pt x="608" y="240"/>
                  </a:lnTo>
                  <a:lnTo>
                    <a:pt x="608" y="246"/>
                  </a:lnTo>
                  <a:lnTo>
                    <a:pt x="608" y="253"/>
                  </a:lnTo>
                  <a:lnTo>
                    <a:pt x="607" y="257"/>
                  </a:lnTo>
                  <a:lnTo>
                    <a:pt x="607" y="265"/>
                  </a:lnTo>
                  <a:lnTo>
                    <a:pt x="603" y="265"/>
                  </a:lnTo>
                  <a:lnTo>
                    <a:pt x="607" y="267"/>
                  </a:lnTo>
                  <a:lnTo>
                    <a:pt x="605" y="269"/>
                  </a:lnTo>
                  <a:lnTo>
                    <a:pt x="607" y="267"/>
                  </a:lnTo>
                  <a:lnTo>
                    <a:pt x="605" y="267"/>
                  </a:lnTo>
                  <a:lnTo>
                    <a:pt x="608" y="267"/>
                  </a:lnTo>
                  <a:lnTo>
                    <a:pt x="607" y="265"/>
                  </a:lnTo>
                  <a:lnTo>
                    <a:pt x="608" y="265"/>
                  </a:lnTo>
                  <a:lnTo>
                    <a:pt x="608" y="267"/>
                  </a:lnTo>
                  <a:lnTo>
                    <a:pt x="605" y="272"/>
                  </a:lnTo>
                  <a:lnTo>
                    <a:pt x="603" y="278"/>
                  </a:lnTo>
                  <a:lnTo>
                    <a:pt x="601" y="278"/>
                  </a:lnTo>
                  <a:lnTo>
                    <a:pt x="601" y="280"/>
                  </a:lnTo>
                  <a:lnTo>
                    <a:pt x="597" y="282"/>
                  </a:lnTo>
                  <a:lnTo>
                    <a:pt x="601" y="282"/>
                  </a:lnTo>
                  <a:lnTo>
                    <a:pt x="603" y="280"/>
                  </a:lnTo>
                  <a:lnTo>
                    <a:pt x="601" y="282"/>
                  </a:lnTo>
                  <a:lnTo>
                    <a:pt x="599" y="284"/>
                  </a:lnTo>
                  <a:lnTo>
                    <a:pt x="589" y="288"/>
                  </a:lnTo>
                  <a:lnTo>
                    <a:pt x="582" y="292"/>
                  </a:lnTo>
                  <a:lnTo>
                    <a:pt x="576" y="294"/>
                  </a:lnTo>
                  <a:lnTo>
                    <a:pt x="570" y="297"/>
                  </a:lnTo>
                  <a:lnTo>
                    <a:pt x="564" y="301"/>
                  </a:lnTo>
                  <a:lnTo>
                    <a:pt x="564" y="297"/>
                  </a:lnTo>
                  <a:lnTo>
                    <a:pt x="562" y="301"/>
                  </a:lnTo>
                  <a:lnTo>
                    <a:pt x="553" y="303"/>
                  </a:lnTo>
                  <a:lnTo>
                    <a:pt x="549" y="305"/>
                  </a:lnTo>
                  <a:lnTo>
                    <a:pt x="543" y="309"/>
                  </a:lnTo>
                  <a:lnTo>
                    <a:pt x="539" y="311"/>
                  </a:lnTo>
                  <a:lnTo>
                    <a:pt x="537" y="311"/>
                  </a:lnTo>
                  <a:lnTo>
                    <a:pt x="539" y="305"/>
                  </a:lnTo>
                  <a:lnTo>
                    <a:pt x="537" y="309"/>
                  </a:lnTo>
                  <a:lnTo>
                    <a:pt x="534" y="309"/>
                  </a:lnTo>
                  <a:lnTo>
                    <a:pt x="530" y="307"/>
                  </a:lnTo>
                  <a:lnTo>
                    <a:pt x="520" y="307"/>
                  </a:lnTo>
                  <a:lnTo>
                    <a:pt x="520" y="303"/>
                  </a:lnTo>
                  <a:lnTo>
                    <a:pt x="520" y="305"/>
                  </a:lnTo>
                  <a:lnTo>
                    <a:pt x="514" y="305"/>
                  </a:lnTo>
                  <a:lnTo>
                    <a:pt x="520" y="307"/>
                  </a:lnTo>
                  <a:lnTo>
                    <a:pt x="514" y="307"/>
                  </a:lnTo>
                  <a:lnTo>
                    <a:pt x="512" y="305"/>
                  </a:lnTo>
                  <a:lnTo>
                    <a:pt x="503" y="307"/>
                  </a:lnTo>
                  <a:lnTo>
                    <a:pt x="495" y="311"/>
                  </a:lnTo>
                  <a:lnTo>
                    <a:pt x="489" y="315"/>
                  </a:lnTo>
                  <a:lnTo>
                    <a:pt x="489" y="313"/>
                  </a:lnTo>
                  <a:lnTo>
                    <a:pt x="489" y="315"/>
                  </a:lnTo>
                  <a:lnTo>
                    <a:pt x="486" y="319"/>
                  </a:lnTo>
                  <a:lnTo>
                    <a:pt x="482" y="326"/>
                  </a:lnTo>
                  <a:lnTo>
                    <a:pt x="482" y="332"/>
                  </a:lnTo>
                  <a:lnTo>
                    <a:pt x="480" y="334"/>
                  </a:lnTo>
                  <a:lnTo>
                    <a:pt x="476" y="342"/>
                  </a:lnTo>
                  <a:lnTo>
                    <a:pt x="474" y="343"/>
                  </a:lnTo>
                  <a:lnTo>
                    <a:pt x="474" y="347"/>
                  </a:lnTo>
                  <a:lnTo>
                    <a:pt x="474" y="349"/>
                  </a:lnTo>
                  <a:lnTo>
                    <a:pt x="468" y="353"/>
                  </a:lnTo>
                  <a:lnTo>
                    <a:pt x="461" y="361"/>
                  </a:lnTo>
                  <a:lnTo>
                    <a:pt x="461" y="363"/>
                  </a:lnTo>
                  <a:lnTo>
                    <a:pt x="459" y="367"/>
                  </a:lnTo>
                  <a:lnTo>
                    <a:pt x="461" y="368"/>
                  </a:lnTo>
                  <a:lnTo>
                    <a:pt x="461" y="365"/>
                  </a:lnTo>
                  <a:lnTo>
                    <a:pt x="461" y="370"/>
                  </a:lnTo>
                  <a:lnTo>
                    <a:pt x="459" y="368"/>
                  </a:lnTo>
                  <a:lnTo>
                    <a:pt x="457" y="367"/>
                  </a:lnTo>
                  <a:lnTo>
                    <a:pt x="449" y="361"/>
                  </a:lnTo>
                  <a:lnTo>
                    <a:pt x="449" y="357"/>
                  </a:lnTo>
                  <a:lnTo>
                    <a:pt x="445" y="363"/>
                  </a:lnTo>
                  <a:lnTo>
                    <a:pt x="441" y="372"/>
                  </a:lnTo>
                  <a:lnTo>
                    <a:pt x="440" y="372"/>
                  </a:lnTo>
                  <a:lnTo>
                    <a:pt x="438" y="365"/>
                  </a:lnTo>
                  <a:lnTo>
                    <a:pt x="440" y="365"/>
                  </a:lnTo>
                  <a:lnTo>
                    <a:pt x="440" y="363"/>
                  </a:lnTo>
                  <a:lnTo>
                    <a:pt x="438" y="361"/>
                  </a:lnTo>
                  <a:lnTo>
                    <a:pt x="430" y="357"/>
                  </a:lnTo>
                  <a:lnTo>
                    <a:pt x="420" y="357"/>
                  </a:lnTo>
                  <a:lnTo>
                    <a:pt x="415" y="359"/>
                  </a:lnTo>
                  <a:lnTo>
                    <a:pt x="411" y="361"/>
                  </a:lnTo>
                  <a:lnTo>
                    <a:pt x="409" y="359"/>
                  </a:lnTo>
                  <a:lnTo>
                    <a:pt x="411" y="361"/>
                  </a:lnTo>
                  <a:lnTo>
                    <a:pt x="401" y="365"/>
                  </a:lnTo>
                  <a:lnTo>
                    <a:pt x="393" y="368"/>
                  </a:lnTo>
                  <a:lnTo>
                    <a:pt x="390" y="370"/>
                  </a:lnTo>
                  <a:lnTo>
                    <a:pt x="386" y="374"/>
                  </a:lnTo>
                  <a:lnTo>
                    <a:pt x="382" y="378"/>
                  </a:lnTo>
                  <a:lnTo>
                    <a:pt x="378" y="386"/>
                  </a:lnTo>
                  <a:lnTo>
                    <a:pt x="374" y="395"/>
                  </a:lnTo>
                  <a:lnTo>
                    <a:pt x="376" y="393"/>
                  </a:lnTo>
                  <a:lnTo>
                    <a:pt x="372" y="403"/>
                  </a:lnTo>
                  <a:lnTo>
                    <a:pt x="370" y="405"/>
                  </a:lnTo>
                  <a:lnTo>
                    <a:pt x="365" y="411"/>
                  </a:lnTo>
                  <a:lnTo>
                    <a:pt x="363" y="415"/>
                  </a:lnTo>
                  <a:lnTo>
                    <a:pt x="359" y="424"/>
                  </a:lnTo>
                  <a:lnTo>
                    <a:pt x="359" y="432"/>
                  </a:lnTo>
                  <a:lnTo>
                    <a:pt x="357" y="436"/>
                  </a:lnTo>
                  <a:lnTo>
                    <a:pt x="355" y="443"/>
                  </a:lnTo>
                  <a:lnTo>
                    <a:pt x="357" y="453"/>
                  </a:lnTo>
                  <a:lnTo>
                    <a:pt x="357" y="461"/>
                  </a:lnTo>
                  <a:lnTo>
                    <a:pt x="359" y="466"/>
                  </a:lnTo>
                  <a:lnTo>
                    <a:pt x="359" y="472"/>
                  </a:lnTo>
                  <a:lnTo>
                    <a:pt x="357" y="474"/>
                  </a:lnTo>
                  <a:lnTo>
                    <a:pt x="359" y="474"/>
                  </a:lnTo>
                  <a:lnTo>
                    <a:pt x="359" y="472"/>
                  </a:lnTo>
                  <a:lnTo>
                    <a:pt x="361" y="480"/>
                  </a:lnTo>
                  <a:lnTo>
                    <a:pt x="365" y="486"/>
                  </a:lnTo>
                  <a:lnTo>
                    <a:pt x="363" y="486"/>
                  </a:lnTo>
                  <a:lnTo>
                    <a:pt x="365" y="486"/>
                  </a:lnTo>
                  <a:lnTo>
                    <a:pt x="365" y="484"/>
                  </a:lnTo>
                  <a:lnTo>
                    <a:pt x="363" y="482"/>
                  </a:lnTo>
                  <a:lnTo>
                    <a:pt x="365" y="482"/>
                  </a:lnTo>
                  <a:lnTo>
                    <a:pt x="365" y="486"/>
                  </a:lnTo>
                  <a:lnTo>
                    <a:pt x="367" y="493"/>
                  </a:lnTo>
                  <a:lnTo>
                    <a:pt x="370" y="497"/>
                  </a:lnTo>
                  <a:lnTo>
                    <a:pt x="369" y="497"/>
                  </a:lnTo>
                  <a:lnTo>
                    <a:pt x="370" y="497"/>
                  </a:lnTo>
                  <a:lnTo>
                    <a:pt x="365" y="499"/>
                  </a:lnTo>
                  <a:lnTo>
                    <a:pt x="367" y="499"/>
                  </a:lnTo>
                  <a:lnTo>
                    <a:pt x="369" y="499"/>
                  </a:lnTo>
                  <a:lnTo>
                    <a:pt x="370" y="497"/>
                  </a:lnTo>
                  <a:lnTo>
                    <a:pt x="369" y="505"/>
                  </a:lnTo>
                  <a:lnTo>
                    <a:pt x="369" y="514"/>
                  </a:lnTo>
                  <a:lnTo>
                    <a:pt x="367" y="520"/>
                  </a:lnTo>
                  <a:lnTo>
                    <a:pt x="367" y="522"/>
                  </a:lnTo>
                  <a:lnTo>
                    <a:pt x="363" y="532"/>
                  </a:lnTo>
                  <a:lnTo>
                    <a:pt x="365" y="534"/>
                  </a:lnTo>
                  <a:lnTo>
                    <a:pt x="359" y="534"/>
                  </a:lnTo>
                  <a:lnTo>
                    <a:pt x="365" y="536"/>
                  </a:lnTo>
                  <a:lnTo>
                    <a:pt x="363" y="539"/>
                  </a:lnTo>
                  <a:lnTo>
                    <a:pt x="363" y="545"/>
                  </a:lnTo>
                  <a:lnTo>
                    <a:pt x="363" y="551"/>
                  </a:lnTo>
                  <a:lnTo>
                    <a:pt x="365" y="557"/>
                  </a:lnTo>
                  <a:lnTo>
                    <a:pt x="367" y="562"/>
                  </a:lnTo>
                  <a:lnTo>
                    <a:pt x="369" y="566"/>
                  </a:lnTo>
                  <a:lnTo>
                    <a:pt x="370" y="570"/>
                  </a:lnTo>
                  <a:lnTo>
                    <a:pt x="372" y="574"/>
                  </a:lnTo>
                  <a:lnTo>
                    <a:pt x="374" y="582"/>
                  </a:lnTo>
                  <a:lnTo>
                    <a:pt x="374" y="586"/>
                  </a:lnTo>
                  <a:lnTo>
                    <a:pt x="372" y="593"/>
                  </a:lnTo>
                  <a:lnTo>
                    <a:pt x="372" y="599"/>
                  </a:lnTo>
                  <a:lnTo>
                    <a:pt x="374" y="603"/>
                  </a:lnTo>
                  <a:lnTo>
                    <a:pt x="376" y="609"/>
                  </a:lnTo>
                  <a:lnTo>
                    <a:pt x="376" y="610"/>
                  </a:lnTo>
                  <a:lnTo>
                    <a:pt x="372" y="618"/>
                  </a:lnTo>
                  <a:lnTo>
                    <a:pt x="367" y="616"/>
                  </a:lnTo>
                  <a:lnTo>
                    <a:pt x="361" y="614"/>
                  </a:lnTo>
                  <a:lnTo>
                    <a:pt x="359" y="614"/>
                  </a:lnTo>
                  <a:lnTo>
                    <a:pt x="359" y="616"/>
                  </a:lnTo>
                  <a:lnTo>
                    <a:pt x="355" y="616"/>
                  </a:lnTo>
                  <a:lnTo>
                    <a:pt x="357" y="610"/>
                  </a:lnTo>
                  <a:lnTo>
                    <a:pt x="353" y="612"/>
                  </a:lnTo>
                  <a:lnTo>
                    <a:pt x="347" y="610"/>
                  </a:lnTo>
                  <a:lnTo>
                    <a:pt x="347" y="612"/>
                  </a:lnTo>
                  <a:lnTo>
                    <a:pt x="353" y="614"/>
                  </a:lnTo>
                  <a:lnTo>
                    <a:pt x="353" y="616"/>
                  </a:lnTo>
                  <a:lnTo>
                    <a:pt x="349" y="616"/>
                  </a:lnTo>
                  <a:lnTo>
                    <a:pt x="347" y="618"/>
                  </a:lnTo>
                  <a:lnTo>
                    <a:pt x="344" y="620"/>
                  </a:lnTo>
                  <a:lnTo>
                    <a:pt x="345" y="624"/>
                  </a:lnTo>
                  <a:lnTo>
                    <a:pt x="342" y="624"/>
                  </a:lnTo>
                  <a:lnTo>
                    <a:pt x="342" y="628"/>
                  </a:lnTo>
                  <a:lnTo>
                    <a:pt x="344" y="628"/>
                  </a:lnTo>
                  <a:lnTo>
                    <a:pt x="340" y="632"/>
                  </a:lnTo>
                  <a:lnTo>
                    <a:pt x="338" y="632"/>
                  </a:lnTo>
                  <a:lnTo>
                    <a:pt x="332" y="635"/>
                  </a:lnTo>
                  <a:lnTo>
                    <a:pt x="326" y="635"/>
                  </a:lnTo>
                  <a:lnTo>
                    <a:pt x="324" y="637"/>
                  </a:lnTo>
                  <a:lnTo>
                    <a:pt x="321" y="635"/>
                  </a:lnTo>
                  <a:lnTo>
                    <a:pt x="321" y="637"/>
                  </a:lnTo>
                  <a:lnTo>
                    <a:pt x="319" y="639"/>
                  </a:lnTo>
                  <a:lnTo>
                    <a:pt x="324" y="643"/>
                  </a:lnTo>
                  <a:lnTo>
                    <a:pt x="321" y="647"/>
                  </a:lnTo>
                  <a:lnTo>
                    <a:pt x="319" y="645"/>
                  </a:lnTo>
                  <a:lnTo>
                    <a:pt x="317" y="647"/>
                  </a:lnTo>
                  <a:lnTo>
                    <a:pt x="315" y="645"/>
                  </a:lnTo>
                  <a:lnTo>
                    <a:pt x="315" y="643"/>
                  </a:lnTo>
                  <a:lnTo>
                    <a:pt x="313" y="643"/>
                  </a:lnTo>
                  <a:lnTo>
                    <a:pt x="315" y="641"/>
                  </a:lnTo>
                  <a:lnTo>
                    <a:pt x="313" y="639"/>
                  </a:lnTo>
                  <a:lnTo>
                    <a:pt x="307" y="641"/>
                  </a:lnTo>
                  <a:lnTo>
                    <a:pt x="305" y="639"/>
                  </a:lnTo>
                  <a:lnTo>
                    <a:pt x="301" y="641"/>
                  </a:lnTo>
                  <a:lnTo>
                    <a:pt x="299" y="639"/>
                  </a:lnTo>
                  <a:lnTo>
                    <a:pt x="298" y="634"/>
                  </a:lnTo>
                  <a:lnTo>
                    <a:pt x="288" y="634"/>
                  </a:lnTo>
                  <a:lnTo>
                    <a:pt x="280" y="635"/>
                  </a:lnTo>
                  <a:lnTo>
                    <a:pt x="286" y="637"/>
                  </a:lnTo>
                  <a:lnTo>
                    <a:pt x="284" y="645"/>
                  </a:lnTo>
                  <a:lnTo>
                    <a:pt x="288" y="643"/>
                  </a:lnTo>
                  <a:lnTo>
                    <a:pt x="286" y="647"/>
                  </a:lnTo>
                  <a:lnTo>
                    <a:pt x="286" y="649"/>
                  </a:lnTo>
                  <a:lnTo>
                    <a:pt x="280" y="649"/>
                  </a:lnTo>
                  <a:lnTo>
                    <a:pt x="278" y="651"/>
                  </a:lnTo>
                  <a:lnTo>
                    <a:pt x="276" y="651"/>
                  </a:lnTo>
                  <a:lnTo>
                    <a:pt x="278" y="655"/>
                  </a:lnTo>
                  <a:lnTo>
                    <a:pt x="274" y="657"/>
                  </a:lnTo>
                  <a:lnTo>
                    <a:pt x="273" y="659"/>
                  </a:lnTo>
                  <a:lnTo>
                    <a:pt x="273" y="657"/>
                  </a:lnTo>
                  <a:lnTo>
                    <a:pt x="269" y="657"/>
                  </a:lnTo>
                  <a:lnTo>
                    <a:pt x="269" y="653"/>
                  </a:lnTo>
                  <a:lnTo>
                    <a:pt x="267" y="653"/>
                  </a:lnTo>
                  <a:lnTo>
                    <a:pt x="265" y="655"/>
                  </a:lnTo>
                  <a:lnTo>
                    <a:pt x="263" y="655"/>
                  </a:lnTo>
                  <a:lnTo>
                    <a:pt x="263" y="659"/>
                  </a:lnTo>
                  <a:lnTo>
                    <a:pt x="259" y="660"/>
                  </a:lnTo>
                  <a:lnTo>
                    <a:pt x="259" y="666"/>
                  </a:lnTo>
                  <a:lnTo>
                    <a:pt x="257" y="668"/>
                  </a:lnTo>
                  <a:lnTo>
                    <a:pt x="253" y="666"/>
                  </a:lnTo>
                  <a:lnTo>
                    <a:pt x="248" y="668"/>
                  </a:lnTo>
                  <a:lnTo>
                    <a:pt x="246" y="664"/>
                  </a:lnTo>
                  <a:lnTo>
                    <a:pt x="238" y="660"/>
                  </a:lnTo>
                  <a:lnTo>
                    <a:pt x="230" y="662"/>
                  </a:lnTo>
                  <a:lnTo>
                    <a:pt x="228" y="662"/>
                  </a:lnTo>
                  <a:lnTo>
                    <a:pt x="228" y="664"/>
                  </a:lnTo>
                  <a:lnTo>
                    <a:pt x="232" y="666"/>
                  </a:lnTo>
                  <a:lnTo>
                    <a:pt x="226" y="666"/>
                  </a:lnTo>
                  <a:lnTo>
                    <a:pt x="226" y="660"/>
                  </a:lnTo>
                  <a:lnTo>
                    <a:pt x="226" y="659"/>
                  </a:lnTo>
                  <a:lnTo>
                    <a:pt x="225" y="660"/>
                  </a:lnTo>
                  <a:lnTo>
                    <a:pt x="219" y="660"/>
                  </a:lnTo>
                  <a:lnTo>
                    <a:pt x="211" y="664"/>
                  </a:lnTo>
                  <a:lnTo>
                    <a:pt x="207" y="662"/>
                  </a:lnTo>
                  <a:lnTo>
                    <a:pt x="207" y="668"/>
                  </a:lnTo>
                  <a:lnTo>
                    <a:pt x="202" y="666"/>
                  </a:lnTo>
                  <a:lnTo>
                    <a:pt x="198" y="672"/>
                  </a:lnTo>
                  <a:lnTo>
                    <a:pt x="202" y="678"/>
                  </a:lnTo>
                  <a:lnTo>
                    <a:pt x="200" y="678"/>
                  </a:lnTo>
                  <a:lnTo>
                    <a:pt x="196" y="687"/>
                  </a:lnTo>
                  <a:lnTo>
                    <a:pt x="194" y="693"/>
                  </a:lnTo>
                  <a:lnTo>
                    <a:pt x="190" y="697"/>
                  </a:lnTo>
                  <a:lnTo>
                    <a:pt x="190" y="703"/>
                  </a:lnTo>
                  <a:lnTo>
                    <a:pt x="188" y="705"/>
                  </a:lnTo>
                  <a:lnTo>
                    <a:pt x="186" y="701"/>
                  </a:lnTo>
                  <a:lnTo>
                    <a:pt x="182" y="699"/>
                  </a:lnTo>
                  <a:lnTo>
                    <a:pt x="184" y="705"/>
                  </a:lnTo>
                  <a:lnTo>
                    <a:pt x="182" y="707"/>
                  </a:lnTo>
                  <a:lnTo>
                    <a:pt x="180" y="707"/>
                  </a:lnTo>
                  <a:lnTo>
                    <a:pt x="180" y="710"/>
                  </a:lnTo>
                  <a:lnTo>
                    <a:pt x="177" y="710"/>
                  </a:lnTo>
                  <a:lnTo>
                    <a:pt x="169" y="710"/>
                  </a:lnTo>
                  <a:lnTo>
                    <a:pt x="163" y="707"/>
                  </a:lnTo>
                  <a:lnTo>
                    <a:pt x="159" y="703"/>
                  </a:lnTo>
                  <a:lnTo>
                    <a:pt x="152" y="705"/>
                  </a:lnTo>
                  <a:lnTo>
                    <a:pt x="152" y="703"/>
                  </a:lnTo>
                  <a:lnTo>
                    <a:pt x="155" y="699"/>
                  </a:lnTo>
                  <a:lnTo>
                    <a:pt x="155" y="697"/>
                  </a:lnTo>
                  <a:lnTo>
                    <a:pt x="157" y="689"/>
                  </a:lnTo>
                  <a:lnTo>
                    <a:pt x="157" y="685"/>
                  </a:lnTo>
                  <a:lnTo>
                    <a:pt x="163" y="685"/>
                  </a:lnTo>
                  <a:lnTo>
                    <a:pt x="165" y="683"/>
                  </a:lnTo>
                  <a:lnTo>
                    <a:pt x="165" y="682"/>
                  </a:lnTo>
                  <a:lnTo>
                    <a:pt x="167" y="682"/>
                  </a:lnTo>
                  <a:lnTo>
                    <a:pt x="169" y="676"/>
                  </a:lnTo>
                  <a:lnTo>
                    <a:pt x="173" y="680"/>
                  </a:lnTo>
                  <a:lnTo>
                    <a:pt x="179" y="680"/>
                  </a:lnTo>
                  <a:lnTo>
                    <a:pt x="180" y="683"/>
                  </a:lnTo>
                  <a:lnTo>
                    <a:pt x="180" y="682"/>
                  </a:lnTo>
                  <a:lnTo>
                    <a:pt x="177" y="678"/>
                  </a:lnTo>
                  <a:lnTo>
                    <a:pt x="175" y="680"/>
                  </a:lnTo>
                  <a:lnTo>
                    <a:pt x="175" y="676"/>
                  </a:lnTo>
                  <a:lnTo>
                    <a:pt x="177" y="674"/>
                  </a:lnTo>
                  <a:lnTo>
                    <a:pt x="177" y="672"/>
                  </a:lnTo>
                  <a:lnTo>
                    <a:pt x="180" y="672"/>
                  </a:lnTo>
                  <a:lnTo>
                    <a:pt x="179" y="664"/>
                  </a:lnTo>
                  <a:lnTo>
                    <a:pt x="186" y="662"/>
                  </a:lnTo>
                  <a:lnTo>
                    <a:pt x="186" y="659"/>
                  </a:lnTo>
                  <a:lnTo>
                    <a:pt x="190" y="659"/>
                  </a:lnTo>
                  <a:lnTo>
                    <a:pt x="188" y="655"/>
                  </a:lnTo>
                  <a:lnTo>
                    <a:pt x="192" y="651"/>
                  </a:lnTo>
                  <a:lnTo>
                    <a:pt x="190" y="647"/>
                  </a:lnTo>
                  <a:lnTo>
                    <a:pt x="194" y="647"/>
                  </a:lnTo>
                  <a:lnTo>
                    <a:pt x="192" y="643"/>
                  </a:lnTo>
                  <a:lnTo>
                    <a:pt x="194" y="639"/>
                  </a:lnTo>
                  <a:lnTo>
                    <a:pt x="192" y="637"/>
                  </a:lnTo>
                  <a:lnTo>
                    <a:pt x="188" y="637"/>
                  </a:lnTo>
                  <a:lnTo>
                    <a:pt x="188" y="641"/>
                  </a:lnTo>
                  <a:lnTo>
                    <a:pt x="182" y="635"/>
                  </a:lnTo>
                  <a:lnTo>
                    <a:pt x="180" y="637"/>
                  </a:lnTo>
                  <a:lnTo>
                    <a:pt x="179" y="635"/>
                  </a:lnTo>
                  <a:lnTo>
                    <a:pt x="175" y="635"/>
                  </a:lnTo>
                  <a:lnTo>
                    <a:pt x="173" y="634"/>
                  </a:lnTo>
                  <a:lnTo>
                    <a:pt x="175" y="632"/>
                  </a:lnTo>
                  <a:lnTo>
                    <a:pt x="171" y="630"/>
                  </a:lnTo>
                  <a:lnTo>
                    <a:pt x="171" y="624"/>
                  </a:lnTo>
                  <a:lnTo>
                    <a:pt x="171" y="620"/>
                  </a:lnTo>
                  <a:lnTo>
                    <a:pt x="171" y="612"/>
                  </a:lnTo>
                  <a:lnTo>
                    <a:pt x="175" y="609"/>
                  </a:lnTo>
                  <a:lnTo>
                    <a:pt x="173" y="607"/>
                  </a:lnTo>
                  <a:lnTo>
                    <a:pt x="171" y="607"/>
                  </a:lnTo>
                  <a:lnTo>
                    <a:pt x="167" y="609"/>
                  </a:lnTo>
                  <a:lnTo>
                    <a:pt x="165" y="607"/>
                  </a:lnTo>
                  <a:lnTo>
                    <a:pt x="157" y="607"/>
                  </a:lnTo>
                  <a:lnTo>
                    <a:pt x="154" y="609"/>
                  </a:lnTo>
                  <a:lnTo>
                    <a:pt x="152" y="607"/>
                  </a:lnTo>
                  <a:lnTo>
                    <a:pt x="154" y="603"/>
                  </a:lnTo>
                  <a:lnTo>
                    <a:pt x="150" y="601"/>
                  </a:lnTo>
                  <a:lnTo>
                    <a:pt x="150" y="599"/>
                  </a:lnTo>
                  <a:lnTo>
                    <a:pt x="142" y="601"/>
                  </a:lnTo>
                  <a:lnTo>
                    <a:pt x="138" y="597"/>
                  </a:lnTo>
                  <a:lnTo>
                    <a:pt x="140" y="595"/>
                  </a:lnTo>
                  <a:lnTo>
                    <a:pt x="144" y="595"/>
                  </a:lnTo>
                  <a:lnTo>
                    <a:pt x="144" y="591"/>
                  </a:lnTo>
                  <a:lnTo>
                    <a:pt x="142" y="589"/>
                  </a:lnTo>
                  <a:lnTo>
                    <a:pt x="146" y="586"/>
                  </a:lnTo>
                  <a:lnTo>
                    <a:pt x="144" y="582"/>
                  </a:lnTo>
                  <a:lnTo>
                    <a:pt x="146" y="578"/>
                  </a:lnTo>
                  <a:lnTo>
                    <a:pt x="144" y="576"/>
                  </a:lnTo>
                  <a:lnTo>
                    <a:pt x="142" y="576"/>
                  </a:lnTo>
                  <a:lnTo>
                    <a:pt x="140" y="574"/>
                  </a:lnTo>
                  <a:lnTo>
                    <a:pt x="138" y="572"/>
                  </a:lnTo>
                  <a:lnTo>
                    <a:pt x="136" y="576"/>
                  </a:lnTo>
                  <a:lnTo>
                    <a:pt x="132" y="576"/>
                  </a:lnTo>
                  <a:lnTo>
                    <a:pt x="131" y="580"/>
                  </a:lnTo>
                  <a:lnTo>
                    <a:pt x="127" y="580"/>
                  </a:lnTo>
                  <a:lnTo>
                    <a:pt x="127" y="574"/>
                  </a:lnTo>
                  <a:lnTo>
                    <a:pt x="131" y="572"/>
                  </a:lnTo>
                  <a:lnTo>
                    <a:pt x="131" y="566"/>
                  </a:lnTo>
                  <a:lnTo>
                    <a:pt x="123" y="572"/>
                  </a:lnTo>
                  <a:lnTo>
                    <a:pt x="121" y="568"/>
                  </a:lnTo>
                  <a:lnTo>
                    <a:pt x="113" y="568"/>
                  </a:lnTo>
                  <a:lnTo>
                    <a:pt x="111" y="570"/>
                  </a:lnTo>
                  <a:lnTo>
                    <a:pt x="115" y="576"/>
                  </a:lnTo>
                  <a:lnTo>
                    <a:pt x="109" y="578"/>
                  </a:lnTo>
                  <a:lnTo>
                    <a:pt x="109" y="582"/>
                  </a:lnTo>
                  <a:lnTo>
                    <a:pt x="102" y="584"/>
                  </a:lnTo>
                  <a:lnTo>
                    <a:pt x="102" y="589"/>
                  </a:lnTo>
                  <a:lnTo>
                    <a:pt x="100" y="587"/>
                  </a:lnTo>
                  <a:lnTo>
                    <a:pt x="96" y="587"/>
                  </a:lnTo>
                  <a:lnTo>
                    <a:pt x="98" y="586"/>
                  </a:lnTo>
                  <a:lnTo>
                    <a:pt x="96" y="586"/>
                  </a:lnTo>
                  <a:lnTo>
                    <a:pt x="90" y="587"/>
                  </a:lnTo>
                  <a:lnTo>
                    <a:pt x="94" y="589"/>
                  </a:lnTo>
                  <a:lnTo>
                    <a:pt x="92" y="589"/>
                  </a:lnTo>
                  <a:lnTo>
                    <a:pt x="88" y="587"/>
                  </a:lnTo>
                  <a:lnTo>
                    <a:pt x="84" y="591"/>
                  </a:lnTo>
                  <a:lnTo>
                    <a:pt x="83" y="587"/>
                  </a:lnTo>
                  <a:lnTo>
                    <a:pt x="81" y="587"/>
                  </a:lnTo>
                  <a:lnTo>
                    <a:pt x="81" y="595"/>
                  </a:lnTo>
                  <a:lnTo>
                    <a:pt x="77" y="593"/>
                  </a:lnTo>
                  <a:lnTo>
                    <a:pt x="77" y="595"/>
                  </a:lnTo>
                  <a:lnTo>
                    <a:pt x="73" y="597"/>
                  </a:lnTo>
                  <a:lnTo>
                    <a:pt x="75" y="587"/>
                  </a:lnTo>
                  <a:lnTo>
                    <a:pt x="73" y="584"/>
                  </a:lnTo>
                  <a:lnTo>
                    <a:pt x="75" y="582"/>
                  </a:lnTo>
                  <a:lnTo>
                    <a:pt x="69" y="584"/>
                  </a:lnTo>
                  <a:lnTo>
                    <a:pt x="71" y="578"/>
                  </a:lnTo>
                  <a:lnTo>
                    <a:pt x="65" y="580"/>
                  </a:lnTo>
                  <a:lnTo>
                    <a:pt x="63" y="578"/>
                  </a:lnTo>
                  <a:lnTo>
                    <a:pt x="60" y="580"/>
                  </a:lnTo>
                  <a:lnTo>
                    <a:pt x="58" y="576"/>
                  </a:lnTo>
                  <a:lnTo>
                    <a:pt x="52" y="578"/>
                  </a:lnTo>
                  <a:lnTo>
                    <a:pt x="52" y="572"/>
                  </a:lnTo>
                  <a:lnTo>
                    <a:pt x="48" y="572"/>
                  </a:lnTo>
                  <a:lnTo>
                    <a:pt x="48" y="576"/>
                  </a:lnTo>
                  <a:lnTo>
                    <a:pt x="48" y="574"/>
                  </a:lnTo>
                  <a:lnTo>
                    <a:pt x="46" y="576"/>
                  </a:lnTo>
                  <a:lnTo>
                    <a:pt x="44" y="576"/>
                  </a:lnTo>
                  <a:lnTo>
                    <a:pt x="44" y="570"/>
                  </a:lnTo>
                  <a:lnTo>
                    <a:pt x="42" y="572"/>
                  </a:lnTo>
                  <a:lnTo>
                    <a:pt x="42" y="576"/>
                  </a:lnTo>
                  <a:lnTo>
                    <a:pt x="38" y="578"/>
                  </a:lnTo>
                  <a:lnTo>
                    <a:pt x="42" y="580"/>
                  </a:lnTo>
                  <a:lnTo>
                    <a:pt x="42" y="582"/>
                  </a:lnTo>
                  <a:lnTo>
                    <a:pt x="42" y="587"/>
                  </a:lnTo>
                  <a:lnTo>
                    <a:pt x="38" y="587"/>
                  </a:lnTo>
                  <a:lnTo>
                    <a:pt x="35" y="587"/>
                  </a:lnTo>
                  <a:lnTo>
                    <a:pt x="33" y="589"/>
                  </a:lnTo>
                  <a:lnTo>
                    <a:pt x="31" y="589"/>
                  </a:lnTo>
                  <a:lnTo>
                    <a:pt x="27" y="586"/>
                  </a:lnTo>
                  <a:lnTo>
                    <a:pt x="25" y="589"/>
                  </a:lnTo>
                  <a:lnTo>
                    <a:pt x="23" y="582"/>
                  </a:lnTo>
                  <a:lnTo>
                    <a:pt x="21" y="582"/>
                  </a:lnTo>
                  <a:lnTo>
                    <a:pt x="25" y="578"/>
                  </a:lnTo>
                  <a:lnTo>
                    <a:pt x="27" y="572"/>
                  </a:lnTo>
                  <a:lnTo>
                    <a:pt x="29" y="572"/>
                  </a:lnTo>
                  <a:lnTo>
                    <a:pt x="29" y="568"/>
                  </a:lnTo>
                  <a:lnTo>
                    <a:pt x="25" y="566"/>
                  </a:lnTo>
                  <a:lnTo>
                    <a:pt x="25" y="562"/>
                  </a:lnTo>
                  <a:lnTo>
                    <a:pt x="17" y="559"/>
                  </a:lnTo>
                  <a:lnTo>
                    <a:pt x="19" y="555"/>
                  </a:lnTo>
                  <a:lnTo>
                    <a:pt x="23" y="555"/>
                  </a:lnTo>
                  <a:lnTo>
                    <a:pt x="23" y="553"/>
                  </a:lnTo>
                  <a:lnTo>
                    <a:pt x="17" y="547"/>
                  </a:lnTo>
                  <a:lnTo>
                    <a:pt x="13" y="547"/>
                  </a:lnTo>
                  <a:lnTo>
                    <a:pt x="13" y="543"/>
                  </a:lnTo>
                  <a:lnTo>
                    <a:pt x="19" y="543"/>
                  </a:lnTo>
                  <a:lnTo>
                    <a:pt x="19" y="539"/>
                  </a:lnTo>
                  <a:lnTo>
                    <a:pt x="21" y="541"/>
                  </a:lnTo>
                  <a:lnTo>
                    <a:pt x="27" y="541"/>
                  </a:lnTo>
                  <a:lnTo>
                    <a:pt x="27" y="551"/>
                  </a:lnTo>
                  <a:lnTo>
                    <a:pt x="29" y="551"/>
                  </a:lnTo>
                  <a:lnTo>
                    <a:pt x="29" y="555"/>
                  </a:lnTo>
                  <a:lnTo>
                    <a:pt x="33" y="557"/>
                  </a:lnTo>
                  <a:lnTo>
                    <a:pt x="38" y="557"/>
                  </a:lnTo>
                  <a:lnTo>
                    <a:pt x="40" y="562"/>
                  </a:lnTo>
                  <a:lnTo>
                    <a:pt x="42" y="561"/>
                  </a:lnTo>
                  <a:lnTo>
                    <a:pt x="52" y="561"/>
                  </a:lnTo>
                  <a:lnTo>
                    <a:pt x="54" y="559"/>
                  </a:lnTo>
                  <a:lnTo>
                    <a:pt x="56" y="559"/>
                  </a:lnTo>
                  <a:lnTo>
                    <a:pt x="60" y="559"/>
                  </a:lnTo>
                  <a:lnTo>
                    <a:pt x="61" y="562"/>
                  </a:lnTo>
                  <a:lnTo>
                    <a:pt x="63" y="562"/>
                  </a:lnTo>
                  <a:lnTo>
                    <a:pt x="61" y="566"/>
                  </a:lnTo>
                  <a:lnTo>
                    <a:pt x="63" y="566"/>
                  </a:lnTo>
                  <a:lnTo>
                    <a:pt x="61" y="570"/>
                  </a:lnTo>
                  <a:lnTo>
                    <a:pt x="63" y="572"/>
                  </a:lnTo>
                  <a:lnTo>
                    <a:pt x="67" y="572"/>
                  </a:lnTo>
                  <a:lnTo>
                    <a:pt x="67" y="574"/>
                  </a:lnTo>
                  <a:lnTo>
                    <a:pt x="71" y="572"/>
                  </a:lnTo>
                  <a:lnTo>
                    <a:pt x="69" y="568"/>
                  </a:lnTo>
                  <a:lnTo>
                    <a:pt x="71" y="564"/>
                  </a:lnTo>
                  <a:lnTo>
                    <a:pt x="65" y="564"/>
                  </a:lnTo>
                  <a:lnTo>
                    <a:pt x="67" y="561"/>
                  </a:lnTo>
                  <a:lnTo>
                    <a:pt x="61" y="559"/>
                  </a:lnTo>
                  <a:lnTo>
                    <a:pt x="61" y="555"/>
                  </a:lnTo>
                  <a:lnTo>
                    <a:pt x="65" y="553"/>
                  </a:lnTo>
                  <a:lnTo>
                    <a:pt x="69" y="549"/>
                  </a:lnTo>
                  <a:lnTo>
                    <a:pt x="67" y="547"/>
                  </a:lnTo>
                  <a:lnTo>
                    <a:pt x="63" y="549"/>
                  </a:lnTo>
                  <a:lnTo>
                    <a:pt x="63" y="547"/>
                  </a:lnTo>
                  <a:lnTo>
                    <a:pt x="67" y="547"/>
                  </a:lnTo>
                  <a:lnTo>
                    <a:pt x="69" y="543"/>
                  </a:lnTo>
                  <a:lnTo>
                    <a:pt x="75" y="543"/>
                  </a:lnTo>
                  <a:lnTo>
                    <a:pt x="79" y="543"/>
                  </a:lnTo>
                  <a:lnTo>
                    <a:pt x="81" y="541"/>
                  </a:lnTo>
                  <a:lnTo>
                    <a:pt x="79" y="536"/>
                  </a:lnTo>
                  <a:lnTo>
                    <a:pt x="79" y="532"/>
                  </a:lnTo>
                  <a:lnTo>
                    <a:pt x="77" y="530"/>
                  </a:lnTo>
                  <a:lnTo>
                    <a:pt x="73" y="530"/>
                  </a:lnTo>
                  <a:lnTo>
                    <a:pt x="73" y="528"/>
                  </a:lnTo>
                  <a:lnTo>
                    <a:pt x="67" y="526"/>
                  </a:lnTo>
                  <a:lnTo>
                    <a:pt x="67" y="528"/>
                  </a:lnTo>
                  <a:lnTo>
                    <a:pt x="71" y="537"/>
                  </a:lnTo>
                  <a:lnTo>
                    <a:pt x="71" y="539"/>
                  </a:lnTo>
                  <a:lnTo>
                    <a:pt x="67" y="539"/>
                  </a:lnTo>
                  <a:lnTo>
                    <a:pt x="67" y="537"/>
                  </a:lnTo>
                  <a:lnTo>
                    <a:pt x="63" y="536"/>
                  </a:lnTo>
                  <a:lnTo>
                    <a:pt x="63" y="532"/>
                  </a:lnTo>
                  <a:lnTo>
                    <a:pt x="56" y="530"/>
                  </a:lnTo>
                  <a:lnTo>
                    <a:pt x="56" y="524"/>
                  </a:lnTo>
                  <a:lnTo>
                    <a:pt x="52" y="528"/>
                  </a:lnTo>
                  <a:lnTo>
                    <a:pt x="46" y="526"/>
                  </a:lnTo>
                  <a:lnTo>
                    <a:pt x="42" y="524"/>
                  </a:lnTo>
                  <a:lnTo>
                    <a:pt x="40" y="524"/>
                  </a:lnTo>
                  <a:lnTo>
                    <a:pt x="38" y="530"/>
                  </a:lnTo>
                  <a:lnTo>
                    <a:pt x="36" y="537"/>
                  </a:lnTo>
                  <a:lnTo>
                    <a:pt x="35" y="537"/>
                  </a:lnTo>
                  <a:lnTo>
                    <a:pt x="31" y="536"/>
                  </a:lnTo>
                  <a:lnTo>
                    <a:pt x="27" y="536"/>
                  </a:lnTo>
                  <a:lnTo>
                    <a:pt x="19" y="536"/>
                  </a:lnTo>
                  <a:lnTo>
                    <a:pt x="17" y="532"/>
                  </a:lnTo>
                  <a:lnTo>
                    <a:pt x="21" y="530"/>
                  </a:lnTo>
                  <a:lnTo>
                    <a:pt x="13" y="524"/>
                  </a:lnTo>
                  <a:lnTo>
                    <a:pt x="13" y="518"/>
                  </a:lnTo>
                  <a:lnTo>
                    <a:pt x="17" y="516"/>
                  </a:lnTo>
                  <a:lnTo>
                    <a:pt x="19" y="516"/>
                  </a:lnTo>
                  <a:lnTo>
                    <a:pt x="19" y="513"/>
                  </a:lnTo>
                  <a:lnTo>
                    <a:pt x="21" y="513"/>
                  </a:lnTo>
                  <a:lnTo>
                    <a:pt x="23" y="509"/>
                  </a:lnTo>
                  <a:lnTo>
                    <a:pt x="15" y="509"/>
                  </a:lnTo>
                  <a:lnTo>
                    <a:pt x="12" y="511"/>
                  </a:lnTo>
                  <a:lnTo>
                    <a:pt x="10" y="507"/>
                  </a:lnTo>
                  <a:lnTo>
                    <a:pt x="6" y="503"/>
                  </a:lnTo>
                  <a:lnTo>
                    <a:pt x="2" y="497"/>
                  </a:lnTo>
                  <a:lnTo>
                    <a:pt x="0" y="497"/>
                  </a:lnTo>
                  <a:lnTo>
                    <a:pt x="2" y="488"/>
                  </a:lnTo>
                  <a:lnTo>
                    <a:pt x="4" y="482"/>
                  </a:lnTo>
                  <a:lnTo>
                    <a:pt x="4" y="476"/>
                  </a:lnTo>
                  <a:lnTo>
                    <a:pt x="10" y="476"/>
                  </a:lnTo>
                  <a:lnTo>
                    <a:pt x="10" y="474"/>
                  </a:lnTo>
                  <a:lnTo>
                    <a:pt x="12" y="474"/>
                  </a:lnTo>
                  <a:lnTo>
                    <a:pt x="10" y="464"/>
                  </a:lnTo>
                  <a:lnTo>
                    <a:pt x="12" y="464"/>
                  </a:lnTo>
                  <a:lnTo>
                    <a:pt x="13" y="459"/>
                  </a:lnTo>
                  <a:lnTo>
                    <a:pt x="12" y="457"/>
                  </a:lnTo>
                  <a:lnTo>
                    <a:pt x="8" y="457"/>
                  </a:lnTo>
                  <a:lnTo>
                    <a:pt x="0" y="455"/>
                  </a:lnTo>
                  <a:lnTo>
                    <a:pt x="4" y="449"/>
                  </a:lnTo>
                  <a:lnTo>
                    <a:pt x="2" y="445"/>
                  </a:lnTo>
                  <a:lnTo>
                    <a:pt x="6" y="443"/>
                  </a:lnTo>
                  <a:lnTo>
                    <a:pt x="13" y="447"/>
                  </a:lnTo>
                  <a:lnTo>
                    <a:pt x="13" y="449"/>
                  </a:lnTo>
                  <a:lnTo>
                    <a:pt x="21" y="449"/>
                  </a:lnTo>
                  <a:lnTo>
                    <a:pt x="25" y="451"/>
                  </a:lnTo>
                  <a:lnTo>
                    <a:pt x="27" y="449"/>
                  </a:lnTo>
                  <a:lnTo>
                    <a:pt x="33" y="449"/>
                  </a:lnTo>
                  <a:lnTo>
                    <a:pt x="33" y="451"/>
                  </a:lnTo>
                  <a:lnTo>
                    <a:pt x="36" y="453"/>
                  </a:lnTo>
                  <a:lnTo>
                    <a:pt x="36" y="449"/>
                  </a:lnTo>
                  <a:lnTo>
                    <a:pt x="38" y="449"/>
                  </a:lnTo>
                  <a:lnTo>
                    <a:pt x="40" y="441"/>
                  </a:lnTo>
                  <a:lnTo>
                    <a:pt x="44" y="440"/>
                  </a:lnTo>
                  <a:lnTo>
                    <a:pt x="42" y="436"/>
                  </a:lnTo>
                  <a:lnTo>
                    <a:pt x="44" y="436"/>
                  </a:lnTo>
                  <a:lnTo>
                    <a:pt x="44" y="432"/>
                  </a:lnTo>
                  <a:lnTo>
                    <a:pt x="40" y="428"/>
                  </a:lnTo>
                  <a:lnTo>
                    <a:pt x="46" y="424"/>
                  </a:lnTo>
                  <a:lnTo>
                    <a:pt x="44" y="420"/>
                  </a:lnTo>
                  <a:lnTo>
                    <a:pt x="40" y="420"/>
                  </a:lnTo>
                  <a:lnTo>
                    <a:pt x="40" y="416"/>
                  </a:lnTo>
                  <a:lnTo>
                    <a:pt x="35" y="416"/>
                  </a:lnTo>
                  <a:lnTo>
                    <a:pt x="35" y="415"/>
                  </a:lnTo>
                  <a:lnTo>
                    <a:pt x="33" y="413"/>
                  </a:lnTo>
                  <a:lnTo>
                    <a:pt x="33" y="411"/>
                  </a:lnTo>
                  <a:lnTo>
                    <a:pt x="31" y="409"/>
                  </a:lnTo>
                  <a:lnTo>
                    <a:pt x="31" y="405"/>
                  </a:lnTo>
                  <a:lnTo>
                    <a:pt x="25" y="399"/>
                  </a:lnTo>
                  <a:lnTo>
                    <a:pt x="25" y="397"/>
                  </a:lnTo>
                  <a:lnTo>
                    <a:pt x="31" y="397"/>
                  </a:lnTo>
                  <a:lnTo>
                    <a:pt x="31" y="390"/>
                  </a:lnTo>
                  <a:lnTo>
                    <a:pt x="33" y="384"/>
                  </a:lnTo>
                  <a:lnTo>
                    <a:pt x="38" y="382"/>
                  </a:lnTo>
                  <a:lnTo>
                    <a:pt x="42" y="384"/>
                  </a:lnTo>
                  <a:lnTo>
                    <a:pt x="42" y="380"/>
                  </a:lnTo>
                  <a:lnTo>
                    <a:pt x="36" y="378"/>
                  </a:lnTo>
                  <a:lnTo>
                    <a:pt x="36" y="374"/>
                  </a:lnTo>
                  <a:lnTo>
                    <a:pt x="33" y="372"/>
                  </a:lnTo>
                  <a:lnTo>
                    <a:pt x="36" y="367"/>
                  </a:lnTo>
                  <a:lnTo>
                    <a:pt x="36" y="363"/>
                  </a:lnTo>
                  <a:lnTo>
                    <a:pt x="31" y="363"/>
                  </a:lnTo>
                  <a:lnTo>
                    <a:pt x="33" y="359"/>
                  </a:lnTo>
                  <a:lnTo>
                    <a:pt x="40" y="351"/>
                  </a:lnTo>
                  <a:lnTo>
                    <a:pt x="50" y="349"/>
                  </a:lnTo>
                  <a:lnTo>
                    <a:pt x="56" y="347"/>
                  </a:lnTo>
                  <a:lnTo>
                    <a:pt x="60" y="349"/>
                  </a:lnTo>
                  <a:lnTo>
                    <a:pt x="67" y="349"/>
                  </a:lnTo>
                  <a:lnTo>
                    <a:pt x="71" y="351"/>
                  </a:lnTo>
                  <a:lnTo>
                    <a:pt x="77" y="349"/>
                  </a:lnTo>
                  <a:lnTo>
                    <a:pt x="84" y="353"/>
                  </a:lnTo>
                  <a:lnTo>
                    <a:pt x="92" y="353"/>
                  </a:lnTo>
                  <a:lnTo>
                    <a:pt x="96" y="353"/>
                  </a:lnTo>
                  <a:lnTo>
                    <a:pt x="100" y="357"/>
                  </a:lnTo>
                  <a:lnTo>
                    <a:pt x="107" y="355"/>
                  </a:lnTo>
                  <a:lnTo>
                    <a:pt x="117" y="359"/>
                  </a:lnTo>
                  <a:lnTo>
                    <a:pt x="121" y="357"/>
                  </a:lnTo>
                  <a:lnTo>
                    <a:pt x="125" y="355"/>
                  </a:lnTo>
                  <a:lnTo>
                    <a:pt x="131" y="357"/>
                  </a:lnTo>
                  <a:lnTo>
                    <a:pt x="134" y="357"/>
                  </a:lnTo>
                  <a:lnTo>
                    <a:pt x="138" y="359"/>
                  </a:lnTo>
                  <a:lnTo>
                    <a:pt x="140" y="355"/>
                  </a:lnTo>
                  <a:lnTo>
                    <a:pt x="142" y="355"/>
                  </a:lnTo>
                  <a:lnTo>
                    <a:pt x="144" y="361"/>
                  </a:lnTo>
                  <a:lnTo>
                    <a:pt x="150" y="363"/>
                  </a:lnTo>
                  <a:lnTo>
                    <a:pt x="152" y="361"/>
                  </a:lnTo>
                  <a:lnTo>
                    <a:pt x="155" y="361"/>
                  </a:lnTo>
                  <a:lnTo>
                    <a:pt x="157" y="357"/>
                  </a:lnTo>
                  <a:lnTo>
                    <a:pt x="155" y="355"/>
                  </a:lnTo>
                  <a:lnTo>
                    <a:pt x="163" y="351"/>
                  </a:lnTo>
                  <a:lnTo>
                    <a:pt x="165" y="345"/>
                  </a:lnTo>
                  <a:lnTo>
                    <a:pt x="165" y="342"/>
                  </a:lnTo>
                  <a:lnTo>
                    <a:pt x="171" y="343"/>
                  </a:lnTo>
                  <a:lnTo>
                    <a:pt x="173" y="340"/>
                  </a:lnTo>
                  <a:lnTo>
                    <a:pt x="180" y="336"/>
                  </a:lnTo>
                  <a:lnTo>
                    <a:pt x="186" y="336"/>
                  </a:lnTo>
                  <a:lnTo>
                    <a:pt x="192" y="338"/>
                  </a:lnTo>
                  <a:lnTo>
                    <a:pt x="196" y="340"/>
                  </a:lnTo>
                  <a:lnTo>
                    <a:pt x="203" y="334"/>
                  </a:lnTo>
                  <a:lnTo>
                    <a:pt x="207" y="336"/>
                  </a:lnTo>
                  <a:lnTo>
                    <a:pt x="211" y="342"/>
                  </a:lnTo>
                  <a:lnTo>
                    <a:pt x="217" y="343"/>
                  </a:lnTo>
                  <a:lnTo>
                    <a:pt x="223" y="342"/>
                  </a:lnTo>
                  <a:lnTo>
                    <a:pt x="228" y="336"/>
                  </a:lnTo>
                  <a:lnTo>
                    <a:pt x="226" y="328"/>
                  </a:lnTo>
                  <a:lnTo>
                    <a:pt x="232" y="330"/>
                  </a:lnTo>
                  <a:lnTo>
                    <a:pt x="234" y="334"/>
                  </a:lnTo>
                  <a:lnTo>
                    <a:pt x="236" y="334"/>
                  </a:lnTo>
                  <a:lnTo>
                    <a:pt x="236" y="330"/>
                  </a:lnTo>
                  <a:lnTo>
                    <a:pt x="234" y="324"/>
                  </a:lnTo>
                  <a:lnTo>
                    <a:pt x="244" y="320"/>
                  </a:lnTo>
                  <a:lnTo>
                    <a:pt x="246" y="319"/>
                  </a:lnTo>
                  <a:lnTo>
                    <a:pt x="255" y="320"/>
                  </a:lnTo>
                  <a:lnTo>
                    <a:pt x="259" y="319"/>
                  </a:lnTo>
                  <a:lnTo>
                    <a:pt x="261" y="322"/>
                  </a:lnTo>
                  <a:lnTo>
                    <a:pt x="269" y="319"/>
                  </a:lnTo>
                  <a:lnTo>
                    <a:pt x="271" y="313"/>
                  </a:lnTo>
                  <a:lnTo>
                    <a:pt x="271" y="307"/>
                  </a:lnTo>
                  <a:lnTo>
                    <a:pt x="269" y="305"/>
                  </a:lnTo>
                  <a:lnTo>
                    <a:pt x="269" y="295"/>
                  </a:lnTo>
                  <a:lnTo>
                    <a:pt x="271" y="294"/>
                  </a:lnTo>
                  <a:lnTo>
                    <a:pt x="269" y="290"/>
                  </a:lnTo>
                  <a:lnTo>
                    <a:pt x="274" y="282"/>
                  </a:lnTo>
                  <a:lnTo>
                    <a:pt x="282" y="280"/>
                  </a:lnTo>
                  <a:lnTo>
                    <a:pt x="292" y="282"/>
                  </a:lnTo>
                  <a:lnTo>
                    <a:pt x="294" y="276"/>
                  </a:lnTo>
                  <a:lnTo>
                    <a:pt x="299" y="274"/>
                  </a:lnTo>
                  <a:lnTo>
                    <a:pt x="305" y="276"/>
                  </a:lnTo>
                  <a:lnTo>
                    <a:pt x="311" y="270"/>
                  </a:lnTo>
                  <a:lnTo>
                    <a:pt x="315" y="272"/>
                  </a:lnTo>
                  <a:lnTo>
                    <a:pt x="317" y="269"/>
                  </a:lnTo>
                  <a:lnTo>
                    <a:pt x="324" y="269"/>
                  </a:lnTo>
                  <a:lnTo>
                    <a:pt x="326" y="267"/>
                  </a:lnTo>
                  <a:lnTo>
                    <a:pt x="330" y="265"/>
                  </a:lnTo>
                  <a:lnTo>
                    <a:pt x="334" y="269"/>
                  </a:lnTo>
                  <a:lnTo>
                    <a:pt x="338" y="267"/>
                  </a:lnTo>
                  <a:lnTo>
                    <a:pt x="340" y="269"/>
                  </a:lnTo>
                  <a:lnTo>
                    <a:pt x="344" y="276"/>
                  </a:lnTo>
                  <a:lnTo>
                    <a:pt x="349" y="274"/>
                  </a:lnTo>
                  <a:lnTo>
                    <a:pt x="353" y="267"/>
                  </a:lnTo>
                  <a:lnTo>
                    <a:pt x="359" y="263"/>
                  </a:lnTo>
                  <a:lnTo>
                    <a:pt x="361" y="257"/>
                  </a:lnTo>
                  <a:lnTo>
                    <a:pt x="359" y="251"/>
                  </a:lnTo>
                  <a:lnTo>
                    <a:pt x="355" y="251"/>
                  </a:lnTo>
                  <a:lnTo>
                    <a:pt x="357" y="246"/>
                  </a:lnTo>
                  <a:lnTo>
                    <a:pt x="359" y="246"/>
                  </a:lnTo>
                  <a:lnTo>
                    <a:pt x="361" y="240"/>
                  </a:lnTo>
                  <a:lnTo>
                    <a:pt x="365" y="240"/>
                  </a:lnTo>
                  <a:lnTo>
                    <a:pt x="365" y="236"/>
                  </a:lnTo>
                  <a:lnTo>
                    <a:pt x="370" y="238"/>
                  </a:lnTo>
                  <a:lnTo>
                    <a:pt x="374" y="234"/>
                  </a:lnTo>
                  <a:lnTo>
                    <a:pt x="376" y="230"/>
                  </a:lnTo>
                  <a:lnTo>
                    <a:pt x="376" y="234"/>
                  </a:lnTo>
                  <a:lnTo>
                    <a:pt x="382" y="236"/>
                  </a:lnTo>
                  <a:lnTo>
                    <a:pt x="386" y="236"/>
                  </a:lnTo>
                  <a:lnTo>
                    <a:pt x="388" y="242"/>
                  </a:lnTo>
                  <a:lnTo>
                    <a:pt x="388" y="249"/>
                  </a:lnTo>
                  <a:lnTo>
                    <a:pt x="395" y="253"/>
                  </a:lnTo>
                  <a:lnTo>
                    <a:pt x="395" y="255"/>
                  </a:lnTo>
                  <a:lnTo>
                    <a:pt x="397" y="253"/>
                  </a:lnTo>
                  <a:lnTo>
                    <a:pt x="395" y="251"/>
                  </a:lnTo>
                  <a:lnTo>
                    <a:pt x="399" y="251"/>
                  </a:lnTo>
                  <a:lnTo>
                    <a:pt x="403" y="255"/>
                  </a:lnTo>
                  <a:lnTo>
                    <a:pt x="405" y="257"/>
                  </a:lnTo>
                  <a:lnTo>
                    <a:pt x="409" y="261"/>
                  </a:lnTo>
                  <a:lnTo>
                    <a:pt x="415" y="261"/>
                  </a:lnTo>
                  <a:lnTo>
                    <a:pt x="418" y="259"/>
                  </a:lnTo>
                  <a:lnTo>
                    <a:pt x="415" y="253"/>
                  </a:lnTo>
                  <a:lnTo>
                    <a:pt x="417" y="249"/>
                  </a:lnTo>
                  <a:lnTo>
                    <a:pt x="418" y="249"/>
                  </a:lnTo>
                  <a:lnTo>
                    <a:pt x="417" y="246"/>
                  </a:lnTo>
                  <a:lnTo>
                    <a:pt x="418" y="246"/>
                  </a:lnTo>
                  <a:lnTo>
                    <a:pt x="413" y="240"/>
                  </a:lnTo>
                  <a:lnTo>
                    <a:pt x="411" y="242"/>
                  </a:lnTo>
                  <a:lnTo>
                    <a:pt x="407" y="240"/>
                  </a:lnTo>
                  <a:lnTo>
                    <a:pt x="407" y="244"/>
                  </a:lnTo>
                  <a:lnTo>
                    <a:pt x="403" y="242"/>
                  </a:lnTo>
                  <a:lnTo>
                    <a:pt x="393" y="238"/>
                  </a:lnTo>
                  <a:lnTo>
                    <a:pt x="399" y="234"/>
                  </a:lnTo>
                  <a:lnTo>
                    <a:pt x="397" y="228"/>
                  </a:lnTo>
                  <a:lnTo>
                    <a:pt x="399" y="226"/>
                  </a:lnTo>
                  <a:lnTo>
                    <a:pt x="401" y="232"/>
                  </a:lnTo>
                  <a:lnTo>
                    <a:pt x="405" y="232"/>
                  </a:lnTo>
                  <a:lnTo>
                    <a:pt x="409" y="228"/>
                  </a:lnTo>
                  <a:lnTo>
                    <a:pt x="411" y="222"/>
                  </a:lnTo>
                  <a:lnTo>
                    <a:pt x="418" y="219"/>
                  </a:lnTo>
                  <a:lnTo>
                    <a:pt x="424" y="222"/>
                  </a:lnTo>
                  <a:lnTo>
                    <a:pt x="426" y="224"/>
                  </a:lnTo>
                  <a:lnTo>
                    <a:pt x="424" y="226"/>
                  </a:lnTo>
                  <a:lnTo>
                    <a:pt x="426" y="228"/>
                  </a:lnTo>
                  <a:lnTo>
                    <a:pt x="432" y="226"/>
                  </a:lnTo>
                  <a:lnTo>
                    <a:pt x="440" y="228"/>
                  </a:lnTo>
                  <a:lnTo>
                    <a:pt x="441" y="230"/>
                  </a:lnTo>
                  <a:lnTo>
                    <a:pt x="443" y="230"/>
                  </a:lnTo>
                  <a:lnTo>
                    <a:pt x="445" y="232"/>
                  </a:lnTo>
                  <a:lnTo>
                    <a:pt x="449" y="228"/>
                  </a:lnTo>
                  <a:lnTo>
                    <a:pt x="449" y="222"/>
                  </a:lnTo>
                  <a:lnTo>
                    <a:pt x="449" y="219"/>
                  </a:lnTo>
                  <a:lnTo>
                    <a:pt x="455" y="219"/>
                  </a:lnTo>
                  <a:lnTo>
                    <a:pt x="455" y="213"/>
                  </a:lnTo>
                  <a:lnTo>
                    <a:pt x="463" y="215"/>
                  </a:lnTo>
                  <a:lnTo>
                    <a:pt x="466" y="215"/>
                  </a:lnTo>
                  <a:lnTo>
                    <a:pt x="468" y="211"/>
                  </a:lnTo>
                  <a:lnTo>
                    <a:pt x="470" y="213"/>
                  </a:lnTo>
                  <a:lnTo>
                    <a:pt x="478" y="211"/>
                  </a:lnTo>
                  <a:lnTo>
                    <a:pt x="482" y="211"/>
                  </a:lnTo>
                  <a:lnTo>
                    <a:pt x="482" y="209"/>
                  </a:lnTo>
                  <a:lnTo>
                    <a:pt x="482" y="203"/>
                  </a:lnTo>
                  <a:lnTo>
                    <a:pt x="484" y="201"/>
                  </a:lnTo>
                  <a:lnTo>
                    <a:pt x="491" y="201"/>
                  </a:lnTo>
                  <a:lnTo>
                    <a:pt x="499" y="194"/>
                  </a:lnTo>
                  <a:lnTo>
                    <a:pt x="503" y="196"/>
                  </a:lnTo>
                  <a:lnTo>
                    <a:pt x="509" y="196"/>
                  </a:lnTo>
                  <a:lnTo>
                    <a:pt x="514" y="188"/>
                  </a:lnTo>
                  <a:lnTo>
                    <a:pt x="516" y="186"/>
                  </a:lnTo>
                  <a:lnTo>
                    <a:pt x="516" y="184"/>
                  </a:lnTo>
                  <a:lnTo>
                    <a:pt x="520" y="180"/>
                  </a:lnTo>
                  <a:lnTo>
                    <a:pt x="516" y="174"/>
                  </a:lnTo>
                  <a:lnTo>
                    <a:pt x="520" y="173"/>
                  </a:lnTo>
                  <a:lnTo>
                    <a:pt x="520" y="169"/>
                  </a:lnTo>
                  <a:lnTo>
                    <a:pt x="524" y="163"/>
                  </a:lnTo>
                  <a:lnTo>
                    <a:pt x="526" y="157"/>
                  </a:lnTo>
                  <a:lnTo>
                    <a:pt x="528" y="155"/>
                  </a:lnTo>
                  <a:lnTo>
                    <a:pt x="530" y="155"/>
                  </a:lnTo>
                  <a:lnTo>
                    <a:pt x="532" y="151"/>
                  </a:lnTo>
                  <a:lnTo>
                    <a:pt x="539" y="151"/>
                  </a:lnTo>
                  <a:lnTo>
                    <a:pt x="543" y="146"/>
                  </a:lnTo>
                  <a:lnTo>
                    <a:pt x="551" y="144"/>
                  </a:lnTo>
                  <a:lnTo>
                    <a:pt x="551" y="142"/>
                  </a:lnTo>
                  <a:lnTo>
                    <a:pt x="545" y="138"/>
                  </a:lnTo>
                  <a:close/>
                  <a:moveTo>
                    <a:pt x="436" y="368"/>
                  </a:moveTo>
                  <a:lnTo>
                    <a:pt x="438" y="372"/>
                  </a:lnTo>
                  <a:lnTo>
                    <a:pt x="441" y="372"/>
                  </a:lnTo>
                  <a:lnTo>
                    <a:pt x="441" y="376"/>
                  </a:lnTo>
                  <a:lnTo>
                    <a:pt x="438" y="372"/>
                  </a:lnTo>
                  <a:lnTo>
                    <a:pt x="436" y="368"/>
                  </a:lnTo>
                  <a:lnTo>
                    <a:pt x="436" y="367"/>
                  </a:lnTo>
                  <a:lnTo>
                    <a:pt x="436" y="368"/>
                  </a:lnTo>
                  <a:close/>
                  <a:moveTo>
                    <a:pt x="459" y="370"/>
                  </a:moveTo>
                  <a:lnTo>
                    <a:pt x="453" y="374"/>
                  </a:lnTo>
                  <a:lnTo>
                    <a:pt x="449" y="370"/>
                  </a:lnTo>
                  <a:lnTo>
                    <a:pt x="445" y="367"/>
                  </a:lnTo>
                  <a:lnTo>
                    <a:pt x="447" y="359"/>
                  </a:lnTo>
                  <a:lnTo>
                    <a:pt x="449" y="363"/>
                  </a:lnTo>
                  <a:lnTo>
                    <a:pt x="455" y="367"/>
                  </a:lnTo>
                  <a:lnTo>
                    <a:pt x="459" y="370"/>
                  </a:lnTo>
                  <a:close/>
                  <a:moveTo>
                    <a:pt x="451" y="374"/>
                  </a:moveTo>
                  <a:lnTo>
                    <a:pt x="441" y="376"/>
                  </a:lnTo>
                  <a:lnTo>
                    <a:pt x="441" y="374"/>
                  </a:lnTo>
                  <a:lnTo>
                    <a:pt x="441" y="372"/>
                  </a:lnTo>
                  <a:lnTo>
                    <a:pt x="445" y="365"/>
                  </a:lnTo>
                  <a:lnTo>
                    <a:pt x="445" y="368"/>
                  </a:lnTo>
                  <a:lnTo>
                    <a:pt x="451" y="374"/>
                  </a:lnTo>
                  <a:close/>
                  <a:moveTo>
                    <a:pt x="482" y="324"/>
                  </a:moveTo>
                  <a:lnTo>
                    <a:pt x="482" y="328"/>
                  </a:lnTo>
                  <a:lnTo>
                    <a:pt x="482" y="324"/>
                  </a:lnTo>
                  <a:close/>
                  <a:moveTo>
                    <a:pt x="595" y="267"/>
                  </a:moveTo>
                  <a:lnTo>
                    <a:pt x="591" y="263"/>
                  </a:lnTo>
                  <a:lnTo>
                    <a:pt x="589" y="267"/>
                  </a:lnTo>
                  <a:lnTo>
                    <a:pt x="591" y="267"/>
                  </a:lnTo>
                  <a:lnTo>
                    <a:pt x="601" y="269"/>
                  </a:lnTo>
                  <a:lnTo>
                    <a:pt x="603" y="265"/>
                  </a:lnTo>
                  <a:lnTo>
                    <a:pt x="603" y="263"/>
                  </a:lnTo>
                  <a:lnTo>
                    <a:pt x="599" y="267"/>
                  </a:lnTo>
                  <a:lnTo>
                    <a:pt x="595" y="26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22" name="Freeform 14">
              <a:extLst>
                <a:ext uri="{FF2B5EF4-FFF2-40B4-BE49-F238E27FC236}">
                  <a16:creationId xmlns:a16="http://schemas.microsoft.com/office/drawing/2014/main" id="{735E67C1-4647-4F67-BE72-DA38987CC3DF}"/>
                </a:ext>
              </a:extLst>
            </p:cNvPr>
            <p:cNvSpPr>
              <a:spLocks noEditPoints="1"/>
            </p:cNvSpPr>
            <p:nvPr/>
          </p:nvSpPr>
          <p:spPr bwMode="gray">
            <a:xfrm>
              <a:off x="5692776" y="3705227"/>
              <a:ext cx="1047750" cy="820739"/>
            </a:xfrm>
            <a:custGeom>
              <a:avLst/>
              <a:gdLst>
                <a:gd name="T0" fmla="*/ 614 w 660"/>
                <a:gd name="T1" fmla="*/ 200 h 517"/>
                <a:gd name="T2" fmla="*/ 595 w 660"/>
                <a:gd name="T3" fmla="*/ 194 h 517"/>
                <a:gd name="T4" fmla="*/ 656 w 660"/>
                <a:gd name="T5" fmla="*/ 109 h 517"/>
                <a:gd name="T6" fmla="*/ 591 w 660"/>
                <a:gd name="T7" fmla="*/ 48 h 517"/>
                <a:gd name="T8" fmla="*/ 627 w 660"/>
                <a:gd name="T9" fmla="*/ 63 h 517"/>
                <a:gd name="T10" fmla="*/ 650 w 660"/>
                <a:gd name="T11" fmla="*/ 86 h 517"/>
                <a:gd name="T12" fmla="*/ 639 w 660"/>
                <a:gd name="T13" fmla="*/ 109 h 517"/>
                <a:gd name="T14" fmla="*/ 599 w 660"/>
                <a:gd name="T15" fmla="*/ 134 h 517"/>
                <a:gd name="T16" fmla="*/ 604 w 660"/>
                <a:gd name="T17" fmla="*/ 190 h 517"/>
                <a:gd name="T18" fmla="*/ 608 w 660"/>
                <a:gd name="T19" fmla="*/ 205 h 517"/>
                <a:gd name="T20" fmla="*/ 575 w 660"/>
                <a:gd name="T21" fmla="*/ 236 h 517"/>
                <a:gd name="T22" fmla="*/ 583 w 660"/>
                <a:gd name="T23" fmla="*/ 242 h 517"/>
                <a:gd name="T24" fmla="*/ 558 w 660"/>
                <a:gd name="T25" fmla="*/ 257 h 517"/>
                <a:gd name="T26" fmla="*/ 531 w 660"/>
                <a:gd name="T27" fmla="*/ 280 h 517"/>
                <a:gd name="T28" fmla="*/ 508 w 660"/>
                <a:gd name="T29" fmla="*/ 294 h 517"/>
                <a:gd name="T30" fmla="*/ 462 w 660"/>
                <a:gd name="T31" fmla="*/ 307 h 517"/>
                <a:gd name="T32" fmla="*/ 445 w 660"/>
                <a:gd name="T33" fmla="*/ 315 h 517"/>
                <a:gd name="T34" fmla="*/ 399 w 660"/>
                <a:gd name="T35" fmla="*/ 346 h 517"/>
                <a:gd name="T36" fmla="*/ 357 w 660"/>
                <a:gd name="T37" fmla="*/ 374 h 517"/>
                <a:gd name="T38" fmla="*/ 343 w 660"/>
                <a:gd name="T39" fmla="*/ 380 h 517"/>
                <a:gd name="T40" fmla="*/ 322 w 660"/>
                <a:gd name="T41" fmla="*/ 401 h 517"/>
                <a:gd name="T42" fmla="*/ 291 w 660"/>
                <a:gd name="T43" fmla="*/ 415 h 517"/>
                <a:gd name="T44" fmla="*/ 257 w 660"/>
                <a:gd name="T45" fmla="*/ 397 h 517"/>
                <a:gd name="T46" fmla="*/ 238 w 660"/>
                <a:gd name="T47" fmla="*/ 378 h 517"/>
                <a:gd name="T48" fmla="*/ 226 w 660"/>
                <a:gd name="T49" fmla="*/ 386 h 517"/>
                <a:gd name="T50" fmla="*/ 215 w 660"/>
                <a:gd name="T51" fmla="*/ 392 h 517"/>
                <a:gd name="T52" fmla="*/ 213 w 660"/>
                <a:gd name="T53" fmla="*/ 407 h 517"/>
                <a:gd name="T54" fmla="*/ 188 w 660"/>
                <a:gd name="T55" fmla="*/ 415 h 517"/>
                <a:gd name="T56" fmla="*/ 178 w 660"/>
                <a:gd name="T57" fmla="*/ 444 h 517"/>
                <a:gd name="T58" fmla="*/ 161 w 660"/>
                <a:gd name="T59" fmla="*/ 449 h 517"/>
                <a:gd name="T60" fmla="*/ 128 w 660"/>
                <a:gd name="T61" fmla="*/ 463 h 517"/>
                <a:gd name="T62" fmla="*/ 119 w 660"/>
                <a:gd name="T63" fmla="*/ 440 h 517"/>
                <a:gd name="T64" fmla="*/ 101 w 660"/>
                <a:gd name="T65" fmla="*/ 472 h 517"/>
                <a:gd name="T66" fmla="*/ 98 w 660"/>
                <a:gd name="T67" fmla="*/ 488 h 517"/>
                <a:gd name="T68" fmla="*/ 69 w 660"/>
                <a:gd name="T69" fmla="*/ 488 h 517"/>
                <a:gd name="T70" fmla="*/ 19 w 660"/>
                <a:gd name="T71" fmla="*/ 515 h 517"/>
                <a:gd name="T72" fmla="*/ 15 w 660"/>
                <a:gd name="T73" fmla="*/ 467 h 517"/>
                <a:gd name="T74" fmla="*/ 61 w 660"/>
                <a:gd name="T75" fmla="*/ 434 h 517"/>
                <a:gd name="T76" fmla="*/ 84 w 660"/>
                <a:gd name="T77" fmla="*/ 401 h 517"/>
                <a:gd name="T78" fmla="*/ 84 w 660"/>
                <a:gd name="T79" fmla="*/ 365 h 517"/>
                <a:gd name="T80" fmla="*/ 71 w 660"/>
                <a:gd name="T81" fmla="*/ 332 h 517"/>
                <a:gd name="T82" fmla="*/ 55 w 660"/>
                <a:gd name="T83" fmla="*/ 275 h 517"/>
                <a:gd name="T84" fmla="*/ 100 w 660"/>
                <a:gd name="T85" fmla="*/ 284 h 517"/>
                <a:gd name="T86" fmla="*/ 136 w 660"/>
                <a:gd name="T87" fmla="*/ 301 h 517"/>
                <a:gd name="T88" fmla="*/ 113 w 660"/>
                <a:gd name="T89" fmla="*/ 273 h 517"/>
                <a:gd name="T90" fmla="*/ 113 w 660"/>
                <a:gd name="T91" fmla="*/ 223 h 517"/>
                <a:gd name="T92" fmla="*/ 117 w 660"/>
                <a:gd name="T93" fmla="*/ 188 h 517"/>
                <a:gd name="T94" fmla="*/ 142 w 660"/>
                <a:gd name="T95" fmla="*/ 154 h 517"/>
                <a:gd name="T96" fmla="*/ 180 w 660"/>
                <a:gd name="T97" fmla="*/ 152 h 517"/>
                <a:gd name="T98" fmla="*/ 209 w 660"/>
                <a:gd name="T99" fmla="*/ 129 h 517"/>
                <a:gd name="T100" fmla="*/ 230 w 660"/>
                <a:gd name="T101" fmla="*/ 104 h 517"/>
                <a:gd name="T102" fmla="*/ 243 w 660"/>
                <a:gd name="T103" fmla="*/ 81 h 517"/>
                <a:gd name="T104" fmla="*/ 247 w 660"/>
                <a:gd name="T105" fmla="*/ 44 h 517"/>
                <a:gd name="T106" fmla="*/ 295 w 660"/>
                <a:gd name="T107" fmla="*/ 13 h 517"/>
                <a:gd name="T108" fmla="*/ 320 w 660"/>
                <a:gd name="T109" fmla="*/ 25 h 517"/>
                <a:gd name="T110" fmla="*/ 370 w 660"/>
                <a:gd name="T111" fmla="*/ 15 h 517"/>
                <a:gd name="T112" fmla="*/ 407 w 660"/>
                <a:gd name="T113" fmla="*/ 25 h 517"/>
                <a:gd name="T114" fmla="*/ 407 w 660"/>
                <a:gd name="T115" fmla="*/ 50 h 517"/>
                <a:gd name="T116" fmla="*/ 443 w 660"/>
                <a:gd name="T117" fmla="*/ 46 h 517"/>
                <a:gd name="T118" fmla="*/ 476 w 660"/>
                <a:gd name="T119" fmla="*/ 61 h 517"/>
                <a:gd name="T120" fmla="*/ 504 w 660"/>
                <a:gd name="T121" fmla="*/ 29 h 517"/>
                <a:gd name="T122" fmla="*/ 514 w 660"/>
                <a:gd name="T123" fmla="*/ 9 h 517"/>
                <a:gd name="T124" fmla="*/ 566 w 660"/>
                <a:gd name="T125" fmla="*/ 29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0" h="517">
                  <a:moveTo>
                    <a:pt x="451" y="311"/>
                  </a:moveTo>
                  <a:lnTo>
                    <a:pt x="453" y="311"/>
                  </a:lnTo>
                  <a:lnTo>
                    <a:pt x="451" y="311"/>
                  </a:lnTo>
                  <a:close/>
                  <a:moveTo>
                    <a:pt x="583" y="236"/>
                  </a:moveTo>
                  <a:lnTo>
                    <a:pt x="583" y="232"/>
                  </a:lnTo>
                  <a:lnTo>
                    <a:pt x="583" y="236"/>
                  </a:lnTo>
                  <a:close/>
                  <a:moveTo>
                    <a:pt x="583" y="228"/>
                  </a:moveTo>
                  <a:lnTo>
                    <a:pt x="585" y="227"/>
                  </a:lnTo>
                  <a:lnTo>
                    <a:pt x="585" y="223"/>
                  </a:lnTo>
                  <a:lnTo>
                    <a:pt x="585" y="227"/>
                  </a:lnTo>
                  <a:lnTo>
                    <a:pt x="583" y="228"/>
                  </a:lnTo>
                  <a:close/>
                  <a:moveTo>
                    <a:pt x="614" y="200"/>
                  </a:moveTo>
                  <a:lnTo>
                    <a:pt x="616" y="200"/>
                  </a:lnTo>
                  <a:lnTo>
                    <a:pt x="614" y="200"/>
                  </a:lnTo>
                  <a:close/>
                  <a:moveTo>
                    <a:pt x="614" y="196"/>
                  </a:moveTo>
                  <a:lnTo>
                    <a:pt x="616" y="196"/>
                  </a:lnTo>
                  <a:lnTo>
                    <a:pt x="616" y="198"/>
                  </a:lnTo>
                  <a:lnTo>
                    <a:pt x="614" y="198"/>
                  </a:lnTo>
                  <a:lnTo>
                    <a:pt x="614" y="196"/>
                  </a:lnTo>
                  <a:close/>
                  <a:moveTo>
                    <a:pt x="595" y="194"/>
                  </a:moveTo>
                  <a:lnTo>
                    <a:pt x="597" y="194"/>
                  </a:lnTo>
                  <a:lnTo>
                    <a:pt x="597" y="196"/>
                  </a:lnTo>
                  <a:lnTo>
                    <a:pt x="595" y="196"/>
                  </a:lnTo>
                  <a:lnTo>
                    <a:pt x="595" y="194"/>
                  </a:lnTo>
                  <a:close/>
                  <a:moveTo>
                    <a:pt x="600" y="194"/>
                  </a:moveTo>
                  <a:lnTo>
                    <a:pt x="593" y="194"/>
                  </a:lnTo>
                  <a:lnTo>
                    <a:pt x="595" y="194"/>
                  </a:lnTo>
                  <a:lnTo>
                    <a:pt x="600" y="194"/>
                  </a:lnTo>
                  <a:close/>
                  <a:moveTo>
                    <a:pt x="606" y="188"/>
                  </a:moveTo>
                  <a:lnTo>
                    <a:pt x="608" y="190"/>
                  </a:lnTo>
                  <a:lnTo>
                    <a:pt x="608" y="192"/>
                  </a:lnTo>
                  <a:lnTo>
                    <a:pt x="606" y="190"/>
                  </a:lnTo>
                  <a:lnTo>
                    <a:pt x="606" y="188"/>
                  </a:lnTo>
                  <a:close/>
                  <a:moveTo>
                    <a:pt x="654" y="107"/>
                  </a:moveTo>
                  <a:lnTo>
                    <a:pt x="656" y="107"/>
                  </a:lnTo>
                  <a:lnTo>
                    <a:pt x="656" y="109"/>
                  </a:lnTo>
                  <a:lnTo>
                    <a:pt x="652" y="109"/>
                  </a:lnTo>
                  <a:lnTo>
                    <a:pt x="654" y="107"/>
                  </a:lnTo>
                  <a:close/>
                  <a:moveTo>
                    <a:pt x="656" y="106"/>
                  </a:moveTo>
                  <a:lnTo>
                    <a:pt x="658" y="106"/>
                  </a:lnTo>
                  <a:lnTo>
                    <a:pt x="658" y="109"/>
                  </a:lnTo>
                  <a:lnTo>
                    <a:pt x="656" y="109"/>
                  </a:lnTo>
                  <a:lnTo>
                    <a:pt x="656" y="106"/>
                  </a:lnTo>
                  <a:close/>
                  <a:moveTo>
                    <a:pt x="579" y="38"/>
                  </a:moveTo>
                  <a:lnTo>
                    <a:pt x="579" y="46"/>
                  </a:lnTo>
                  <a:lnTo>
                    <a:pt x="587" y="44"/>
                  </a:lnTo>
                  <a:lnTo>
                    <a:pt x="589" y="48"/>
                  </a:lnTo>
                  <a:lnTo>
                    <a:pt x="591" y="48"/>
                  </a:lnTo>
                  <a:lnTo>
                    <a:pt x="591" y="52"/>
                  </a:lnTo>
                  <a:lnTo>
                    <a:pt x="593" y="50"/>
                  </a:lnTo>
                  <a:lnTo>
                    <a:pt x="602" y="52"/>
                  </a:lnTo>
                  <a:lnTo>
                    <a:pt x="604" y="52"/>
                  </a:lnTo>
                  <a:lnTo>
                    <a:pt x="612" y="57"/>
                  </a:lnTo>
                  <a:lnTo>
                    <a:pt x="614" y="61"/>
                  </a:lnTo>
                  <a:lnTo>
                    <a:pt x="608" y="71"/>
                  </a:lnTo>
                  <a:lnTo>
                    <a:pt x="616" y="77"/>
                  </a:lnTo>
                  <a:lnTo>
                    <a:pt x="620" y="77"/>
                  </a:lnTo>
                  <a:lnTo>
                    <a:pt x="620" y="71"/>
                  </a:lnTo>
                  <a:lnTo>
                    <a:pt x="625" y="69"/>
                  </a:lnTo>
                  <a:lnTo>
                    <a:pt x="627" y="63"/>
                  </a:lnTo>
                  <a:lnTo>
                    <a:pt x="629" y="65"/>
                  </a:lnTo>
                  <a:lnTo>
                    <a:pt x="633" y="65"/>
                  </a:lnTo>
                  <a:lnTo>
                    <a:pt x="635" y="71"/>
                  </a:lnTo>
                  <a:lnTo>
                    <a:pt x="633" y="73"/>
                  </a:lnTo>
                  <a:lnTo>
                    <a:pt x="635" y="75"/>
                  </a:lnTo>
                  <a:lnTo>
                    <a:pt x="635" y="77"/>
                  </a:lnTo>
                  <a:lnTo>
                    <a:pt x="639" y="82"/>
                  </a:lnTo>
                  <a:lnTo>
                    <a:pt x="641" y="82"/>
                  </a:lnTo>
                  <a:lnTo>
                    <a:pt x="645" y="84"/>
                  </a:lnTo>
                  <a:lnTo>
                    <a:pt x="647" y="84"/>
                  </a:lnTo>
                  <a:lnTo>
                    <a:pt x="648" y="86"/>
                  </a:lnTo>
                  <a:lnTo>
                    <a:pt x="650" y="86"/>
                  </a:lnTo>
                  <a:lnTo>
                    <a:pt x="656" y="86"/>
                  </a:lnTo>
                  <a:lnTo>
                    <a:pt x="656" y="90"/>
                  </a:lnTo>
                  <a:lnTo>
                    <a:pt x="658" y="90"/>
                  </a:lnTo>
                  <a:lnTo>
                    <a:pt x="660" y="92"/>
                  </a:lnTo>
                  <a:lnTo>
                    <a:pt x="658" y="100"/>
                  </a:lnTo>
                  <a:lnTo>
                    <a:pt x="660" y="102"/>
                  </a:lnTo>
                  <a:lnTo>
                    <a:pt x="660" y="104"/>
                  </a:lnTo>
                  <a:lnTo>
                    <a:pt x="656" y="106"/>
                  </a:lnTo>
                  <a:lnTo>
                    <a:pt x="652" y="109"/>
                  </a:lnTo>
                  <a:lnTo>
                    <a:pt x="645" y="107"/>
                  </a:lnTo>
                  <a:lnTo>
                    <a:pt x="647" y="111"/>
                  </a:lnTo>
                  <a:lnTo>
                    <a:pt x="639" y="109"/>
                  </a:lnTo>
                  <a:lnTo>
                    <a:pt x="629" y="111"/>
                  </a:lnTo>
                  <a:lnTo>
                    <a:pt x="622" y="115"/>
                  </a:lnTo>
                  <a:lnTo>
                    <a:pt x="622" y="113"/>
                  </a:lnTo>
                  <a:lnTo>
                    <a:pt x="620" y="113"/>
                  </a:lnTo>
                  <a:lnTo>
                    <a:pt x="622" y="115"/>
                  </a:lnTo>
                  <a:lnTo>
                    <a:pt x="620" y="115"/>
                  </a:lnTo>
                  <a:lnTo>
                    <a:pt x="616" y="119"/>
                  </a:lnTo>
                  <a:lnTo>
                    <a:pt x="614" y="119"/>
                  </a:lnTo>
                  <a:lnTo>
                    <a:pt x="608" y="125"/>
                  </a:lnTo>
                  <a:lnTo>
                    <a:pt x="606" y="125"/>
                  </a:lnTo>
                  <a:lnTo>
                    <a:pt x="600" y="132"/>
                  </a:lnTo>
                  <a:lnTo>
                    <a:pt x="599" y="134"/>
                  </a:lnTo>
                  <a:lnTo>
                    <a:pt x="597" y="134"/>
                  </a:lnTo>
                  <a:lnTo>
                    <a:pt x="597" y="136"/>
                  </a:lnTo>
                  <a:lnTo>
                    <a:pt x="593" y="142"/>
                  </a:lnTo>
                  <a:lnTo>
                    <a:pt x="589" y="150"/>
                  </a:lnTo>
                  <a:lnTo>
                    <a:pt x="589" y="155"/>
                  </a:lnTo>
                  <a:lnTo>
                    <a:pt x="591" y="161"/>
                  </a:lnTo>
                  <a:lnTo>
                    <a:pt x="595" y="169"/>
                  </a:lnTo>
                  <a:lnTo>
                    <a:pt x="597" y="171"/>
                  </a:lnTo>
                  <a:lnTo>
                    <a:pt x="599" y="177"/>
                  </a:lnTo>
                  <a:lnTo>
                    <a:pt x="600" y="182"/>
                  </a:lnTo>
                  <a:lnTo>
                    <a:pt x="602" y="184"/>
                  </a:lnTo>
                  <a:lnTo>
                    <a:pt x="604" y="190"/>
                  </a:lnTo>
                  <a:lnTo>
                    <a:pt x="602" y="194"/>
                  </a:lnTo>
                  <a:lnTo>
                    <a:pt x="593" y="192"/>
                  </a:lnTo>
                  <a:lnTo>
                    <a:pt x="591" y="194"/>
                  </a:lnTo>
                  <a:lnTo>
                    <a:pt x="595" y="196"/>
                  </a:lnTo>
                  <a:lnTo>
                    <a:pt x="602" y="196"/>
                  </a:lnTo>
                  <a:lnTo>
                    <a:pt x="606" y="196"/>
                  </a:lnTo>
                  <a:lnTo>
                    <a:pt x="608" y="198"/>
                  </a:lnTo>
                  <a:lnTo>
                    <a:pt x="606" y="202"/>
                  </a:lnTo>
                  <a:lnTo>
                    <a:pt x="599" y="202"/>
                  </a:lnTo>
                  <a:lnTo>
                    <a:pt x="606" y="203"/>
                  </a:lnTo>
                  <a:lnTo>
                    <a:pt x="612" y="202"/>
                  </a:lnTo>
                  <a:lnTo>
                    <a:pt x="608" y="205"/>
                  </a:lnTo>
                  <a:lnTo>
                    <a:pt x="604" y="207"/>
                  </a:lnTo>
                  <a:lnTo>
                    <a:pt x="602" y="207"/>
                  </a:lnTo>
                  <a:lnTo>
                    <a:pt x="597" y="211"/>
                  </a:lnTo>
                  <a:lnTo>
                    <a:pt x="591" y="215"/>
                  </a:lnTo>
                  <a:lnTo>
                    <a:pt x="585" y="219"/>
                  </a:lnTo>
                  <a:lnTo>
                    <a:pt x="581" y="225"/>
                  </a:lnTo>
                  <a:lnTo>
                    <a:pt x="577" y="221"/>
                  </a:lnTo>
                  <a:lnTo>
                    <a:pt x="579" y="225"/>
                  </a:lnTo>
                  <a:lnTo>
                    <a:pt x="579" y="228"/>
                  </a:lnTo>
                  <a:lnTo>
                    <a:pt x="577" y="227"/>
                  </a:lnTo>
                  <a:lnTo>
                    <a:pt x="577" y="234"/>
                  </a:lnTo>
                  <a:lnTo>
                    <a:pt x="575" y="236"/>
                  </a:lnTo>
                  <a:lnTo>
                    <a:pt x="575" y="234"/>
                  </a:lnTo>
                  <a:lnTo>
                    <a:pt x="575" y="236"/>
                  </a:lnTo>
                  <a:lnTo>
                    <a:pt x="577" y="234"/>
                  </a:lnTo>
                  <a:lnTo>
                    <a:pt x="581" y="236"/>
                  </a:lnTo>
                  <a:lnTo>
                    <a:pt x="581" y="238"/>
                  </a:lnTo>
                  <a:lnTo>
                    <a:pt x="583" y="238"/>
                  </a:lnTo>
                  <a:lnTo>
                    <a:pt x="583" y="240"/>
                  </a:lnTo>
                  <a:lnTo>
                    <a:pt x="581" y="242"/>
                  </a:lnTo>
                  <a:lnTo>
                    <a:pt x="585" y="238"/>
                  </a:lnTo>
                  <a:lnTo>
                    <a:pt x="585" y="232"/>
                  </a:lnTo>
                  <a:lnTo>
                    <a:pt x="585" y="240"/>
                  </a:lnTo>
                  <a:lnTo>
                    <a:pt x="583" y="242"/>
                  </a:lnTo>
                  <a:lnTo>
                    <a:pt x="577" y="246"/>
                  </a:lnTo>
                  <a:lnTo>
                    <a:pt x="575" y="246"/>
                  </a:lnTo>
                  <a:lnTo>
                    <a:pt x="572" y="246"/>
                  </a:lnTo>
                  <a:lnTo>
                    <a:pt x="575" y="248"/>
                  </a:lnTo>
                  <a:lnTo>
                    <a:pt x="572" y="250"/>
                  </a:lnTo>
                  <a:lnTo>
                    <a:pt x="570" y="248"/>
                  </a:lnTo>
                  <a:lnTo>
                    <a:pt x="572" y="251"/>
                  </a:lnTo>
                  <a:lnTo>
                    <a:pt x="564" y="253"/>
                  </a:lnTo>
                  <a:lnTo>
                    <a:pt x="558" y="257"/>
                  </a:lnTo>
                  <a:lnTo>
                    <a:pt x="560" y="255"/>
                  </a:lnTo>
                  <a:lnTo>
                    <a:pt x="554" y="259"/>
                  </a:lnTo>
                  <a:lnTo>
                    <a:pt x="558" y="257"/>
                  </a:lnTo>
                  <a:lnTo>
                    <a:pt x="554" y="261"/>
                  </a:lnTo>
                  <a:lnTo>
                    <a:pt x="549" y="269"/>
                  </a:lnTo>
                  <a:lnTo>
                    <a:pt x="545" y="273"/>
                  </a:lnTo>
                  <a:lnTo>
                    <a:pt x="543" y="278"/>
                  </a:lnTo>
                  <a:lnTo>
                    <a:pt x="541" y="280"/>
                  </a:lnTo>
                  <a:lnTo>
                    <a:pt x="543" y="278"/>
                  </a:lnTo>
                  <a:lnTo>
                    <a:pt x="543" y="280"/>
                  </a:lnTo>
                  <a:lnTo>
                    <a:pt x="541" y="282"/>
                  </a:lnTo>
                  <a:lnTo>
                    <a:pt x="539" y="280"/>
                  </a:lnTo>
                  <a:lnTo>
                    <a:pt x="535" y="280"/>
                  </a:lnTo>
                  <a:lnTo>
                    <a:pt x="533" y="280"/>
                  </a:lnTo>
                  <a:lnTo>
                    <a:pt x="531" y="280"/>
                  </a:lnTo>
                  <a:lnTo>
                    <a:pt x="535" y="282"/>
                  </a:lnTo>
                  <a:lnTo>
                    <a:pt x="537" y="284"/>
                  </a:lnTo>
                  <a:lnTo>
                    <a:pt x="541" y="282"/>
                  </a:lnTo>
                  <a:lnTo>
                    <a:pt x="537" y="284"/>
                  </a:lnTo>
                  <a:lnTo>
                    <a:pt x="529" y="286"/>
                  </a:lnTo>
                  <a:lnTo>
                    <a:pt x="524" y="288"/>
                  </a:lnTo>
                  <a:lnTo>
                    <a:pt x="522" y="288"/>
                  </a:lnTo>
                  <a:lnTo>
                    <a:pt x="522" y="290"/>
                  </a:lnTo>
                  <a:lnTo>
                    <a:pt x="524" y="288"/>
                  </a:lnTo>
                  <a:lnTo>
                    <a:pt x="522" y="290"/>
                  </a:lnTo>
                  <a:lnTo>
                    <a:pt x="516" y="292"/>
                  </a:lnTo>
                  <a:lnTo>
                    <a:pt x="508" y="294"/>
                  </a:lnTo>
                  <a:lnTo>
                    <a:pt x="503" y="294"/>
                  </a:lnTo>
                  <a:lnTo>
                    <a:pt x="506" y="294"/>
                  </a:lnTo>
                  <a:lnTo>
                    <a:pt x="504" y="296"/>
                  </a:lnTo>
                  <a:lnTo>
                    <a:pt x="497" y="298"/>
                  </a:lnTo>
                  <a:lnTo>
                    <a:pt x="493" y="298"/>
                  </a:lnTo>
                  <a:lnTo>
                    <a:pt x="489" y="298"/>
                  </a:lnTo>
                  <a:lnTo>
                    <a:pt x="487" y="300"/>
                  </a:lnTo>
                  <a:lnTo>
                    <a:pt x="483" y="300"/>
                  </a:lnTo>
                  <a:lnTo>
                    <a:pt x="476" y="301"/>
                  </a:lnTo>
                  <a:lnTo>
                    <a:pt x="472" y="303"/>
                  </a:lnTo>
                  <a:lnTo>
                    <a:pt x="466" y="305"/>
                  </a:lnTo>
                  <a:lnTo>
                    <a:pt x="462" y="307"/>
                  </a:lnTo>
                  <a:lnTo>
                    <a:pt x="460" y="307"/>
                  </a:lnTo>
                  <a:lnTo>
                    <a:pt x="455" y="309"/>
                  </a:lnTo>
                  <a:lnTo>
                    <a:pt x="449" y="311"/>
                  </a:lnTo>
                  <a:lnTo>
                    <a:pt x="447" y="313"/>
                  </a:lnTo>
                  <a:lnTo>
                    <a:pt x="449" y="313"/>
                  </a:lnTo>
                  <a:lnTo>
                    <a:pt x="451" y="313"/>
                  </a:lnTo>
                  <a:lnTo>
                    <a:pt x="453" y="311"/>
                  </a:lnTo>
                  <a:lnTo>
                    <a:pt x="460" y="307"/>
                  </a:lnTo>
                  <a:lnTo>
                    <a:pt x="453" y="311"/>
                  </a:lnTo>
                  <a:lnTo>
                    <a:pt x="449" y="313"/>
                  </a:lnTo>
                  <a:lnTo>
                    <a:pt x="447" y="313"/>
                  </a:lnTo>
                  <a:lnTo>
                    <a:pt x="445" y="315"/>
                  </a:lnTo>
                  <a:lnTo>
                    <a:pt x="439" y="319"/>
                  </a:lnTo>
                  <a:lnTo>
                    <a:pt x="435" y="321"/>
                  </a:lnTo>
                  <a:lnTo>
                    <a:pt x="426" y="324"/>
                  </a:lnTo>
                  <a:lnTo>
                    <a:pt x="418" y="330"/>
                  </a:lnTo>
                  <a:lnTo>
                    <a:pt x="412" y="334"/>
                  </a:lnTo>
                  <a:lnTo>
                    <a:pt x="409" y="338"/>
                  </a:lnTo>
                  <a:lnTo>
                    <a:pt x="405" y="338"/>
                  </a:lnTo>
                  <a:lnTo>
                    <a:pt x="401" y="344"/>
                  </a:lnTo>
                  <a:lnTo>
                    <a:pt x="397" y="348"/>
                  </a:lnTo>
                  <a:lnTo>
                    <a:pt x="393" y="346"/>
                  </a:lnTo>
                  <a:lnTo>
                    <a:pt x="395" y="348"/>
                  </a:lnTo>
                  <a:lnTo>
                    <a:pt x="399" y="346"/>
                  </a:lnTo>
                  <a:lnTo>
                    <a:pt x="397" y="348"/>
                  </a:lnTo>
                  <a:lnTo>
                    <a:pt x="391" y="351"/>
                  </a:lnTo>
                  <a:lnTo>
                    <a:pt x="385" y="353"/>
                  </a:lnTo>
                  <a:lnTo>
                    <a:pt x="385" y="357"/>
                  </a:lnTo>
                  <a:lnTo>
                    <a:pt x="378" y="361"/>
                  </a:lnTo>
                  <a:lnTo>
                    <a:pt x="374" y="365"/>
                  </a:lnTo>
                  <a:lnTo>
                    <a:pt x="370" y="369"/>
                  </a:lnTo>
                  <a:lnTo>
                    <a:pt x="366" y="374"/>
                  </a:lnTo>
                  <a:lnTo>
                    <a:pt x="364" y="376"/>
                  </a:lnTo>
                  <a:lnTo>
                    <a:pt x="362" y="374"/>
                  </a:lnTo>
                  <a:lnTo>
                    <a:pt x="361" y="376"/>
                  </a:lnTo>
                  <a:lnTo>
                    <a:pt x="357" y="374"/>
                  </a:lnTo>
                  <a:lnTo>
                    <a:pt x="359" y="371"/>
                  </a:lnTo>
                  <a:lnTo>
                    <a:pt x="353" y="369"/>
                  </a:lnTo>
                  <a:lnTo>
                    <a:pt x="353" y="372"/>
                  </a:lnTo>
                  <a:lnTo>
                    <a:pt x="345" y="372"/>
                  </a:lnTo>
                  <a:lnTo>
                    <a:pt x="349" y="378"/>
                  </a:lnTo>
                  <a:lnTo>
                    <a:pt x="353" y="378"/>
                  </a:lnTo>
                  <a:lnTo>
                    <a:pt x="353" y="380"/>
                  </a:lnTo>
                  <a:lnTo>
                    <a:pt x="349" y="380"/>
                  </a:lnTo>
                  <a:lnTo>
                    <a:pt x="345" y="384"/>
                  </a:lnTo>
                  <a:lnTo>
                    <a:pt x="343" y="384"/>
                  </a:lnTo>
                  <a:lnTo>
                    <a:pt x="345" y="380"/>
                  </a:lnTo>
                  <a:lnTo>
                    <a:pt x="343" y="380"/>
                  </a:lnTo>
                  <a:lnTo>
                    <a:pt x="341" y="382"/>
                  </a:lnTo>
                  <a:lnTo>
                    <a:pt x="338" y="382"/>
                  </a:lnTo>
                  <a:lnTo>
                    <a:pt x="332" y="388"/>
                  </a:lnTo>
                  <a:lnTo>
                    <a:pt x="326" y="386"/>
                  </a:lnTo>
                  <a:lnTo>
                    <a:pt x="330" y="390"/>
                  </a:lnTo>
                  <a:lnTo>
                    <a:pt x="326" y="394"/>
                  </a:lnTo>
                  <a:lnTo>
                    <a:pt x="328" y="396"/>
                  </a:lnTo>
                  <a:lnTo>
                    <a:pt x="326" y="397"/>
                  </a:lnTo>
                  <a:lnTo>
                    <a:pt x="320" y="397"/>
                  </a:lnTo>
                  <a:lnTo>
                    <a:pt x="324" y="401"/>
                  </a:lnTo>
                  <a:lnTo>
                    <a:pt x="320" y="399"/>
                  </a:lnTo>
                  <a:lnTo>
                    <a:pt x="322" y="401"/>
                  </a:lnTo>
                  <a:lnTo>
                    <a:pt x="320" y="401"/>
                  </a:lnTo>
                  <a:lnTo>
                    <a:pt x="318" y="401"/>
                  </a:lnTo>
                  <a:lnTo>
                    <a:pt x="318" y="405"/>
                  </a:lnTo>
                  <a:lnTo>
                    <a:pt x="316" y="409"/>
                  </a:lnTo>
                  <a:lnTo>
                    <a:pt x="314" y="411"/>
                  </a:lnTo>
                  <a:lnTo>
                    <a:pt x="313" y="409"/>
                  </a:lnTo>
                  <a:lnTo>
                    <a:pt x="309" y="411"/>
                  </a:lnTo>
                  <a:lnTo>
                    <a:pt x="307" y="409"/>
                  </a:lnTo>
                  <a:lnTo>
                    <a:pt x="301" y="411"/>
                  </a:lnTo>
                  <a:lnTo>
                    <a:pt x="297" y="411"/>
                  </a:lnTo>
                  <a:lnTo>
                    <a:pt x="295" y="413"/>
                  </a:lnTo>
                  <a:lnTo>
                    <a:pt x="291" y="415"/>
                  </a:lnTo>
                  <a:lnTo>
                    <a:pt x="286" y="407"/>
                  </a:lnTo>
                  <a:lnTo>
                    <a:pt x="276" y="409"/>
                  </a:lnTo>
                  <a:lnTo>
                    <a:pt x="272" y="407"/>
                  </a:lnTo>
                  <a:lnTo>
                    <a:pt x="270" y="407"/>
                  </a:lnTo>
                  <a:lnTo>
                    <a:pt x="265" y="401"/>
                  </a:lnTo>
                  <a:lnTo>
                    <a:pt x="265" y="397"/>
                  </a:lnTo>
                  <a:lnTo>
                    <a:pt x="263" y="397"/>
                  </a:lnTo>
                  <a:lnTo>
                    <a:pt x="263" y="392"/>
                  </a:lnTo>
                  <a:lnTo>
                    <a:pt x="259" y="386"/>
                  </a:lnTo>
                  <a:lnTo>
                    <a:pt x="255" y="388"/>
                  </a:lnTo>
                  <a:lnTo>
                    <a:pt x="259" y="396"/>
                  </a:lnTo>
                  <a:lnTo>
                    <a:pt x="257" y="397"/>
                  </a:lnTo>
                  <a:lnTo>
                    <a:pt x="255" y="396"/>
                  </a:lnTo>
                  <a:lnTo>
                    <a:pt x="253" y="390"/>
                  </a:lnTo>
                  <a:lnTo>
                    <a:pt x="251" y="388"/>
                  </a:lnTo>
                  <a:lnTo>
                    <a:pt x="253" y="386"/>
                  </a:lnTo>
                  <a:lnTo>
                    <a:pt x="249" y="384"/>
                  </a:lnTo>
                  <a:lnTo>
                    <a:pt x="245" y="378"/>
                  </a:lnTo>
                  <a:lnTo>
                    <a:pt x="245" y="372"/>
                  </a:lnTo>
                  <a:lnTo>
                    <a:pt x="243" y="372"/>
                  </a:lnTo>
                  <a:lnTo>
                    <a:pt x="242" y="371"/>
                  </a:lnTo>
                  <a:lnTo>
                    <a:pt x="240" y="372"/>
                  </a:lnTo>
                  <a:lnTo>
                    <a:pt x="240" y="376"/>
                  </a:lnTo>
                  <a:lnTo>
                    <a:pt x="238" y="378"/>
                  </a:lnTo>
                  <a:lnTo>
                    <a:pt x="238" y="382"/>
                  </a:lnTo>
                  <a:lnTo>
                    <a:pt x="236" y="380"/>
                  </a:lnTo>
                  <a:lnTo>
                    <a:pt x="234" y="378"/>
                  </a:lnTo>
                  <a:lnTo>
                    <a:pt x="234" y="382"/>
                  </a:lnTo>
                  <a:lnTo>
                    <a:pt x="232" y="386"/>
                  </a:lnTo>
                  <a:lnTo>
                    <a:pt x="228" y="384"/>
                  </a:lnTo>
                  <a:lnTo>
                    <a:pt x="230" y="384"/>
                  </a:lnTo>
                  <a:lnTo>
                    <a:pt x="230" y="380"/>
                  </a:lnTo>
                  <a:lnTo>
                    <a:pt x="228" y="380"/>
                  </a:lnTo>
                  <a:lnTo>
                    <a:pt x="224" y="378"/>
                  </a:lnTo>
                  <a:lnTo>
                    <a:pt x="226" y="384"/>
                  </a:lnTo>
                  <a:lnTo>
                    <a:pt x="226" y="386"/>
                  </a:lnTo>
                  <a:lnTo>
                    <a:pt x="222" y="388"/>
                  </a:lnTo>
                  <a:lnTo>
                    <a:pt x="224" y="388"/>
                  </a:lnTo>
                  <a:lnTo>
                    <a:pt x="224" y="392"/>
                  </a:lnTo>
                  <a:lnTo>
                    <a:pt x="217" y="386"/>
                  </a:lnTo>
                  <a:lnTo>
                    <a:pt x="215" y="388"/>
                  </a:lnTo>
                  <a:lnTo>
                    <a:pt x="211" y="386"/>
                  </a:lnTo>
                  <a:lnTo>
                    <a:pt x="211" y="388"/>
                  </a:lnTo>
                  <a:lnTo>
                    <a:pt x="207" y="388"/>
                  </a:lnTo>
                  <a:lnTo>
                    <a:pt x="211" y="392"/>
                  </a:lnTo>
                  <a:lnTo>
                    <a:pt x="211" y="396"/>
                  </a:lnTo>
                  <a:lnTo>
                    <a:pt x="213" y="392"/>
                  </a:lnTo>
                  <a:lnTo>
                    <a:pt x="215" y="392"/>
                  </a:lnTo>
                  <a:lnTo>
                    <a:pt x="217" y="396"/>
                  </a:lnTo>
                  <a:lnTo>
                    <a:pt x="215" y="396"/>
                  </a:lnTo>
                  <a:lnTo>
                    <a:pt x="213" y="394"/>
                  </a:lnTo>
                  <a:lnTo>
                    <a:pt x="213" y="396"/>
                  </a:lnTo>
                  <a:lnTo>
                    <a:pt x="213" y="397"/>
                  </a:lnTo>
                  <a:lnTo>
                    <a:pt x="217" y="397"/>
                  </a:lnTo>
                  <a:lnTo>
                    <a:pt x="215" y="399"/>
                  </a:lnTo>
                  <a:lnTo>
                    <a:pt x="219" y="401"/>
                  </a:lnTo>
                  <a:lnTo>
                    <a:pt x="219" y="405"/>
                  </a:lnTo>
                  <a:lnTo>
                    <a:pt x="215" y="407"/>
                  </a:lnTo>
                  <a:lnTo>
                    <a:pt x="213" y="405"/>
                  </a:lnTo>
                  <a:lnTo>
                    <a:pt x="213" y="407"/>
                  </a:lnTo>
                  <a:lnTo>
                    <a:pt x="213" y="409"/>
                  </a:lnTo>
                  <a:lnTo>
                    <a:pt x="211" y="409"/>
                  </a:lnTo>
                  <a:lnTo>
                    <a:pt x="211" y="411"/>
                  </a:lnTo>
                  <a:lnTo>
                    <a:pt x="207" y="409"/>
                  </a:lnTo>
                  <a:lnTo>
                    <a:pt x="205" y="409"/>
                  </a:lnTo>
                  <a:lnTo>
                    <a:pt x="203" y="413"/>
                  </a:lnTo>
                  <a:lnTo>
                    <a:pt x="197" y="413"/>
                  </a:lnTo>
                  <a:lnTo>
                    <a:pt x="197" y="417"/>
                  </a:lnTo>
                  <a:lnTo>
                    <a:pt x="195" y="415"/>
                  </a:lnTo>
                  <a:lnTo>
                    <a:pt x="188" y="411"/>
                  </a:lnTo>
                  <a:lnTo>
                    <a:pt x="186" y="413"/>
                  </a:lnTo>
                  <a:lnTo>
                    <a:pt x="188" y="415"/>
                  </a:lnTo>
                  <a:lnTo>
                    <a:pt x="182" y="419"/>
                  </a:lnTo>
                  <a:lnTo>
                    <a:pt x="180" y="424"/>
                  </a:lnTo>
                  <a:lnTo>
                    <a:pt x="176" y="426"/>
                  </a:lnTo>
                  <a:lnTo>
                    <a:pt x="176" y="430"/>
                  </a:lnTo>
                  <a:lnTo>
                    <a:pt x="174" y="432"/>
                  </a:lnTo>
                  <a:lnTo>
                    <a:pt x="178" y="430"/>
                  </a:lnTo>
                  <a:lnTo>
                    <a:pt x="180" y="432"/>
                  </a:lnTo>
                  <a:lnTo>
                    <a:pt x="176" y="434"/>
                  </a:lnTo>
                  <a:lnTo>
                    <a:pt x="178" y="436"/>
                  </a:lnTo>
                  <a:lnTo>
                    <a:pt x="180" y="438"/>
                  </a:lnTo>
                  <a:lnTo>
                    <a:pt x="184" y="438"/>
                  </a:lnTo>
                  <a:lnTo>
                    <a:pt x="178" y="444"/>
                  </a:lnTo>
                  <a:lnTo>
                    <a:pt x="174" y="447"/>
                  </a:lnTo>
                  <a:lnTo>
                    <a:pt x="178" y="447"/>
                  </a:lnTo>
                  <a:lnTo>
                    <a:pt x="178" y="451"/>
                  </a:lnTo>
                  <a:lnTo>
                    <a:pt x="180" y="449"/>
                  </a:lnTo>
                  <a:lnTo>
                    <a:pt x="180" y="453"/>
                  </a:lnTo>
                  <a:lnTo>
                    <a:pt x="180" y="455"/>
                  </a:lnTo>
                  <a:lnTo>
                    <a:pt x="178" y="455"/>
                  </a:lnTo>
                  <a:lnTo>
                    <a:pt x="176" y="453"/>
                  </a:lnTo>
                  <a:lnTo>
                    <a:pt x="172" y="457"/>
                  </a:lnTo>
                  <a:lnTo>
                    <a:pt x="167" y="457"/>
                  </a:lnTo>
                  <a:lnTo>
                    <a:pt x="161" y="455"/>
                  </a:lnTo>
                  <a:lnTo>
                    <a:pt x="161" y="449"/>
                  </a:lnTo>
                  <a:lnTo>
                    <a:pt x="157" y="451"/>
                  </a:lnTo>
                  <a:lnTo>
                    <a:pt x="151" y="447"/>
                  </a:lnTo>
                  <a:lnTo>
                    <a:pt x="149" y="449"/>
                  </a:lnTo>
                  <a:lnTo>
                    <a:pt x="151" y="451"/>
                  </a:lnTo>
                  <a:lnTo>
                    <a:pt x="149" y="459"/>
                  </a:lnTo>
                  <a:lnTo>
                    <a:pt x="142" y="463"/>
                  </a:lnTo>
                  <a:lnTo>
                    <a:pt x="138" y="463"/>
                  </a:lnTo>
                  <a:lnTo>
                    <a:pt x="136" y="469"/>
                  </a:lnTo>
                  <a:lnTo>
                    <a:pt x="134" y="470"/>
                  </a:lnTo>
                  <a:lnTo>
                    <a:pt x="128" y="467"/>
                  </a:lnTo>
                  <a:lnTo>
                    <a:pt x="130" y="463"/>
                  </a:lnTo>
                  <a:lnTo>
                    <a:pt x="128" y="463"/>
                  </a:lnTo>
                  <a:lnTo>
                    <a:pt x="130" y="461"/>
                  </a:lnTo>
                  <a:lnTo>
                    <a:pt x="130" y="457"/>
                  </a:lnTo>
                  <a:lnTo>
                    <a:pt x="132" y="457"/>
                  </a:lnTo>
                  <a:lnTo>
                    <a:pt x="130" y="453"/>
                  </a:lnTo>
                  <a:lnTo>
                    <a:pt x="124" y="453"/>
                  </a:lnTo>
                  <a:lnTo>
                    <a:pt x="126" y="447"/>
                  </a:lnTo>
                  <a:lnTo>
                    <a:pt x="124" y="445"/>
                  </a:lnTo>
                  <a:lnTo>
                    <a:pt x="124" y="447"/>
                  </a:lnTo>
                  <a:lnTo>
                    <a:pt x="121" y="445"/>
                  </a:lnTo>
                  <a:lnTo>
                    <a:pt x="123" y="444"/>
                  </a:lnTo>
                  <a:lnTo>
                    <a:pt x="123" y="440"/>
                  </a:lnTo>
                  <a:lnTo>
                    <a:pt x="119" y="440"/>
                  </a:lnTo>
                  <a:lnTo>
                    <a:pt x="119" y="436"/>
                  </a:lnTo>
                  <a:lnTo>
                    <a:pt x="113" y="442"/>
                  </a:lnTo>
                  <a:lnTo>
                    <a:pt x="107" y="449"/>
                  </a:lnTo>
                  <a:lnTo>
                    <a:pt x="103" y="453"/>
                  </a:lnTo>
                  <a:lnTo>
                    <a:pt x="107" y="455"/>
                  </a:lnTo>
                  <a:lnTo>
                    <a:pt x="101" y="461"/>
                  </a:lnTo>
                  <a:lnTo>
                    <a:pt x="107" y="461"/>
                  </a:lnTo>
                  <a:lnTo>
                    <a:pt x="107" y="463"/>
                  </a:lnTo>
                  <a:lnTo>
                    <a:pt x="105" y="465"/>
                  </a:lnTo>
                  <a:lnTo>
                    <a:pt x="103" y="467"/>
                  </a:lnTo>
                  <a:lnTo>
                    <a:pt x="100" y="470"/>
                  </a:lnTo>
                  <a:lnTo>
                    <a:pt x="101" y="472"/>
                  </a:lnTo>
                  <a:lnTo>
                    <a:pt x="100" y="474"/>
                  </a:lnTo>
                  <a:lnTo>
                    <a:pt x="100" y="476"/>
                  </a:lnTo>
                  <a:lnTo>
                    <a:pt x="103" y="478"/>
                  </a:lnTo>
                  <a:lnTo>
                    <a:pt x="105" y="480"/>
                  </a:lnTo>
                  <a:lnTo>
                    <a:pt x="103" y="482"/>
                  </a:lnTo>
                  <a:lnTo>
                    <a:pt x="101" y="480"/>
                  </a:lnTo>
                  <a:lnTo>
                    <a:pt x="101" y="484"/>
                  </a:lnTo>
                  <a:lnTo>
                    <a:pt x="103" y="488"/>
                  </a:lnTo>
                  <a:lnTo>
                    <a:pt x="101" y="490"/>
                  </a:lnTo>
                  <a:lnTo>
                    <a:pt x="100" y="490"/>
                  </a:lnTo>
                  <a:lnTo>
                    <a:pt x="98" y="492"/>
                  </a:lnTo>
                  <a:lnTo>
                    <a:pt x="98" y="488"/>
                  </a:lnTo>
                  <a:lnTo>
                    <a:pt x="96" y="490"/>
                  </a:lnTo>
                  <a:lnTo>
                    <a:pt x="94" y="492"/>
                  </a:lnTo>
                  <a:lnTo>
                    <a:pt x="94" y="495"/>
                  </a:lnTo>
                  <a:lnTo>
                    <a:pt x="92" y="497"/>
                  </a:lnTo>
                  <a:lnTo>
                    <a:pt x="86" y="494"/>
                  </a:lnTo>
                  <a:lnTo>
                    <a:pt x="84" y="494"/>
                  </a:lnTo>
                  <a:lnTo>
                    <a:pt x="82" y="490"/>
                  </a:lnTo>
                  <a:lnTo>
                    <a:pt x="80" y="492"/>
                  </a:lnTo>
                  <a:lnTo>
                    <a:pt x="78" y="490"/>
                  </a:lnTo>
                  <a:lnTo>
                    <a:pt x="73" y="488"/>
                  </a:lnTo>
                  <a:lnTo>
                    <a:pt x="71" y="490"/>
                  </a:lnTo>
                  <a:lnTo>
                    <a:pt x="69" y="488"/>
                  </a:lnTo>
                  <a:lnTo>
                    <a:pt x="65" y="490"/>
                  </a:lnTo>
                  <a:lnTo>
                    <a:pt x="65" y="494"/>
                  </a:lnTo>
                  <a:lnTo>
                    <a:pt x="61" y="495"/>
                  </a:lnTo>
                  <a:lnTo>
                    <a:pt x="55" y="497"/>
                  </a:lnTo>
                  <a:lnTo>
                    <a:pt x="50" y="499"/>
                  </a:lnTo>
                  <a:lnTo>
                    <a:pt x="44" y="501"/>
                  </a:lnTo>
                  <a:lnTo>
                    <a:pt x="38" y="507"/>
                  </a:lnTo>
                  <a:lnTo>
                    <a:pt x="32" y="511"/>
                  </a:lnTo>
                  <a:lnTo>
                    <a:pt x="32" y="507"/>
                  </a:lnTo>
                  <a:lnTo>
                    <a:pt x="28" y="509"/>
                  </a:lnTo>
                  <a:lnTo>
                    <a:pt x="23" y="515"/>
                  </a:lnTo>
                  <a:lnTo>
                    <a:pt x="19" y="515"/>
                  </a:lnTo>
                  <a:lnTo>
                    <a:pt x="9" y="517"/>
                  </a:lnTo>
                  <a:lnTo>
                    <a:pt x="7" y="513"/>
                  </a:lnTo>
                  <a:lnTo>
                    <a:pt x="0" y="517"/>
                  </a:lnTo>
                  <a:lnTo>
                    <a:pt x="0" y="507"/>
                  </a:lnTo>
                  <a:lnTo>
                    <a:pt x="5" y="509"/>
                  </a:lnTo>
                  <a:lnTo>
                    <a:pt x="5" y="503"/>
                  </a:lnTo>
                  <a:lnTo>
                    <a:pt x="9" y="499"/>
                  </a:lnTo>
                  <a:lnTo>
                    <a:pt x="9" y="490"/>
                  </a:lnTo>
                  <a:lnTo>
                    <a:pt x="13" y="486"/>
                  </a:lnTo>
                  <a:lnTo>
                    <a:pt x="13" y="480"/>
                  </a:lnTo>
                  <a:lnTo>
                    <a:pt x="11" y="476"/>
                  </a:lnTo>
                  <a:lnTo>
                    <a:pt x="15" y="467"/>
                  </a:lnTo>
                  <a:lnTo>
                    <a:pt x="19" y="467"/>
                  </a:lnTo>
                  <a:lnTo>
                    <a:pt x="23" y="463"/>
                  </a:lnTo>
                  <a:lnTo>
                    <a:pt x="28" y="461"/>
                  </a:lnTo>
                  <a:lnTo>
                    <a:pt x="28" y="459"/>
                  </a:lnTo>
                  <a:lnTo>
                    <a:pt x="38" y="457"/>
                  </a:lnTo>
                  <a:lnTo>
                    <a:pt x="40" y="451"/>
                  </a:lnTo>
                  <a:lnTo>
                    <a:pt x="46" y="445"/>
                  </a:lnTo>
                  <a:lnTo>
                    <a:pt x="50" y="444"/>
                  </a:lnTo>
                  <a:lnTo>
                    <a:pt x="52" y="440"/>
                  </a:lnTo>
                  <a:lnTo>
                    <a:pt x="55" y="438"/>
                  </a:lnTo>
                  <a:lnTo>
                    <a:pt x="57" y="434"/>
                  </a:lnTo>
                  <a:lnTo>
                    <a:pt x="61" y="434"/>
                  </a:lnTo>
                  <a:lnTo>
                    <a:pt x="61" y="432"/>
                  </a:lnTo>
                  <a:lnTo>
                    <a:pt x="55" y="428"/>
                  </a:lnTo>
                  <a:lnTo>
                    <a:pt x="55" y="424"/>
                  </a:lnTo>
                  <a:lnTo>
                    <a:pt x="61" y="426"/>
                  </a:lnTo>
                  <a:lnTo>
                    <a:pt x="61" y="421"/>
                  </a:lnTo>
                  <a:lnTo>
                    <a:pt x="69" y="417"/>
                  </a:lnTo>
                  <a:lnTo>
                    <a:pt x="75" y="419"/>
                  </a:lnTo>
                  <a:lnTo>
                    <a:pt x="76" y="413"/>
                  </a:lnTo>
                  <a:lnTo>
                    <a:pt x="80" y="413"/>
                  </a:lnTo>
                  <a:lnTo>
                    <a:pt x="80" y="411"/>
                  </a:lnTo>
                  <a:lnTo>
                    <a:pt x="84" y="409"/>
                  </a:lnTo>
                  <a:lnTo>
                    <a:pt x="84" y="401"/>
                  </a:lnTo>
                  <a:lnTo>
                    <a:pt x="86" y="397"/>
                  </a:lnTo>
                  <a:lnTo>
                    <a:pt x="90" y="396"/>
                  </a:lnTo>
                  <a:lnTo>
                    <a:pt x="94" y="396"/>
                  </a:lnTo>
                  <a:lnTo>
                    <a:pt x="94" y="388"/>
                  </a:lnTo>
                  <a:lnTo>
                    <a:pt x="88" y="380"/>
                  </a:lnTo>
                  <a:lnTo>
                    <a:pt x="90" y="376"/>
                  </a:lnTo>
                  <a:lnTo>
                    <a:pt x="90" y="374"/>
                  </a:lnTo>
                  <a:lnTo>
                    <a:pt x="86" y="372"/>
                  </a:lnTo>
                  <a:lnTo>
                    <a:pt x="86" y="374"/>
                  </a:lnTo>
                  <a:lnTo>
                    <a:pt x="84" y="372"/>
                  </a:lnTo>
                  <a:lnTo>
                    <a:pt x="88" y="369"/>
                  </a:lnTo>
                  <a:lnTo>
                    <a:pt x="84" y="365"/>
                  </a:lnTo>
                  <a:lnTo>
                    <a:pt x="84" y="357"/>
                  </a:lnTo>
                  <a:lnTo>
                    <a:pt x="88" y="351"/>
                  </a:lnTo>
                  <a:lnTo>
                    <a:pt x="84" y="349"/>
                  </a:lnTo>
                  <a:lnTo>
                    <a:pt x="84" y="348"/>
                  </a:lnTo>
                  <a:lnTo>
                    <a:pt x="86" y="348"/>
                  </a:lnTo>
                  <a:lnTo>
                    <a:pt x="88" y="342"/>
                  </a:lnTo>
                  <a:lnTo>
                    <a:pt x="80" y="340"/>
                  </a:lnTo>
                  <a:lnTo>
                    <a:pt x="78" y="336"/>
                  </a:lnTo>
                  <a:lnTo>
                    <a:pt x="78" y="332"/>
                  </a:lnTo>
                  <a:lnTo>
                    <a:pt x="76" y="330"/>
                  </a:lnTo>
                  <a:lnTo>
                    <a:pt x="75" y="332"/>
                  </a:lnTo>
                  <a:lnTo>
                    <a:pt x="71" y="332"/>
                  </a:lnTo>
                  <a:lnTo>
                    <a:pt x="75" y="328"/>
                  </a:lnTo>
                  <a:lnTo>
                    <a:pt x="73" y="323"/>
                  </a:lnTo>
                  <a:lnTo>
                    <a:pt x="75" y="319"/>
                  </a:lnTo>
                  <a:lnTo>
                    <a:pt x="73" y="311"/>
                  </a:lnTo>
                  <a:lnTo>
                    <a:pt x="76" y="301"/>
                  </a:lnTo>
                  <a:lnTo>
                    <a:pt x="67" y="301"/>
                  </a:lnTo>
                  <a:lnTo>
                    <a:pt x="65" y="294"/>
                  </a:lnTo>
                  <a:lnTo>
                    <a:pt x="57" y="290"/>
                  </a:lnTo>
                  <a:lnTo>
                    <a:pt x="53" y="288"/>
                  </a:lnTo>
                  <a:lnTo>
                    <a:pt x="53" y="284"/>
                  </a:lnTo>
                  <a:lnTo>
                    <a:pt x="55" y="278"/>
                  </a:lnTo>
                  <a:lnTo>
                    <a:pt x="55" y="275"/>
                  </a:lnTo>
                  <a:lnTo>
                    <a:pt x="59" y="275"/>
                  </a:lnTo>
                  <a:lnTo>
                    <a:pt x="65" y="267"/>
                  </a:lnTo>
                  <a:lnTo>
                    <a:pt x="69" y="273"/>
                  </a:lnTo>
                  <a:lnTo>
                    <a:pt x="71" y="275"/>
                  </a:lnTo>
                  <a:lnTo>
                    <a:pt x="73" y="276"/>
                  </a:lnTo>
                  <a:lnTo>
                    <a:pt x="76" y="273"/>
                  </a:lnTo>
                  <a:lnTo>
                    <a:pt x="82" y="276"/>
                  </a:lnTo>
                  <a:lnTo>
                    <a:pt x="88" y="278"/>
                  </a:lnTo>
                  <a:lnTo>
                    <a:pt x="90" y="280"/>
                  </a:lnTo>
                  <a:lnTo>
                    <a:pt x="96" y="278"/>
                  </a:lnTo>
                  <a:lnTo>
                    <a:pt x="98" y="282"/>
                  </a:lnTo>
                  <a:lnTo>
                    <a:pt x="100" y="284"/>
                  </a:lnTo>
                  <a:lnTo>
                    <a:pt x="101" y="292"/>
                  </a:lnTo>
                  <a:lnTo>
                    <a:pt x="105" y="298"/>
                  </a:lnTo>
                  <a:lnTo>
                    <a:pt x="111" y="292"/>
                  </a:lnTo>
                  <a:lnTo>
                    <a:pt x="117" y="288"/>
                  </a:lnTo>
                  <a:lnTo>
                    <a:pt x="123" y="290"/>
                  </a:lnTo>
                  <a:lnTo>
                    <a:pt x="128" y="294"/>
                  </a:lnTo>
                  <a:lnTo>
                    <a:pt x="130" y="292"/>
                  </a:lnTo>
                  <a:lnTo>
                    <a:pt x="134" y="294"/>
                  </a:lnTo>
                  <a:lnTo>
                    <a:pt x="130" y="298"/>
                  </a:lnTo>
                  <a:lnTo>
                    <a:pt x="130" y="301"/>
                  </a:lnTo>
                  <a:lnTo>
                    <a:pt x="132" y="303"/>
                  </a:lnTo>
                  <a:lnTo>
                    <a:pt x="136" y="301"/>
                  </a:lnTo>
                  <a:lnTo>
                    <a:pt x="140" y="298"/>
                  </a:lnTo>
                  <a:lnTo>
                    <a:pt x="146" y="298"/>
                  </a:lnTo>
                  <a:lnTo>
                    <a:pt x="147" y="292"/>
                  </a:lnTo>
                  <a:lnTo>
                    <a:pt x="146" y="290"/>
                  </a:lnTo>
                  <a:lnTo>
                    <a:pt x="146" y="284"/>
                  </a:lnTo>
                  <a:lnTo>
                    <a:pt x="146" y="278"/>
                  </a:lnTo>
                  <a:lnTo>
                    <a:pt x="138" y="278"/>
                  </a:lnTo>
                  <a:lnTo>
                    <a:pt x="134" y="280"/>
                  </a:lnTo>
                  <a:lnTo>
                    <a:pt x="128" y="276"/>
                  </a:lnTo>
                  <a:lnTo>
                    <a:pt x="124" y="276"/>
                  </a:lnTo>
                  <a:lnTo>
                    <a:pt x="121" y="275"/>
                  </a:lnTo>
                  <a:lnTo>
                    <a:pt x="113" y="273"/>
                  </a:lnTo>
                  <a:lnTo>
                    <a:pt x="113" y="267"/>
                  </a:lnTo>
                  <a:lnTo>
                    <a:pt x="111" y="263"/>
                  </a:lnTo>
                  <a:lnTo>
                    <a:pt x="115" y="257"/>
                  </a:lnTo>
                  <a:lnTo>
                    <a:pt x="115" y="250"/>
                  </a:lnTo>
                  <a:lnTo>
                    <a:pt x="117" y="248"/>
                  </a:lnTo>
                  <a:lnTo>
                    <a:pt x="117" y="246"/>
                  </a:lnTo>
                  <a:lnTo>
                    <a:pt x="113" y="242"/>
                  </a:lnTo>
                  <a:lnTo>
                    <a:pt x="115" y="234"/>
                  </a:lnTo>
                  <a:lnTo>
                    <a:pt x="117" y="232"/>
                  </a:lnTo>
                  <a:lnTo>
                    <a:pt x="115" y="227"/>
                  </a:lnTo>
                  <a:lnTo>
                    <a:pt x="113" y="228"/>
                  </a:lnTo>
                  <a:lnTo>
                    <a:pt x="113" y="223"/>
                  </a:lnTo>
                  <a:lnTo>
                    <a:pt x="109" y="221"/>
                  </a:lnTo>
                  <a:lnTo>
                    <a:pt x="107" y="219"/>
                  </a:lnTo>
                  <a:lnTo>
                    <a:pt x="109" y="215"/>
                  </a:lnTo>
                  <a:lnTo>
                    <a:pt x="107" y="213"/>
                  </a:lnTo>
                  <a:lnTo>
                    <a:pt x="111" y="211"/>
                  </a:lnTo>
                  <a:lnTo>
                    <a:pt x="109" y="202"/>
                  </a:lnTo>
                  <a:lnTo>
                    <a:pt x="107" y="196"/>
                  </a:lnTo>
                  <a:lnTo>
                    <a:pt x="107" y="186"/>
                  </a:lnTo>
                  <a:lnTo>
                    <a:pt x="109" y="182"/>
                  </a:lnTo>
                  <a:lnTo>
                    <a:pt x="111" y="184"/>
                  </a:lnTo>
                  <a:lnTo>
                    <a:pt x="115" y="184"/>
                  </a:lnTo>
                  <a:lnTo>
                    <a:pt x="117" y="188"/>
                  </a:lnTo>
                  <a:lnTo>
                    <a:pt x="121" y="188"/>
                  </a:lnTo>
                  <a:lnTo>
                    <a:pt x="124" y="186"/>
                  </a:lnTo>
                  <a:lnTo>
                    <a:pt x="124" y="180"/>
                  </a:lnTo>
                  <a:lnTo>
                    <a:pt x="132" y="177"/>
                  </a:lnTo>
                  <a:lnTo>
                    <a:pt x="132" y="173"/>
                  </a:lnTo>
                  <a:lnTo>
                    <a:pt x="140" y="165"/>
                  </a:lnTo>
                  <a:lnTo>
                    <a:pt x="138" y="163"/>
                  </a:lnTo>
                  <a:lnTo>
                    <a:pt x="142" y="159"/>
                  </a:lnTo>
                  <a:lnTo>
                    <a:pt x="140" y="157"/>
                  </a:lnTo>
                  <a:lnTo>
                    <a:pt x="142" y="155"/>
                  </a:lnTo>
                  <a:lnTo>
                    <a:pt x="140" y="154"/>
                  </a:lnTo>
                  <a:lnTo>
                    <a:pt x="142" y="154"/>
                  </a:lnTo>
                  <a:lnTo>
                    <a:pt x="146" y="152"/>
                  </a:lnTo>
                  <a:lnTo>
                    <a:pt x="153" y="152"/>
                  </a:lnTo>
                  <a:lnTo>
                    <a:pt x="157" y="154"/>
                  </a:lnTo>
                  <a:lnTo>
                    <a:pt x="163" y="152"/>
                  </a:lnTo>
                  <a:lnTo>
                    <a:pt x="167" y="154"/>
                  </a:lnTo>
                  <a:lnTo>
                    <a:pt x="169" y="152"/>
                  </a:lnTo>
                  <a:lnTo>
                    <a:pt x="174" y="152"/>
                  </a:lnTo>
                  <a:lnTo>
                    <a:pt x="176" y="150"/>
                  </a:lnTo>
                  <a:lnTo>
                    <a:pt x="176" y="152"/>
                  </a:lnTo>
                  <a:lnTo>
                    <a:pt x="178" y="150"/>
                  </a:lnTo>
                  <a:lnTo>
                    <a:pt x="178" y="152"/>
                  </a:lnTo>
                  <a:lnTo>
                    <a:pt x="180" y="152"/>
                  </a:lnTo>
                  <a:lnTo>
                    <a:pt x="178" y="155"/>
                  </a:lnTo>
                  <a:lnTo>
                    <a:pt x="180" y="154"/>
                  </a:lnTo>
                  <a:lnTo>
                    <a:pt x="188" y="157"/>
                  </a:lnTo>
                  <a:lnTo>
                    <a:pt x="194" y="159"/>
                  </a:lnTo>
                  <a:lnTo>
                    <a:pt x="201" y="154"/>
                  </a:lnTo>
                  <a:lnTo>
                    <a:pt x="203" y="150"/>
                  </a:lnTo>
                  <a:lnTo>
                    <a:pt x="203" y="142"/>
                  </a:lnTo>
                  <a:lnTo>
                    <a:pt x="205" y="140"/>
                  </a:lnTo>
                  <a:lnTo>
                    <a:pt x="209" y="140"/>
                  </a:lnTo>
                  <a:lnTo>
                    <a:pt x="209" y="138"/>
                  </a:lnTo>
                  <a:lnTo>
                    <a:pt x="207" y="136"/>
                  </a:lnTo>
                  <a:lnTo>
                    <a:pt x="209" y="129"/>
                  </a:lnTo>
                  <a:lnTo>
                    <a:pt x="211" y="129"/>
                  </a:lnTo>
                  <a:lnTo>
                    <a:pt x="215" y="130"/>
                  </a:lnTo>
                  <a:lnTo>
                    <a:pt x="220" y="132"/>
                  </a:lnTo>
                  <a:lnTo>
                    <a:pt x="224" y="132"/>
                  </a:lnTo>
                  <a:lnTo>
                    <a:pt x="222" y="127"/>
                  </a:lnTo>
                  <a:lnTo>
                    <a:pt x="219" y="121"/>
                  </a:lnTo>
                  <a:lnTo>
                    <a:pt x="217" y="115"/>
                  </a:lnTo>
                  <a:lnTo>
                    <a:pt x="220" y="109"/>
                  </a:lnTo>
                  <a:lnTo>
                    <a:pt x="219" y="107"/>
                  </a:lnTo>
                  <a:lnTo>
                    <a:pt x="222" y="104"/>
                  </a:lnTo>
                  <a:lnTo>
                    <a:pt x="228" y="100"/>
                  </a:lnTo>
                  <a:lnTo>
                    <a:pt x="230" y="104"/>
                  </a:lnTo>
                  <a:lnTo>
                    <a:pt x="232" y="102"/>
                  </a:lnTo>
                  <a:lnTo>
                    <a:pt x="226" y="96"/>
                  </a:lnTo>
                  <a:lnTo>
                    <a:pt x="226" y="94"/>
                  </a:lnTo>
                  <a:lnTo>
                    <a:pt x="230" y="94"/>
                  </a:lnTo>
                  <a:lnTo>
                    <a:pt x="234" y="90"/>
                  </a:lnTo>
                  <a:lnTo>
                    <a:pt x="232" y="84"/>
                  </a:lnTo>
                  <a:lnTo>
                    <a:pt x="234" y="81"/>
                  </a:lnTo>
                  <a:lnTo>
                    <a:pt x="238" y="84"/>
                  </a:lnTo>
                  <a:lnTo>
                    <a:pt x="240" y="84"/>
                  </a:lnTo>
                  <a:lnTo>
                    <a:pt x="238" y="81"/>
                  </a:lnTo>
                  <a:lnTo>
                    <a:pt x="240" y="79"/>
                  </a:lnTo>
                  <a:lnTo>
                    <a:pt x="243" y="81"/>
                  </a:lnTo>
                  <a:lnTo>
                    <a:pt x="245" y="79"/>
                  </a:lnTo>
                  <a:lnTo>
                    <a:pt x="243" y="75"/>
                  </a:lnTo>
                  <a:lnTo>
                    <a:pt x="245" y="71"/>
                  </a:lnTo>
                  <a:lnTo>
                    <a:pt x="242" y="69"/>
                  </a:lnTo>
                  <a:lnTo>
                    <a:pt x="242" y="67"/>
                  </a:lnTo>
                  <a:lnTo>
                    <a:pt x="240" y="65"/>
                  </a:lnTo>
                  <a:lnTo>
                    <a:pt x="242" y="61"/>
                  </a:lnTo>
                  <a:lnTo>
                    <a:pt x="240" y="57"/>
                  </a:lnTo>
                  <a:lnTo>
                    <a:pt x="240" y="56"/>
                  </a:lnTo>
                  <a:lnTo>
                    <a:pt x="245" y="56"/>
                  </a:lnTo>
                  <a:lnTo>
                    <a:pt x="242" y="50"/>
                  </a:lnTo>
                  <a:lnTo>
                    <a:pt x="247" y="44"/>
                  </a:lnTo>
                  <a:lnTo>
                    <a:pt x="251" y="38"/>
                  </a:lnTo>
                  <a:lnTo>
                    <a:pt x="257" y="34"/>
                  </a:lnTo>
                  <a:lnTo>
                    <a:pt x="263" y="34"/>
                  </a:lnTo>
                  <a:lnTo>
                    <a:pt x="265" y="34"/>
                  </a:lnTo>
                  <a:lnTo>
                    <a:pt x="268" y="31"/>
                  </a:lnTo>
                  <a:lnTo>
                    <a:pt x="270" y="31"/>
                  </a:lnTo>
                  <a:lnTo>
                    <a:pt x="270" y="27"/>
                  </a:lnTo>
                  <a:lnTo>
                    <a:pt x="276" y="25"/>
                  </a:lnTo>
                  <a:lnTo>
                    <a:pt x="284" y="23"/>
                  </a:lnTo>
                  <a:lnTo>
                    <a:pt x="288" y="23"/>
                  </a:lnTo>
                  <a:lnTo>
                    <a:pt x="291" y="21"/>
                  </a:lnTo>
                  <a:lnTo>
                    <a:pt x="295" y="13"/>
                  </a:lnTo>
                  <a:lnTo>
                    <a:pt x="295" y="9"/>
                  </a:lnTo>
                  <a:lnTo>
                    <a:pt x="288" y="8"/>
                  </a:lnTo>
                  <a:lnTo>
                    <a:pt x="288" y="6"/>
                  </a:lnTo>
                  <a:lnTo>
                    <a:pt x="290" y="4"/>
                  </a:lnTo>
                  <a:lnTo>
                    <a:pt x="297" y="6"/>
                  </a:lnTo>
                  <a:lnTo>
                    <a:pt x="301" y="9"/>
                  </a:lnTo>
                  <a:lnTo>
                    <a:pt x="305" y="9"/>
                  </a:lnTo>
                  <a:lnTo>
                    <a:pt x="305" y="15"/>
                  </a:lnTo>
                  <a:lnTo>
                    <a:pt x="307" y="17"/>
                  </a:lnTo>
                  <a:lnTo>
                    <a:pt x="311" y="21"/>
                  </a:lnTo>
                  <a:lnTo>
                    <a:pt x="316" y="21"/>
                  </a:lnTo>
                  <a:lnTo>
                    <a:pt x="320" y="25"/>
                  </a:lnTo>
                  <a:lnTo>
                    <a:pt x="326" y="23"/>
                  </a:lnTo>
                  <a:lnTo>
                    <a:pt x="328" y="25"/>
                  </a:lnTo>
                  <a:lnTo>
                    <a:pt x="334" y="23"/>
                  </a:lnTo>
                  <a:lnTo>
                    <a:pt x="336" y="23"/>
                  </a:lnTo>
                  <a:lnTo>
                    <a:pt x="338" y="21"/>
                  </a:lnTo>
                  <a:lnTo>
                    <a:pt x="341" y="19"/>
                  </a:lnTo>
                  <a:lnTo>
                    <a:pt x="341" y="17"/>
                  </a:lnTo>
                  <a:lnTo>
                    <a:pt x="345" y="15"/>
                  </a:lnTo>
                  <a:lnTo>
                    <a:pt x="347" y="15"/>
                  </a:lnTo>
                  <a:lnTo>
                    <a:pt x="357" y="15"/>
                  </a:lnTo>
                  <a:lnTo>
                    <a:pt x="361" y="15"/>
                  </a:lnTo>
                  <a:lnTo>
                    <a:pt x="370" y="15"/>
                  </a:lnTo>
                  <a:lnTo>
                    <a:pt x="370" y="13"/>
                  </a:lnTo>
                  <a:lnTo>
                    <a:pt x="376" y="13"/>
                  </a:lnTo>
                  <a:lnTo>
                    <a:pt x="380" y="15"/>
                  </a:lnTo>
                  <a:lnTo>
                    <a:pt x="384" y="13"/>
                  </a:lnTo>
                  <a:lnTo>
                    <a:pt x="384" y="15"/>
                  </a:lnTo>
                  <a:lnTo>
                    <a:pt x="393" y="11"/>
                  </a:lnTo>
                  <a:lnTo>
                    <a:pt x="401" y="9"/>
                  </a:lnTo>
                  <a:lnTo>
                    <a:pt x="405" y="9"/>
                  </a:lnTo>
                  <a:lnTo>
                    <a:pt x="403" y="13"/>
                  </a:lnTo>
                  <a:lnTo>
                    <a:pt x="405" y="19"/>
                  </a:lnTo>
                  <a:lnTo>
                    <a:pt x="405" y="23"/>
                  </a:lnTo>
                  <a:lnTo>
                    <a:pt x="407" y="25"/>
                  </a:lnTo>
                  <a:lnTo>
                    <a:pt x="407" y="27"/>
                  </a:lnTo>
                  <a:lnTo>
                    <a:pt x="409" y="27"/>
                  </a:lnTo>
                  <a:lnTo>
                    <a:pt x="409" y="31"/>
                  </a:lnTo>
                  <a:lnTo>
                    <a:pt x="403" y="33"/>
                  </a:lnTo>
                  <a:lnTo>
                    <a:pt x="405" y="34"/>
                  </a:lnTo>
                  <a:lnTo>
                    <a:pt x="401" y="42"/>
                  </a:lnTo>
                  <a:lnTo>
                    <a:pt x="399" y="44"/>
                  </a:lnTo>
                  <a:lnTo>
                    <a:pt x="399" y="48"/>
                  </a:lnTo>
                  <a:lnTo>
                    <a:pt x="393" y="52"/>
                  </a:lnTo>
                  <a:lnTo>
                    <a:pt x="395" y="54"/>
                  </a:lnTo>
                  <a:lnTo>
                    <a:pt x="401" y="50"/>
                  </a:lnTo>
                  <a:lnTo>
                    <a:pt x="407" y="50"/>
                  </a:lnTo>
                  <a:lnTo>
                    <a:pt x="409" y="54"/>
                  </a:lnTo>
                  <a:lnTo>
                    <a:pt x="412" y="54"/>
                  </a:lnTo>
                  <a:lnTo>
                    <a:pt x="414" y="56"/>
                  </a:lnTo>
                  <a:lnTo>
                    <a:pt x="414" y="54"/>
                  </a:lnTo>
                  <a:lnTo>
                    <a:pt x="418" y="56"/>
                  </a:lnTo>
                  <a:lnTo>
                    <a:pt x="420" y="61"/>
                  </a:lnTo>
                  <a:lnTo>
                    <a:pt x="426" y="52"/>
                  </a:lnTo>
                  <a:lnTo>
                    <a:pt x="430" y="48"/>
                  </a:lnTo>
                  <a:lnTo>
                    <a:pt x="435" y="48"/>
                  </a:lnTo>
                  <a:lnTo>
                    <a:pt x="435" y="44"/>
                  </a:lnTo>
                  <a:lnTo>
                    <a:pt x="437" y="44"/>
                  </a:lnTo>
                  <a:lnTo>
                    <a:pt x="443" y="46"/>
                  </a:lnTo>
                  <a:lnTo>
                    <a:pt x="451" y="50"/>
                  </a:lnTo>
                  <a:lnTo>
                    <a:pt x="455" y="52"/>
                  </a:lnTo>
                  <a:lnTo>
                    <a:pt x="460" y="54"/>
                  </a:lnTo>
                  <a:lnTo>
                    <a:pt x="464" y="52"/>
                  </a:lnTo>
                  <a:lnTo>
                    <a:pt x="468" y="56"/>
                  </a:lnTo>
                  <a:lnTo>
                    <a:pt x="476" y="54"/>
                  </a:lnTo>
                  <a:lnTo>
                    <a:pt x="481" y="50"/>
                  </a:lnTo>
                  <a:lnTo>
                    <a:pt x="485" y="54"/>
                  </a:lnTo>
                  <a:lnTo>
                    <a:pt x="480" y="54"/>
                  </a:lnTo>
                  <a:lnTo>
                    <a:pt x="478" y="56"/>
                  </a:lnTo>
                  <a:lnTo>
                    <a:pt x="480" y="57"/>
                  </a:lnTo>
                  <a:lnTo>
                    <a:pt x="476" y="61"/>
                  </a:lnTo>
                  <a:lnTo>
                    <a:pt x="478" y="61"/>
                  </a:lnTo>
                  <a:lnTo>
                    <a:pt x="483" y="65"/>
                  </a:lnTo>
                  <a:lnTo>
                    <a:pt x="491" y="63"/>
                  </a:lnTo>
                  <a:lnTo>
                    <a:pt x="491" y="65"/>
                  </a:lnTo>
                  <a:lnTo>
                    <a:pt x="493" y="61"/>
                  </a:lnTo>
                  <a:lnTo>
                    <a:pt x="497" y="59"/>
                  </a:lnTo>
                  <a:lnTo>
                    <a:pt x="501" y="52"/>
                  </a:lnTo>
                  <a:lnTo>
                    <a:pt x="503" y="50"/>
                  </a:lnTo>
                  <a:lnTo>
                    <a:pt x="503" y="46"/>
                  </a:lnTo>
                  <a:lnTo>
                    <a:pt x="506" y="40"/>
                  </a:lnTo>
                  <a:lnTo>
                    <a:pt x="501" y="34"/>
                  </a:lnTo>
                  <a:lnTo>
                    <a:pt x="504" y="29"/>
                  </a:lnTo>
                  <a:lnTo>
                    <a:pt x="504" y="27"/>
                  </a:lnTo>
                  <a:lnTo>
                    <a:pt x="504" y="25"/>
                  </a:lnTo>
                  <a:lnTo>
                    <a:pt x="503" y="25"/>
                  </a:lnTo>
                  <a:lnTo>
                    <a:pt x="506" y="21"/>
                  </a:lnTo>
                  <a:lnTo>
                    <a:pt x="504" y="15"/>
                  </a:lnTo>
                  <a:lnTo>
                    <a:pt x="499" y="13"/>
                  </a:lnTo>
                  <a:lnTo>
                    <a:pt x="499" y="9"/>
                  </a:lnTo>
                  <a:lnTo>
                    <a:pt x="499" y="8"/>
                  </a:lnTo>
                  <a:lnTo>
                    <a:pt x="506" y="4"/>
                  </a:lnTo>
                  <a:lnTo>
                    <a:pt x="508" y="0"/>
                  </a:lnTo>
                  <a:lnTo>
                    <a:pt x="512" y="4"/>
                  </a:lnTo>
                  <a:lnTo>
                    <a:pt x="514" y="9"/>
                  </a:lnTo>
                  <a:lnTo>
                    <a:pt x="522" y="9"/>
                  </a:lnTo>
                  <a:lnTo>
                    <a:pt x="528" y="11"/>
                  </a:lnTo>
                  <a:lnTo>
                    <a:pt x="533" y="13"/>
                  </a:lnTo>
                  <a:lnTo>
                    <a:pt x="537" y="21"/>
                  </a:lnTo>
                  <a:lnTo>
                    <a:pt x="543" y="25"/>
                  </a:lnTo>
                  <a:lnTo>
                    <a:pt x="549" y="29"/>
                  </a:lnTo>
                  <a:lnTo>
                    <a:pt x="551" y="29"/>
                  </a:lnTo>
                  <a:lnTo>
                    <a:pt x="551" y="27"/>
                  </a:lnTo>
                  <a:lnTo>
                    <a:pt x="556" y="23"/>
                  </a:lnTo>
                  <a:lnTo>
                    <a:pt x="560" y="27"/>
                  </a:lnTo>
                  <a:lnTo>
                    <a:pt x="560" y="29"/>
                  </a:lnTo>
                  <a:lnTo>
                    <a:pt x="566" y="29"/>
                  </a:lnTo>
                  <a:lnTo>
                    <a:pt x="566" y="31"/>
                  </a:lnTo>
                  <a:lnTo>
                    <a:pt x="572" y="33"/>
                  </a:lnTo>
                  <a:lnTo>
                    <a:pt x="572" y="36"/>
                  </a:lnTo>
                  <a:lnTo>
                    <a:pt x="579" y="3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23" name="Freeform 15">
              <a:extLst>
                <a:ext uri="{FF2B5EF4-FFF2-40B4-BE49-F238E27FC236}">
                  <a16:creationId xmlns:a16="http://schemas.microsoft.com/office/drawing/2014/main" id="{E2903672-171E-4FBF-9CE2-C3BD8B2A19F0}"/>
                </a:ext>
              </a:extLst>
            </p:cNvPr>
            <p:cNvSpPr>
              <a:spLocks noEditPoints="1"/>
            </p:cNvSpPr>
            <p:nvPr/>
          </p:nvSpPr>
          <p:spPr bwMode="gray">
            <a:xfrm>
              <a:off x="4211639" y="3795715"/>
              <a:ext cx="1401763" cy="1111251"/>
            </a:xfrm>
            <a:custGeom>
              <a:avLst/>
              <a:gdLst>
                <a:gd name="T0" fmla="*/ 850 w 883"/>
                <a:gd name="T1" fmla="*/ 125 h 700"/>
                <a:gd name="T2" fmla="*/ 856 w 883"/>
                <a:gd name="T3" fmla="*/ 187 h 700"/>
                <a:gd name="T4" fmla="*/ 837 w 883"/>
                <a:gd name="T5" fmla="*/ 227 h 700"/>
                <a:gd name="T6" fmla="*/ 869 w 883"/>
                <a:gd name="T7" fmla="*/ 267 h 700"/>
                <a:gd name="T8" fmla="*/ 850 w 883"/>
                <a:gd name="T9" fmla="*/ 289 h 700"/>
                <a:gd name="T10" fmla="*/ 814 w 883"/>
                <a:gd name="T11" fmla="*/ 360 h 700"/>
                <a:gd name="T12" fmla="*/ 770 w 883"/>
                <a:gd name="T13" fmla="*/ 319 h 700"/>
                <a:gd name="T14" fmla="*/ 735 w 883"/>
                <a:gd name="T15" fmla="*/ 271 h 700"/>
                <a:gd name="T16" fmla="*/ 679 w 883"/>
                <a:gd name="T17" fmla="*/ 269 h 700"/>
                <a:gd name="T18" fmla="*/ 624 w 883"/>
                <a:gd name="T19" fmla="*/ 243 h 700"/>
                <a:gd name="T20" fmla="*/ 605 w 883"/>
                <a:gd name="T21" fmla="*/ 279 h 700"/>
                <a:gd name="T22" fmla="*/ 555 w 883"/>
                <a:gd name="T23" fmla="*/ 315 h 700"/>
                <a:gd name="T24" fmla="*/ 549 w 883"/>
                <a:gd name="T25" fmla="*/ 364 h 700"/>
                <a:gd name="T26" fmla="*/ 522 w 883"/>
                <a:gd name="T27" fmla="*/ 394 h 700"/>
                <a:gd name="T28" fmla="*/ 487 w 883"/>
                <a:gd name="T29" fmla="*/ 394 h 700"/>
                <a:gd name="T30" fmla="*/ 457 w 883"/>
                <a:gd name="T31" fmla="*/ 429 h 700"/>
                <a:gd name="T32" fmla="*/ 436 w 883"/>
                <a:gd name="T33" fmla="*/ 456 h 700"/>
                <a:gd name="T34" fmla="*/ 397 w 883"/>
                <a:gd name="T35" fmla="*/ 483 h 700"/>
                <a:gd name="T36" fmla="*/ 380 w 883"/>
                <a:gd name="T37" fmla="*/ 510 h 700"/>
                <a:gd name="T38" fmla="*/ 328 w 883"/>
                <a:gd name="T39" fmla="*/ 508 h 700"/>
                <a:gd name="T40" fmla="*/ 315 w 883"/>
                <a:gd name="T41" fmla="*/ 540 h 700"/>
                <a:gd name="T42" fmla="*/ 272 w 883"/>
                <a:gd name="T43" fmla="*/ 561 h 700"/>
                <a:gd name="T44" fmla="*/ 232 w 883"/>
                <a:gd name="T45" fmla="*/ 563 h 700"/>
                <a:gd name="T46" fmla="*/ 192 w 883"/>
                <a:gd name="T47" fmla="*/ 586 h 700"/>
                <a:gd name="T48" fmla="*/ 161 w 883"/>
                <a:gd name="T49" fmla="*/ 604 h 700"/>
                <a:gd name="T50" fmla="*/ 178 w 883"/>
                <a:gd name="T51" fmla="*/ 625 h 700"/>
                <a:gd name="T52" fmla="*/ 171 w 883"/>
                <a:gd name="T53" fmla="*/ 667 h 700"/>
                <a:gd name="T54" fmla="*/ 144 w 883"/>
                <a:gd name="T55" fmla="*/ 694 h 700"/>
                <a:gd name="T56" fmla="*/ 92 w 883"/>
                <a:gd name="T57" fmla="*/ 673 h 700"/>
                <a:gd name="T58" fmla="*/ 67 w 883"/>
                <a:gd name="T59" fmla="*/ 617 h 700"/>
                <a:gd name="T60" fmla="*/ 65 w 883"/>
                <a:gd name="T61" fmla="*/ 588 h 700"/>
                <a:gd name="T62" fmla="*/ 58 w 883"/>
                <a:gd name="T63" fmla="*/ 561 h 700"/>
                <a:gd name="T64" fmla="*/ 54 w 883"/>
                <a:gd name="T65" fmla="*/ 523 h 700"/>
                <a:gd name="T66" fmla="*/ 44 w 883"/>
                <a:gd name="T67" fmla="*/ 467 h 700"/>
                <a:gd name="T68" fmla="*/ 25 w 883"/>
                <a:gd name="T69" fmla="*/ 408 h 700"/>
                <a:gd name="T70" fmla="*/ 23 w 883"/>
                <a:gd name="T71" fmla="*/ 385 h 700"/>
                <a:gd name="T72" fmla="*/ 31 w 883"/>
                <a:gd name="T73" fmla="*/ 352 h 700"/>
                <a:gd name="T74" fmla="*/ 34 w 883"/>
                <a:gd name="T75" fmla="*/ 321 h 700"/>
                <a:gd name="T76" fmla="*/ 15 w 883"/>
                <a:gd name="T77" fmla="*/ 325 h 700"/>
                <a:gd name="T78" fmla="*/ 19 w 883"/>
                <a:gd name="T79" fmla="*/ 275 h 700"/>
                <a:gd name="T80" fmla="*/ 10 w 883"/>
                <a:gd name="T81" fmla="*/ 227 h 700"/>
                <a:gd name="T82" fmla="*/ 34 w 883"/>
                <a:gd name="T83" fmla="*/ 206 h 700"/>
                <a:gd name="T84" fmla="*/ 67 w 883"/>
                <a:gd name="T85" fmla="*/ 206 h 700"/>
                <a:gd name="T86" fmla="*/ 90 w 883"/>
                <a:gd name="T87" fmla="*/ 164 h 700"/>
                <a:gd name="T88" fmla="*/ 123 w 883"/>
                <a:gd name="T89" fmla="*/ 156 h 700"/>
                <a:gd name="T90" fmla="*/ 127 w 883"/>
                <a:gd name="T91" fmla="*/ 110 h 700"/>
                <a:gd name="T92" fmla="*/ 121 w 883"/>
                <a:gd name="T93" fmla="*/ 95 h 700"/>
                <a:gd name="T94" fmla="*/ 175 w 883"/>
                <a:gd name="T95" fmla="*/ 64 h 700"/>
                <a:gd name="T96" fmla="*/ 140 w 883"/>
                <a:gd name="T97" fmla="*/ 56 h 700"/>
                <a:gd name="T98" fmla="*/ 161 w 883"/>
                <a:gd name="T99" fmla="*/ 12 h 700"/>
                <a:gd name="T100" fmla="*/ 213 w 883"/>
                <a:gd name="T101" fmla="*/ 39 h 700"/>
                <a:gd name="T102" fmla="*/ 290 w 883"/>
                <a:gd name="T103" fmla="*/ 72 h 700"/>
                <a:gd name="T104" fmla="*/ 382 w 883"/>
                <a:gd name="T105" fmla="*/ 89 h 700"/>
                <a:gd name="T106" fmla="*/ 416 w 883"/>
                <a:gd name="T107" fmla="*/ 93 h 700"/>
                <a:gd name="T108" fmla="*/ 457 w 883"/>
                <a:gd name="T109" fmla="*/ 47 h 700"/>
                <a:gd name="T110" fmla="*/ 516 w 883"/>
                <a:gd name="T111" fmla="*/ 31 h 700"/>
                <a:gd name="T112" fmla="*/ 533 w 883"/>
                <a:gd name="T113" fmla="*/ 73 h 700"/>
                <a:gd name="T114" fmla="*/ 597 w 883"/>
                <a:gd name="T115" fmla="*/ 60 h 700"/>
                <a:gd name="T116" fmla="*/ 656 w 883"/>
                <a:gd name="T117" fmla="*/ 62 h 700"/>
                <a:gd name="T118" fmla="*/ 700 w 883"/>
                <a:gd name="T119" fmla="*/ 45 h 700"/>
                <a:gd name="T120" fmla="*/ 764 w 883"/>
                <a:gd name="T121" fmla="*/ 49 h 700"/>
                <a:gd name="T122" fmla="*/ 829 w 883"/>
                <a:gd name="T123" fmla="*/ 50 h 700"/>
                <a:gd name="T124" fmla="*/ 159 w 883"/>
                <a:gd name="T125" fmla="*/ 675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3" h="700">
                  <a:moveTo>
                    <a:pt x="21" y="294"/>
                  </a:moveTo>
                  <a:lnTo>
                    <a:pt x="17" y="294"/>
                  </a:lnTo>
                  <a:lnTo>
                    <a:pt x="21" y="294"/>
                  </a:lnTo>
                  <a:close/>
                  <a:moveTo>
                    <a:pt x="864" y="77"/>
                  </a:moveTo>
                  <a:lnTo>
                    <a:pt x="866" y="81"/>
                  </a:lnTo>
                  <a:lnTo>
                    <a:pt x="860" y="87"/>
                  </a:lnTo>
                  <a:lnTo>
                    <a:pt x="852" y="91"/>
                  </a:lnTo>
                  <a:lnTo>
                    <a:pt x="848" y="91"/>
                  </a:lnTo>
                  <a:lnTo>
                    <a:pt x="846" y="93"/>
                  </a:lnTo>
                  <a:lnTo>
                    <a:pt x="841" y="95"/>
                  </a:lnTo>
                  <a:lnTo>
                    <a:pt x="839" y="100"/>
                  </a:lnTo>
                  <a:lnTo>
                    <a:pt x="841" y="100"/>
                  </a:lnTo>
                  <a:lnTo>
                    <a:pt x="839" y="102"/>
                  </a:lnTo>
                  <a:lnTo>
                    <a:pt x="841" y="110"/>
                  </a:lnTo>
                  <a:lnTo>
                    <a:pt x="837" y="112"/>
                  </a:lnTo>
                  <a:lnTo>
                    <a:pt x="841" y="121"/>
                  </a:lnTo>
                  <a:lnTo>
                    <a:pt x="848" y="121"/>
                  </a:lnTo>
                  <a:lnTo>
                    <a:pt x="850" y="125"/>
                  </a:lnTo>
                  <a:lnTo>
                    <a:pt x="850" y="133"/>
                  </a:lnTo>
                  <a:lnTo>
                    <a:pt x="850" y="139"/>
                  </a:lnTo>
                  <a:lnTo>
                    <a:pt x="850" y="145"/>
                  </a:lnTo>
                  <a:lnTo>
                    <a:pt x="852" y="146"/>
                  </a:lnTo>
                  <a:lnTo>
                    <a:pt x="846" y="150"/>
                  </a:lnTo>
                  <a:lnTo>
                    <a:pt x="843" y="154"/>
                  </a:lnTo>
                  <a:lnTo>
                    <a:pt x="844" y="158"/>
                  </a:lnTo>
                  <a:lnTo>
                    <a:pt x="852" y="156"/>
                  </a:lnTo>
                  <a:lnTo>
                    <a:pt x="858" y="156"/>
                  </a:lnTo>
                  <a:lnTo>
                    <a:pt x="856" y="158"/>
                  </a:lnTo>
                  <a:lnTo>
                    <a:pt x="856" y="160"/>
                  </a:lnTo>
                  <a:lnTo>
                    <a:pt x="856" y="162"/>
                  </a:lnTo>
                  <a:lnTo>
                    <a:pt x="856" y="168"/>
                  </a:lnTo>
                  <a:lnTo>
                    <a:pt x="854" y="173"/>
                  </a:lnTo>
                  <a:lnTo>
                    <a:pt x="856" y="175"/>
                  </a:lnTo>
                  <a:lnTo>
                    <a:pt x="852" y="179"/>
                  </a:lnTo>
                  <a:lnTo>
                    <a:pt x="856" y="185"/>
                  </a:lnTo>
                  <a:lnTo>
                    <a:pt x="856" y="187"/>
                  </a:lnTo>
                  <a:lnTo>
                    <a:pt x="848" y="189"/>
                  </a:lnTo>
                  <a:lnTo>
                    <a:pt x="844" y="193"/>
                  </a:lnTo>
                  <a:lnTo>
                    <a:pt x="841" y="193"/>
                  </a:lnTo>
                  <a:lnTo>
                    <a:pt x="837" y="194"/>
                  </a:lnTo>
                  <a:lnTo>
                    <a:pt x="831" y="196"/>
                  </a:lnTo>
                  <a:lnTo>
                    <a:pt x="835" y="200"/>
                  </a:lnTo>
                  <a:lnTo>
                    <a:pt x="831" y="204"/>
                  </a:lnTo>
                  <a:lnTo>
                    <a:pt x="831" y="206"/>
                  </a:lnTo>
                  <a:lnTo>
                    <a:pt x="835" y="208"/>
                  </a:lnTo>
                  <a:lnTo>
                    <a:pt x="839" y="206"/>
                  </a:lnTo>
                  <a:lnTo>
                    <a:pt x="846" y="208"/>
                  </a:lnTo>
                  <a:lnTo>
                    <a:pt x="848" y="210"/>
                  </a:lnTo>
                  <a:lnTo>
                    <a:pt x="846" y="212"/>
                  </a:lnTo>
                  <a:lnTo>
                    <a:pt x="848" y="214"/>
                  </a:lnTo>
                  <a:lnTo>
                    <a:pt x="846" y="223"/>
                  </a:lnTo>
                  <a:lnTo>
                    <a:pt x="844" y="229"/>
                  </a:lnTo>
                  <a:lnTo>
                    <a:pt x="841" y="229"/>
                  </a:lnTo>
                  <a:lnTo>
                    <a:pt x="837" y="227"/>
                  </a:lnTo>
                  <a:lnTo>
                    <a:pt x="833" y="229"/>
                  </a:lnTo>
                  <a:lnTo>
                    <a:pt x="833" y="233"/>
                  </a:lnTo>
                  <a:lnTo>
                    <a:pt x="841" y="233"/>
                  </a:lnTo>
                  <a:lnTo>
                    <a:pt x="843" y="237"/>
                  </a:lnTo>
                  <a:lnTo>
                    <a:pt x="835" y="243"/>
                  </a:lnTo>
                  <a:lnTo>
                    <a:pt x="831" y="243"/>
                  </a:lnTo>
                  <a:lnTo>
                    <a:pt x="831" y="244"/>
                  </a:lnTo>
                  <a:lnTo>
                    <a:pt x="837" y="244"/>
                  </a:lnTo>
                  <a:lnTo>
                    <a:pt x="841" y="246"/>
                  </a:lnTo>
                  <a:lnTo>
                    <a:pt x="839" y="241"/>
                  </a:lnTo>
                  <a:lnTo>
                    <a:pt x="846" y="241"/>
                  </a:lnTo>
                  <a:lnTo>
                    <a:pt x="846" y="248"/>
                  </a:lnTo>
                  <a:lnTo>
                    <a:pt x="850" y="250"/>
                  </a:lnTo>
                  <a:lnTo>
                    <a:pt x="856" y="252"/>
                  </a:lnTo>
                  <a:lnTo>
                    <a:pt x="860" y="254"/>
                  </a:lnTo>
                  <a:lnTo>
                    <a:pt x="858" y="264"/>
                  </a:lnTo>
                  <a:lnTo>
                    <a:pt x="864" y="264"/>
                  </a:lnTo>
                  <a:lnTo>
                    <a:pt x="869" y="267"/>
                  </a:lnTo>
                  <a:lnTo>
                    <a:pt x="869" y="269"/>
                  </a:lnTo>
                  <a:lnTo>
                    <a:pt x="877" y="269"/>
                  </a:lnTo>
                  <a:lnTo>
                    <a:pt x="879" y="273"/>
                  </a:lnTo>
                  <a:lnTo>
                    <a:pt x="883" y="273"/>
                  </a:lnTo>
                  <a:lnTo>
                    <a:pt x="883" y="279"/>
                  </a:lnTo>
                  <a:lnTo>
                    <a:pt x="881" y="283"/>
                  </a:lnTo>
                  <a:lnTo>
                    <a:pt x="873" y="283"/>
                  </a:lnTo>
                  <a:lnTo>
                    <a:pt x="875" y="289"/>
                  </a:lnTo>
                  <a:lnTo>
                    <a:pt x="877" y="291"/>
                  </a:lnTo>
                  <a:lnTo>
                    <a:pt x="873" y="294"/>
                  </a:lnTo>
                  <a:lnTo>
                    <a:pt x="869" y="296"/>
                  </a:lnTo>
                  <a:lnTo>
                    <a:pt x="867" y="298"/>
                  </a:lnTo>
                  <a:lnTo>
                    <a:pt x="860" y="300"/>
                  </a:lnTo>
                  <a:lnTo>
                    <a:pt x="860" y="296"/>
                  </a:lnTo>
                  <a:lnTo>
                    <a:pt x="860" y="294"/>
                  </a:lnTo>
                  <a:lnTo>
                    <a:pt x="852" y="296"/>
                  </a:lnTo>
                  <a:lnTo>
                    <a:pt x="848" y="292"/>
                  </a:lnTo>
                  <a:lnTo>
                    <a:pt x="850" y="289"/>
                  </a:lnTo>
                  <a:lnTo>
                    <a:pt x="848" y="287"/>
                  </a:lnTo>
                  <a:lnTo>
                    <a:pt x="843" y="294"/>
                  </a:lnTo>
                  <a:lnTo>
                    <a:pt x="839" y="294"/>
                  </a:lnTo>
                  <a:lnTo>
                    <a:pt x="833" y="302"/>
                  </a:lnTo>
                  <a:lnTo>
                    <a:pt x="827" y="304"/>
                  </a:lnTo>
                  <a:lnTo>
                    <a:pt x="827" y="310"/>
                  </a:lnTo>
                  <a:lnTo>
                    <a:pt x="821" y="315"/>
                  </a:lnTo>
                  <a:lnTo>
                    <a:pt x="821" y="323"/>
                  </a:lnTo>
                  <a:lnTo>
                    <a:pt x="818" y="325"/>
                  </a:lnTo>
                  <a:lnTo>
                    <a:pt x="818" y="327"/>
                  </a:lnTo>
                  <a:lnTo>
                    <a:pt x="814" y="331"/>
                  </a:lnTo>
                  <a:lnTo>
                    <a:pt x="814" y="337"/>
                  </a:lnTo>
                  <a:lnTo>
                    <a:pt x="821" y="344"/>
                  </a:lnTo>
                  <a:lnTo>
                    <a:pt x="823" y="350"/>
                  </a:lnTo>
                  <a:lnTo>
                    <a:pt x="818" y="354"/>
                  </a:lnTo>
                  <a:lnTo>
                    <a:pt x="816" y="356"/>
                  </a:lnTo>
                  <a:lnTo>
                    <a:pt x="812" y="356"/>
                  </a:lnTo>
                  <a:lnTo>
                    <a:pt x="814" y="360"/>
                  </a:lnTo>
                  <a:lnTo>
                    <a:pt x="808" y="364"/>
                  </a:lnTo>
                  <a:lnTo>
                    <a:pt x="806" y="364"/>
                  </a:lnTo>
                  <a:lnTo>
                    <a:pt x="804" y="362"/>
                  </a:lnTo>
                  <a:lnTo>
                    <a:pt x="800" y="364"/>
                  </a:lnTo>
                  <a:lnTo>
                    <a:pt x="796" y="364"/>
                  </a:lnTo>
                  <a:lnTo>
                    <a:pt x="791" y="362"/>
                  </a:lnTo>
                  <a:lnTo>
                    <a:pt x="787" y="356"/>
                  </a:lnTo>
                  <a:lnTo>
                    <a:pt x="779" y="354"/>
                  </a:lnTo>
                  <a:lnTo>
                    <a:pt x="775" y="350"/>
                  </a:lnTo>
                  <a:lnTo>
                    <a:pt x="775" y="348"/>
                  </a:lnTo>
                  <a:lnTo>
                    <a:pt x="781" y="344"/>
                  </a:lnTo>
                  <a:lnTo>
                    <a:pt x="781" y="342"/>
                  </a:lnTo>
                  <a:lnTo>
                    <a:pt x="781" y="335"/>
                  </a:lnTo>
                  <a:lnTo>
                    <a:pt x="779" y="331"/>
                  </a:lnTo>
                  <a:lnTo>
                    <a:pt x="779" y="327"/>
                  </a:lnTo>
                  <a:lnTo>
                    <a:pt x="777" y="325"/>
                  </a:lnTo>
                  <a:lnTo>
                    <a:pt x="771" y="327"/>
                  </a:lnTo>
                  <a:lnTo>
                    <a:pt x="770" y="319"/>
                  </a:lnTo>
                  <a:lnTo>
                    <a:pt x="771" y="317"/>
                  </a:lnTo>
                  <a:lnTo>
                    <a:pt x="779" y="312"/>
                  </a:lnTo>
                  <a:lnTo>
                    <a:pt x="777" y="306"/>
                  </a:lnTo>
                  <a:lnTo>
                    <a:pt x="781" y="298"/>
                  </a:lnTo>
                  <a:lnTo>
                    <a:pt x="783" y="298"/>
                  </a:lnTo>
                  <a:lnTo>
                    <a:pt x="781" y="294"/>
                  </a:lnTo>
                  <a:lnTo>
                    <a:pt x="783" y="287"/>
                  </a:lnTo>
                  <a:lnTo>
                    <a:pt x="781" y="279"/>
                  </a:lnTo>
                  <a:lnTo>
                    <a:pt x="773" y="275"/>
                  </a:lnTo>
                  <a:lnTo>
                    <a:pt x="768" y="267"/>
                  </a:lnTo>
                  <a:lnTo>
                    <a:pt x="764" y="266"/>
                  </a:lnTo>
                  <a:lnTo>
                    <a:pt x="760" y="264"/>
                  </a:lnTo>
                  <a:lnTo>
                    <a:pt x="756" y="267"/>
                  </a:lnTo>
                  <a:lnTo>
                    <a:pt x="747" y="267"/>
                  </a:lnTo>
                  <a:lnTo>
                    <a:pt x="743" y="275"/>
                  </a:lnTo>
                  <a:lnTo>
                    <a:pt x="739" y="273"/>
                  </a:lnTo>
                  <a:lnTo>
                    <a:pt x="737" y="269"/>
                  </a:lnTo>
                  <a:lnTo>
                    <a:pt x="735" y="271"/>
                  </a:lnTo>
                  <a:lnTo>
                    <a:pt x="735" y="273"/>
                  </a:lnTo>
                  <a:lnTo>
                    <a:pt x="729" y="275"/>
                  </a:lnTo>
                  <a:lnTo>
                    <a:pt x="727" y="271"/>
                  </a:lnTo>
                  <a:lnTo>
                    <a:pt x="724" y="271"/>
                  </a:lnTo>
                  <a:lnTo>
                    <a:pt x="720" y="267"/>
                  </a:lnTo>
                  <a:lnTo>
                    <a:pt x="714" y="269"/>
                  </a:lnTo>
                  <a:lnTo>
                    <a:pt x="712" y="266"/>
                  </a:lnTo>
                  <a:lnTo>
                    <a:pt x="706" y="264"/>
                  </a:lnTo>
                  <a:lnTo>
                    <a:pt x="706" y="267"/>
                  </a:lnTo>
                  <a:lnTo>
                    <a:pt x="704" y="273"/>
                  </a:lnTo>
                  <a:lnTo>
                    <a:pt x="700" y="277"/>
                  </a:lnTo>
                  <a:lnTo>
                    <a:pt x="702" y="279"/>
                  </a:lnTo>
                  <a:lnTo>
                    <a:pt x="700" y="281"/>
                  </a:lnTo>
                  <a:lnTo>
                    <a:pt x="697" y="277"/>
                  </a:lnTo>
                  <a:lnTo>
                    <a:pt x="691" y="273"/>
                  </a:lnTo>
                  <a:lnTo>
                    <a:pt x="685" y="271"/>
                  </a:lnTo>
                  <a:lnTo>
                    <a:pt x="677" y="271"/>
                  </a:lnTo>
                  <a:lnTo>
                    <a:pt x="679" y="269"/>
                  </a:lnTo>
                  <a:lnTo>
                    <a:pt x="677" y="269"/>
                  </a:lnTo>
                  <a:lnTo>
                    <a:pt x="677" y="267"/>
                  </a:lnTo>
                  <a:lnTo>
                    <a:pt x="676" y="266"/>
                  </a:lnTo>
                  <a:lnTo>
                    <a:pt x="676" y="260"/>
                  </a:lnTo>
                  <a:lnTo>
                    <a:pt x="672" y="258"/>
                  </a:lnTo>
                  <a:lnTo>
                    <a:pt x="664" y="258"/>
                  </a:lnTo>
                  <a:lnTo>
                    <a:pt x="664" y="252"/>
                  </a:lnTo>
                  <a:lnTo>
                    <a:pt x="662" y="248"/>
                  </a:lnTo>
                  <a:lnTo>
                    <a:pt x="658" y="248"/>
                  </a:lnTo>
                  <a:lnTo>
                    <a:pt x="656" y="246"/>
                  </a:lnTo>
                  <a:lnTo>
                    <a:pt x="652" y="246"/>
                  </a:lnTo>
                  <a:lnTo>
                    <a:pt x="651" y="246"/>
                  </a:lnTo>
                  <a:lnTo>
                    <a:pt x="647" y="244"/>
                  </a:lnTo>
                  <a:lnTo>
                    <a:pt x="639" y="243"/>
                  </a:lnTo>
                  <a:lnTo>
                    <a:pt x="631" y="241"/>
                  </a:lnTo>
                  <a:lnTo>
                    <a:pt x="628" y="243"/>
                  </a:lnTo>
                  <a:lnTo>
                    <a:pt x="626" y="244"/>
                  </a:lnTo>
                  <a:lnTo>
                    <a:pt x="624" y="243"/>
                  </a:lnTo>
                  <a:lnTo>
                    <a:pt x="620" y="243"/>
                  </a:lnTo>
                  <a:lnTo>
                    <a:pt x="618" y="241"/>
                  </a:lnTo>
                  <a:lnTo>
                    <a:pt x="614" y="239"/>
                  </a:lnTo>
                  <a:lnTo>
                    <a:pt x="614" y="235"/>
                  </a:lnTo>
                  <a:lnTo>
                    <a:pt x="608" y="235"/>
                  </a:lnTo>
                  <a:lnTo>
                    <a:pt x="608" y="231"/>
                  </a:lnTo>
                  <a:lnTo>
                    <a:pt x="605" y="237"/>
                  </a:lnTo>
                  <a:lnTo>
                    <a:pt x="610" y="239"/>
                  </a:lnTo>
                  <a:lnTo>
                    <a:pt x="612" y="246"/>
                  </a:lnTo>
                  <a:lnTo>
                    <a:pt x="610" y="252"/>
                  </a:lnTo>
                  <a:lnTo>
                    <a:pt x="606" y="256"/>
                  </a:lnTo>
                  <a:lnTo>
                    <a:pt x="603" y="256"/>
                  </a:lnTo>
                  <a:lnTo>
                    <a:pt x="603" y="258"/>
                  </a:lnTo>
                  <a:lnTo>
                    <a:pt x="606" y="264"/>
                  </a:lnTo>
                  <a:lnTo>
                    <a:pt x="606" y="267"/>
                  </a:lnTo>
                  <a:lnTo>
                    <a:pt x="603" y="269"/>
                  </a:lnTo>
                  <a:lnTo>
                    <a:pt x="605" y="271"/>
                  </a:lnTo>
                  <a:lnTo>
                    <a:pt x="605" y="279"/>
                  </a:lnTo>
                  <a:lnTo>
                    <a:pt x="599" y="283"/>
                  </a:lnTo>
                  <a:lnTo>
                    <a:pt x="595" y="285"/>
                  </a:lnTo>
                  <a:lnTo>
                    <a:pt x="593" y="287"/>
                  </a:lnTo>
                  <a:lnTo>
                    <a:pt x="591" y="292"/>
                  </a:lnTo>
                  <a:lnTo>
                    <a:pt x="593" y="294"/>
                  </a:lnTo>
                  <a:lnTo>
                    <a:pt x="591" y="304"/>
                  </a:lnTo>
                  <a:lnTo>
                    <a:pt x="589" y="304"/>
                  </a:lnTo>
                  <a:lnTo>
                    <a:pt x="587" y="306"/>
                  </a:lnTo>
                  <a:lnTo>
                    <a:pt x="583" y="304"/>
                  </a:lnTo>
                  <a:lnTo>
                    <a:pt x="578" y="304"/>
                  </a:lnTo>
                  <a:lnTo>
                    <a:pt x="572" y="298"/>
                  </a:lnTo>
                  <a:lnTo>
                    <a:pt x="566" y="294"/>
                  </a:lnTo>
                  <a:lnTo>
                    <a:pt x="558" y="298"/>
                  </a:lnTo>
                  <a:lnTo>
                    <a:pt x="558" y="300"/>
                  </a:lnTo>
                  <a:lnTo>
                    <a:pt x="562" y="302"/>
                  </a:lnTo>
                  <a:lnTo>
                    <a:pt x="557" y="306"/>
                  </a:lnTo>
                  <a:lnTo>
                    <a:pt x="557" y="314"/>
                  </a:lnTo>
                  <a:lnTo>
                    <a:pt x="555" y="315"/>
                  </a:lnTo>
                  <a:lnTo>
                    <a:pt x="557" y="319"/>
                  </a:lnTo>
                  <a:lnTo>
                    <a:pt x="555" y="319"/>
                  </a:lnTo>
                  <a:lnTo>
                    <a:pt x="551" y="319"/>
                  </a:lnTo>
                  <a:lnTo>
                    <a:pt x="549" y="325"/>
                  </a:lnTo>
                  <a:lnTo>
                    <a:pt x="545" y="323"/>
                  </a:lnTo>
                  <a:lnTo>
                    <a:pt x="547" y="331"/>
                  </a:lnTo>
                  <a:lnTo>
                    <a:pt x="547" y="333"/>
                  </a:lnTo>
                  <a:lnTo>
                    <a:pt x="551" y="333"/>
                  </a:lnTo>
                  <a:lnTo>
                    <a:pt x="551" y="337"/>
                  </a:lnTo>
                  <a:lnTo>
                    <a:pt x="555" y="337"/>
                  </a:lnTo>
                  <a:lnTo>
                    <a:pt x="553" y="340"/>
                  </a:lnTo>
                  <a:lnTo>
                    <a:pt x="558" y="340"/>
                  </a:lnTo>
                  <a:lnTo>
                    <a:pt x="560" y="344"/>
                  </a:lnTo>
                  <a:lnTo>
                    <a:pt x="564" y="348"/>
                  </a:lnTo>
                  <a:lnTo>
                    <a:pt x="558" y="350"/>
                  </a:lnTo>
                  <a:lnTo>
                    <a:pt x="553" y="352"/>
                  </a:lnTo>
                  <a:lnTo>
                    <a:pt x="551" y="358"/>
                  </a:lnTo>
                  <a:lnTo>
                    <a:pt x="549" y="364"/>
                  </a:lnTo>
                  <a:lnTo>
                    <a:pt x="543" y="364"/>
                  </a:lnTo>
                  <a:lnTo>
                    <a:pt x="541" y="367"/>
                  </a:lnTo>
                  <a:lnTo>
                    <a:pt x="543" y="373"/>
                  </a:lnTo>
                  <a:lnTo>
                    <a:pt x="541" y="379"/>
                  </a:lnTo>
                  <a:lnTo>
                    <a:pt x="532" y="381"/>
                  </a:lnTo>
                  <a:lnTo>
                    <a:pt x="532" y="379"/>
                  </a:lnTo>
                  <a:lnTo>
                    <a:pt x="526" y="379"/>
                  </a:lnTo>
                  <a:lnTo>
                    <a:pt x="528" y="383"/>
                  </a:lnTo>
                  <a:lnTo>
                    <a:pt x="526" y="385"/>
                  </a:lnTo>
                  <a:lnTo>
                    <a:pt x="526" y="387"/>
                  </a:lnTo>
                  <a:lnTo>
                    <a:pt x="524" y="387"/>
                  </a:lnTo>
                  <a:lnTo>
                    <a:pt x="524" y="388"/>
                  </a:lnTo>
                  <a:lnTo>
                    <a:pt x="520" y="388"/>
                  </a:lnTo>
                  <a:lnTo>
                    <a:pt x="526" y="390"/>
                  </a:lnTo>
                  <a:lnTo>
                    <a:pt x="522" y="392"/>
                  </a:lnTo>
                  <a:lnTo>
                    <a:pt x="518" y="390"/>
                  </a:lnTo>
                  <a:lnTo>
                    <a:pt x="518" y="392"/>
                  </a:lnTo>
                  <a:lnTo>
                    <a:pt x="522" y="394"/>
                  </a:lnTo>
                  <a:lnTo>
                    <a:pt x="518" y="400"/>
                  </a:lnTo>
                  <a:lnTo>
                    <a:pt x="522" y="404"/>
                  </a:lnTo>
                  <a:lnTo>
                    <a:pt x="520" y="408"/>
                  </a:lnTo>
                  <a:lnTo>
                    <a:pt x="516" y="406"/>
                  </a:lnTo>
                  <a:lnTo>
                    <a:pt x="516" y="410"/>
                  </a:lnTo>
                  <a:lnTo>
                    <a:pt x="510" y="410"/>
                  </a:lnTo>
                  <a:lnTo>
                    <a:pt x="509" y="406"/>
                  </a:lnTo>
                  <a:lnTo>
                    <a:pt x="505" y="406"/>
                  </a:lnTo>
                  <a:lnTo>
                    <a:pt x="501" y="406"/>
                  </a:lnTo>
                  <a:lnTo>
                    <a:pt x="499" y="404"/>
                  </a:lnTo>
                  <a:lnTo>
                    <a:pt x="505" y="402"/>
                  </a:lnTo>
                  <a:lnTo>
                    <a:pt x="507" y="396"/>
                  </a:lnTo>
                  <a:lnTo>
                    <a:pt x="503" y="396"/>
                  </a:lnTo>
                  <a:lnTo>
                    <a:pt x="501" y="390"/>
                  </a:lnTo>
                  <a:lnTo>
                    <a:pt x="499" y="392"/>
                  </a:lnTo>
                  <a:lnTo>
                    <a:pt x="497" y="388"/>
                  </a:lnTo>
                  <a:lnTo>
                    <a:pt x="489" y="394"/>
                  </a:lnTo>
                  <a:lnTo>
                    <a:pt x="487" y="394"/>
                  </a:lnTo>
                  <a:lnTo>
                    <a:pt x="487" y="396"/>
                  </a:lnTo>
                  <a:lnTo>
                    <a:pt x="487" y="398"/>
                  </a:lnTo>
                  <a:lnTo>
                    <a:pt x="486" y="400"/>
                  </a:lnTo>
                  <a:lnTo>
                    <a:pt x="486" y="402"/>
                  </a:lnTo>
                  <a:lnTo>
                    <a:pt x="484" y="404"/>
                  </a:lnTo>
                  <a:lnTo>
                    <a:pt x="484" y="408"/>
                  </a:lnTo>
                  <a:lnTo>
                    <a:pt x="480" y="408"/>
                  </a:lnTo>
                  <a:lnTo>
                    <a:pt x="478" y="415"/>
                  </a:lnTo>
                  <a:lnTo>
                    <a:pt x="472" y="417"/>
                  </a:lnTo>
                  <a:lnTo>
                    <a:pt x="474" y="421"/>
                  </a:lnTo>
                  <a:lnTo>
                    <a:pt x="468" y="423"/>
                  </a:lnTo>
                  <a:lnTo>
                    <a:pt x="464" y="419"/>
                  </a:lnTo>
                  <a:lnTo>
                    <a:pt x="464" y="421"/>
                  </a:lnTo>
                  <a:lnTo>
                    <a:pt x="461" y="421"/>
                  </a:lnTo>
                  <a:lnTo>
                    <a:pt x="461" y="419"/>
                  </a:lnTo>
                  <a:lnTo>
                    <a:pt x="457" y="419"/>
                  </a:lnTo>
                  <a:lnTo>
                    <a:pt x="453" y="425"/>
                  </a:lnTo>
                  <a:lnTo>
                    <a:pt x="457" y="429"/>
                  </a:lnTo>
                  <a:lnTo>
                    <a:pt x="455" y="431"/>
                  </a:lnTo>
                  <a:lnTo>
                    <a:pt x="455" y="435"/>
                  </a:lnTo>
                  <a:lnTo>
                    <a:pt x="453" y="435"/>
                  </a:lnTo>
                  <a:lnTo>
                    <a:pt x="453" y="440"/>
                  </a:lnTo>
                  <a:lnTo>
                    <a:pt x="451" y="446"/>
                  </a:lnTo>
                  <a:lnTo>
                    <a:pt x="453" y="446"/>
                  </a:lnTo>
                  <a:lnTo>
                    <a:pt x="451" y="448"/>
                  </a:lnTo>
                  <a:lnTo>
                    <a:pt x="449" y="448"/>
                  </a:lnTo>
                  <a:lnTo>
                    <a:pt x="447" y="450"/>
                  </a:lnTo>
                  <a:lnTo>
                    <a:pt x="445" y="450"/>
                  </a:lnTo>
                  <a:lnTo>
                    <a:pt x="443" y="452"/>
                  </a:lnTo>
                  <a:lnTo>
                    <a:pt x="439" y="452"/>
                  </a:lnTo>
                  <a:lnTo>
                    <a:pt x="439" y="454"/>
                  </a:lnTo>
                  <a:lnTo>
                    <a:pt x="436" y="452"/>
                  </a:lnTo>
                  <a:lnTo>
                    <a:pt x="436" y="450"/>
                  </a:lnTo>
                  <a:lnTo>
                    <a:pt x="432" y="450"/>
                  </a:lnTo>
                  <a:lnTo>
                    <a:pt x="432" y="454"/>
                  </a:lnTo>
                  <a:lnTo>
                    <a:pt x="436" y="456"/>
                  </a:lnTo>
                  <a:lnTo>
                    <a:pt x="438" y="458"/>
                  </a:lnTo>
                  <a:lnTo>
                    <a:pt x="434" y="461"/>
                  </a:lnTo>
                  <a:lnTo>
                    <a:pt x="430" y="463"/>
                  </a:lnTo>
                  <a:lnTo>
                    <a:pt x="430" y="467"/>
                  </a:lnTo>
                  <a:lnTo>
                    <a:pt x="428" y="469"/>
                  </a:lnTo>
                  <a:lnTo>
                    <a:pt x="426" y="473"/>
                  </a:lnTo>
                  <a:lnTo>
                    <a:pt x="424" y="473"/>
                  </a:lnTo>
                  <a:lnTo>
                    <a:pt x="422" y="469"/>
                  </a:lnTo>
                  <a:lnTo>
                    <a:pt x="420" y="469"/>
                  </a:lnTo>
                  <a:lnTo>
                    <a:pt x="418" y="463"/>
                  </a:lnTo>
                  <a:lnTo>
                    <a:pt x="414" y="471"/>
                  </a:lnTo>
                  <a:lnTo>
                    <a:pt x="414" y="465"/>
                  </a:lnTo>
                  <a:lnTo>
                    <a:pt x="409" y="465"/>
                  </a:lnTo>
                  <a:lnTo>
                    <a:pt x="409" y="469"/>
                  </a:lnTo>
                  <a:lnTo>
                    <a:pt x="405" y="469"/>
                  </a:lnTo>
                  <a:lnTo>
                    <a:pt x="405" y="475"/>
                  </a:lnTo>
                  <a:lnTo>
                    <a:pt x="397" y="477"/>
                  </a:lnTo>
                  <a:lnTo>
                    <a:pt x="397" y="483"/>
                  </a:lnTo>
                  <a:lnTo>
                    <a:pt x="388" y="483"/>
                  </a:lnTo>
                  <a:lnTo>
                    <a:pt x="388" y="488"/>
                  </a:lnTo>
                  <a:lnTo>
                    <a:pt x="391" y="488"/>
                  </a:lnTo>
                  <a:lnTo>
                    <a:pt x="390" y="494"/>
                  </a:lnTo>
                  <a:lnTo>
                    <a:pt x="391" y="494"/>
                  </a:lnTo>
                  <a:lnTo>
                    <a:pt x="388" y="496"/>
                  </a:lnTo>
                  <a:lnTo>
                    <a:pt x="388" y="500"/>
                  </a:lnTo>
                  <a:lnTo>
                    <a:pt x="391" y="500"/>
                  </a:lnTo>
                  <a:lnTo>
                    <a:pt x="390" y="506"/>
                  </a:lnTo>
                  <a:lnTo>
                    <a:pt x="395" y="508"/>
                  </a:lnTo>
                  <a:lnTo>
                    <a:pt x="395" y="510"/>
                  </a:lnTo>
                  <a:lnTo>
                    <a:pt x="391" y="513"/>
                  </a:lnTo>
                  <a:lnTo>
                    <a:pt x="390" y="513"/>
                  </a:lnTo>
                  <a:lnTo>
                    <a:pt x="388" y="510"/>
                  </a:lnTo>
                  <a:lnTo>
                    <a:pt x="386" y="510"/>
                  </a:lnTo>
                  <a:lnTo>
                    <a:pt x="386" y="511"/>
                  </a:lnTo>
                  <a:lnTo>
                    <a:pt x="380" y="511"/>
                  </a:lnTo>
                  <a:lnTo>
                    <a:pt x="380" y="510"/>
                  </a:lnTo>
                  <a:lnTo>
                    <a:pt x="378" y="508"/>
                  </a:lnTo>
                  <a:lnTo>
                    <a:pt x="370" y="510"/>
                  </a:lnTo>
                  <a:lnTo>
                    <a:pt x="370" y="515"/>
                  </a:lnTo>
                  <a:lnTo>
                    <a:pt x="368" y="515"/>
                  </a:lnTo>
                  <a:lnTo>
                    <a:pt x="368" y="511"/>
                  </a:lnTo>
                  <a:lnTo>
                    <a:pt x="365" y="508"/>
                  </a:lnTo>
                  <a:lnTo>
                    <a:pt x="363" y="508"/>
                  </a:lnTo>
                  <a:lnTo>
                    <a:pt x="361" y="511"/>
                  </a:lnTo>
                  <a:lnTo>
                    <a:pt x="357" y="510"/>
                  </a:lnTo>
                  <a:lnTo>
                    <a:pt x="353" y="510"/>
                  </a:lnTo>
                  <a:lnTo>
                    <a:pt x="343" y="513"/>
                  </a:lnTo>
                  <a:lnTo>
                    <a:pt x="340" y="510"/>
                  </a:lnTo>
                  <a:lnTo>
                    <a:pt x="340" y="502"/>
                  </a:lnTo>
                  <a:lnTo>
                    <a:pt x="336" y="506"/>
                  </a:lnTo>
                  <a:lnTo>
                    <a:pt x="336" y="504"/>
                  </a:lnTo>
                  <a:lnTo>
                    <a:pt x="332" y="502"/>
                  </a:lnTo>
                  <a:lnTo>
                    <a:pt x="332" y="508"/>
                  </a:lnTo>
                  <a:lnTo>
                    <a:pt x="328" y="508"/>
                  </a:lnTo>
                  <a:lnTo>
                    <a:pt x="326" y="504"/>
                  </a:lnTo>
                  <a:lnTo>
                    <a:pt x="322" y="502"/>
                  </a:lnTo>
                  <a:lnTo>
                    <a:pt x="319" y="504"/>
                  </a:lnTo>
                  <a:lnTo>
                    <a:pt x="317" y="498"/>
                  </a:lnTo>
                  <a:lnTo>
                    <a:pt x="313" y="496"/>
                  </a:lnTo>
                  <a:lnTo>
                    <a:pt x="309" y="502"/>
                  </a:lnTo>
                  <a:lnTo>
                    <a:pt x="309" y="506"/>
                  </a:lnTo>
                  <a:lnTo>
                    <a:pt x="305" y="506"/>
                  </a:lnTo>
                  <a:lnTo>
                    <a:pt x="307" y="510"/>
                  </a:lnTo>
                  <a:lnTo>
                    <a:pt x="309" y="510"/>
                  </a:lnTo>
                  <a:lnTo>
                    <a:pt x="309" y="513"/>
                  </a:lnTo>
                  <a:lnTo>
                    <a:pt x="315" y="519"/>
                  </a:lnTo>
                  <a:lnTo>
                    <a:pt x="315" y="525"/>
                  </a:lnTo>
                  <a:lnTo>
                    <a:pt x="311" y="529"/>
                  </a:lnTo>
                  <a:lnTo>
                    <a:pt x="313" y="534"/>
                  </a:lnTo>
                  <a:lnTo>
                    <a:pt x="315" y="534"/>
                  </a:lnTo>
                  <a:lnTo>
                    <a:pt x="317" y="536"/>
                  </a:lnTo>
                  <a:lnTo>
                    <a:pt x="315" y="540"/>
                  </a:lnTo>
                  <a:lnTo>
                    <a:pt x="313" y="544"/>
                  </a:lnTo>
                  <a:lnTo>
                    <a:pt x="315" y="544"/>
                  </a:lnTo>
                  <a:lnTo>
                    <a:pt x="315" y="552"/>
                  </a:lnTo>
                  <a:lnTo>
                    <a:pt x="311" y="554"/>
                  </a:lnTo>
                  <a:lnTo>
                    <a:pt x="311" y="552"/>
                  </a:lnTo>
                  <a:lnTo>
                    <a:pt x="307" y="550"/>
                  </a:lnTo>
                  <a:lnTo>
                    <a:pt x="309" y="548"/>
                  </a:lnTo>
                  <a:lnTo>
                    <a:pt x="305" y="546"/>
                  </a:lnTo>
                  <a:lnTo>
                    <a:pt x="303" y="552"/>
                  </a:lnTo>
                  <a:lnTo>
                    <a:pt x="299" y="552"/>
                  </a:lnTo>
                  <a:lnTo>
                    <a:pt x="296" y="554"/>
                  </a:lnTo>
                  <a:lnTo>
                    <a:pt x="296" y="550"/>
                  </a:lnTo>
                  <a:lnTo>
                    <a:pt x="292" y="550"/>
                  </a:lnTo>
                  <a:lnTo>
                    <a:pt x="288" y="552"/>
                  </a:lnTo>
                  <a:lnTo>
                    <a:pt x="284" y="550"/>
                  </a:lnTo>
                  <a:lnTo>
                    <a:pt x="280" y="552"/>
                  </a:lnTo>
                  <a:lnTo>
                    <a:pt x="272" y="552"/>
                  </a:lnTo>
                  <a:lnTo>
                    <a:pt x="272" y="561"/>
                  </a:lnTo>
                  <a:lnTo>
                    <a:pt x="271" y="563"/>
                  </a:lnTo>
                  <a:lnTo>
                    <a:pt x="269" y="561"/>
                  </a:lnTo>
                  <a:lnTo>
                    <a:pt x="267" y="565"/>
                  </a:lnTo>
                  <a:lnTo>
                    <a:pt x="263" y="565"/>
                  </a:lnTo>
                  <a:lnTo>
                    <a:pt x="263" y="561"/>
                  </a:lnTo>
                  <a:lnTo>
                    <a:pt x="261" y="561"/>
                  </a:lnTo>
                  <a:lnTo>
                    <a:pt x="257" y="561"/>
                  </a:lnTo>
                  <a:lnTo>
                    <a:pt x="257" y="559"/>
                  </a:lnTo>
                  <a:lnTo>
                    <a:pt x="251" y="556"/>
                  </a:lnTo>
                  <a:lnTo>
                    <a:pt x="251" y="554"/>
                  </a:lnTo>
                  <a:lnTo>
                    <a:pt x="246" y="556"/>
                  </a:lnTo>
                  <a:lnTo>
                    <a:pt x="246" y="554"/>
                  </a:lnTo>
                  <a:lnTo>
                    <a:pt x="240" y="556"/>
                  </a:lnTo>
                  <a:lnTo>
                    <a:pt x="236" y="554"/>
                  </a:lnTo>
                  <a:lnTo>
                    <a:pt x="234" y="556"/>
                  </a:lnTo>
                  <a:lnTo>
                    <a:pt x="238" y="558"/>
                  </a:lnTo>
                  <a:lnTo>
                    <a:pt x="238" y="561"/>
                  </a:lnTo>
                  <a:lnTo>
                    <a:pt x="232" y="563"/>
                  </a:lnTo>
                  <a:lnTo>
                    <a:pt x="234" y="573"/>
                  </a:lnTo>
                  <a:lnTo>
                    <a:pt x="226" y="573"/>
                  </a:lnTo>
                  <a:lnTo>
                    <a:pt x="219" y="575"/>
                  </a:lnTo>
                  <a:lnTo>
                    <a:pt x="213" y="579"/>
                  </a:lnTo>
                  <a:lnTo>
                    <a:pt x="209" y="579"/>
                  </a:lnTo>
                  <a:lnTo>
                    <a:pt x="207" y="582"/>
                  </a:lnTo>
                  <a:lnTo>
                    <a:pt x="209" y="582"/>
                  </a:lnTo>
                  <a:lnTo>
                    <a:pt x="205" y="586"/>
                  </a:lnTo>
                  <a:lnTo>
                    <a:pt x="207" y="588"/>
                  </a:lnTo>
                  <a:lnTo>
                    <a:pt x="207" y="590"/>
                  </a:lnTo>
                  <a:lnTo>
                    <a:pt x="203" y="590"/>
                  </a:lnTo>
                  <a:lnTo>
                    <a:pt x="201" y="594"/>
                  </a:lnTo>
                  <a:lnTo>
                    <a:pt x="201" y="592"/>
                  </a:lnTo>
                  <a:lnTo>
                    <a:pt x="196" y="596"/>
                  </a:lnTo>
                  <a:lnTo>
                    <a:pt x="194" y="594"/>
                  </a:lnTo>
                  <a:lnTo>
                    <a:pt x="196" y="592"/>
                  </a:lnTo>
                  <a:lnTo>
                    <a:pt x="192" y="592"/>
                  </a:lnTo>
                  <a:lnTo>
                    <a:pt x="192" y="586"/>
                  </a:lnTo>
                  <a:lnTo>
                    <a:pt x="186" y="588"/>
                  </a:lnTo>
                  <a:lnTo>
                    <a:pt x="184" y="584"/>
                  </a:lnTo>
                  <a:lnTo>
                    <a:pt x="182" y="586"/>
                  </a:lnTo>
                  <a:lnTo>
                    <a:pt x="184" y="590"/>
                  </a:lnTo>
                  <a:lnTo>
                    <a:pt x="177" y="592"/>
                  </a:lnTo>
                  <a:lnTo>
                    <a:pt x="175" y="598"/>
                  </a:lnTo>
                  <a:lnTo>
                    <a:pt x="173" y="598"/>
                  </a:lnTo>
                  <a:lnTo>
                    <a:pt x="173" y="596"/>
                  </a:lnTo>
                  <a:lnTo>
                    <a:pt x="171" y="596"/>
                  </a:lnTo>
                  <a:lnTo>
                    <a:pt x="169" y="596"/>
                  </a:lnTo>
                  <a:lnTo>
                    <a:pt x="167" y="602"/>
                  </a:lnTo>
                  <a:lnTo>
                    <a:pt x="167" y="598"/>
                  </a:lnTo>
                  <a:lnTo>
                    <a:pt x="165" y="600"/>
                  </a:lnTo>
                  <a:lnTo>
                    <a:pt x="163" y="596"/>
                  </a:lnTo>
                  <a:lnTo>
                    <a:pt x="163" y="598"/>
                  </a:lnTo>
                  <a:lnTo>
                    <a:pt x="163" y="602"/>
                  </a:lnTo>
                  <a:lnTo>
                    <a:pt x="161" y="602"/>
                  </a:lnTo>
                  <a:lnTo>
                    <a:pt x="161" y="604"/>
                  </a:lnTo>
                  <a:lnTo>
                    <a:pt x="165" y="602"/>
                  </a:lnTo>
                  <a:lnTo>
                    <a:pt x="165" y="606"/>
                  </a:lnTo>
                  <a:lnTo>
                    <a:pt x="169" y="607"/>
                  </a:lnTo>
                  <a:lnTo>
                    <a:pt x="169" y="613"/>
                  </a:lnTo>
                  <a:lnTo>
                    <a:pt x="173" y="611"/>
                  </a:lnTo>
                  <a:lnTo>
                    <a:pt x="171" y="615"/>
                  </a:lnTo>
                  <a:lnTo>
                    <a:pt x="169" y="613"/>
                  </a:lnTo>
                  <a:lnTo>
                    <a:pt x="169" y="615"/>
                  </a:lnTo>
                  <a:lnTo>
                    <a:pt x="169" y="619"/>
                  </a:lnTo>
                  <a:lnTo>
                    <a:pt x="167" y="621"/>
                  </a:lnTo>
                  <a:lnTo>
                    <a:pt x="169" y="621"/>
                  </a:lnTo>
                  <a:lnTo>
                    <a:pt x="167" y="623"/>
                  </a:lnTo>
                  <a:lnTo>
                    <a:pt x="169" y="623"/>
                  </a:lnTo>
                  <a:lnTo>
                    <a:pt x="169" y="625"/>
                  </a:lnTo>
                  <a:lnTo>
                    <a:pt x="169" y="627"/>
                  </a:lnTo>
                  <a:lnTo>
                    <a:pt x="173" y="625"/>
                  </a:lnTo>
                  <a:lnTo>
                    <a:pt x="175" y="627"/>
                  </a:lnTo>
                  <a:lnTo>
                    <a:pt x="178" y="625"/>
                  </a:lnTo>
                  <a:lnTo>
                    <a:pt x="178" y="629"/>
                  </a:lnTo>
                  <a:lnTo>
                    <a:pt x="182" y="631"/>
                  </a:lnTo>
                  <a:lnTo>
                    <a:pt x="184" y="629"/>
                  </a:lnTo>
                  <a:lnTo>
                    <a:pt x="188" y="636"/>
                  </a:lnTo>
                  <a:lnTo>
                    <a:pt x="184" y="640"/>
                  </a:lnTo>
                  <a:lnTo>
                    <a:pt x="184" y="646"/>
                  </a:lnTo>
                  <a:lnTo>
                    <a:pt x="178" y="644"/>
                  </a:lnTo>
                  <a:lnTo>
                    <a:pt x="171" y="650"/>
                  </a:lnTo>
                  <a:lnTo>
                    <a:pt x="173" y="650"/>
                  </a:lnTo>
                  <a:lnTo>
                    <a:pt x="173" y="652"/>
                  </a:lnTo>
                  <a:lnTo>
                    <a:pt x="178" y="650"/>
                  </a:lnTo>
                  <a:lnTo>
                    <a:pt x="182" y="652"/>
                  </a:lnTo>
                  <a:lnTo>
                    <a:pt x="180" y="655"/>
                  </a:lnTo>
                  <a:lnTo>
                    <a:pt x="178" y="661"/>
                  </a:lnTo>
                  <a:lnTo>
                    <a:pt x="175" y="667"/>
                  </a:lnTo>
                  <a:lnTo>
                    <a:pt x="175" y="673"/>
                  </a:lnTo>
                  <a:lnTo>
                    <a:pt x="173" y="673"/>
                  </a:lnTo>
                  <a:lnTo>
                    <a:pt x="171" y="667"/>
                  </a:lnTo>
                  <a:lnTo>
                    <a:pt x="169" y="673"/>
                  </a:lnTo>
                  <a:lnTo>
                    <a:pt x="173" y="673"/>
                  </a:lnTo>
                  <a:lnTo>
                    <a:pt x="171" y="677"/>
                  </a:lnTo>
                  <a:lnTo>
                    <a:pt x="171" y="679"/>
                  </a:lnTo>
                  <a:lnTo>
                    <a:pt x="169" y="682"/>
                  </a:lnTo>
                  <a:lnTo>
                    <a:pt x="167" y="680"/>
                  </a:lnTo>
                  <a:lnTo>
                    <a:pt x="163" y="684"/>
                  </a:lnTo>
                  <a:lnTo>
                    <a:pt x="159" y="682"/>
                  </a:lnTo>
                  <a:lnTo>
                    <a:pt x="157" y="684"/>
                  </a:lnTo>
                  <a:lnTo>
                    <a:pt x="155" y="682"/>
                  </a:lnTo>
                  <a:lnTo>
                    <a:pt x="157" y="679"/>
                  </a:lnTo>
                  <a:lnTo>
                    <a:pt x="155" y="679"/>
                  </a:lnTo>
                  <a:lnTo>
                    <a:pt x="153" y="682"/>
                  </a:lnTo>
                  <a:lnTo>
                    <a:pt x="150" y="682"/>
                  </a:lnTo>
                  <a:lnTo>
                    <a:pt x="146" y="686"/>
                  </a:lnTo>
                  <a:lnTo>
                    <a:pt x="146" y="690"/>
                  </a:lnTo>
                  <a:lnTo>
                    <a:pt x="140" y="692"/>
                  </a:lnTo>
                  <a:lnTo>
                    <a:pt x="144" y="694"/>
                  </a:lnTo>
                  <a:lnTo>
                    <a:pt x="138" y="696"/>
                  </a:lnTo>
                  <a:lnTo>
                    <a:pt x="134" y="698"/>
                  </a:lnTo>
                  <a:lnTo>
                    <a:pt x="134" y="700"/>
                  </a:lnTo>
                  <a:lnTo>
                    <a:pt x="130" y="698"/>
                  </a:lnTo>
                  <a:lnTo>
                    <a:pt x="129" y="696"/>
                  </a:lnTo>
                  <a:lnTo>
                    <a:pt x="127" y="690"/>
                  </a:lnTo>
                  <a:lnTo>
                    <a:pt x="125" y="684"/>
                  </a:lnTo>
                  <a:lnTo>
                    <a:pt x="119" y="682"/>
                  </a:lnTo>
                  <a:lnTo>
                    <a:pt x="117" y="679"/>
                  </a:lnTo>
                  <a:lnTo>
                    <a:pt x="113" y="684"/>
                  </a:lnTo>
                  <a:lnTo>
                    <a:pt x="109" y="686"/>
                  </a:lnTo>
                  <a:lnTo>
                    <a:pt x="104" y="684"/>
                  </a:lnTo>
                  <a:lnTo>
                    <a:pt x="102" y="686"/>
                  </a:lnTo>
                  <a:lnTo>
                    <a:pt x="96" y="686"/>
                  </a:lnTo>
                  <a:lnTo>
                    <a:pt x="94" y="684"/>
                  </a:lnTo>
                  <a:lnTo>
                    <a:pt x="96" y="682"/>
                  </a:lnTo>
                  <a:lnTo>
                    <a:pt x="92" y="677"/>
                  </a:lnTo>
                  <a:lnTo>
                    <a:pt x="92" y="673"/>
                  </a:lnTo>
                  <a:lnTo>
                    <a:pt x="88" y="667"/>
                  </a:lnTo>
                  <a:lnTo>
                    <a:pt x="82" y="663"/>
                  </a:lnTo>
                  <a:lnTo>
                    <a:pt x="79" y="663"/>
                  </a:lnTo>
                  <a:lnTo>
                    <a:pt x="79" y="657"/>
                  </a:lnTo>
                  <a:lnTo>
                    <a:pt x="77" y="657"/>
                  </a:lnTo>
                  <a:lnTo>
                    <a:pt x="79" y="659"/>
                  </a:lnTo>
                  <a:lnTo>
                    <a:pt x="77" y="657"/>
                  </a:lnTo>
                  <a:lnTo>
                    <a:pt x="77" y="652"/>
                  </a:lnTo>
                  <a:lnTo>
                    <a:pt x="75" y="650"/>
                  </a:lnTo>
                  <a:lnTo>
                    <a:pt x="75" y="646"/>
                  </a:lnTo>
                  <a:lnTo>
                    <a:pt x="75" y="644"/>
                  </a:lnTo>
                  <a:lnTo>
                    <a:pt x="75" y="646"/>
                  </a:lnTo>
                  <a:lnTo>
                    <a:pt x="75" y="642"/>
                  </a:lnTo>
                  <a:lnTo>
                    <a:pt x="73" y="634"/>
                  </a:lnTo>
                  <a:lnTo>
                    <a:pt x="71" y="634"/>
                  </a:lnTo>
                  <a:lnTo>
                    <a:pt x="69" y="625"/>
                  </a:lnTo>
                  <a:lnTo>
                    <a:pt x="67" y="619"/>
                  </a:lnTo>
                  <a:lnTo>
                    <a:pt x="67" y="617"/>
                  </a:lnTo>
                  <a:lnTo>
                    <a:pt x="65" y="617"/>
                  </a:lnTo>
                  <a:lnTo>
                    <a:pt x="65" y="613"/>
                  </a:lnTo>
                  <a:lnTo>
                    <a:pt x="65" y="615"/>
                  </a:lnTo>
                  <a:lnTo>
                    <a:pt x="69" y="613"/>
                  </a:lnTo>
                  <a:lnTo>
                    <a:pt x="65" y="613"/>
                  </a:lnTo>
                  <a:lnTo>
                    <a:pt x="65" y="607"/>
                  </a:lnTo>
                  <a:lnTo>
                    <a:pt x="59" y="600"/>
                  </a:lnTo>
                  <a:lnTo>
                    <a:pt x="59" y="598"/>
                  </a:lnTo>
                  <a:lnTo>
                    <a:pt x="61" y="596"/>
                  </a:lnTo>
                  <a:lnTo>
                    <a:pt x="63" y="598"/>
                  </a:lnTo>
                  <a:lnTo>
                    <a:pt x="65" y="600"/>
                  </a:lnTo>
                  <a:lnTo>
                    <a:pt x="63" y="596"/>
                  </a:lnTo>
                  <a:lnTo>
                    <a:pt x="65" y="594"/>
                  </a:lnTo>
                  <a:lnTo>
                    <a:pt x="61" y="592"/>
                  </a:lnTo>
                  <a:lnTo>
                    <a:pt x="61" y="590"/>
                  </a:lnTo>
                  <a:lnTo>
                    <a:pt x="65" y="592"/>
                  </a:lnTo>
                  <a:lnTo>
                    <a:pt x="63" y="590"/>
                  </a:lnTo>
                  <a:lnTo>
                    <a:pt x="65" y="588"/>
                  </a:lnTo>
                  <a:lnTo>
                    <a:pt x="67" y="588"/>
                  </a:lnTo>
                  <a:lnTo>
                    <a:pt x="67" y="590"/>
                  </a:lnTo>
                  <a:lnTo>
                    <a:pt x="69" y="588"/>
                  </a:lnTo>
                  <a:lnTo>
                    <a:pt x="67" y="586"/>
                  </a:lnTo>
                  <a:lnTo>
                    <a:pt x="61" y="588"/>
                  </a:lnTo>
                  <a:lnTo>
                    <a:pt x="63" y="588"/>
                  </a:lnTo>
                  <a:lnTo>
                    <a:pt x="61" y="586"/>
                  </a:lnTo>
                  <a:lnTo>
                    <a:pt x="61" y="582"/>
                  </a:lnTo>
                  <a:lnTo>
                    <a:pt x="59" y="577"/>
                  </a:lnTo>
                  <a:lnTo>
                    <a:pt x="59" y="573"/>
                  </a:lnTo>
                  <a:lnTo>
                    <a:pt x="61" y="569"/>
                  </a:lnTo>
                  <a:lnTo>
                    <a:pt x="63" y="569"/>
                  </a:lnTo>
                  <a:lnTo>
                    <a:pt x="63" y="571"/>
                  </a:lnTo>
                  <a:lnTo>
                    <a:pt x="63" y="569"/>
                  </a:lnTo>
                  <a:lnTo>
                    <a:pt x="63" y="567"/>
                  </a:lnTo>
                  <a:lnTo>
                    <a:pt x="61" y="569"/>
                  </a:lnTo>
                  <a:lnTo>
                    <a:pt x="59" y="567"/>
                  </a:lnTo>
                  <a:lnTo>
                    <a:pt x="58" y="561"/>
                  </a:lnTo>
                  <a:lnTo>
                    <a:pt x="59" y="559"/>
                  </a:lnTo>
                  <a:lnTo>
                    <a:pt x="58" y="559"/>
                  </a:lnTo>
                  <a:lnTo>
                    <a:pt x="58" y="554"/>
                  </a:lnTo>
                  <a:lnTo>
                    <a:pt x="59" y="550"/>
                  </a:lnTo>
                  <a:lnTo>
                    <a:pt x="61" y="552"/>
                  </a:lnTo>
                  <a:lnTo>
                    <a:pt x="61" y="550"/>
                  </a:lnTo>
                  <a:lnTo>
                    <a:pt x="58" y="550"/>
                  </a:lnTo>
                  <a:lnTo>
                    <a:pt x="58" y="546"/>
                  </a:lnTo>
                  <a:lnTo>
                    <a:pt x="56" y="544"/>
                  </a:lnTo>
                  <a:lnTo>
                    <a:pt x="56" y="542"/>
                  </a:lnTo>
                  <a:lnTo>
                    <a:pt x="58" y="544"/>
                  </a:lnTo>
                  <a:lnTo>
                    <a:pt x="59" y="542"/>
                  </a:lnTo>
                  <a:lnTo>
                    <a:pt x="59" y="536"/>
                  </a:lnTo>
                  <a:lnTo>
                    <a:pt x="58" y="536"/>
                  </a:lnTo>
                  <a:lnTo>
                    <a:pt x="56" y="527"/>
                  </a:lnTo>
                  <a:lnTo>
                    <a:pt x="54" y="527"/>
                  </a:lnTo>
                  <a:lnTo>
                    <a:pt x="56" y="525"/>
                  </a:lnTo>
                  <a:lnTo>
                    <a:pt x="54" y="523"/>
                  </a:lnTo>
                  <a:lnTo>
                    <a:pt x="52" y="519"/>
                  </a:lnTo>
                  <a:lnTo>
                    <a:pt x="50" y="519"/>
                  </a:lnTo>
                  <a:lnTo>
                    <a:pt x="50" y="515"/>
                  </a:lnTo>
                  <a:lnTo>
                    <a:pt x="52" y="515"/>
                  </a:lnTo>
                  <a:lnTo>
                    <a:pt x="54" y="517"/>
                  </a:lnTo>
                  <a:lnTo>
                    <a:pt x="56" y="513"/>
                  </a:lnTo>
                  <a:lnTo>
                    <a:pt x="52" y="511"/>
                  </a:lnTo>
                  <a:lnTo>
                    <a:pt x="52" y="506"/>
                  </a:lnTo>
                  <a:lnTo>
                    <a:pt x="48" y="506"/>
                  </a:lnTo>
                  <a:lnTo>
                    <a:pt x="48" y="504"/>
                  </a:lnTo>
                  <a:lnTo>
                    <a:pt x="50" y="500"/>
                  </a:lnTo>
                  <a:lnTo>
                    <a:pt x="48" y="492"/>
                  </a:lnTo>
                  <a:lnTo>
                    <a:pt x="44" y="486"/>
                  </a:lnTo>
                  <a:lnTo>
                    <a:pt x="48" y="485"/>
                  </a:lnTo>
                  <a:lnTo>
                    <a:pt x="44" y="481"/>
                  </a:lnTo>
                  <a:lnTo>
                    <a:pt x="42" y="473"/>
                  </a:lnTo>
                  <a:lnTo>
                    <a:pt x="44" y="469"/>
                  </a:lnTo>
                  <a:lnTo>
                    <a:pt x="44" y="467"/>
                  </a:lnTo>
                  <a:lnTo>
                    <a:pt x="40" y="460"/>
                  </a:lnTo>
                  <a:lnTo>
                    <a:pt x="40" y="456"/>
                  </a:lnTo>
                  <a:lnTo>
                    <a:pt x="36" y="450"/>
                  </a:lnTo>
                  <a:lnTo>
                    <a:pt x="36" y="446"/>
                  </a:lnTo>
                  <a:lnTo>
                    <a:pt x="34" y="444"/>
                  </a:lnTo>
                  <a:lnTo>
                    <a:pt x="34" y="440"/>
                  </a:lnTo>
                  <a:lnTo>
                    <a:pt x="31" y="437"/>
                  </a:lnTo>
                  <a:lnTo>
                    <a:pt x="33" y="437"/>
                  </a:lnTo>
                  <a:lnTo>
                    <a:pt x="34" y="437"/>
                  </a:lnTo>
                  <a:lnTo>
                    <a:pt x="33" y="437"/>
                  </a:lnTo>
                  <a:lnTo>
                    <a:pt x="31" y="433"/>
                  </a:lnTo>
                  <a:lnTo>
                    <a:pt x="31" y="431"/>
                  </a:lnTo>
                  <a:lnTo>
                    <a:pt x="29" y="425"/>
                  </a:lnTo>
                  <a:lnTo>
                    <a:pt x="31" y="421"/>
                  </a:lnTo>
                  <a:lnTo>
                    <a:pt x="29" y="417"/>
                  </a:lnTo>
                  <a:lnTo>
                    <a:pt x="27" y="415"/>
                  </a:lnTo>
                  <a:lnTo>
                    <a:pt x="25" y="415"/>
                  </a:lnTo>
                  <a:lnTo>
                    <a:pt x="25" y="408"/>
                  </a:lnTo>
                  <a:lnTo>
                    <a:pt x="29" y="410"/>
                  </a:lnTo>
                  <a:lnTo>
                    <a:pt x="31" y="413"/>
                  </a:lnTo>
                  <a:lnTo>
                    <a:pt x="34" y="412"/>
                  </a:lnTo>
                  <a:lnTo>
                    <a:pt x="40" y="415"/>
                  </a:lnTo>
                  <a:lnTo>
                    <a:pt x="40" y="413"/>
                  </a:lnTo>
                  <a:lnTo>
                    <a:pt x="38" y="412"/>
                  </a:lnTo>
                  <a:lnTo>
                    <a:pt x="38" y="410"/>
                  </a:lnTo>
                  <a:lnTo>
                    <a:pt x="36" y="408"/>
                  </a:lnTo>
                  <a:lnTo>
                    <a:pt x="38" y="410"/>
                  </a:lnTo>
                  <a:lnTo>
                    <a:pt x="36" y="410"/>
                  </a:lnTo>
                  <a:lnTo>
                    <a:pt x="33" y="408"/>
                  </a:lnTo>
                  <a:lnTo>
                    <a:pt x="31" y="410"/>
                  </a:lnTo>
                  <a:lnTo>
                    <a:pt x="27" y="402"/>
                  </a:lnTo>
                  <a:lnTo>
                    <a:pt x="23" y="400"/>
                  </a:lnTo>
                  <a:lnTo>
                    <a:pt x="25" y="398"/>
                  </a:lnTo>
                  <a:lnTo>
                    <a:pt x="23" y="396"/>
                  </a:lnTo>
                  <a:lnTo>
                    <a:pt x="21" y="388"/>
                  </a:lnTo>
                  <a:lnTo>
                    <a:pt x="23" y="385"/>
                  </a:lnTo>
                  <a:lnTo>
                    <a:pt x="23" y="381"/>
                  </a:lnTo>
                  <a:lnTo>
                    <a:pt x="25" y="381"/>
                  </a:lnTo>
                  <a:lnTo>
                    <a:pt x="23" y="373"/>
                  </a:lnTo>
                  <a:lnTo>
                    <a:pt x="21" y="371"/>
                  </a:lnTo>
                  <a:lnTo>
                    <a:pt x="21" y="369"/>
                  </a:lnTo>
                  <a:lnTo>
                    <a:pt x="23" y="369"/>
                  </a:lnTo>
                  <a:lnTo>
                    <a:pt x="21" y="369"/>
                  </a:lnTo>
                  <a:lnTo>
                    <a:pt x="19" y="369"/>
                  </a:lnTo>
                  <a:lnTo>
                    <a:pt x="19" y="367"/>
                  </a:lnTo>
                  <a:lnTo>
                    <a:pt x="17" y="364"/>
                  </a:lnTo>
                  <a:lnTo>
                    <a:pt x="19" y="360"/>
                  </a:lnTo>
                  <a:lnTo>
                    <a:pt x="19" y="354"/>
                  </a:lnTo>
                  <a:lnTo>
                    <a:pt x="21" y="352"/>
                  </a:lnTo>
                  <a:lnTo>
                    <a:pt x="25" y="354"/>
                  </a:lnTo>
                  <a:lnTo>
                    <a:pt x="27" y="348"/>
                  </a:lnTo>
                  <a:lnTo>
                    <a:pt x="31" y="352"/>
                  </a:lnTo>
                  <a:lnTo>
                    <a:pt x="33" y="354"/>
                  </a:lnTo>
                  <a:lnTo>
                    <a:pt x="31" y="352"/>
                  </a:lnTo>
                  <a:lnTo>
                    <a:pt x="34" y="352"/>
                  </a:lnTo>
                  <a:lnTo>
                    <a:pt x="31" y="350"/>
                  </a:lnTo>
                  <a:lnTo>
                    <a:pt x="33" y="346"/>
                  </a:lnTo>
                  <a:lnTo>
                    <a:pt x="27" y="348"/>
                  </a:lnTo>
                  <a:lnTo>
                    <a:pt x="25" y="346"/>
                  </a:lnTo>
                  <a:lnTo>
                    <a:pt x="25" y="340"/>
                  </a:lnTo>
                  <a:lnTo>
                    <a:pt x="27" y="342"/>
                  </a:lnTo>
                  <a:lnTo>
                    <a:pt x="31" y="339"/>
                  </a:lnTo>
                  <a:lnTo>
                    <a:pt x="27" y="337"/>
                  </a:lnTo>
                  <a:lnTo>
                    <a:pt x="29" y="335"/>
                  </a:lnTo>
                  <a:lnTo>
                    <a:pt x="33" y="337"/>
                  </a:lnTo>
                  <a:lnTo>
                    <a:pt x="29" y="333"/>
                  </a:lnTo>
                  <a:lnTo>
                    <a:pt x="34" y="333"/>
                  </a:lnTo>
                  <a:lnTo>
                    <a:pt x="38" y="329"/>
                  </a:lnTo>
                  <a:lnTo>
                    <a:pt x="34" y="331"/>
                  </a:lnTo>
                  <a:lnTo>
                    <a:pt x="34" y="325"/>
                  </a:lnTo>
                  <a:lnTo>
                    <a:pt x="33" y="323"/>
                  </a:lnTo>
                  <a:lnTo>
                    <a:pt x="34" y="321"/>
                  </a:lnTo>
                  <a:lnTo>
                    <a:pt x="33" y="315"/>
                  </a:lnTo>
                  <a:lnTo>
                    <a:pt x="31" y="319"/>
                  </a:lnTo>
                  <a:lnTo>
                    <a:pt x="31" y="327"/>
                  </a:lnTo>
                  <a:lnTo>
                    <a:pt x="25" y="331"/>
                  </a:lnTo>
                  <a:lnTo>
                    <a:pt x="25" y="333"/>
                  </a:lnTo>
                  <a:lnTo>
                    <a:pt x="21" y="329"/>
                  </a:lnTo>
                  <a:lnTo>
                    <a:pt x="19" y="331"/>
                  </a:lnTo>
                  <a:lnTo>
                    <a:pt x="17" y="339"/>
                  </a:lnTo>
                  <a:lnTo>
                    <a:pt x="13" y="342"/>
                  </a:lnTo>
                  <a:lnTo>
                    <a:pt x="15" y="337"/>
                  </a:lnTo>
                  <a:lnTo>
                    <a:pt x="13" y="335"/>
                  </a:lnTo>
                  <a:lnTo>
                    <a:pt x="11" y="337"/>
                  </a:lnTo>
                  <a:lnTo>
                    <a:pt x="15" y="333"/>
                  </a:lnTo>
                  <a:lnTo>
                    <a:pt x="15" y="327"/>
                  </a:lnTo>
                  <a:lnTo>
                    <a:pt x="15" y="329"/>
                  </a:lnTo>
                  <a:lnTo>
                    <a:pt x="17" y="327"/>
                  </a:lnTo>
                  <a:lnTo>
                    <a:pt x="17" y="325"/>
                  </a:lnTo>
                  <a:lnTo>
                    <a:pt x="15" y="325"/>
                  </a:lnTo>
                  <a:lnTo>
                    <a:pt x="15" y="317"/>
                  </a:lnTo>
                  <a:lnTo>
                    <a:pt x="13" y="315"/>
                  </a:lnTo>
                  <a:lnTo>
                    <a:pt x="11" y="315"/>
                  </a:lnTo>
                  <a:lnTo>
                    <a:pt x="11" y="314"/>
                  </a:lnTo>
                  <a:lnTo>
                    <a:pt x="15" y="306"/>
                  </a:lnTo>
                  <a:lnTo>
                    <a:pt x="11" y="310"/>
                  </a:lnTo>
                  <a:lnTo>
                    <a:pt x="11" y="306"/>
                  </a:lnTo>
                  <a:lnTo>
                    <a:pt x="11" y="298"/>
                  </a:lnTo>
                  <a:lnTo>
                    <a:pt x="19" y="296"/>
                  </a:lnTo>
                  <a:lnTo>
                    <a:pt x="27" y="298"/>
                  </a:lnTo>
                  <a:lnTo>
                    <a:pt x="21" y="294"/>
                  </a:lnTo>
                  <a:lnTo>
                    <a:pt x="13" y="294"/>
                  </a:lnTo>
                  <a:lnTo>
                    <a:pt x="10" y="291"/>
                  </a:lnTo>
                  <a:lnTo>
                    <a:pt x="10" y="289"/>
                  </a:lnTo>
                  <a:lnTo>
                    <a:pt x="10" y="279"/>
                  </a:lnTo>
                  <a:lnTo>
                    <a:pt x="13" y="277"/>
                  </a:lnTo>
                  <a:lnTo>
                    <a:pt x="17" y="277"/>
                  </a:lnTo>
                  <a:lnTo>
                    <a:pt x="19" y="275"/>
                  </a:lnTo>
                  <a:lnTo>
                    <a:pt x="11" y="275"/>
                  </a:lnTo>
                  <a:lnTo>
                    <a:pt x="6" y="271"/>
                  </a:lnTo>
                  <a:lnTo>
                    <a:pt x="6" y="266"/>
                  </a:lnTo>
                  <a:lnTo>
                    <a:pt x="8" y="266"/>
                  </a:lnTo>
                  <a:lnTo>
                    <a:pt x="6" y="260"/>
                  </a:lnTo>
                  <a:lnTo>
                    <a:pt x="6" y="254"/>
                  </a:lnTo>
                  <a:lnTo>
                    <a:pt x="4" y="252"/>
                  </a:lnTo>
                  <a:lnTo>
                    <a:pt x="6" y="250"/>
                  </a:lnTo>
                  <a:lnTo>
                    <a:pt x="4" y="250"/>
                  </a:lnTo>
                  <a:lnTo>
                    <a:pt x="4" y="248"/>
                  </a:lnTo>
                  <a:lnTo>
                    <a:pt x="4" y="243"/>
                  </a:lnTo>
                  <a:lnTo>
                    <a:pt x="0" y="241"/>
                  </a:lnTo>
                  <a:lnTo>
                    <a:pt x="0" y="237"/>
                  </a:lnTo>
                  <a:lnTo>
                    <a:pt x="4" y="237"/>
                  </a:lnTo>
                  <a:lnTo>
                    <a:pt x="4" y="235"/>
                  </a:lnTo>
                  <a:lnTo>
                    <a:pt x="2" y="229"/>
                  </a:lnTo>
                  <a:lnTo>
                    <a:pt x="6" y="225"/>
                  </a:lnTo>
                  <a:lnTo>
                    <a:pt x="10" y="227"/>
                  </a:lnTo>
                  <a:lnTo>
                    <a:pt x="8" y="225"/>
                  </a:lnTo>
                  <a:lnTo>
                    <a:pt x="8" y="221"/>
                  </a:lnTo>
                  <a:lnTo>
                    <a:pt x="8" y="214"/>
                  </a:lnTo>
                  <a:lnTo>
                    <a:pt x="10" y="214"/>
                  </a:lnTo>
                  <a:lnTo>
                    <a:pt x="11" y="208"/>
                  </a:lnTo>
                  <a:lnTo>
                    <a:pt x="15" y="208"/>
                  </a:lnTo>
                  <a:lnTo>
                    <a:pt x="15" y="206"/>
                  </a:lnTo>
                  <a:lnTo>
                    <a:pt x="19" y="206"/>
                  </a:lnTo>
                  <a:lnTo>
                    <a:pt x="19" y="202"/>
                  </a:lnTo>
                  <a:lnTo>
                    <a:pt x="21" y="202"/>
                  </a:lnTo>
                  <a:lnTo>
                    <a:pt x="21" y="198"/>
                  </a:lnTo>
                  <a:lnTo>
                    <a:pt x="23" y="200"/>
                  </a:lnTo>
                  <a:lnTo>
                    <a:pt x="25" y="196"/>
                  </a:lnTo>
                  <a:lnTo>
                    <a:pt x="29" y="196"/>
                  </a:lnTo>
                  <a:lnTo>
                    <a:pt x="34" y="198"/>
                  </a:lnTo>
                  <a:lnTo>
                    <a:pt x="34" y="202"/>
                  </a:lnTo>
                  <a:lnTo>
                    <a:pt x="36" y="202"/>
                  </a:lnTo>
                  <a:lnTo>
                    <a:pt x="34" y="206"/>
                  </a:lnTo>
                  <a:lnTo>
                    <a:pt x="34" y="210"/>
                  </a:lnTo>
                  <a:lnTo>
                    <a:pt x="38" y="210"/>
                  </a:lnTo>
                  <a:lnTo>
                    <a:pt x="38" y="206"/>
                  </a:lnTo>
                  <a:lnTo>
                    <a:pt x="38" y="210"/>
                  </a:lnTo>
                  <a:lnTo>
                    <a:pt x="42" y="214"/>
                  </a:lnTo>
                  <a:lnTo>
                    <a:pt x="46" y="212"/>
                  </a:lnTo>
                  <a:lnTo>
                    <a:pt x="50" y="212"/>
                  </a:lnTo>
                  <a:lnTo>
                    <a:pt x="50" y="214"/>
                  </a:lnTo>
                  <a:lnTo>
                    <a:pt x="54" y="212"/>
                  </a:lnTo>
                  <a:lnTo>
                    <a:pt x="56" y="216"/>
                  </a:lnTo>
                  <a:lnTo>
                    <a:pt x="59" y="216"/>
                  </a:lnTo>
                  <a:lnTo>
                    <a:pt x="59" y="214"/>
                  </a:lnTo>
                  <a:lnTo>
                    <a:pt x="61" y="212"/>
                  </a:lnTo>
                  <a:lnTo>
                    <a:pt x="61" y="208"/>
                  </a:lnTo>
                  <a:lnTo>
                    <a:pt x="61" y="206"/>
                  </a:lnTo>
                  <a:lnTo>
                    <a:pt x="63" y="208"/>
                  </a:lnTo>
                  <a:lnTo>
                    <a:pt x="65" y="208"/>
                  </a:lnTo>
                  <a:lnTo>
                    <a:pt x="67" y="206"/>
                  </a:lnTo>
                  <a:lnTo>
                    <a:pt x="69" y="200"/>
                  </a:lnTo>
                  <a:lnTo>
                    <a:pt x="71" y="198"/>
                  </a:lnTo>
                  <a:lnTo>
                    <a:pt x="75" y="200"/>
                  </a:lnTo>
                  <a:lnTo>
                    <a:pt x="77" y="198"/>
                  </a:lnTo>
                  <a:lnTo>
                    <a:pt x="79" y="200"/>
                  </a:lnTo>
                  <a:lnTo>
                    <a:pt x="79" y="198"/>
                  </a:lnTo>
                  <a:lnTo>
                    <a:pt x="81" y="200"/>
                  </a:lnTo>
                  <a:lnTo>
                    <a:pt x="84" y="200"/>
                  </a:lnTo>
                  <a:lnTo>
                    <a:pt x="82" y="194"/>
                  </a:lnTo>
                  <a:lnTo>
                    <a:pt x="84" y="191"/>
                  </a:lnTo>
                  <a:lnTo>
                    <a:pt x="84" y="187"/>
                  </a:lnTo>
                  <a:lnTo>
                    <a:pt x="82" y="179"/>
                  </a:lnTo>
                  <a:lnTo>
                    <a:pt x="81" y="181"/>
                  </a:lnTo>
                  <a:lnTo>
                    <a:pt x="81" y="179"/>
                  </a:lnTo>
                  <a:lnTo>
                    <a:pt x="84" y="177"/>
                  </a:lnTo>
                  <a:lnTo>
                    <a:pt x="86" y="171"/>
                  </a:lnTo>
                  <a:lnTo>
                    <a:pt x="90" y="168"/>
                  </a:lnTo>
                  <a:lnTo>
                    <a:pt x="90" y="164"/>
                  </a:lnTo>
                  <a:lnTo>
                    <a:pt x="92" y="164"/>
                  </a:lnTo>
                  <a:lnTo>
                    <a:pt x="90" y="158"/>
                  </a:lnTo>
                  <a:lnTo>
                    <a:pt x="86" y="156"/>
                  </a:lnTo>
                  <a:lnTo>
                    <a:pt x="84" y="154"/>
                  </a:lnTo>
                  <a:lnTo>
                    <a:pt x="82" y="152"/>
                  </a:lnTo>
                  <a:lnTo>
                    <a:pt x="86" y="148"/>
                  </a:lnTo>
                  <a:lnTo>
                    <a:pt x="88" y="145"/>
                  </a:lnTo>
                  <a:lnTo>
                    <a:pt x="92" y="143"/>
                  </a:lnTo>
                  <a:lnTo>
                    <a:pt x="94" y="150"/>
                  </a:lnTo>
                  <a:lnTo>
                    <a:pt x="98" y="148"/>
                  </a:lnTo>
                  <a:lnTo>
                    <a:pt x="100" y="152"/>
                  </a:lnTo>
                  <a:lnTo>
                    <a:pt x="102" y="150"/>
                  </a:lnTo>
                  <a:lnTo>
                    <a:pt x="105" y="152"/>
                  </a:lnTo>
                  <a:lnTo>
                    <a:pt x="107" y="158"/>
                  </a:lnTo>
                  <a:lnTo>
                    <a:pt x="111" y="162"/>
                  </a:lnTo>
                  <a:lnTo>
                    <a:pt x="115" y="160"/>
                  </a:lnTo>
                  <a:lnTo>
                    <a:pt x="119" y="160"/>
                  </a:lnTo>
                  <a:lnTo>
                    <a:pt x="123" y="156"/>
                  </a:lnTo>
                  <a:lnTo>
                    <a:pt x="127" y="156"/>
                  </a:lnTo>
                  <a:lnTo>
                    <a:pt x="130" y="154"/>
                  </a:lnTo>
                  <a:lnTo>
                    <a:pt x="130" y="150"/>
                  </a:lnTo>
                  <a:lnTo>
                    <a:pt x="127" y="146"/>
                  </a:lnTo>
                  <a:lnTo>
                    <a:pt x="129" y="146"/>
                  </a:lnTo>
                  <a:lnTo>
                    <a:pt x="130" y="146"/>
                  </a:lnTo>
                  <a:lnTo>
                    <a:pt x="134" y="143"/>
                  </a:lnTo>
                  <a:lnTo>
                    <a:pt x="138" y="143"/>
                  </a:lnTo>
                  <a:lnTo>
                    <a:pt x="142" y="141"/>
                  </a:lnTo>
                  <a:lnTo>
                    <a:pt x="140" y="137"/>
                  </a:lnTo>
                  <a:lnTo>
                    <a:pt x="142" y="131"/>
                  </a:lnTo>
                  <a:lnTo>
                    <a:pt x="140" y="129"/>
                  </a:lnTo>
                  <a:lnTo>
                    <a:pt x="140" y="123"/>
                  </a:lnTo>
                  <a:lnTo>
                    <a:pt x="136" y="120"/>
                  </a:lnTo>
                  <a:lnTo>
                    <a:pt x="138" y="118"/>
                  </a:lnTo>
                  <a:lnTo>
                    <a:pt x="138" y="116"/>
                  </a:lnTo>
                  <a:lnTo>
                    <a:pt x="132" y="114"/>
                  </a:lnTo>
                  <a:lnTo>
                    <a:pt x="127" y="110"/>
                  </a:lnTo>
                  <a:lnTo>
                    <a:pt x="129" y="104"/>
                  </a:lnTo>
                  <a:lnTo>
                    <a:pt x="127" y="106"/>
                  </a:lnTo>
                  <a:lnTo>
                    <a:pt x="123" y="106"/>
                  </a:lnTo>
                  <a:lnTo>
                    <a:pt x="121" y="104"/>
                  </a:lnTo>
                  <a:lnTo>
                    <a:pt x="123" y="100"/>
                  </a:lnTo>
                  <a:lnTo>
                    <a:pt x="121" y="102"/>
                  </a:lnTo>
                  <a:lnTo>
                    <a:pt x="117" y="100"/>
                  </a:lnTo>
                  <a:lnTo>
                    <a:pt x="117" y="102"/>
                  </a:lnTo>
                  <a:lnTo>
                    <a:pt x="113" y="102"/>
                  </a:lnTo>
                  <a:lnTo>
                    <a:pt x="111" y="100"/>
                  </a:lnTo>
                  <a:lnTo>
                    <a:pt x="109" y="100"/>
                  </a:lnTo>
                  <a:lnTo>
                    <a:pt x="109" y="97"/>
                  </a:lnTo>
                  <a:lnTo>
                    <a:pt x="104" y="95"/>
                  </a:lnTo>
                  <a:lnTo>
                    <a:pt x="107" y="95"/>
                  </a:lnTo>
                  <a:lnTo>
                    <a:pt x="109" y="98"/>
                  </a:lnTo>
                  <a:lnTo>
                    <a:pt x="113" y="97"/>
                  </a:lnTo>
                  <a:lnTo>
                    <a:pt x="121" y="98"/>
                  </a:lnTo>
                  <a:lnTo>
                    <a:pt x="121" y="95"/>
                  </a:lnTo>
                  <a:lnTo>
                    <a:pt x="130" y="95"/>
                  </a:lnTo>
                  <a:lnTo>
                    <a:pt x="130" y="93"/>
                  </a:lnTo>
                  <a:lnTo>
                    <a:pt x="129" y="91"/>
                  </a:lnTo>
                  <a:lnTo>
                    <a:pt x="130" y="85"/>
                  </a:lnTo>
                  <a:lnTo>
                    <a:pt x="138" y="85"/>
                  </a:lnTo>
                  <a:lnTo>
                    <a:pt x="144" y="81"/>
                  </a:lnTo>
                  <a:lnTo>
                    <a:pt x="144" y="75"/>
                  </a:lnTo>
                  <a:lnTo>
                    <a:pt x="144" y="70"/>
                  </a:lnTo>
                  <a:lnTo>
                    <a:pt x="146" y="72"/>
                  </a:lnTo>
                  <a:lnTo>
                    <a:pt x="152" y="68"/>
                  </a:lnTo>
                  <a:lnTo>
                    <a:pt x="155" y="68"/>
                  </a:lnTo>
                  <a:lnTo>
                    <a:pt x="157" y="60"/>
                  </a:lnTo>
                  <a:lnTo>
                    <a:pt x="159" y="64"/>
                  </a:lnTo>
                  <a:lnTo>
                    <a:pt x="161" y="64"/>
                  </a:lnTo>
                  <a:lnTo>
                    <a:pt x="165" y="64"/>
                  </a:lnTo>
                  <a:lnTo>
                    <a:pt x="167" y="64"/>
                  </a:lnTo>
                  <a:lnTo>
                    <a:pt x="169" y="62"/>
                  </a:lnTo>
                  <a:lnTo>
                    <a:pt x="175" y="64"/>
                  </a:lnTo>
                  <a:lnTo>
                    <a:pt x="175" y="62"/>
                  </a:lnTo>
                  <a:lnTo>
                    <a:pt x="178" y="64"/>
                  </a:lnTo>
                  <a:lnTo>
                    <a:pt x="186" y="60"/>
                  </a:lnTo>
                  <a:lnTo>
                    <a:pt x="186" y="54"/>
                  </a:lnTo>
                  <a:lnTo>
                    <a:pt x="184" y="54"/>
                  </a:lnTo>
                  <a:lnTo>
                    <a:pt x="184" y="52"/>
                  </a:lnTo>
                  <a:lnTo>
                    <a:pt x="178" y="54"/>
                  </a:lnTo>
                  <a:lnTo>
                    <a:pt x="177" y="54"/>
                  </a:lnTo>
                  <a:lnTo>
                    <a:pt x="173" y="56"/>
                  </a:lnTo>
                  <a:lnTo>
                    <a:pt x="171" y="52"/>
                  </a:lnTo>
                  <a:lnTo>
                    <a:pt x="165" y="54"/>
                  </a:lnTo>
                  <a:lnTo>
                    <a:pt x="163" y="52"/>
                  </a:lnTo>
                  <a:lnTo>
                    <a:pt x="153" y="52"/>
                  </a:lnTo>
                  <a:lnTo>
                    <a:pt x="148" y="54"/>
                  </a:lnTo>
                  <a:lnTo>
                    <a:pt x="150" y="56"/>
                  </a:lnTo>
                  <a:lnTo>
                    <a:pt x="146" y="54"/>
                  </a:lnTo>
                  <a:lnTo>
                    <a:pt x="146" y="58"/>
                  </a:lnTo>
                  <a:lnTo>
                    <a:pt x="140" y="56"/>
                  </a:lnTo>
                  <a:lnTo>
                    <a:pt x="134" y="60"/>
                  </a:lnTo>
                  <a:lnTo>
                    <a:pt x="132" y="54"/>
                  </a:lnTo>
                  <a:lnTo>
                    <a:pt x="130" y="49"/>
                  </a:lnTo>
                  <a:lnTo>
                    <a:pt x="129" y="47"/>
                  </a:lnTo>
                  <a:lnTo>
                    <a:pt x="129" y="45"/>
                  </a:lnTo>
                  <a:lnTo>
                    <a:pt x="138" y="43"/>
                  </a:lnTo>
                  <a:lnTo>
                    <a:pt x="140" y="41"/>
                  </a:lnTo>
                  <a:lnTo>
                    <a:pt x="140" y="37"/>
                  </a:lnTo>
                  <a:lnTo>
                    <a:pt x="132" y="31"/>
                  </a:lnTo>
                  <a:lnTo>
                    <a:pt x="134" y="27"/>
                  </a:lnTo>
                  <a:lnTo>
                    <a:pt x="130" y="24"/>
                  </a:lnTo>
                  <a:lnTo>
                    <a:pt x="132" y="22"/>
                  </a:lnTo>
                  <a:lnTo>
                    <a:pt x="138" y="22"/>
                  </a:lnTo>
                  <a:lnTo>
                    <a:pt x="144" y="20"/>
                  </a:lnTo>
                  <a:lnTo>
                    <a:pt x="146" y="18"/>
                  </a:lnTo>
                  <a:lnTo>
                    <a:pt x="155" y="14"/>
                  </a:lnTo>
                  <a:lnTo>
                    <a:pt x="157" y="12"/>
                  </a:lnTo>
                  <a:lnTo>
                    <a:pt x="161" y="12"/>
                  </a:lnTo>
                  <a:lnTo>
                    <a:pt x="167" y="10"/>
                  </a:lnTo>
                  <a:lnTo>
                    <a:pt x="173" y="12"/>
                  </a:lnTo>
                  <a:lnTo>
                    <a:pt x="182" y="12"/>
                  </a:lnTo>
                  <a:lnTo>
                    <a:pt x="184" y="8"/>
                  </a:lnTo>
                  <a:lnTo>
                    <a:pt x="190" y="6"/>
                  </a:lnTo>
                  <a:lnTo>
                    <a:pt x="194" y="2"/>
                  </a:lnTo>
                  <a:lnTo>
                    <a:pt x="200" y="0"/>
                  </a:lnTo>
                  <a:lnTo>
                    <a:pt x="201" y="4"/>
                  </a:lnTo>
                  <a:lnTo>
                    <a:pt x="200" y="4"/>
                  </a:lnTo>
                  <a:lnTo>
                    <a:pt x="200" y="6"/>
                  </a:lnTo>
                  <a:lnTo>
                    <a:pt x="205" y="10"/>
                  </a:lnTo>
                  <a:lnTo>
                    <a:pt x="209" y="16"/>
                  </a:lnTo>
                  <a:lnTo>
                    <a:pt x="207" y="18"/>
                  </a:lnTo>
                  <a:lnTo>
                    <a:pt x="205" y="25"/>
                  </a:lnTo>
                  <a:lnTo>
                    <a:pt x="205" y="35"/>
                  </a:lnTo>
                  <a:lnTo>
                    <a:pt x="209" y="35"/>
                  </a:lnTo>
                  <a:lnTo>
                    <a:pt x="211" y="39"/>
                  </a:lnTo>
                  <a:lnTo>
                    <a:pt x="213" y="39"/>
                  </a:lnTo>
                  <a:lnTo>
                    <a:pt x="213" y="41"/>
                  </a:lnTo>
                  <a:lnTo>
                    <a:pt x="223" y="43"/>
                  </a:lnTo>
                  <a:lnTo>
                    <a:pt x="224" y="45"/>
                  </a:lnTo>
                  <a:lnTo>
                    <a:pt x="228" y="47"/>
                  </a:lnTo>
                  <a:lnTo>
                    <a:pt x="234" y="47"/>
                  </a:lnTo>
                  <a:lnTo>
                    <a:pt x="240" y="47"/>
                  </a:lnTo>
                  <a:lnTo>
                    <a:pt x="244" y="45"/>
                  </a:lnTo>
                  <a:lnTo>
                    <a:pt x="248" y="45"/>
                  </a:lnTo>
                  <a:lnTo>
                    <a:pt x="249" y="47"/>
                  </a:lnTo>
                  <a:lnTo>
                    <a:pt x="255" y="49"/>
                  </a:lnTo>
                  <a:lnTo>
                    <a:pt x="263" y="52"/>
                  </a:lnTo>
                  <a:lnTo>
                    <a:pt x="267" y="56"/>
                  </a:lnTo>
                  <a:lnTo>
                    <a:pt x="269" y="64"/>
                  </a:lnTo>
                  <a:lnTo>
                    <a:pt x="278" y="68"/>
                  </a:lnTo>
                  <a:lnTo>
                    <a:pt x="280" y="70"/>
                  </a:lnTo>
                  <a:lnTo>
                    <a:pt x="284" y="70"/>
                  </a:lnTo>
                  <a:lnTo>
                    <a:pt x="288" y="68"/>
                  </a:lnTo>
                  <a:lnTo>
                    <a:pt x="290" y="72"/>
                  </a:lnTo>
                  <a:lnTo>
                    <a:pt x="296" y="70"/>
                  </a:lnTo>
                  <a:lnTo>
                    <a:pt x="297" y="72"/>
                  </a:lnTo>
                  <a:lnTo>
                    <a:pt x="303" y="72"/>
                  </a:lnTo>
                  <a:lnTo>
                    <a:pt x="313" y="72"/>
                  </a:lnTo>
                  <a:lnTo>
                    <a:pt x="315" y="73"/>
                  </a:lnTo>
                  <a:lnTo>
                    <a:pt x="322" y="72"/>
                  </a:lnTo>
                  <a:lnTo>
                    <a:pt x="326" y="73"/>
                  </a:lnTo>
                  <a:lnTo>
                    <a:pt x="328" y="72"/>
                  </a:lnTo>
                  <a:lnTo>
                    <a:pt x="336" y="72"/>
                  </a:lnTo>
                  <a:lnTo>
                    <a:pt x="345" y="72"/>
                  </a:lnTo>
                  <a:lnTo>
                    <a:pt x="351" y="70"/>
                  </a:lnTo>
                  <a:lnTo>
                    <a:pt x="361" y="72"/>
                  </a:lnTo>
                  <a:lnTo>
                    <a:pt x="370" y="75"/>
                  </a:lnTo>
                  <a:lnTo>
                    <a:pt x="374" y="73"/>
                  </a:lnTo>
                  <a:lnTo>
                    <a:pt x="378" y="81"/>
                  </a:lnTo>
                  <a:lnTo>
                    <a:pt x="380" y="85"/>
                  </a:lnTo>
                  <a:lnTo>
                    <a:pt x="378" y="87"/>
                  </a:lnTo>
                  <a:lnTo>
                    <a:pt x="382" y="89"/>
                  </a:lnTo>
                  <a:lnTo>
                    <a:pt x="382" y="93"/>
                  </a:lnTo>
                  <a:lnTo>
                    <a:pt x="382" y="95"/>
                  </a:lnTo>
                  <a:lnTo>
                    <a:pt x="378" y="95"/>
                  </a:lnTo>
                  <a:lnTo>
                    <a:pt x="376" y="97"/>
                  </a:lnTo>
                  <a:lnTo>
                    <a:pt x="378" y="98"/>
                  </a:lnTo>
                  <a:lnTo>
                    <a:pt x="378" y="100"/>
                  </a:lnTo>
                  <a:lnTo>
                    <a:pt x="382" y="102"/>
                  </a:lnTo>
                  <a:lnTo>
                    <a:pt x="382" y="104"/>
                  </a:lnTo>
                  <a:lnTo>
                    <a:pt x="390" y="104"/>
                  </a:lnTo>
                  <a:lnTo>
                    <a:pt x="391" y="104"/>
                  </a:lnTo>
                  <a:lnTo>
                    <a:pt x="393" y="106"/>
                  </a:lnTo>
                  <a:lnTo>
                    <a:pt x="401" y="104"/>
                  </a:lnTo>
                  <a:lnTo>
                    <a:pt x="403" y="106"/>
                  </a:lnTo>
                  <a:lnTo>
                    <a:pt x="407" y="104"/>
                  </a:lnTo>
                  <a:lnTo>
                    <a:pt x="407" y="102"/>
                  </a:lnTo>
                  <a:lnTo>
                    <a:pt x="413" y="102"/>
                  </a:lnTo>
                  <a:lnTo>
                    <a:pt x="414" y="97"/>
                  </a:lnTo>
                  <a:lnTo>
                    <a:pt x="416" y="93"/>
                  </a:lnTo>
                  <a:lnTo>
                    <a:pt x="420" y="93"/>
                  </a:lnTo>
                  <a:lnTo>
                    <a:pt x="424" y="93"/>
                  </a:lnTo>
                  <a:lnTo>
                    <a:pt x="432" y="93"/>
                  </a:lnTo>
                  <a:lnTo>
                    <a:pt x="432" y="87"/>
                  </a:lnTo>
                  <a:lnTo>
                    <a:pt x="436" y="87"/>
                  </a:lnTo>
                  <a:lnTo>
                    <a:pt x="436" y="83"/>
                  </a:lnTo>
                  <a:lnTo>
                    <a:pt x="430" y="77"/>
                  </a:lnTo>
                  <a:lnTo>
                    <a:pt x="439" y="72"/>
                  </a:lnTo>
                  <a:lnTo>
                    <a:pt x="443" y="68"/>
                  </a:lnTo>
                  <a:lnTo>
                    <a:pt x="443" y="66"/>
                  </a:lnTo>
                  <a:lnTo>
                    <a:pt x="449" y="62"/>
                  </a:lnTo>
                  <a:lnTo>
                    <a:pt x="449" y="60"/>
                  </a:lnTo>
                  <a:lnTo>
                    <a:pt x="447" y="56"/>
                  </a:lnTo>
                  <a:lnTo>
                    <a:pt x="449" y="54"/>
                  </a:lnTo>
                  <a:lnTo>
                    <a:pt x="449" y="50"/>
                  </a:lnTo>
                  <a:lnTo>
                    <a:pt x="449" y="49"/>
                  </a:lnTo>
                  <a:lnTo>
                    <a:pt x="455" y="49"/>
                  </a:lnTo>
                  <a:lnTo>
                    <a:pt x="457" y="47"/>
                  </a:lnTo>
                  <a:lnTo>
                    <a:pt x="462" y="49"/>
                  </a:lnTo>
                  <a:lnTo>
                    <a:pt x="464" y="45"/>
                  </a:lnTo>
                  <a:lnTo>
                    <a:pt x="472" y="41"/>
                  </a:lnTo>
                  <a:lnTo>
                    <a:pt x="478" y="37"/>
                  </a:lnTo>
                  <a:lnTo>
                    <a:pt x="476" y="31"/>
                  </a:lnTo>
                  <a:lnTo>
                    <a:pt x="482" y="35"/>
                  </a:lnTo>
                  <a:lnTo>
                    <a:pt x="486" y="35"/>
                  </a:lnTo>
                  <a:lnTo>
                    <a:pt x="489" y="35"/>
                  </a:lnTo>
                  <a:lnTo>
                    <a:pt x="491" y="35"/>
                  </a:lnTo>
                  <a:lnTo>
                    <a:pt x="493" y="35"/>
                  </a:lnTo>
                  <a:lnTo>
                    <a:pt x="493" y="37"/>
                  </a:lnTo>
                  <a:lnTo>
                    <a:pt x="495" y="39"/>
                  </a:lnTo>
                  <a:lnTo>
                    <a:pt x="497" y="37"/>
                  </a:lnTo>
                  <a:lnTo>
                    <a:pt x="497" y="35"/>
                  </a:lnTo>
                  <a:lnTo>
                    <a:pt x="503" y="35"/>
                  </a:lnTo>
                  <a:lnTo>
                    <a:pt x="503" y="31"/>
                  </a:lnTo>
                  <a:lnTo>
                    <a:pt x="507" y="31"/>
                  </a:lnTo>
                  <a:lnTo>
                    <a:pt x="516" y="31"/>
                  </a:lnTo>
                  <a:lnTo>
                    <a:pt x="524" y="29"/>
                  </a:lnTo>
                  <a:lnTo>
                    <a:pt x="530" y="37"/>
                  </a:lnTo>
                  <a:lnTo>
                    <a:pt x="532" y="41"/>
                  </a:lnTo>
                  <a:lnTo>
                    <a:pt x="533" y="45"/>
                  </a:lnTo>
                  <a:lnTo>
                    <a:pt x="533" y="52"/>
                  </a:lnTo>
                  <a:lnTo>
                    <a:pt x="537" y="54"/>
                  </a:lnTo>
                  <a:lnTo>
                    <a:pt x="533" y="56"/>
                  </a:lnTo>
                  <a:lnTo>
                    <a:pt x="526" y="52"/>
                  </a:lnTo>
                  <a:lnTo>
                    <a:pt x="520" y="52"/>
                  </a:lnTo>
                  <a:lnTo>
                    <a:pt x="516" y="54"/>
                  </a:lnTo>
                  <a:lnTo>
                    <a:pt x="518" y="62"/>
                  </a:lnTo>
                  <a:lnTo>
                    <a:pt x="522" y="64"/>
                  </a:lnTo>
                  <a:lnTo>
                    <a:pt x="524" y="72"/>
                  </a:lnTo>
                  <a:lnTo>
                    <a:pt x="526" y="72"/>
                  </a:lnTo>
                  <a:lnTo>
                    <a:pt x="528" y="68"/>
                  </a:lnTo>
                  <a:lnTo>
                    <a:pt x="532" y="70"/>
                  </a:lnTo>
                  <a:lnTo>
                    <a:pt x="532" y="73"/>
                  </a:lnTo>
                  <a:lnTo>
                    <a:pt x="533" y="73"/>
                  </a:lnTo>
                  <a:lnTo>
                    <a:pt x="535" y="73"/>
                  </a:lnTo>
                  <a:lnTo>
                    <a:pt x="535" y="72"/>
                  </a:lnTo>
                  <a:lnTo>
                    <a:pt x="541" y="72"/>
                  </a:lnTo>
                  <a:lnTo>
                    <a:pt x="543" y="73"/>
                  </a:lnTo>
                  <a:lnTo>
                    <a:pt x="545" y="70"/>
                  </a:lnTo>
                  <a:lnTo>
                    <a:pt x="547" y="73"/>
                  </a:lnTo>
                  <a:lnTo>
                    <a:pt x="549" y="73"/>
                  </a:lnTo>
                  <a:lnTo>
                    <a:pt x="551" y="72"/>
                  </a:lnTo>
                  <a:lnTo>
                    <a:pt x="557" y="72"/>
                  </a:lnTo>
                  <a:lnTo>
                    <a:pt x="557" y="68"/>
                  </a:lnTo>
                  <a:lnTo>
                    <a:pt x="566" y="72"/>
                  </a:lnTo>
                  <a:lnTo>
                    <a:pt x="572" y="72"/>
                  </a:lnTo>
                  <a:lnTo>
                    <a:pt x="572" y="70"/>
                  </a:lnTo>
                  <a:lnTo>
                    <a:pt x="576" y="70"/>
                  </a:lnTo>
                  <a:lnTo>
                    <a:pt x="580" y="68"/>
                  </a:lnTo>
                  <a:lnTo>
                    <a:pt x="587" y="66"/>
                  </a:lnTo>
                  <a:lnTo>
                    <a:pt x="589" y="64"/>
                  </a:lnTo>
                  <a:lnTo>
                    <a:pt x="597" y="60"/>
                  </a:lnTo>
                  <a:lnTo>
                    <a:pt x="599" y="52"/>
                  </a:lnTo>
                  <a:lnTo>
                    <a:pt x="608" y="52"/>
                  </a:lnTo>
                  <a:lnTo>
                    <a:pt x="606" y="50"/>
                  </a:lnTo>
                  <a:lnTo>
                    <a:pt x="608" y="49"/>
                  </a:lnTo>
                  <a:lnTo>
                    <a:pt x="612" y="50"/>
                  </a:lnTo>
                  <a:lnTo>
                    <a:pt x="614" y="50"/>
                  </a:lnTo>
                  <a:lnTo>
                    <a:pt x="618" y="50"/>
                  </a:lnTo>
                  <a:lnTo>
                    <a:pt x="620" y="47"/>
                  </a:lnTo>
                  <a:lnTo>
                    <a:pt x="624" y="49"/>
                  </a:lnTo>
                  <a:lnTo>
                    <a:pt x="624" y="54"/>
                  </a:lnTo>
                  <a:lnTo>
                    <a:pt x="626" y="58"/>
                  </a:lnTo>
                  <a:lnTo>
                    <a:pt x="628" y="60"/>
                  </a:lnTo>
                  <a:lnTo>
                    <a:pt x="633" y="56"/>
                  </a:lnTo>
                  <a:lnTo>
                    <a:pt x="639" y="58"/>
                  </a:lnTo>
                  <a:lnTo>
                    <a:pt x="641" y="60"/>
                  </a:lnTo>
                  <a:lnTo>
                    <a:pt x="647" y="62"/>
                  </a:lnTo>
                  <a:lnTo>
                    <a:pt x="652" y="62"/>
                  </a:lnTo>
                  <a:lnTo>
                    <a:pt x="656" y="62"/>
                  </a:lnTo>
                  <a:lnTo>
                    <a:pt x="658" y="62"/>
                  </a:lnTo>
                  <a:lnTo>
                    <a:pt x="658" y="60"/>
                  </a:lnTo>
                  <a:lnTo>
                    <a:pt x="662" y="62"/>
                  </a:lnTo>
                  <a:lnTo>
                    <a:pt x="666" y="60"/>
                  </a:lnTo>
                  <a:lnTo>
                    <a:pt x="674" y="60"/>
                  </a:lnTo>
                  <a:lnTo>
                    <a:pt x="674" y="58"/>
                  </a:lnTo>
                  <a:lnTo>
                    <a:pt x="679" y="60"/>
                  </a:lnTo>
                  <a:lnTo>
                    <a:pt x="679" y="58"/>
                  </a:lnTo>
                  <a:lnTo>
                    <a:pt x="676" y="54"/>
                  </a:lnTo>
                  <a:lnTo>
                    <a:pt x="677" y="52"/>
                  </a:lnTo>
                  <a:lnTo>
                    <a:pt x="677" y="50"/>
                  </a:lnTo>
                  <a:lnTo>
                    <a:pt x="677" y="49"/>
                  </a:lnTo>
                  <a:lnTo>
                    <a:pt x="679" y="49"/>
                  </a:lnTo>
                  <a:lnTo>
                    <a:pt x="683" y="47"/>
                  </a:lnTo>
                  <a:lnTo>
                    <a:pt x="687" y="49"/>
                  </a:lnTo>
                  <a:lnTo>
                    <a:pt x="697" y="49"/>
                  </a:lnTo>
                  <a:lnTo>
                    <a:pt x="697" y="45"/>
                  </a:lnTo>
                  <a:lnTo>
                    <a:pt x="700" y="45"/>
                  </a:lnTo>
                  <a:lnTo>
                    <a:pt x="702" y="41"/>
                  </a:lnTo>
                  <a:lnTo>
                    <a:pt x="710" y="43"/>
                  </a:lnTo>
                  <a:lnTo>
                    <a:pt x="710" y="37"/>
                  </a:lnTo>
                  <a:lnTo>
                    <a:pt x="714" y="35"/>
                  </a:lnTo>
                  <a:lnTo>
                    <a:pt x="718" y="39"/>
                  </a:lnTo>
                  <a:lnTo>
                    <a:pt x="724" y="39"/>
                  </a:lnTo>
                  <a:lnTo>
                    <a:pt x="727" y="41"/>
                  </a:lnTo>
                  <a:lnTo>
                    <a:pt x="731" y="39"/>
                  </a:lnTo>
                  <a:lnTo>
                    <a:pt x="739" y="41"/>
                  </a:lnTo>
                  <a:lnTo>
                    <a:pt x="741" y="45"/>
                  </a:lnTo>
                  <a:lnTo>
                    <a:pt x="739" y="47"/>
                  </a:lnTo>
                  <a:lnTo>
                    <a:pt x="741" y="50"/>
                  </a:lnTo>
                  <a:lnTo>
                    <a:pt x="745" y="52"/>
                  </a:lnTo>
                  <a:lnTo>
                    <a:pt x="743" y="54"/>
                  </a:lnTo>
                  <a:lnTo>
                    <a:pt x="747" y="54"/>
                  </a:lnTo>
                  <a:lnTo>
                    <a:pt x="756" y="52"/>
                  </a:lnTo>
                  <a:lnTo>
                    <a:pt x="756" y="50"/>
                  </a:lnTo>
                  <a:lnTo>
                    <a:pt x="764" y="49"/>
                  </a:lnTo>
                  <a:lnTo>
                    <a:pt x="770" y="50"/>
                  </a:lnTo>
                  <a:lnTo>
                    <a:pt x="777" y="56"/>
                  </a:lnTo>
                  <a:lnTo>
                    <a:pt x="783" y="56"/>
                  </a:lnTo>
                  <a:lnTo>
                    <a:pt x="785" y="52"/>
                  </a:lnTo>
                  <a:lnTo>
                    <a:pt x="789" y="52"/>
                  </a:lnTo>
                  <a:lnTo>
                    <a:pt x="793" y="56"/>
                  </a:lnTo>
                  <a:lnTo>
                    <a:pt x="796" y="52"/>
                  </a:lnTo>
                  <a:lnTo>
                    <a:pt x="798" y="52"/>
                  </a:lnTo>
                  <a:lnTo>
                    <a:pt x="806" y="49"/>
                  </a:lnTo>
                  <a:lnTo>
                    <a:pt x="806" y="47"/>
                  </a:lnTo>
                  <a:lnTo>
                    <a:pt x="810" y="47"/>
                  </a:lnTo>
                  <a:lnTo>
                    <a:pt x="816" y="45"/>
                  </a:lnTo>
                  <a:lnTo>
                    <a:pt x="816" y="47"/>
                  </a:lnTo>
                  <a:lnTo>
                    <a:pt x="821" y="47"/>
                  </a:lnTo>
                  <a:lnTo>
                    <a:pt x="825" y="50"/>
                  </a:lnTo>
                  <a:lnTo>
                    <a:pt x="827" y="50"/>
                  </a:lnTo>
                  <a:lnTo>
                    <a:pt x="827" y="52"/>
                  </a:lnTo>
                  <a:lnTo>
                    <a:pt x="829" y="50"/>
                  </a:lnTo>
                  <a:lnTo>
                    <a:pt x="827" y="54"/>
                  </a:lnTo>
                  <a:lnTo>
                    <a:pt x="833" y="56"/>
                  </a:lnTo>
                  <a:lnTo>
                    <a:pt x="833" y="60"/>
                  </a:lnTo>
                  <a:lnTo>
                    <a:pt x="837" y="66"/>
                  </a:lnTo>
                  <a:lnTo>
                    <a:pt x="835" y="70"/>
                  </a:lnTo>
                  <a:lnTo>
                    <a:pt x="837" y="73"/>
                  </a:lnTo>
                  <a:lnTo>
                    <a:pt x="841" y="73"/>
                  </a:lnTo>
                  <a:lnTo>
                    <a:pt x="843" y="70"/>
                  </a:lnTo>
                  <a:lnTo>
                    <a:pt x="848" y="70"/>
                  </a:lnTo>
                  <a:lnTo>
                    <a:pt x="850" y="73"/>
                  </a:lnTo>
                  <a:lnTo>
                    <a:pt x="852" y="73"/>
                  </a:lnTo>
                  <a:lnTo>
                    <a:pt x="852" y="75"/>
                  </a:lnTo>
                  <a:lnTo>
                    <a:pt x="856" y="75"/>
                  </a:lnTo>
                  <a:lnTo>
                    <a:pt x="856" y="77"/>
                  </a:lnTo>
                  <a:lnTo>
                    <a:pt x="864" y="77"/>
                  </a:lnTo>
                  <a:close/>
                  <a:moveTo>
                    <a:pt x="165" y="679"/>
                  </a:moveTo>
                  <a:lnTo>
                    <a:pt x="163" y="675"/>
                  </a:lnTo>
                  <a:lnTo>
                    <a:pt x="159" y="675"/>
                  </a:lnTo>
                  <a:lnTo>
                    <a:pt x="159" y="679"/>
                  </a:lnTo>
                  <a:lnTo>
                    <a:pt x="165" y="679"/>
                  </a:lnTo>
                  <a:close/>
                </a:path>
              </a:pathLst>
            </a:custGeom>
            <a:solidFill>
              <a:schemeClr val="accent3"/>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24" name="Freeform 16">
              <a:extLst>
                <a:ext uri="{FF2B5EF4-FFF2-40B4-BE49-F238E27FC236}">
                  <a16:creationId xmlns:a16="http://schemas.microsoft.com/office/drawing/2014/main" id="{7855BF9E-F208-4109-A41D-0F5AFA02187B}"/>
                </a:ext>
              </a:extLst>
            </p:cNvPr>
            <p:cNvSpPr>
              <a:spLocks noEditPoints="1"/>
            </p:cNvSpPr>
            <p:nvPr/>
          </p:nvSpPr>
          <p:spPr bwMode="gray">
            <a:xfrm>
              <a:off x="3476626" y="3335340"/>
              <a:ext cx="1063625" cy="790575"/>
            </a:xfrm>
            <a:custGeom>
              <a:avLst/>
              <a:gdLst>
                <a:gd name="T0" fmla="*/ 117 w 670"/>
                <a:gd name="T1" fmla="*/ 246 h 498"/>
                <a:gd name="T2" fmla="*/ 175 w 670"/>
                <a:gd name="T3" fmla="*/ 237 h 498"/>
                <a:gd name="T4" fmla="*/ 238 w 670"/>
                <a:gd name="T5" fmla="*/ 189 h 498"/>
                <a:gd name="T6" fmla="*/ 2 w 670"/>
                <a:gd name="T7" fmla="*/ 120 h 498"/>
                <a:gd name="T8" fmla="*/ 666 w 670"/>
                <a:gd name="T9" fmla="*/ 194 h 498"/>
                <a:gd name="T10" fmla="*/ 620 w 670"/>
                <a:gd name="T11" fmla="*/ 239 h 498"/>
                <a:gd name="T12" fmla="*/ 643 w 670"/>
                <a:gd name="T13" fmla="*/ 254 h 498"/>
                <a:gd name="T14" fmla="*/ 632 w 670"/>
                <a:gd name="T15" fmla="*/ 296 h 498"/>
                <a:gd name="T16" fmla="*/ 595 w 670"/>
                <a:gd name="T17" fmla="*/ 344 h 498"/>
                <a:gd name="T18" fmla="*/ 641 w 670"/>
                <a:gd name="T19" fmla="*/ 354 h 498"/>
                <a:gd name="T20" fmla="*/ 593 w 670"/>
                <a:gd name="T21" fmla="*/ 383 h 498"/>
                <a:gd name="T22" fmla="*/ 590 w 670"/>
                <a:gd name="T23" fmla="*/ 396 h 498"/>
                <a:gd name="T24" fmla="*/ 593 w 670"/>
                <a:gd name="T25" fmla="*/ 444 h 498"/>
                <a:gd name="T26" fmla="*/ 553 w 670"/>
                <a:gd name="T27" fmla="*/ 448 h 498"/>
                <a:gd name="T28" fmla="*/ 534 w 670"/>
                <a:gd name="T29" fmla="*/ 488 h 498"/>
                <a:gd name="T30" fmla="*/ 509 w 670"/>
                <a:gd name="T31" fmla="*/ 488 h 498"/>
                <a:gd name="T32" fmla="*/ 492 w 670"/>
                <a:gd name="T33" fmla="*/ 483 h 498"/>
                <a:gd name="T34" fmla="*/ 478 w 670"/>
                <a:gd name="T35" fmla="*/ 479 h 498"/>
                <a:gd name="T36" fmla="*/ 488 w 670"/>
                <a:gd name="T37" fmla="*/ 433 h 498"/>
                <a:gd name="T38" fmla="*/ 478 w 670"/>
                <a:gd name="T39" fmla="*/ 396 h 498"/>
                <a:gd name="T40" fmla="*/ 465 w 670"/>
                <a:gd name="T41" fmla="*/ 369 h 498"/>
                <a:gd name="T42" fmla="*/ 467 w 670"/>
                <a:gd name="T43" fmla="*/ 337 h 498"/>
                <a:gd name="T44" fmla="*/ 471 w 670"/>
                <a:gd name="T45" fmla="*/ 300 h 498"/>
                <a:gd name="T46" fmla="*/ 484 w 670"/>
                <a:gd name="T47" fmla="*/ 275 h 498"/>
                <a:gd name="T48" fmla="*/ 442 w 670"/>
                <a:gd name="T49" fmla="*/ 264 h 498"/>
                <a:gd name="T50" fmla="*/ 428 w 670"/>
                <a:gd name="T51" fmla="*/ 306 h 498"/>
                <a:gd name="T52" fmla="*/ 409 w 670"/>
                <a:gd name="T53" fmla="*/ 369 h 498"/>
                <a:gd name="T54" fmla="*/ 357 w 670"/>
                <a:gd name="T55" fmla="*/ 406 h 498"/>
                <a:gd name="T56" fmla="*/ 315 w 670"/>
                <a:gd name="T57" fmla="*/ 423 h 498"/>
                <a:gd name="T58" fmla="*/ 246 w 670"/>
                <a:gd name="T59" fmla="*/ 427 h 498"/>
                <a:gd name="T60" fmla="*/ 171 w 670"/>
                <a:gd name="T61" fmla="*/ 365 h 498"/>
                <a:gd name="T62" fmla="*/ 112 w 670"/>
                <a:gd name="T63" fmla="*/ 306 h 498"/>
                <a:gd name="T64" fmla="*/ 94 w 670"/>
                <a:gd name="T65" fmla="*/ 250 h 498"/>
                <a:gd name="T66" fmla="*/ 144 w 670"/>
                <a:gd name="T67" fmla="*/ 254 h 498"/>
                <a:gd name="T68" fmla="*/ 164 w 670"/>
                <a:gd name="T69" fmla="*/ 248 h 498"/>
                <a:gd name="T70" fmla="*/ 185 w 670"/>
                <a:gd name="T71" fmla="*/ 237 h 498"/>
                <a:gd name="T72" fmla="*/ 238 w 670"/>
                <a:gd name="T73" fmla="*/ 194 h 498"/>
                <a:gd name="T74" fmla="*/ 217 w 670"/>
                <a:gd name="T75" fmla="*/ 189 h 498"/>
                <a:gd name="T76" fmla="*/ 177 w 670"/>
                <a:gd name="T77" fmla="*/ 200 h 498"/>
                <a:gd name="T78" fmla="*/ 137 w 670"/>
                <a:gd name="T79" fmla="*/ 210 h 498"/>
                <a:gd name="T80" fmla="*/ 50 w 670"/>
                <a:gd name="T81" fmla="*/ 169 h 498"/>
                <a:gd name="T82" fmla="*/ 41 w 670"/>
                <a:gd name="T83" fmla="*/ 156 h 498"/>
                <a:gd name="T84" fmla="*/ 35 w 670"/>
                <a:gd name="T85" fmla="*/ 141 h 498"/>
                <a:gd name="T86" fmla="*/ 27 w 670"/>
                <a:gd name="T87" fmla="*/ 131 h 498"/>
                <a:gd name="T88" fmla="*/ 56 w 670"/>
                <a:gd name="T89" fmla="*/ 95 h 498"/>
                <a:gd name="T90" fmla="*/ 25 w 670"/>
                <a:gd name="T91" fmla="*/ 114 h 498"/>
                <a:gd name="T92" fmla="*/ 2 w 670"/>
                <a:gd name="T93" fmla="*/ 106 h 498"/>
                <a:gd name="T94" fmla="*/ 79 w 670"/>
                <a:gd name="T95" fmla="*/ 54 h 498"/>
                <a:gd name="T96" fmla="*/ 160 w 670"/>
                <a:gd name="T97" fmla="*/ 45 h 498"/>
                <a:gd name="T98" fmla="*/ 250 w 670"/>
                <a:gd name="T99" fmla="*/ 35 h 498"/>
                <a:gd name="T100" fmla="*/ 259 w 670"/>
                <a:gd name="T101" fmla="*/ 39 h 498"/>
                <a:gd name="T102" fmla="*/ 319 w 670"/>
                <a:gd name="T103" fmla="*/ 31 h 498"/>
                <a:gd name="T104" fmla="*/ 338 w 670"/>
                <a:gd name="T105" fmla="*/ 10 h 498"/>
                <a:gd name="T106" fmla="*/ 413 w 670"/>
                <a:gd name="T107" fmla="*/ 2 h 498"/>
                <a:gd name="T108" fmla="*/ 449 w 670"/>
                <a:gd name="T109" fmla="*/ 16 h 498"/>
                <a:gd name="T110" fmla="*/ 517 w 670"/>
                <a:gd name="T111" fmla="*/ 37 h 498"/>
                <a:gd name="T112" fmla="*/ 532 w 670"/>
                <a:gd name="T113" fmla="*/ 45 h 498"/>
                <a:gd name="T114" fmla="*/ 555 w 670"/>
                <a:gd name="T115" fmla="*/ 93 h 498"/>
                <a:gd name="T116" fmla="*/ 582 w 670"/>
                <a:gd name="T117" fmla="*/ 137 h 498"/>
                <a:gd name="T118" fmla="*/ 630 w 670"/>
                <a:gd name="T119" fmla="*/ 154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0" h="498">
                  <a:moveTo>
                    <a:pt x="499" y="486"/>
                  </a:moveTo>
                  <a:lnTo>
                    <a:pt x="503" y="486"/>
                  </a:lnTo>
                  <a:lnTo>
                    <a:pt x="503" y="488"/>
                  </a:lnTo>
                  <a:lnTo>
                    <a:pt x="499" y="488"/>
                  </a:lnTo>
                  <a:lnTo>
                    <a:pt x="499" y="486"/>
                  </a:lnTo>
                  <a:close/>
                  <a:moveTo>
                    <a:pt x="480" y="333"/>
                  </a:moveTo>
                  <a:lnTo>
                    <a:pt x="478" y="333"/>
                  </a:lnTo>
                  <a:lnTo>
                    <a:pt x="476" y="331"/>
                  </a:lnTo>
                  <a:lnTo>
                    <a:pt x="480" y="333"/>
                  </a:lnTo>
                  <a:close/>
                  <a:moveTo>
                    <a:pt x="150" y="250"/>
                  </a:moveTo>
                  <a:lnTo>
                    <a:pt x="146" y="248"/>
                  </a:lnTo>
                  <a:lnTo>
                    <a:pt x="146" y="246"/>
                  </a:lnTo>
                  <a:lnTo>
                    <a:pt x="152" y="244"/>
                  </a:lnTo>
                  <a:lnTo>
                    <a:pt x="154" y="248"/>
                  </a:lnTo>
                  <a:lnTo>
                    <a:pt x="150" y="250"/>
                  </a:lnTo>
                  <a:close/>
                  <a:moveTo>
                    <a:pt x="116" y="242"/>
                  </a:moveTo>
                  <a:lnTo>
                    <a:pt x="117" y="242"/>
                  </a:lnTo>
                  <a:lnTo>
                    <a:pt x="117" y="246"/>
                  </a:lnTo>
                  <a:lnTo>
                    <a:pt x="116" y="246"/>
                  </a:lnTo>
                  <a:lnTo>
                    <a:pt x="116" y="242"/>
                  </a:lnTo>
                  <a:close/>
                  <a:moveTo>
                    <a:pt x="98" y="242"/>
                  </a:moveTo>
                  <a:lnTo>
                    <a:pt x="98" y="246"/>
                  </a:lnTo>
                  <a:lnTo>
                    <a:pt x="98" y="244"/>
                  </a:lnTo>
                  <a:lnTo>
                    <a:pt x="96" y="244"/>
                  </a:lnTo>
                  <a:lnTo>
                    <a:pt x="94" y="246"/>
                  </a:lnTo>
                  <a:lnTo>
                    <a:pt x="93" y="248"/>
                  </a:lnTo>
                  <a:lnTo>
                    <a:pt x="93" y="244"/>
                  </a:lnTo>
                  <a:lnTo>
                    <a:pt x="98" y="242"/>
                  </a:lnTo>
                  <a:close/>
                  <a:moveTo>
                    <a:pt x="119" y="237"/>
                  </a:moveTo>
                  <a:lnTo>
                    <a:pt x="123" y="239"/>
                  </a:lnTo>
                  <a:lnTo>
                    <a:pt x="119" y="239"/>
                  </a:lnTo>
                  <a:lnTo>
                    <a:pt x="117" y="239"/>
                  </a:lnTo>
                  <a:lnTo>
                    <a:pt x="119" y="237"/>
                  </a:lnTo>
                  <a:close/>
                  <a:moveTo>
                    <a:pt x="183" y="237"/>
                  </a:moveTo>
                  <a:lnTo>
                    <a:pt x="181" y="239"/>
                  </a:lnTo>
                  <a:lnTo>
                    <a:pt x="175" y="237"/>
                  </a:lnTo>
                  <a:lnTo>
                    <a:pt x="179" y="239"/>
                  </a:lnTo>
                  <a:lnTo>
                    <a:pt x="183" y="235"/>
                  </a:lnTo>
                  <a:lnTo>
                    <a:pt x="183" y="237"/>
                  </a:lnTo>
                  <a:close/>
                  <a:moveTo>
                    <a:pt x="194" y="231"/>
                  </a:moveTo>
                  <a:lnTo>
                    <a:pt x="192" y="235"/>
                  </a:lnTo>
                  <a:lnTo>
                    <a:pt x="187" y="235"/>
                  </a:lnTo>
                  <a:lnTo>
                    <a:pt x="187" y="231"/>
                  </a:lnTo>
                  <a:lnTo>
                    <a:pt x="192" y="231"/>
                  </a:lnTo>
                  <a:lnTo>
                    <a:pt x="194" y="231"/>
                  </a:lnTo>
                  <a:close/>
                  <a:moveTo>
                    <a:pt x="152" y="212"/>
                  </a:moveTo>
                  <a:lnTo>
                    <a:pt x="156" y="212"/>
                  </a:lnTo>
                  <a:lnTo>
                    <a:pt x="156" y="214"/>
                  </a:lnTo>
                  <a:lnTo>
                    <a:pt x="152" y="214"/>
                  </a:lnTo>
                  <a:lnTo>
                    <a:pt x="152" y="212"/>
                  </a:lnTo>
                  <a:close/>
                  <a:moveTo>
                    <a:pt x="238" y="187"/>
                  </a:moveTo>
                  <a:lnTo>
                    <a:pt x="242" y="187"/>
                  </a:lnTo>
                  <a:lnTo>
                    <a:pt x="242" y="189"/>
                  </a:lnTo>
                  <a:lnTo>
                    <a:pt x="238" y="189"/>
                  </a:lnTo>
                  <a:lnTo>
                    <a:pt x="238" y="187"/>
                  </a:lnTo>
                  <a:close/>
                  <a:moveTo>
                    <a:pt x="35" y="144"/>
                  </a:moveTo>
                  <a:lnTo>
                    <a:pt x="35" y="146"/>
                  </a:lnTo>
                  <a:lnTo>
                    <a:pt x="35" y="144"/>
                  </a:lnTo>
                  <a:close/>
                  <a:moveTo>
                    <a:pt x="25" y="141"/>
                  </a:moveTo>
                  <a:lnTo>
                    <a:pt x="27" y="141"/>
                  </a:lnTo>
                  <a:lnTo>
                    <a:pt x="27" y="143"/>
                  </a:lnTo>
                  <a:lnTo>
                    <a:pt x="25" y="143"/>
                  </a:lnTo>
                  <a:lnTo>
                    <a:pt x="25" y="141"/>
                  </a:lnTo>
                  <a:close/>
                  <a:moveTo>
                    <a:pt x="33" y="120"/>
                  </a:moveTo>
                  <a:lnTo>
                    <a:pt x="31" y="121"/>
                  </a:lnTo>
                  <a:lnTo>
                    <a:pt x="29" y="121"/>
                  </a:lnTo>
                  <a:lnTo>
                    <a:pt x="29" y="120"/>
                  </a:lnTo>
                  <a:lnTo>
                    <a:pt x="33" y="118"/>
                  </a:lnTo>
                  <a:lnTo>
                    <a:pt x="33" y="120"/>
                  </a:lnTo>
                  <a:close/>
                  <a:moveTo>
                    <a:pt x="0" y="118"/>
                  </a:moveTo>
                  <a:lnTo>
                    <a:pt x="2" y="118"/>
                  </a:lnTo>
                  <a:lnTo>
                    <a:pt x="2" y="120"/>
                  </a:lnTo>
                  <a:lnTo>
                    <a:pt x="0" y="120"/>
                  </a:lnTo>
                  <a:lnTo>
                    <a:pt x="0" y="118"/>
                  </a:lnTo>
                  <a:close/>
                  <a:moveTo>
                    <a:pt x="45" y="98"/>
                  </a:moveTo>
                  <a:lnTo>
                    <a:pt x="46" y="98"/>
                  </a:lnTo>
                  <a:lnTo>
                    <a:pt x="46" y="100"/>
                  </a:lnTo>
                  <a:lnTo>
                    <a:pt x="45" y="100"/>
                  </a:lnTo>
                  <a:lnTo>
                    <a:pt x="45" y="98"/>
                  </a:lnTo>
                  <a:close/>
                  <a:moveTo>
                    <a:pt x="50" y="96"/>
                  </a:moveTo>
                  <a:lnTo>
                    <a:pt x="46" y="100"/>
                  </a:lnTo>
                  <a:lnTo>
                    <a:pt x="46" y="96"/>
                  </a:lnTo>
                  <a:lnTo>
                    <a:pt x="50" y="96"/>
                  </a:lnTo>
                  <a:close/>
                  <a:moveTo>
                    <a:pt x="655" y="179"/>
                  </a:moveTo>
                  <a:lnTo>
                    <a:pt x="657" y="183"/>
                  </a:lnTo>
                  <a:lnTo>
                    <a:pt x="659" y="189"/>
                  </a:lnTo>
                  <a:lnTo>
                    <a:pt x="655" y="191"/>
                  </a:lnTo>
                  <a:lnTo>
                    <a:pt x="659" y="193"/>
                  </a:lnTo>
                  <a:lnTo>
                    <a:pt x="663" y="196"/>
                  </a:lnTo>
                  <a:lnTo>
                    <a:pt x="666" y="194"/>
                  </a:lnTo>
                  <a:lnTo>
                    <a:pt x="670" y="202"/>
                  </a:lnTo>
                  <a:lnTo>
                    <a:pt x="668" y="206"/>
                  </a:lnTo>
                  <a:lnTo>
                    <a:pt x="666" y="208"/>
                  </a:lnTo>
                  <a:lnTo>
                    <a:pt x="664" y="210"/>
                  </a:lnTo>
                  <a:lnTo>
                    <a:pt x="661" y="216"/>
                  </a:lnTo>
                  <a:lnTo>
                    <a:pt x="659" y="221"/>
                  </a:lnTo>
                  <a:lnTo>
                    <a:pt x="659" y="225"/>
                  </a:lnTo>
                  <a:lnTo>
                    <a:pt x="657" y="225"/>
                  </a:lnTo>
                  <a:lnTo>
                    <a:pt x="649" y="225"/>
                  </a:lnTo>
                  <a:lnTo>
                    <a:pt x="645" y="225"/>
                  </a:lnTo>
                  <a:lnTo>
                    <a:pt x="640" y="233"/>
                  </a:lnTo>
                  <a:lnTo>
                    <a:pt x="638" y="233"/>
                  </a:lnTo>
                  <a:lnTo>
                    <a:pt x="638" y="235"/>
                  </a:lnTo>
                  <a:lnTo>
                    <a:pt x="636" y="237"/>
                  </a:lnTo>
                  <a:lnTo>
                    <a:pt x="634" y="239"/>
                  </a:lnTo>
                  <a:lnTo>
                    <a:pt x="626" y="235"/>
                  </a:lnTo>
                  <a:lnTo>
                    <a:pt x="622" y="237"/>
                  </a:lnTo>
                  <a:lnTo>
                    <a:pt x="620" y="239"/>
                  </a:lnTo>
                  <a:lnTo>
                    <a:pt x="622" y="241"/>
                  </a:lnTo>
                  <a:lnTo>
                    <a:pt x="624" y="239"/>
                  </a:lnTo>
                  <a:lnTo>
                    <a:pt x="626" y="239"/>
                  </a:lnTo>
                  <a:lnTo>
                    <a:pt x="626" y="242"/>
                  </a:lnTo>
                  <a:lnTo>
                    <a:pt x="626" y="244"/>
                  </a:lnTo>
                  <a:lnTo>
                    <a:pt x="628" y="244"/>
                  </a:lnTo>
                  <a:lnTo>
                    <a:pt x="628" y="248"/>
                  </a:lnTo>
                  <a:lnTo>
                    <a:pt x="630" y="248"/>
                  </a:lnTo>
                  <a:lnTo>
                    <a:pt x="632" y="244"/>
                  </a:lnTo>
                  <a:lnTo>
                    <a:pt x="634" y="244"/>
                  </a:lnTo>
                  <a:lnTo>
                    <a:pt x="634" y="248"/>
                  </a:lnTo>
                  <a:lnTo>
                    <a:pt x="638" y="246"/>
                  </a:lnTo>
                  <a:lnTo>
                    <a:pt x="638" y="242"/>
                  </a:lnTo>
                  <a:lnTo>
                    <a:pt x="640" y="246"/>
                  </a:lnTo>
                  <a:lnTo>
                    <a:pt x="643" y="248"/>
                  </a:lnTo>
                  <a:lnTo>
                    <a:pt x="649" y="252"/>
                  </a:lnTo>
                  <a:lnTo>
                    <a:pt x="645" y="252"/>
                  </a:lnTo>
                  <a:lnTo>
                    <a:pt x="643" y="254"/>
                  </a:lnTo>
                  <a:lnTo>
                    <a:pt x="641" y="254"/>
                  </a:lnTo>
                  <a:lnTo>
                    <a:pt x="641" y="256"/>
                  </a:lnTo>
                  <a:lnTo>
                    <a:pt x="640" y="254"/>
                  </a:lnTo>
                  <a:lnTo>
                    <a:pt x="638" y="260"/>
                  </a:lnTo>
                  <a:lnTo>
                    <a:pt x="630" y="258"/>
                  </a:lnTo>
                  <a:lnTo>
                    <a:pt x="628" y="254"/>
                  </a:lnTo>
                  <a:lnTo>
                    <a:pt x="624" y="256"/>
                  </a:lnTo>
                  <a:lnTo>
                    <a:pt x="622" y="262"/>
                  </a:lnTo>
                  <a:lnTo>
                    <a:pt x="626" y="267"/>
                  </a:lnTo>
                  <a:lnTo>
                    <a:pt x="624" y="271"/>
                  </a:lnTo>
                  <a:lnTo>
                    <a:pt x="630" y="271"/>
                  </a:lnTo>
                  <a:lnTo>
                    <a:pt x="630" y="277"/>
                  </a:lnTo>
                  <a:lnTo>
                    <a:pt x="630" y="285"/>
                  </a:lnTo>
                  <a:lnTo>
                    <a:pt x="636" y="285"/>
                  </a:lnTo>
                  <a:lnTo>
                    <a:pt x="632" y="289"/>
                  </a:lnTo>
                  <a:lnTo>
                    <a:pt x="626" y="292"/>
                  </a:lnTo>
                  <a:lnTo>
                    <a:pt x="626" y="294"/>
                  </a:lnTo>
                  <a:lnTo>
                    <a:pt x="632" y="296"/>
                  </a:lnTo>
                  <a:lnTo>
                    <a:pt x="630" y="300"/>
                  </a:lnTo>
                  <a:lnTo>
                    <a:pt x="624" y="302"/>
                  </a:lnTo>
                  <a:lnTo>
                    <a:pt x="620" y="302"/>
                  </a:lnTo>
                  <a:lnTo>
                    <a:pt x="618" y="304"/>
                  </a:lnTo>
                  <a:lnTo>
                    <a:pt x="609" y="308"/>
                  </a:lnTo>
                  <a:lnTo>
                    <a:pt x="607" y="310"/>
                  </a:lnTo>
                  <a:lnTo>
                    <a:pt x="601" y="312"/>
                  </a:lnTo>
                  <a:lnTo>
                    <a:pt x="595" y="312"/>
                  </a:lnTo>
                  <a:lnTo>
                    <a:pt x="593" y="314"/>
                  </a:lnTo>
                  <a:lnTo>
                    <a:pt x="597" y="317"/>
                  </a:lnTo>
                  <a:lnTo>
                    <a:pt x="595" y="321"/>
                  </a:lnTo>
                  <a:lnTo>
                    <a:pt x="603" y="327"/>
                  </a:lnTo>
                  <a:lnTo>
                    <a:pt x="603" y="331"/>
                  </a:lnTo>
                  <a:lnTo>
                    <a:pt x="601" y="333"/>
                  </a:lnTo>
                  <a:lnTo>
                    <a:pt x="592" y="335"/>
                  </a:lnTo>
                  <a:lnTo>
                    <a:pt x="592" y="337"/>
                  </a:lnTo>
                  <a:lnTo>
                    <a:pt x="593" y="339"/>
                  </a:lnTo>
                  <a:lnTo>
                    <a:pt x="595" y="344"/>
                  </a:lnTo>
                  <a:lnTo>
                    <a:pt x="597" y="350"/>
                  </a:lnTo>
                  <a:lnTo>
                    <a:pt x="603" y="346"/>
                  </a:lnTo>
                  <a:lnTo>
                    <a:pt x="609" y="348"/>
                  </a:lnTo>
                  <a:lnTo>
                    <a:pt x="609" y="344"/>
                  </a:lnTo>
                  <a:lnTo>
                    <a:pt x="613" y="346"/>
                  </a:lnTo>
                  <a:lnTo>
                    <a:pt x="611" y="344"/>
                  </a:lnTo>
                  <a:lnTo>
                    <a:pt x="616" y="342"/>
                  </a:lnTo>
                  <a:lnTo>
                    <a:pt x="626" y="342"/>
                  </a:lnTo>
                  <a:lnTo>
                    <a:pt x="628" y="344"/>
                  </a:lnTo>
                  <a:lnTo>
                    <a:pt x="634" y="342"/>
                  </a:lnTo>
                  <a:lnTo>
                    <a:pt x="636" y="346"/>
                  </a:lnTo>
                  <a:lnTo>
                    <a:pt x="640" y="344"/>
                  </a:lnTo>
                  <a:lnTo>
                    <a:pt x="641" y="344"/>
                  </a:lnTo>
                  <a:lnTo>
                    <a:pt x="647" y="342"/>
                  </a:lnTo>
                  <a:lnTo>
                    <a:pt x="647" y="344"/>
                  </a:lnTo>
                  <a:lnTo>
                    <a:pt x="649" y="344"/>
                  </a:lnTo>
                  <a:lnTo>
                    <a:pt x="649" y="350"/>
                  </a:lnTo>
                  <a:lnTo>
                    <a:pt x="641" y="354"/>
                  </a:lnTo>
                  <a:lnTo>
                    <a:pt x="638" y="352"/>
                  </a:lnTo>
                  <a:lnTo>
                    <a:pt x="638" y="354"/>
                  </a:lnTo>
                  <a:lnTo>
                    <a:pt x="632" y="352"/>
                  </a:lnTo>
                  <a:lnTo>
                    <a:pt x="630" y="354"/>
                  </a:lnTo>
                  <a:lnTo>
                    <a:pt x="628" y="354"/>
                  </a:lnTo>
                  <a:lnTo>
                    <a:pt x="624" y="354"/>
                  </a:lnTo>
                  <a:lnTo>
                    <a:pt x="622" y="354"/>
                  </a:lnTo>
                  <a:lnTo>
                    <a:pt x="620" y="350"/>
                  </a:lnTo>
                  <a:lnTo>
                    <a:pt x="618" y="358"/>
                  </a:lnTo>
                  <a:lnTo>
                    <a:pt x="615" y="358"/>
                  </a:lnTo>
                  <a:lnTo>
                    <a:pt x="609" y="362"/>
                  </a:lnTo>
                  <a:lnTo>
                    <a:pt x="607" y="360"/>
                  </a:lnTo>
                  <a:lnTo>
                    <a:pt x="607" y="365"/>
                  </a:lnTo>
                  <a:lnTo>
                    <a:pt x="607" y="371"/>
                  </a:lnTo>
                  <a:lnTo>
                    <a:pt x="601" y="375"/>
                  </a:lnTo>
                  <a:lnTo>
                    <a:pt x="593" y="375"/>
                  </a:lnTo>
                  <a:lnTo>
                    <a:pt x="592" y="381"/>
                  </a:lnTo>
                  <a:lnTo>
                    <a:pt x="593" y="383"/>
                  </a:lnTo>
                  <a:lnTo>
                    <a:pt x="593" y="385"/>
                  </a:lnTo>
                  <a:lnTo>
                    <a:pt x="584" y="385"/>
                  </a:lnTo>
                  <a:lnTo>
                    <a:pt x="584" y="388"/>
                  </a:lnTo>
                  <a:lnTo>
                    <a:pt x="576" y="387"/>
                  </a:lnTo>
                  <a:lnTo>
                    <a:pt x="572" y="388"/>
                  </a:lnTo>
                  <a:lnTo>
                    <a:pt x="570" y="385"/>
                  </a:lnTo>
                  <a:lnTo>
                    <a:pt x="567" y="385"/>
                  </a:lnTo>
                  <a:lnTo>
                    <a:pt x="572" y="387"/>
                  </a:lnTo>
                  <a:lnTo>
                    <a:pt x="572" y="390"/>
                  </a:lnTo>
                  <a:lnTo>
                    <a:pt x="574" y="390"/>
                  </a:lnTo>
                  <a:lnTo>
                    <a:pt x="576" y="392"/>
                  </a:lnTo>
                  <a:lnTo>
                    <a:pt x="580" y="392"/>
                  </a:lnTo>
                  <a:lnTo>
                    <a:pt x="580" y="390"/>
                  </a:lnTo>
                  <a:lnTo>
                    <a:pt x="584" y="392"/>
                  </a:lnTo>
                  <a:lnTo>
                    <a:pt x="586" y="390"/>
                  </a:lnTo>
                  <a:lnTo>
                    <a:pt x="584" y="394"/>
                  </a:lnTo>
                  <a:lnTo>
                    <a:pt x="586" y="396"/>
                  </a:lnTo>
                  <a:lnTo>
                    <a:pt x="590" y="396"/>
                  </a:lnTo>
                  <a:lnTo>
                    <a:pt x="592" y="394"/>
                  </a:lnTo>
                  <a:lnTo>
                    <a:pt x="590" y="400"/>
                  </a:lnTo>
                  <a:lnTo>
                    <a:pt x="595" y="404"/>
                  </a:lnTo>
                  <a:lnTo>
                    <a:pt x="601" y="406"/>
                  </a:lnTo>
                  <a:lnTo>
                    <a:pt x="601" y="408"/>
                  </a:lnTo>
                  <a:lnTo>
                    <a:pt x="599" y="410"/>
                  </a:lnTo>
                  <a:lnTo>
                    <a:pt x="603" y="413"/>
                  </a:lnTo>
                  <a:lnTo>
                    <a:pt x="603" y="419"/>
                  </a:lnTo>
                  <a:lnTo>
                    <a:pt x="605" y="421"/>
                  </a:lnTo>
                  <a:lnTo>
                    <a:pt x="603" y="427"/>
                  </a:lnTo>
                  <a:lnTo>
                    <a:pt x="605" y="431"/>
                  </a:lnTo>
                  <a:lnTo>
                    <a:pt x="601" y="433"/>
                  </a:lnTo>
                  <a:lnTo>
                    <a:pt x="597" y="433"/>
                  </a:lnTo>
                  <a:lnTo>
                    <a:pt x="593" y="436"/>
                  </a:lnTo>
                  <a:lnTo>
                    <a:pt x="592" y="436"/>
                  </a:lnTo>
                  <a:lnTo>
                    <a:pt x="590" y="436"/>
                  </a:lnTo>
                  <a:lnTo>
                    <a:pt x="593" y="440"/>
                  </a:lnTo>
                  <a:lnTo>
                    <a:pt x="593" y="444"/>
                  </a:lnTo>
                  <a:lnTo>
                    <a:pt x="590" y="446"/>
                  </a:lnTo>
                  <a:lnTo>
                    <a:pt x="586" y="446"/>
                  </a:lnTo>
                  <a:lnTo>
                    <a:pt x="582" y="450"/>
                  </a:lnTo>
                  <a:lnTo>
                    <a:pt x="578" y="450"/>
                  </a:lnTo>
                  <a:lnTo>
                    <a:pt x="574" y="452"/>
                  </a:lnTo>
                  <a:lnTo>
                    <a:pt x="570" y="448"/>
                  </a:lnTo>
                  <a:lnTo>
                    <a:pt x="568" y="442"/>
                  </a:lnTo>
                  <a:lnTo>
                    <a:pt x="565" y="440"/>
                  </a:lnTo>
                  <a:lnTo>
                    <a:pt x="563" y="442"/>
                  </a:lnTo>
                  <a:lnTo>
                    <a:pt x="561" y="438"/>
                  </a:lnTo>
                  <a:lnTo>
                    <a:pt x="557" y="440"/>
                  </a:lnTo>
                  <a:lnTo>
                    <a:pt x="555" y="433"/>
                  </a:lnTo>
                  <a:lnTo>
                    <a:pt x="551" y="435"/>
                  </a:lnTo>
                  <a:lnTo>
                    <a:pt x="549" y="438"/>
                  </a:lnTo>
                  <a:lnTo>
                    <a:pt x="545" y="442"/>
                  </a:lnTo>
                  <a:lnTo>
                    <a:pt x="547" y="444"/>
                  </a:lnTo>
                  <a:lnTo>
                    <a:pt x="549" y="446"/>
                  </a:lnTo>
                  <a:lnTo>
                    <a:pt x="553" y="448"/>
                  </a:lnTo>
                  <a:lnTo>
                    <a:pt x="555" y="454"/>
                  </a:lnTo>
                  <a:lnTo>
                    <a:pt x="553" y="454"/>
                  </a:lnTo>
                  <a:lnTo>
                    <a:pt x="553" y="458"/>
                  </a:lnTo>
                  <a:lnTo>
                    <a:pt x="549" y="461"/>
                  </a:lnTo>
                  <a:lnTo>
                    <a:pt x="547" y="467"/>
                  </a:lnTo>
                  <a:lnTo>
                    <a:pt x="544" y="469"/>
                  </a:lnTo>
                  <a:lnTo>
                    <a:pt x="544" y="471"/>
                  </a:lnTo>
                  <a:lnTo>
                    <a:pt x="545" y="469"/>
                  </a:lnTo>
                  <a:lnTo>
                    <a:pt x="547" y="477"/>
                  </a:lnTo>
                  <a:lnTo>
                    <a:pt x="547" y="481"/>
                  </a:lnTo>
                  <a:lnTo>
                    <a:pt x="545" y="484"/>
                  </a:lnTo>
                  <a:lnTo>
                    <a:pt x="547" y="490"/>
                  </a:lnTo>
                  <a:lnTo>
                    <a:pt x="544" y="490"/>
                  </a:lnTo>
                  <a:lnTo>
                    <a:pt x="542" y="488"/>
                  </a:lnTo>
                  <a:lnTo>
                    <a:pt x="542" y="490"/>
                  </a:lnTo>
                  <a:lnTo>
                    <a:pt x="540" y="488"/>
                  </a:lnTo>
                  <a:lnTo>
                    <a:pt x="538" y="490"/>
                  </a:lnTo>
                  <a:lnTo>
                    <a:pt x="534" y="488"/>
                  </a:lnTo>
                  <a:lnTo>
                    <a:pt x="532" y="490"/>
                  </a:lnTo>
                  <a:lnTo>
                    <a:pt x="530" y="496"/>
                  </a:lnTo>
                  <a:lnTo>
                    <a:pt x="528" y="498"/>
                  </a:lnTo>
                  <a:lnTo>
                    <a:pt x="526" y="498"/>
                  </a:lnTo>
                  <a:lnTo>
                    <a:pt x="524" y="496"/>
                  </a:lnTo>
                  <a:lnTo>
                    <a:pt x="524" y="498"/>
                  </a:lnTo>
                  <a:lnTo>
                    <a:pt x="522" y="498"/>
                  </a:lnTo>
                  <a:lnTo>
                    <a:pt x="521" y="496"/>
                  </a:lnTo>
                  <a:lnTo>
                    <a:pt x="524" y="492"/>
                  </a:lnTo>
                  <a:lnTo>
                    <a:pt x="521" y="490"/>
                  </a:lnTo>
                  <a:lnTo>
                    <a:pt x="521" y="488"/>
                  </a:lnTo>
                  <a:lnTo>
                    <a:pt x="517" y="490"/>
                  </a:lnTo>
                  <a:lnTo>
                    <a:pt x="517" y="492"/>
                  </a:lnTo>
                  <a:lnTo>
                    <a:pt x="515" y="496"/>
                  </a:lnTo>
                  <a:lnTo>
                    <a:pt x="511" y="492"/>
                  </a:lnTo>
                  <a:lnTo>
                    <a:pt x="509" y="494"/>
                  </a:lnTo>
                  <a:lnTo>
                    <a:pt x="507" y="490"/>
                  </a:lnTo>
                  <a:lnTo>
                    <a:pt x="509" y="488"/>
                  </a:lnTo>
                  <a:lnTo>
                    <a:pt x="513" y="486"/>
                  </a:lnTo>
                  <a:lnTo>
                    <a:pt x="519" y="481"/>
                  </a:lnTo>
                  <a:lnTo>
                    <a:pt x="521" y="481"/>
                  </a:lnTo>
                  <a:lnTo>
                    <a:pt x="521" y="479"/>
                  </a:lnTo>
                  <a:lnTo>
                    <a:pt x="519" y="477"/>
                  </a:lnTo>
                  <a:lnTo>
                    <a:pt x="513" y="479"/>
                  </a:lnTo>
                  <a:lnTo>
                    <a:pt x="515" y="475"/>
                  </a:lnTo>
                  <a:lnTo>
                    <a:pt x="513" y="473"/>
                  </a:lnTo>
                  <a:lnTo>
                    <a:pt x="511" y="477"/>
                  </a:lnTo>
                  <a:lnTo>
                    <a:pt x="507" y="477"/>
                  </a:lnTo>
                  <a:lnTo>
                    <a:pt x="505" y="481"/>
                  </a:lnTo>
                  <a:lnTo>
                    <a:pt x="503" y="481"/>
                  </a:lnTo>
                  <a:lnTo>
                    <a:pt x="503" y="479"/>
                  </a:lnTo>
                  <a:lnTo>
                    <a:pt x="503" y="481"/>
                  </a:lnTo>
                  <a:lnTo>
                    <a:pt x="499" y="481"/>
                  </a:lnTo>
                  <a:lnTo>
                    <a:pt x="499" y="483"/>
                  </a:lnTo>
                  <a:lnTo>
                    <a:pt x="496" y="481"/>
                  </a:lnTo>
                  <a:lnTo>
                    <a:pt x="492" y="483"/>
                  </a:lnTo>
                  <a:lnTo>
                    <a:pt x="494" y="484"/>
                  </a:lnTo>
                  <a:lnTo>
                    <a:pt x="497" y="488"/>
                  </a:lnTo>
                  <a:lnTo>
                    <a:pt x="492" y="486"/>
                  </a:lnTo>
                  <a:lnTo>
                    <a:pt x="488" y="486"/>
                  </a:lnTo>
                  <a:lnTo>
                    <a:pt x="486" y="490"/>
                  </a:lnTo>
                  <a:lnTo>
                    <a:pt x="484" y="488"/>
                  </a:lnTo>
                  <a:lnTo>
                    <a:pt x="484" y="492"/>
                  </a:lnTo>
                  <a:lnTo>
                    <a:pt x="482" y="492"/>
                  </a:lnTo>
                  <a:lnTo>
                    <a:pt x="482" y="496"/>
                  </a:lnTo>
                  <a:lnTo>
                    <a:pt x="478" y="496"/>
                  </a:lnTo>
                  <a:lnTo>
                    <a:pt x="478" y="498"/>
                  </a:lnTo>
                  <a:lnTo>
                    <a:pt x="474" y="498"/>
                  </a:lnTo>
                  <a:lnTo>
                    <a:pt x="474" y="490"/>
                  </a:lnTo>
                  <a:lnTo>
                    <a:pt x="476" y="488"/>
                  </a:lnTo>
                  <a:lnTo>
                    <a:pt x="474" y="490"/>
                  </a:lnTo>
                  <a:lnTo>
                    <a:pt x="474" y="486"/>
                  </a:lnTo>
                  <a:lnTo>
                    <a:pt x="476" y="481"/>
                  </a:lnTo>
                  <a:lnTo>
                    <a:pt x="478" y="479"/>
                  </a:lnTo>
                  <a:lnTo>
                    <a:pt x="480" y="473"/>
                  </a:lnTo>
                  <a:lnTo>
                    <a:pt x="484" y="471"/>
                  </a:lnTo>
                  <a:lnTo>
                    <a:pt x="490" y="471"/>
                  </a:lnTo>
                  <a:lnTo>
                    <a:pt x="492" y="471"/>
                  </a:lnTo>
                  <a:lnTo>
                    <a:pt x="490" y="469"/>
                  </a:lnTo>
                  <a:lnTo>
                    <a:pt x="492" y="467"/>
                  </a:lnTo>
                  <a:lnTo>
                    <a:pt x="488" y="465"/>
                  </a:lnTo>
                  <a:lnTo>
                    <a:pt x="492" y="463"/>
                  </a:lnTo>
                  <a:lnTo>
                    <a:pt x="492" y="461"/>
                  </a:lnTo>
                  <a:lnTo>
                    <a:pt x="488" y="461"/>
                  </a:lnTo>
                  <a:lnTo>
                    <a:pt x="490" y="458"/>
                  </a:lnTo>
                  <a:lnTo>
                    <a:pt x="490" y="454"/>
                  </a:lnTo>
                  <a:lnTo>
                    <a:pt x="492" y="454"/>
                  </a:lnTo>
                  <a:lnTo>
                    <a:pt x="490" y="452"/>
                  </a:lnTo>
                  <a:lnTo>
                    <a:pt x="492" y="448"/>
                  </a:lnTo>
                  <a:lnTo>
                    <a:pt x="492" y="442"/>
                  </a:lnTo>
                  <a:lnTo>
                    <a:pt x="490" y="440"/>
                  </a:lnTo>
                  <a:lnTo>
                    <a:pt x="488" y="433"/>
                  </a:lnTo>
                  <a:lnTo>
                    <a:pt x="488" y="431"/>
                  </a:lnTo>
                  <a:lnTo>
                    <a:pt x="492" y="431"/>
                  </a:lnTo>
                  <a:lnTo>
                    <a:pt x="486" y="427"/>
                  </a:lnTo>
                  <a:lnTo>
                    <a:pt x="486" y="425"/>
                  </a:lnTo>
                  <a:lnTo>
                    <a:pt x="488" y="425"/>
                  </a:lnTo>
                  <a:lnTo>
                    <a:pt x="486" y="423"/>
                  </a:lnTo>
                  <a:lnTo>
                    <a:pt x="484" y="419"/>
                  </a:lnTo>
                  <a:lnTo>
                    <a:pt x="482" y="413"/>
                  </a:lnTo>
                  <a:lnTo>
                    <a:pt x="482" y="410"/>
                  </a:lnTo>
                  <a:lnTo>
                    <a:pt x="480" y="410"/>
                  </a:lnTo>
                  <a:lnTo>
                    <a:pt x="480" y="411"/>
                  </a:lnTo>
                  <a:lnTo>
                    <a:pt x="478" y="408"/>
                  </a:lnTo>
                  <a:lnTo>
                    <a:pt x="474" y="400"/>
                  </a:lnTo>
                  <a:lnTo>
                    <a:pt x="476" y="398"/>
                  </a:lnTo>
                  <a:lnTo>
                    <a:pt x="482" y="396"/>
                  </a:lnTo>
                  <a:lnTo>
                    <a:pt x="484" y="398"/>
                  </a:lnTo>
                  <a:lnTo>
                    <a:pt x="484" y="396"/>
                  </a:lnTo>
                  <a:lnTo>
                    <a:pt x="478" y="396"/>
                  </a:lnTo>
                  <a:lnTo>
                    <a:pt x="474" y="394"/>
                  </a:lnTo>
                  <a:lnTo>
                    <a:pt x="474" y="388"/>
                  </a:lnTo>
                  <a:lnTo>
                    <a:pt x="473" y="392"/>
                  </a:lnTo>
                  <a:lnTo>
                    <a:pt x="469" y="388"/>
                  </a:lnTo>
                  <a:lnTo>
                    <a:pt x="469" y="398"/>
                  </a:lnTo>
                  <a:lnTo>
                    <a:pt x="467" y="398"/>
                  </a:lnTo>
                  <a:lnTo>
                    <a:pt x="465" y="394"/>
                  </a:lnTo>
                  <a:lnTo>
                    <a:pt x="463" y="392"/>
                  </a:lnTo>
                  <a:lnTo>
                    <a:pt x="465" y="388"/>
                  </a:lnTo>
                  <a:lnTo>
                    <a:pt x="465" y="381"/>
                  </a:lnTo>
                  <a:lnTo>
                    <a:pt x="471" y="379"/>
                  </a:lnTo>
                  <a:lnTo>
                    <a:pt x="465" y="379"/>
                  </a:lnTo>
                  <a:lnTo>
                    <a:pt x="463" y="375"/>
                  </a:lnTo>
                  <a:lnTo>
                    <a:pt x="465" y="375"/>
                  </a:lnTo>
                  <a:lnTo>
                    <a:pt x="465" y="371"/>
                  </a:lnTo>
                  <a:lnTo>
                    <a:pt x="463" y="371"/>
                  </a:lnTo>
                  <a:lnTo>
                    <a:pt x="463" y="369"/>
                  </a:lnTo>
                  <a:lnTo>
                    <a:pt x="465" y="369"/>
                  </a:lnTo>
                  <a:lnTo>
                    <a:pt x="465" y="367"/>
                  </a:lnTo>
                  <a:lnTo>
                    <a:pt x="467" y="365"/>
                  </a:lnTo>
                  <a:lnTo>
                    <a:pt x="469" y="365"/>
                  </a:lnTo>
                  <a:lnTo>
                    <a:pt x="469" y="362"/>
                  </a:lnTo>
                  <a:lnTo>
                    <a:pt x="467" y="362"/>
                  </a:lnTo>
                  <a:lnTo>
                    <a:pt x="471" y="360"/>
                  </a:lnTo>
                  <a:lnTo>
                    <a:pt x="474" y="352"/>
                  </a:lnTo>
                  <a:lnTo>
                    <a:pt x="469" y="356"/>
                  </a:lnTo>
                  <a:lnTo>
                    <a:pt x="469" y="352"/>
                  </a:lnTo>
                  <a:lnTo>
                    <a:pt x="474" y="346"/>
                  </a:lnTo>
                  <a:lnTo>
                    <a:pt x="480" y="344"/>
                  </a:lnTo>
                  <a:lnTo>
                    <a:pt x="474" y="344"/>
                  </a:lnTo>
                  <a:lnTo>
                    <a:pt x="473" y="344"/>
                  </a:lnTo>
                  <a:lnTo>
                    <a:pt x="471" y="346"/>
                  </a:lnTo>
                  <a:lnTo>
                    <a:pt x="467" y="342"/>
                  </a:lnTo>
                  <a:lnTo>
                    <a:pt x="465" y="340"/>
                  </a:lnTo>
                  <a:lnTo>
                    <a:pt x="467" y="339"/>
                  </a:lnTo>
                  <a:lnTo>
                    <a:pt x="467" y="337"/>
                  </a:lnTo>
                  <a:lnTo>
                    <a:pt x="473" y="335"/>
                  </a:lnTo>
                  <a:lnTo>
                    <a:pt x="474" y="333"/>
                  </a:lnTo>
                  <a:lnTo>
                    <a:pt x="478" y="335"/>
                  </a:lnTo>
                  <a:lnTo>
                    <a:pt x="484" y="333"/>
                  </a:lnTo>
                  <a:lnTo>
                    <a:pt x="490" y="331"/>
                  </a:lnTo>
                  <a:lnTo>
                    <a:pt x="484" y="331"/>
                  </a:lnTo>
                  <a:lnTo>
                    <a:pt x="480" y="329"/>
                  </a:lnTo>
                  <a:lnTo>
                    <a:pt x="476" y="329"/>
                  </a:lnTo>
                  <a:lnTo>
                    <a:pt x="473" y="329"/>
                  </a:lnTo>
                  <a:lnTo>
                    <a:pt x="465" y="329"/>
                  </a:lnTo>
                  <a:lnTo>
                    <a:pt x="459" y="331"/>
                  </a:lnTo>
                  <a:lnTo>
                    <a:pt x="457" y="331"/>
                  </a:lnTo>
                  <a:lnTo>
                    <a:pt x="457" y="327"/>
                  </a:lnTo>
                  <a:lnTo>
                    <a:pt x="459" y="323"/>
                  </a:lnTo>
                  <a:lnTo>
                    <a:pt x="461" y="317"/>
                  </a:lnTo>
                  <a:lnTo>
                    <a:pt x="467" y="310"/>
                  </a:lnTo>
                  <a:lnTo>
                    <a:pt x="469" y="306"/>
                  </a:lnTo>
                  <a:lnTo>
                    <a:pt x="471" y="300"/>
                  </a:lnTo>
                  <a:lnTo>
                    <a:pt x="473" y="300"/>
                  </a:lnTo>
                  <a:lnTo>
                    <a:pt x="476" y="302"/>
                  </a:lnTo>
                  <a:lnTo>
                    <a:pt x="480" y="300"/>
                  </a:lnTo>
                  <a:lnTo>
                    <a:pt x="478" y="300"/>
                  </a:lnTo>
                  <a:lnTo>
                    <a:pt x="474" y="298"/>
                  </a:lnTo>
                  <a:lnTo>
                    <a:pt x="471" y="298"/>
                  </a:lnTo>
                  <a:lnTo>
                    <a:pt x="465" y="304"/>
                  </a:lnTo>
                  <a:lnTo>
                    <a:pt x="463" y="308"/>
                  </a:lnTo>
                  <a:lnTo>
                    <a:pt x="459" y="308"/>
                  </a:lnTo>
                  <a:lnTo>
                    <a:pt x="457" y="308"/>
                  </a:lnTo>
                  <a:lnTo>
                    <a:pt x="455" y="300"/>
                  </a:lnTo>
                  <a:lnTo>
                    <a:pt x="457" y="292"/>
                  </a:lnTo>
                  <a:lnTo>
                    <a:pt x="459" y="287"/>
                  </a:lnTo>
                  <a:lnTo>
                    <a:pt x="461" y="281"/>
                  </a:lnTo>
                  <a:lnTo>
                    <a:pt x="465" y="273"/>
                  </a:lnTo>
                  <a:lnTo>
                    <a:pt x="473" y="271"/>
                  </a:lnTo>
                  <a:lnTo>
                    <a:pt x="478" y="275"/>
                  </a:lnTo>
                  <a:lnTo>
                    <a:pt x="484" y="275"/>
                  </a:lnTo>
                  <a:lnTo>
                    <a:pt x="490" y="267"/>
                  </a:lnTo>
                  <a:lnTo>
                    <a:pt x="494" y="269"/>
                  </a:lnTo>
                  <a:lnTo>
                    <a:pt x="492" y="266"/>
                  </a:lnTo>
                  <a:lnTo>
                    <a:pt x="484" y="269"/>
                  </a:lnTo>
                  <a:lnTo>
                    <a:pt x="480" y="267"/>
                  </a:lnTo>
                  <a:lnTo>
                    <a:pt x="474" y="267"/>
                  </a:lnTo>
                  <a:lnTo>
                    <a:pt x="474" y="264"/>
                  </a:lnTo>
                  <a:lnTo>
                    <a:pt x="471" y="264"/>
                  </a:lnTo>
                  <a:lnTo>
                    <a:pt x="463" y="266"/>
                  </a:lnTo>
                  <a:lnTo>
                    <a:pt x="463" y="264"/>
                  </a:lnTo>
                  <a:lnTo>
                    <a:pt x="455" y="267"/>
                  </a:lnTo>
                  <a:lnTo>
                    <a:pt x="449" y="262"/>
                  </a:lnTo>
                  <a:lnTo>
                    <a:pt x="446" y="262"/>
                  </a:lnTo>
                  <a:lnTo>
                    <a:pt x="446" y="258"/>
                  </a:lnTo>
                  <a:lnTo>
                    <a:pt x="442" y="260"/>
                  </a:lnTo>
                  <a:lnTo>
                    <a:pt x="442" y="264"/>
                  </a:lnTo>
                  <a:lnTo>
                    <a:pt x="444" y="266"/>
                  </a:lnTo>
                  <a:lnTo>
                    <a:pt x="442" y="264"/>
                  </a:lnTo>
                  <a:lnTo>
                    <a:pt x="440" y="269"/>
                  </a:lnTo>
                  <a:lnTo>
                    <a:pt x="440" y="267"/>
                  </a:lnTo>
                  <a:lnTo>
                    <a:pt x="438" y="271"/>
                  </a:lnTo>
                  <a:lnTo>
                    <a:pt x="438" y="269"/>
                  </a:lnTo>
                  <a:lnTo>
                    <a:pt x="434" y="269"/>
                  </a:lnTo>
                  <a:lnTo>
                    <a:pt x="436" y="269"/>
                  </a:lnTo>
                  <a:lnTo>
                    <a:pt x="434" y="271"/>
                  </a:lnTo>
                  <a:lnTo>
                    <a:pt x="434" y="279"/>
                  </a:lnTo>
                  <a:lnTo>
                    <a:pt x="434" y="283"/>
                  </a:lnTo>
                  <a:lnTo>
                    <a:pt x="432" y="287"/>
                  </a:lnTo>
                  <a:lnTo>
                    <a:pt x="428" y="289"/>
                  </a:lnTo>
                  <a:lnTo>
                    <a:pt x="428" y="292"/>
                  </a:lnTo>
                  <a:lnTo>
                    <a:pt x="423" y="294"/>
                  </a:lnTo>
                  <a:lnTo>
                    <a:pt x="426" y="294"/>
                  </a:lnTo>
                  <a:lnTo>
                    <a:pt x="425" y="300"/>
                  </a:lnTo>
                  <a:lnTo>
                    <a:pt x="423" y="302"/>
                  </a:lnTo>
                  <a:lnTo>
                    <a:pt x="425" y="300"/>
                  </a:lnTo>
                  <a:lnTo>
                    <a:pt x="428" y="306"/>
                  </a:lnTo>
                  <a:lnTo>
                    <a:pt x="428" y="310"/>
                  </a:lnTo>
                  <a:lnTo>
                    <a:pt x="428" y="317"/>
                  </a:lnTo>
                  <a:lnTo>
                    <a:pt x="432" y="327"/>
                  </a:lnTo>
                  <a:lnTo>
                    <a:pt x="428" y="321"/>
                  </a:lnTo>
                  <a:lnTo>
                    <a:pt x="428" y="317"/>
                  </a:lnTo>
                  <a:lnTo>
                    <a:pt x="425" y="317"/>
                  </a:lnTo>
                  <a:lnTo>
                    <a:pt x="426" y="317"/>
                  </a:lnTo>
                  <a:lnTo>
                    <a:pt x="426" y="321"/>
                  </a:lnTo>
                  <a:lnTo>
                    <a:pt x="428" y="325"/>
                  </a:lnTo>
                  <a:lnTo>
                    <a:pt x="432" y="333"/>
                  </a:lnTo>
                  <a:lnTo>
                    <a:pt x="432" y="335"/>
                  </a:lnTo>
                  <a:lnTo>
                    <a:pt x="428" y="340"/>
                  </a:lnTo>
                  <a:lnTo>
                    <a:pt x="426" y="348"/>
                  </a:lnTo>
                  <a:lnTo>
                    <a:pt x="425" y="356"/>
                  </a:lnTo>
                  <a:lnTo>
                    <a:pt x="419" y="362"/>
                  </a:lnTo>
                  <a:lnTo>
                    <a:pt x="413" y="367"/>
                  </a:lnTo>
                  <a:lnTo>
                    <a:pt x="411" y="371"/>
                  </a:lnTo>
                  <a:lnTo>
                    <a:pt x="409" y="369"/>
                  </a:lnTo>
                  <a:lnTo>
                    <a:pt x="411" y="371"/>
                  </a:lnTo>
                  <a:lnTo>
                    <a:pt x="409" y="375"/>
                  </a:lnTo>
                  <a:lnTo>
                    <a:pt x="407" y="375"/>
                  </a:lnTo>
                  <a:lnTo>
                    <a:pt x="411" y="381"/>
                  </a:lnTo>
                  <a:lnTo>
                    <a:pt x="407" y="383"/>
                  </a:lnTo>
                  <a:lnTo>
                    <a:pt x="400" y="387"/>
                  </a:lnTo>
                  <a:lnTo>
                    <a:pt x="400" y="388"/>
                  </a:lnTo>
                  <a:lnTo>
                    <a:pt x="398" y="388"/>
                  </a:lnTo>
                  <a:lnTo>
                    <a:pt x="396" y="390"/>
                  </a:lnTo>
                  <a:lnTo>
                    <a:pt x="388" y="390"/>
                  </a:lnTo>
                  <a:lnTo>
                    <a:pt x="384" y="394"/>
                  </a:lnTo>
                  <a:lnTo>
                    <a:pt x="378" y="396"/>
                  </a:lnTo>
                  <a:lnTo>
                    <a:pt x="377" y="398"/>
                  </a:lnTo>
                  <a:lnTo>
                    <a:pt x="377" y="400"/>
                  </a:lnTo>
                  <a:lnTo>
                    <a:pt x="367" y="402"/>
                  </a:lnTo>
                  <a:lnTo>
                    <a:pt x="359" y="404"/>
                  </a:lnTo>
                  <a:lnTo>
                    <a:pt x="359" y="406"/>
                  </a:lnTo>
                  <a:lnTo>
                    <a:pt x="357" y="406"/>
                  </a:lnTo>
                  <a:lnTo>
                    <a:pt x="355" y="406"/>
                  </a:lnTo>
                  <a:lnTo>
                    <a:pt x="355" y="408"/>
                  </a:lnTo>
                  <a:lnTo>
                    <a:pt x="352" y="410"/>
                  </a:lnTo>
                  <a:lnTo>
                    <a:pt x="348" y="410"/>
                  </a:lnTo>
                  <a:lnTo>
                    <a:pt x="352" y="406"/>
                  </a:lnTo>
                  <a:lnTo>
                    <a:pt x="346" y="410"/>
                  </a:lnTo>
                  <a:lnTo>
                    <a:pt x="346" y="411"/>
                  </a:lnTo>
                  <a:lnTo>
                    <a:pt x="342" y="411"/>
                  </a:lnTo>
                  <a:lnTo>
                    <a:pt x="342" y="413"/>
                  </a:lnTo>
                  <a:lnTo>
                    <a:pt x="344" y="413"/>
                  </a:lnTo>
                  <a:lnTo>
                    <a:pt x="342" y="413"/>
                  </a:lnTo>
                  <a:lnTo>
                    <a:pt x="342" y="415"/>
                  </a:lnTo>
                  <a:lnTo>
                    <a:pt x="336" y="417"/>
                  </a:lnTo>
                  <a:lnTo>
                    <a:pt x="332" y="417"/>
                  </a:lnTo>
                  <a:lnTo>
                    <a:pt x="330" y="417"/>
                  </a:lnTo>
                  <a:lnTo>
                    <a:pt x="330" y="419"/>
                  </a:lnTo>
                  <a:lnTo>
                    <a:pt x="325" y="419"/>
                  </a:lnTo>
                  <a:lnTo>
                    <a:pt x="315" y="423"/>
                  </a:lnTo>
                  <a:lnTo>
                    <a:pt x="315" y="425"/>
                  </a:lnTo>
                  <a:lnTo>
                    <a:pt x="313" y="425"/>
                  </a:lnTo>
                  <a:lnTo>
                    <a:pt x="311" y="427"/>
                  </a:lnTo>
                  <a:lnTo>
                    <a:pt x="307" y="427"/>
                  </a:lnTo>
                  <a:lnTo>
                    <a:pt x="306" y="429"/>
                  </a:lnTo>
                  <a:lnTo>
                    <a:pt x="300" y="429"/>
                  </a:lnTo>
                  <a:lnTo>
                    <a:pt x="298" y="431"/>
                  </a:lnTo>
                  <a:lnTo>
                    <a:pt x="294" y="433"/>
                  </a:lnTo>
                  <a:lnTo>
                    <a:pt x="290" y="431"/>
                  </a:lnTo>
                  <a:lnTo>
                    <a:pt x="281" y="431"/>
                  </a:lnTo>
                  <a:lnTo>
                    <a:pt x="277" y="433"/>
                  </a:lnTo>
                  <a:lnTo>
                    <a:pt x="277" y="435"/>
                  </a:lnTo>
                  <a:lnTo>
                    <a:pt x="271" y="436"/>
                  </a:lnTo>
                  <a:lnTo>
                    <a:pt x="267" y="435"/>
                  </a:lnTo>
                  <a:lnTo>
                    <a:pt x="258" y="431"/>
                  </a:lnTo>
                  <a:lnTo>
                    <a:pt x="256" y="429"/>
                  </a:lnTo>
                  <a:lnTo>
                    <a:pt x="254" y="431"/>
                  </a:lnTo>
                  <a:lnTo>
                    <a:pt x="246" y="427"/>
                  </a:lnTo>
                  <a:lnTo>
                    <a:pt x="242" y="425"/>
                  </a:lnTo>
                  <a:lnTo>
                    <a:pt x="240" y="425"/>
                  </a:lnTo>
                  <a:lnTo>
                    <a:pt x="235" y="421"/>
                  </a:lnTo>
                  <a:lnTo>
                    <a:pt x="231" y="419"/>
                  </a:lnTo>
                  <a:lnTo>
                    <a:pt x="225" y="415"/>
                  </a:lnTo>
                  <a:lnTo>
                    <a:pt x="217" y="411"/>
                  </a:lnTo>
                  <a:lnTo>
                    <a:pt x="212" y="406"/>
                  </a:lnTo>
                  <a:lnTo>
                    <a:pt x="210" y="404"/>
                  </a:lnTo>
                  <a:lnTo>
                    <a:pt x="208" y="402"/>
                  </a:lnTo>
                  <a:lnTo>
                    <a:pt x="200" y="398"/>
                  </a:lnTo>
                  <a:lnTo>
                    <a:pt x="194" y="390"/>
                  </a:lnTo>
                  <a:lnTo>
                    <a:pt x="190" y="387"/>
                  </a:lnTo>
                  <a:lnTo>
                    <a:pt x="188" y="385"/>
                  </a:lnTo>
                  <a:lnTo>
                    <a:pt x="185" y="383"/>
                  </a:lnTo>
                  <a:lnTo>
                    <a:pt x="181" y="375"/>
                  </a:lnTo>
                  <a:lnTo>
                    <a:pt x="175" y="371"/>
                  </a:lnTo>
                  <a:lnTo>
                    <a:pt x="175" y="369"/>
                  </a:lnTo>
                  <a:lnTo>
                    <a:pt x="171" y="365"/>
                  </a:lnTo>
                  <a:lnTo>
                    <a:pt x="167" y="360"/>
                  </a:lnTo>
                  <a:lnTo>
                    <a:pt x="162" y="354"/>
                  </a:lnTo>
                  <a:lnTo>
                    <a:pt x="160" y="352"/>
                  </a:lnTo>
                  <a:lnTo>
                    <a:pt x="156" y="346"/>
                  </a:lnTo>
                  <a:lnTo>
                    <a:pt x="154" y="344"/>
                  </a:lnTo>
                  <a:lnTo>
                    <a:pt x="152" y="342"/>
                  </a:lnTo>
                  <a:lnTo>
                    <a:pt x="144" y="335"/>
                  </a:lnTo>
                  <a:lnTo>
                    <a:pt x="142" y="335"/>
                  </a:lnTo>
                  <a:lnTo>
                    <a:pt x="142" y="337"/>
                  </a:lnTo>
                  <a:lnTo>
                    <a:pt x="142" y="335"/>
                  </a:lnTo>
                  <a:lnTo>
                    <a:pt x="137" y="331"/>
                  </a:lnTo>
                  <a:lnTo>
                    <a:pt x="135" y="327"/>
                  </a:lnTo>
                  <a:lnTo>
                    <a:pt x="131" y="323"/>
                  </a:lnTo>
                  <a:lnTo>
                    <a:pt x="127" y="319"/>
                  </a:lnTo>
                  <a:lnTo>
                    <a:pt x="123" y="315"/>
                  </a:lnTo>
                  <a:lnTo>
                    <a:pt x="119" y="312"/>
                  </a:lnTo>
                  <a:lnTo>
                    <a:pt x="116" y="310"/>
                  </a:lnTo>
                  <a:lnTo>
                    <a:pt x="112" y="306"/>
                  </a:lnTo>
                  <a:lnTo>
                    <a:pt x="106" y="300"/>
                  </a:lnTo>
                  <a:lnTo>
                    <a:pt x="102" y="296"/>
                  </a:lnTo>
                  <a:lnTo>
                    <a:pt x="98" y="292"/>
                  </a:lnTo>
                  <a:lnTo>
                    <a:pt x="94" y="287"/>
                  </a:lnTo>
                  <a:lnTo>
                    <a:pt x="91" y="285"/>
                  </a:lnTo>
                  <a:lnTo>
                    <a:pt x="87" y="281"/>
                  </a:lnTo>
                  <a:lnTo>
                    <a:pt x="83" y="275"/>
                  </a:lnTo>
                  <a:lnTo>
                    <a:pt x="79" y="269"/>
                  </a:lnTo>
                  <a:lnTo>
                    <a:pt x="77" y="269"/>
                  </a:lnTo>
                  <a:lnTo>
                    <a:pt x="75" y="262"/>
                  </a:lnTo>
                  <a:lnTo>
                    <a:pt x="79" y="254"/>
                  </a:lnTo>
                  <a:lnTo>
                    <a:pt x="81" y="250"/>
                  </a:lnTo>
                  <a:lnTo>
                    <a:pt x="85" y="246"/>
                  </a:lnTo>
                  <a:lnTo>
                    <a:pt x="91" y="242"/>
                  </a:lnTo>
                  <a:lnTo>
                    <a:pt x="93" y="242"/>
                  </a:lnTo>
                  <a:lnTo>
                    <a:pt x="89" y="246"/>
                  </a:lnTo>
                  <a:lnTo>
                    <a:pt x="91" y="252"/>
                  </a:lnTo>
                  <a:lnTo>
                    <a:pt x="94" y="250"/>
                  </a:lnTo>
                  <a:lnTo>
                    <a:pt x="98" y="250"/>
                  </a:lnTo>
                  <a:lnTo>
                    <a:pt x="104" y="248"/>
                  </a:lnTo>
                  <a:lnTo>
                    <a:pt x="106" y="250"/>
                  </a:lnTo>
                  <a:lnTo>
                    <a:pt x="102" y="254"/>
                  </a:lnTo>
                  <a:lnTo>
                    <a:pt x="100" y="262"/>
                  </a:lnTo>
                  <a:lnTo>
                    <a:pt x="104" y="266"/>
                  </a:lnTo>
                  <a:lnTo>
                    <a:pt x="108" y="267"/>
                  </a:lnTo>
                  <a:lnTo>
                    <a:pt x="117" y="264"/>
                  </a:lnTo>
                  <a:lnTo>
                    <a:pt x="119" y="262"/>
                  </a:lnTo>
                  <a:lnTo>
                    <a:pt x="117" y="260"/>
                  </a:lnTo>
                  <a:lnTo>
                    <a:pt x="127" y="260"/>
                  </a:lnTo>
                  <a:lnTo>
                    <a:pt x="135" y="258"/>
                  </a:lnTo>
                  <a:lnTo>
                    <a:pt x="135" y="256"/>
                  </a:lnTo>
                  <a:lnTo>
                    <a:pt x="139" y="252"/>
                  </a:lnTo>
                  <a:lnTo>
                    <a:pt x="137" y="246"/>
                  </a:lnTo>
                  <a:lnTo>
                    <a:pt x="142" y="250"/>
                  </a:lnTo>
                  <a:lnTo>
                    <a:pt x="142" y="256"/>
                  </a:lnTo>
                  <a:lnTo>
                    <a:pt x="144" y="254"/>
                  </a:lnTo>
                  <a:lnTo>
                    <a:pt x="146" y="256"/>
                  </a:lnTo>
                  <a:lnTo>
                    <a:pt x="144" y="258"/>
                  </a:lnTo>
                  <a:lnTo>
                    <a:pt x="148" y="256"/>
                  </a:lnTo>
                  <a:lnTo>
                    <a:pt x="148" y="258"/>
                  </a:lnTo>
                  <a:lnTo>
                    <a:pt x="148" y="256"/>
                  </a:lnTo>
                  <a:lnTo>
                    <a:pt x="148" y="258"/>
                  </a:lnTo>
                  <a:lnTo>
                    <a:pt x="148" y="254"/>
                  </a:lnTo>
                  <a:lnTo>
                    <a:pt x="154" y="256"/>
                  </a:lnTo>
                  <a:lnTo>
                    <a:pt x="154" y="252"/>
                  </a:lnTo>
                  <a:lnTo>
                    <a:pt x="158" y="252"/>
                  </a:lnTo>
                  <a:lnTo>
                    <a:pt x="158" y="246"/>
                  </a:lnTo>
                  <a:lnTo>
                    <a:pt x="156" y="246"/>
                  </a:lnTo>
                  <a:lnTo>
                    <a:pt x="156" y="244"/>
                  </a:lnTo>
                  <a:lnTo>
                    <a:pt x="156" y="246"/>
                  </a:lnTo>
                  <a:lnTo>
                    <a:pt x="158" y="246"/>
                  </a:lnTo>
                  <a:lnTo>
                    <a:pt x="160" y="244"/>
                  </a:lnTo>
                  <a:lnTo>
                    <a:pt x="162" y="242"/>
                  </a:lnTo>
                  <a:lnTo>
                    <a:pt x="164" y="248"/>
                  </a:lnTo>
                  <a:lnTo>
                    <a:pt x="164" y="246"/>
                  </a:lnTo>
                  <a:lnTo>
                    <a:pt x="169" y="250"/>
                  </a:lnTo>
                  <a:lnTo>
                    <a:pt x="171" y="250"/>
                  </a:lnTo>
                  <a:lnTo>
                    <a:pt x="169" y="248"/>
                  </a:lnTo>
                  <a:lnTo>
                    <a:pt x="171" y="248"/>
                  </a:lnTo>
                  <a:lnTo>
                    <a:pt x="171" y="246"/>
                  </a:lnTo>
                  <a:lnTo>
                    <a:pt x="171" y="244"/>
                  </a:lnTo>
                  <a:lnTo>
                    <a:pt x="171" y="246"/>
                  </a:lnTo>
                  <a:lnTo>
                    <a:pt x="173" y="242"/>
                  </a:lnTo>
                  <a:lnTo>
                    <a:pt x="173" y="244"/>
                  </a:lnTo>
                  <a:lnTo>
                    <a:pt x="173" y="241"/>
                  </a:lnTo>
                  <a:lnTo>
                    <a:pt x="173" y="244"/>
                  </a:lnTo>
                  <a:lnTo>
                    <a:pt x="177" y="246"/>
                  </a:lnTo>
                  <a:lnTo>
                    <a:pt x="183" y="239"/>
                  </a:lnTo>
                  <a:lnTo>
                    <a:pt x="187" y="241"/>
                  </a:lnTo>
                  <a:lnTo>
                    <a:pt x="187" y="239"/>
                  </a:lnTo>
                  <a:lnTo>
                    <a:pt x="185" y="239"/>
                  </a:lnTo>
                  <a:lnTo>
                    <a:pt x="185" y="237"/>
                  </a:lnTo>
                  <a:lnTo>
                    <a:pt x="194" y="235"/>
                  </a:lnTo>
                  <a:lnTo>
                    <a:pt x="196" y="233"/>
                  </a:lnTo>
                  <a:lnTo>
                    <a:pt x="196" y="235"/>
                  </a:lnTo>
                  <a:lnTo>
                    <a:pt x="200" y="235"/>
                  </a:lnTo>
                  <a:lnTo>
                    <a:pt x="208" y="235"/>
                  </a:lnTo>
                  <a:lnTo>
                    <a:pt x="212" y="231"/>
                  </a:lnTo>
                  <a:lnTo>
                    <a:pt x="213" y="223"/>
                  </a:lnTo>
                  <a:lnTo>
                    <a:pt x="217" y="221"/>
                  </a:lnTo>
                  <a:lnTo>
                    <a:pt x="217" y="219"/>
                  </a:lnTo>
                  <a:lnTo>
                    <a:pt x="215" y="219"/>
                  </a:lnTo>
                  <a:lnTo>
                    <a:pt x="215" y="217"/>
                  </a:lnTo>
                  <a:lnTo>
                    <a:pt x="217" y="216"/>
                  </a:lnTo>
                  <a:lnTo>
                    <a:pt x="223" y="212"/>
                  </a:lnTo>
                  <a:lnTo>
                    <a:pt x="223" y="210"/>
                  </a:lnTo>
                  <a:lnTo>
                    <a:pt x="227" y="206"/>
                  </a:lnTo>
                  <a:lnTo>
                    <a:pt x="231" y="200"/>
                  </a:lnTo>
                  <a:lnTo>
                    <a:pt x="233" y="196"/>
                  </a:lnTo>
                  <a:lnTo>
                    <a:pt x="238" y="194"/>
                  </a:lnTo>
                  <a:lnTo>
                    <a:pt x="238" y="191"/>
                  </a:lnTo>
                  <a:lnTo>
                    <a:pt x="242" y="191"/>
                  </a:lnTo>
                  <a:lnTo>
                    <a:pt x="240" y="191"/>
                  </a:lnTo>
                  <a:lnTo>
                    <a:pt x="244" y="189"/>
                  </a:lnTo>
                  <a:lnTo>
                    <a:pt x="240" y="189"/>
                  </a:lnTo>
                  <a:lnTo>
                    <a:pt x="244" y="187"/>
                  </a:lnTo>
                  <a:lnTo>
                    <a:pt x="240" y="189"/>
                  </a:lnTo>
                  <a:lnTo>
                    <a:pt x="244" y="185"/>
                  </a:lnTo>
                  <a:lnTo>
                    <a:pt x="244" y="181"/>
                  </a:lnTo>
                  <a:lnTo>
                    <a:pt x="240" y="183"/>
                  </a:lnTo>
                  <a:lnTo>
                    <a:pt x="240" y="181"/>
                  </a:lnTo>
                  <a:lnTo>
                    <a:pt x="236" y="187"/>
                  </a:lnTo>
                  <a:lnTo>
                    <a:pt x="236" y="183"/>
                  </a:lnTo>
                  <a:lnTo>
                    <a:pt x="235" y="183"/>
                  </a:lnTo>
                  <a:lnTo>
                    <a:pt x="235" y="193"/>
                  </a:lnTo>
                  <a:lnTo>
                    <a:pt x="229" y="194"/>
                  </a:lnTo>
                  <a:lnTo>
                    <a:pt x="221" y="191"/>
                  </a:lnTo>
                  <a:lnTo>
                    <a:pt x="217" y="189"/>
                  </a:lnTo>
                  <a:lnTo>
                    <a:pt x="217" y="185"/>
                  </a:lnTo>
                  <a:lnTo>
                    <a:pt x="217" y="191"/>
                  </a:lnTo>
                  <a:lnTo>
                    <a:pt x="213" y="187"/>
                  </a:lnTo>
                  <a:lnTo>
                    <a:pt x="217" y="191"/>
                  </a:lnTo>
                  <a:lnTo>
                    <a:pt x="210" y="193"/>
                  </a:lnTo>
                  <a:lnTo>
                    <a:pt x="206" y="191"/>
                  </a:lnTo>
                  <a:lnTo>
                    <a:pt x="206" y="187"/>
                  </a:lnTo>
                  <a:lnTo>
                    <a:pt x="204" y="191"/>
                  </a:lnTo>
                  <a:lnTo>
                    <a:pt x="206" y="193"/>
                  </a:lnTo>
                  <a:lnTo>
                    <a:pt x="204" y="191"/>
                  </a:lnTo>
                  <a:lnTo>
                    <a:pt x="208" y="193"/>
                  </a:lnTo>
                  <a:lnTo>
                    <a:pt x="206" y="194"/>
                  </a:lnTo>
                  <a:lnTo>
                    <a:pt x="198" y="196"/>
                  </a:lnTo>
                  <a:lnTo>
                    <a:pt x="192" y="196"/>
                  </a:lnTo>
                  <a:lnTo>
                    <a:pt x="188" y="198"/>
                  </a:lnTo>
                  <a:lnTo>
                    <a:pt x="187" y="196"/>
                  </a:lnTo>
                  <a:lnTo>
                    <a:pt x="183" y="200"/>
                  </a:lnTo>
                  <a:lnTo>
                    <a:pt x="177" y="200"/>
                  </a:lnTo>
                  <a:lnTo>
                    <a:pt x="171" y="202"/>
                  </a:lnTo>
                  <a:lnTo>
                    <a:pt x="165" y="206"/>
                  </a:lnTo>
                  <a:lnTo>
                    <a:pt x="160" y="212"/>
                  </a:lnTo>
                  <a:lnTo>
                    <a:pt x="162" y="214"/>
                  </a:lnTo>
                  <a:lnTo>
                    <a:pt x="160" y="216"/>
                  </a:lnTo>
                  <a:lnTo>
                    <a:pt x="156" y="216"/>
                  </a:lnTo>
                  <a:lnTo>
                    <a:pt x="158" y="214"/>
                  </a:lnTo>
                  <a:lnTo>
                    <a:pt x="156" y="212"/>
                  </a:lnTo>
                  <a:lnTo>
                    <a:pt x="154" y="210"/>
                  </a:lnTo>
                  <a:lnTo>
                    <a:pt x="154" y="212"/>
                  </a:lnTo>
                  <a:lnTo>
                    <a:pt x="150" y="212"/>
                  </a:lnTo>
                  <a:lnTo>
                    <a:pt x="146" y="212"/>
                  </a:lnTo>
                  <a:lnTo>
                    <a:pt x="146" y="214"/>
                  </a:lnTo>
                  <a:lnTo>
                    <a:pt x="144" y="214"/>
                  </a:lnTo>
                  <a:lnTo>
                    <a:pt x="144" y="210"/>
                  </a:lnTo>
                  <a:lnTo>
                    <a:pt x="144" y="208"/>
                  </a:lnTo>
                  <a:lnTo>
                    <a:pt x="144" y="210"/>
                  </a:lnTo>
                  <a:lnTo>
                    <a:pt x="137" y="210"/>
                  </a:lnTo>
                  <a:lnTo>
                    <a:pt x="133" y="210"/>
                  </a:lnTo>
                  <a:lnTo>
                    <a:pt x="125" y="206"/>
                  </a:lnTo>
                  <a:lnTo>
                    <a:pt x="119" y="204"/>
                  </a:lnTo>
                  <a:lnTo>
                    <a:pt x="114" y="206"/>
                  </a:lnTo>
                  <a:lnTo>
                    <a:pt x="106" y="204"/>
                  </a:lnTo>
                  <a:lnTo>
                    <a:pt x="100" y="200"/>
                  </a:lnTo>
                  <a:lnTo>
                    <a:pt x="96" y="198"/>
                  </a:lnTo>
                  <a:lnTo>
                    <a:pt x="91" y="194"/>
                  </a:lnTo>
                  <a:lnTo>
                    <a:pt x="81" y="189"/>
                  </a:lnTo>
                  <a:lnTo>
                    <a:pt x="79" y="187"/>
                  </a:lnTo>
                  <a:lnTo>
                    <a:pt x="73" y="183"/>
                  </a:lnTo>
                  <a:lnTo>
                    <a:pt x="66" y="179"/>
                  </a:lnTo>
                  <a:lnTo>
                    <a:pt x="62" y="177"/>
                  </a:lnTo>
                  <a:lnTo>
                    <a:pt x="56" y="173"/>
                  </a:lnTo>
                  <a:lnTo>
                    <a:pt x="50" y="169"/>
                  </a:lnTo>
                  <a:lnTo>
                    <a:pt x="48" y="168"/>
                  </a:lnTo>
                  <a:lnTo>
                    <a:pt x="48" y="166"/>
                  </a:lnTo>
                  <a:lnTo>
                    <a:pt x="50" y="169"/>
                  </a:lnTo>
                  <a:lnTo>
                    <a:pt x="54" y="171"/>
                  </a:lnTo>
                  <a:lnTo>
                    <a:pt x="50" y="169"/>
                  </a:lnTo>
                  <a:lnTo>
                    <a:pt x="50" y="168"/>
                  </a:lnTo>
                  <a:lnTo>
                    <a:pt x="43" y="162"/>
                  </a:lnTo>
                  <a:lnTo>
                    <a:pt x="45" y="160"/>
                  </a:lnTo>
                  <a:lnTo>
                    <a:pt x="46" y="162"/>
                  </a:lnTo>
                  <a:lnTo>
                    <a:pt x="45" y="160"/>
                  </a:lnTo>
                  <a:lnTo>
                    <a:pt x="50" y="158"/>
                  </a:lnTo>
                  <a:lnTo>
                    <a:pt x="48" y="156"/>
                  </a:lnTo>
                  <a:lnTo>
                    <a:pt x="48" y="154"/>
                  </a:lnTo>
                  <a:lnTo>
                    <a:pt x="54" y="152"/>
                  </a:lnTo>
                  <a:lnTo>
                    <a:pt x="48" y="152"/>
                  </a:lnTo>
                  <a:lnTo>
                    <a:pt x="46" y="154"/>
                  </a:lnTo>
                  <a:lnTo>
                    <a:pt x="46" y="156"/>
                  </a:lnTo>
                  <a:lnTo>
                    <a:pt x="43" y="158"/>
                  </a:lnTo>
                  <a:lnTo>
                    <a:pt x="39" y="158"/>
                  </a:lnTo>
                  <a:lnTo>
                    <a:pt x="39" y="156"/>
                  </a:lnTo>
                  <a:lnTo>
                    <a:pt x="41" y="156"/>
                  </a:lnTo>
                  <a:lnTo>
                    <a:pt x="41" y="152"/>
                  </a:lnTo>
                  <a:lnTo>
                    <a:pt x="43" y="154"/>
                  </a:lnTo>
                  <a:lnTo>
                    <a:pt x="43" y="152"/>
                  </a:lnTo>
                  <a:lnTo>
                    <a:pt x="45" y="152"/>
                  </a:lnTo>
                  <a:lnTo>
                    <a:pt x="43" y="152"/>
                  </a:lnTo>
                  <a:lnTo>
                    <a:pt x="48" y="150"/>
                  </a:lnTo>
                  <a:lnTo>
                    <a:pt x="48" y="148"/>
                  </a:lnTo>
                  <a:lnTo>
                    <a:pt x="46" y="150"/>
                  </a:lnTo>
                  <a:lnTo>
                    <a:pt x="43" y="148"/>
                  </a:lnTo>
                  <a:lnTo>
                    <a:pt x="43" y="144"/>
                  </a:lnTo>
                  <a:lnTo>
                    <a:pt x="41" y="146"/>
                  </a:lnTo>
                  <a:lnTo>
                    <a:pt x="41" y="144"/>
                  </a:lnTo>
                  <a:lnTo>
                    <a:pt x="39" y="146"/>
                  </a:lnTo>
                  <a:lnTo>
                    <a:pt x="37" y="144"/>
                  </a:lnTo>
                  <a:lnTo>
                    <a:pt x="37" y="143"/>
                  </a:lnTo>
                  <a:lnTo>
                    <a:pt x="39" y="143"/>
                  </a:lnTo>
                  <a:lnTo>
                    <a:pt x="39" y="139"/>
                  </a:lnTo>
                  <a:lnTo>
                    <a:pt x="35" y="141"/>
                  </a:lnTo>
                  <a:lnTo>
                    <a:pt x="35" y="137"/>
                  </a:lnTo>
                  <a:lnTo>
                    <a:pt x="33" y="143"/>
                  </a:lnTo>
                  <a:lnTo>
                    <a:pt x="31" y="141"/>
                  </a:lnTo>
                  <a:lnTo>
                    <a:pt x="31" y="137"/>
                  </a:lnTo>
                  <a:lnTo>
                    <a:pt x="27" y="141"/>
                  </a:lnTo>
                  <a:lnTo>
                    <a:pt x="23" y="141"/>
                  </a:lnTo>
                  <a:lnTo>
                    <a:pt x="25" y="137"/>
                  </a:lnTo>
                  <a:lnTo>
                    <a:pt x="27" y="135"/>
                  </a:lnTo>
                  <a:lnTo>
                    <a:pt x="27" y="137"/>
                  </a:lnTo>
                  <a:lnTo>
                    <a:pt x="31" y="135"/>
                  </a:lnTo>
                  <a:lnTo>
                    <a:pt x="29" y="133"/>
                  </a:lnTo>
                  <a:lnTo>
                    <a:pt x="31" y="131"/>
                  </a:lnTo>
                  <a:lnTo>
                    <a:pt x="33" y="131"/>
                  </a:lnTo>
                  <a:lnTo>
                    <a:pt x="33" y="129"/>
                  </a:lnTo>
                  <a:lnTo>
                    <a:pt x="31" y="131"/>
                  </a:lnTo>
                  <a:lnTo>
                    <a:pt x="31" y="129"/>
                  </a:lnTo>
                  <a:lnTo>
                    <a:pt x="31" y="125"/>
                  </a:lnTo>
                  <a:lnTo>
                    <a:pt x="27" y="131"/>
                  </a:lnTo>
                  <a:lnTo>
                    <a:pt x="27" y="127"/>
                  </a:lnTo>
                  <a:lnTo>
                    <a:pt x="31" y="123"/>
                  </a:lnTo>
                  <a:lnTo>
                    <a:pt x="29" y="123"/>
                  </a:lnTo>
                  <a:lnTo>
                    <a:pt x="31" y="121"/>
                  </a:lnTo>
                  <a:lnTo>
                    <a:pt x="33" y="121"/>
                  </a:lnTo>
                  <a:lnTo>
                    <a:pt x="33" y="120"/>
                  </a:lnTo>
                  <a:lnTo>
                    <a:pt x="39" y="112"/>
                  </a:lnTo>
                  <a:lnTo>
                    <a:pt x="43" y="108"/>
                  </a:lnTo>
                  <a:lnTo>
                    <a:pt x="46" y="106"/>
                  </a:lnTo>
                  <a:lnTo>
                    <a:pt x="52" y="102"/>
                  </a:lnTo>
                  <a:lnTo>
                    <a:pt x="54" y="98"/>
                  </a:lnTo>
                  <a:lnTo>
                    <a:pt x="60" y="96"/>
                  </a:lnTo>
                  <a:lnTo>
                    <a:pt x="58" y="96"/>
                  </a:lnTo>
                  <a:lnTo>
                    <a:pt x="62" y="93"/>
                  </a:lnTo>
                  <a:lnTo>
                    <a:pt x="68" y="91"/>
                  </a:lnTo>
                  <a:lnTo>
                    <a:pt x="64" y="91"/>
                  </a:lnTo>
                  <a:lnTo>
                    <a:pt x="60" y="95"/>
                  </a:lnTo>
                  <a:lnTo>
                    <a:pt x="56" y="95"/>
                  </a:lnTo>
                  <a:lnTo>
                    <a:pt x="54" y="93"/>
                  </a:lnTo>
                  <a:lnTo>
                    <a:pt x="54" y="95"/>
                  </a:lnTo>
                  <a:lnTo>
                    <a:pt x="46" y="95"/>
                  </a:lnTo>
                  <a:lnTo>
                    <a:pt x="45" y="96"/>
                  </a:lnTo>
                  <a:lnTo>
                    <a:pt x="41" y="104"/>
                  </a:lnTo>
                  <a:lnTo>
                    <a:pt x="39" y="102"/>
                  </a:lnTo>
                  <a:lnTo>
                    <a:pt x="39" y="104"/>
                  </a:lnTo>
                  <a:lnTo>
                    <a:pt x="35" y="106"/>
                  </a:lnTo>
                  <a:lnTo>
                    <a:pt x="31" y="108"/>
                  </a:lnTo>
                  <a:lnTo>
                    <a:pt x="29" y="106"/>
                  </a:lnTo>
                  <a:lnTo>
                    <a:pt x="31" y="102"/>
                  </a:lnTo>
                  <a:lnTo>
                    <a:pt x="31" y="96"/>
                  </a:lnTo>
                  <a:lnTo>
                    <a:pt x="29" y="96"/>
                  </a:lnTo>
                  <a:lnTo>
                    <a:pt x="27" y="98"/>
                  </a:lnTo>
                  <a:lnTo>
                    <a:pt x="29" y="102"/>
                  </a:lnTo>
                  <a:lnTo>
                    <a:pt x="27" y="104"/>
                  </a:lnTo>
                  <a:lnTo>
                    <a:pt x="27" y="108"/>
                  </a:lnTo>
                  <a:lnTo>
                    <a:pt x="25" y="114"/>
                  </a:lnTo>
                  <a:lnTo>
                    <a:pt x="23" y="116"/>
                  </a:lnTo>
                  <a:lnTo>
                    <a:pt x="23" y="114"/>
                  </a:lnTo>
                  <a:lnTo>
                    <a:pt x="20" y="121"/>
                  </a:lnTo>
                  <a:lnTo>
                    <a:pt x="16" y="123"/>
                  </a:lnTo>
                  <a:lnTo>
                    <a:pt x="12" y="121"/>
                  </a:lnTo>
                  <a:lnTo>
                    <a:pt x="10" y="123"/>
                  </a:lnTo>
                  <a:lnTo>
                    <a:pt x="4" y="121"/>
                  </a:lnTo>
                  <a:lnTo>
                    <a:pt x="2" y="118"/>
                  </a:lnTo>
                  <a:lnTo>
                    <a:pt x="4" y="116"/>
                  </a:lnTo>
                  <a:lnTo>
                    <a:pt x="12" y="116"/>
                  </a:lnTo>
                  <a:lnTo>
                    <a:pt x="16" y="112"/>
                  </a:lnTo>
                  <a:lnTo>
                    <a:pt x="18" y="106"/>
                  </a:lnTo>
                  <a:lnTo>
                    <a:pt x="14" y="106"/>
                  </a:lnTo>
                  <a:lnTo>
                    <a:pt x="12" y="110"/>
                  </a:lnTo>
                  <a:lnTo>
                    <a:pt x="10" y="108"/>
                  </a:lnTo>
                  <a:lnTo>
                    <a:pt x="12" y="112"/>
                  </a:lnTo>
                  <a:lnTo>
                    <a:pt x="10" y="112"/>
                  </a:lnTo>
                  <a:lnTo>
                    <a:pt x="2" y="106"/>
                  </a:lnTo>
                  <a:lnTo>
                    <a:pt x="4" y="100"/>
                  </a:lnTo>
                  <a:lnTo>
                    <a:pt x="6" y="91"/>
                  </a:lnTo>
                  <a:lnTo>
                    <a:pt x="14" y="85"/>
                  </a:lnTo>
                  <a:lnTo>
                    <a:pt x="20" y="85"/>
                  </a:lnTo>
                  <a:lnTo>
                    <a:pt x="21" y="81"/>
                  </a:lnTo>
                  <a:lnTo>
                    <a:pt x="23" y="79"/>
                  </a:lnTo>
                  <a:lnTo>
                    <a:pt x="25" y="81"/>
                  </a:lnTo>
                  <a:lnTo>
                    <a:pt x="64" y="81"/>
                  </a:lnTo>
                  <a:lnTo>
                    <a:pt x="64" y="72"/>
                  </a:lnTo>
                  <a:lnTo>
                    <a:pt x="64" y="66"/>
                  </a:lnTo>
                  <a:lnTo>
                    <a:pt x="66" y="60"/>
                  </a:lnTo>
                  <a:lnTo>
                    <a:pt x="66" y="58"/>
                  </a:lnTo>
                  <a:lnTo>
                    <a:pt x="66" y="50"/>
                  </a:lnTo>
                  <a:lnTo>
                    <a:pt x="66" y="47"/>
                  </a:lnTo>
                  <a:lnTo>
                    <a:pt x="71" y="43"/>
                  </a:lnTo>
                  <a:lnTo>
                    <a:pt x="75" y="45"/>
                  </a:lnTo>
                  <a:lnTo>
                    <a:pt x="77" y="52"/>
                  </a:lnTo>
                  <a:lnTo>
                    <a:pt x="79" y="54"/>
                  </a:lnTo>
                  <a:lnTo>
                    <a:pt x="83" y="47"/>
                  </a:lnTo>
                  <a:lnTo>
                    <a:pt x="87" y="45"/>
                  </a:lnTo>
                  <a:lnTo>
                    <a:pt x="91" y="52"/>
                  </a:lnTo>
                  <a:lnTo>
                    <a:pt x="94" y="52"/>
                  </a:lnTo>
                  <a:lnTo>
                    <a:pt x="96" y="47"/>
                  </a:lnTo>
                  <a:lnTo>
                    <a:pt x="100" y="45"/>
                  </a:lnTo>
                  <a:lnTo>
                    <a:pt x="98" y="41"/>
                  </a:lnTo>
                  <a:lnTo>
                    <a:pt x="108" y="45"/>
                  </a:lnTo>
                  <a:lnTo>
                    <a:pt x="110" y="45"/>
                  </a:lnTo>
                  <a:lnTo>
                    <a:pt x="112" y="45"/>
                  </a:lnTo>
                  <a:lnTo>
                    <a:pt x="117" y="45"/>
                  </a:lnTo>
                  <a:lnTo>
                    <a:pt x="119" y="47"/>
                  </a:lnTo>
                  <a:lnTo>
                    <a:pt x="121" y="47"/>
                  </a:lnTo>
                  <a:lnTo>
                    <a:pt x="131" y="48"/>
                  </a:lnTo>
                  <a:lnTo>
                    <a:pt x="140" y="47"/>
                  </a:lnTo>
                  <a:lnTo>
                    <a:pt x="148" y="48"/>
                  </a:lnTo>
                  <a:lnTo>
                    <a:pt x="158" y="45"/>
                  </a:lnTo>
                  <a:lnTo>
                    <a:pt x="160" y="45"/>
                  </a:lnTo>
                  <a:lnTo>
                    <a:pt x="167" y="47"/>
                  </a:lnTo>
                  <a:lnTo>
                    <a:pt x="171" y="47"/>
                  </a:lnTo>
                  <a:lnTo>
                    <a:pt x="175" y="47"/>
                  </a:lnTo>
                  <a:lnTo>
                    <a:pt x="181" y="47"/>
                  </a:lnTo>
                  <a:lnTo>
                    <a:pt x="188" y="47"/>
                  </a:lnTo>
                  <a:lnTo>
                    <a:pt x="198" y="47"/>
                  </a:lnTo>
                  <a:lnTo>
                    <a:pt x="204" y="47"/>
                  </a:lnTo>
                  <a:lnTo>
                    <a:pt x="213" y="45"/>
                  </a:lnTo>
                  <a:lnTo>
                    <a:pt x="217" y="45"/>
                  </a:lnTo>
                  <a:lnTo>
                    <a:pt x="223" y="41"/>
                  </a:lnTo>
                  <a:lnTo>
                    <a:pt x="225" y="43"/>
                  </a:lnTo>
                  <a:lnTo>
                    <a:pt x="231" y="39"/>
                  </a:lnTo>
                  <a:lnTo>
                    <a:pt x="240" y="39"/>
                  </a:lnTo>
                  <a:lnTo>
                    <a:pt x="242" y="37"/>
                  </a:lnTo>
                  <a:lnTo>
                    <a:pt x="242" y="33"/>
                  </a:lnTo>
                  <a:lnTo>
                    <a:pt x="244" y="37"/>
                  </a:lnTo>
                  <a:lnTo>
                    <a:pt x="246" y="35"/>
                  </a:lnTo>
                  <a:lnTo>
                    <a:pt x="250" y="35"/>
                  </a:lnTo>
                  <a:lnTo>
                    <a:pt x="254" y="33"/>
                  </a:lnTo>
                  <a:lnTo>
                    <a:pt x="252" y="29"/>
                  </a:lnTo>
                  <a:lnTo>
                    <a:pt x="256" y="33"/>
                  </a:lnTo>
                  <a:lnTo>
                    <a:pt x="258" y="33"/>
                  </a:lnTo>
                  <a:lnTo>
                    <a:pt x="263" y="29"/>
                  </a:lnTo>
                  <a:lnTo>
                    <a:pt x="259" y="29"/>
                  </a:lnTo>
                  <a:lnTo>
                    <a:pt x="259" y="27"/>
                  </a:lnTo>
                  <a:lnTo>
                    <a:pt x="263" y="27"/>
                  </a:lnTo>
                  <a:lnTo>
                    <a:pt x="263" y="29"/>
                  </a:lnTo>
                  <a:lnTo>
                    <a:pt x="271" y="27"/>
                  </a:lnTo>
                  <a:lnTo>
                    <a:pt x="271" y="25"/>
                  </a:lnTo>
                  <a:lnTo>
                    <a:pt x="269" y="25"/>
                  </a:lnTo>
                  <a:lnTo>
                    <a:pt x="271" y="25"/>
                  </a:lnTo>
                  <a:lnTo>
                    <a:pt x="275" y="25"/>
                  </a:lnTo>
                  <a:lnTo>
                    <a:pt x="271" y="27"/>
                  </a:lnTo>
                  <a:lnTo>
                    <a:pt x="265" y="31"/>
                  </a:lnTo>
                  <a:lnTo>
                    <a:pt x="261" y="37"/>
                  </a:lnTo>
                  <a:lnTo>
                    <a:pt x="259" y="39"/>
                  </a:lnTo>
                  <a:lnTo>
                    <a:pt x="261" y="45"/>
                  </a:lnTo>
                  <a:lnTo>
                    <a:pt x="259" y="47"/>
                  </a:lnTo>
                  <a:lnTo>
                    <a:pt x="261" y="48"/>
                  </a:lnTo>
                  <a:lnTo>
                    <a:pt x="259" y="50"/>
                  </a:lnTo>
                  <a:lnTo>
                    <a:pt x="265" y="52"/>
                  </a:lnTo>
                  <a:lnTo>
                    <a:pt x="269" y="54"/>
                  </a:lnTo>
                  <a:lnTo>
                    <a:pt x="275" y="54"/>
                  </a:lnTo>
                  <a:lnTo>
                    <a:pt x="284" y="54"/>
                  </a:lnTo>
                  <a:lnTo>
                    <a:pt x="288" y="50"/>
                  </a:lnTo>
                  <a:lnTo>
                    <a:pt x="292" y="50"/>
                  </a:lnTo>
                  <a:lnTo>
                    <a:pt x="296" y="48"/>
                  </a:lnTo>
                  <a:lnTo>
                    <a:pt x="292" y="45"/>
                  </a:lnTo>
                  <a:lnTo>
                    <a:pt x="298" y="41"/>
                  </a:lnTo>
                  <a:lnTo>
                    <a:pt x="304" y="37"/>
                  </a:lnTo>
                  <a:lnTo>
                    <a:pt x="309" y="39"/>
                  </a:lnTo>
                  <a:lnTo>
                    <a:pt x="315" y="35"/>
                  </a:lnTo>
                  <a:lnTo>
                    <a:pt x="319" y="33"/>
                  </a:lnTo>
                  <a:lnTo>
                    <a:pt x="319" y="31"/>
                  </a:lnTo>
                  <a:lnTo>
                    <a:pt x="317" y="29"/>
                  </a:lnTo>
                  <a:lnTo>
                    <a:pt x="309" y="31"/>
                  </a:lnTo>
                  <a:lnTo>
                    <a:pt x="302" y="27"/>
                  </a:lnTo>
                  <a:lnTo>
                    <a:pt x="298" y="22"/>
                  </a:lnTo>
                  <a:lnTo>
                    <a:pt x="292" y="20"/>
                  </a:lnTo>
                  <a:lnTo>
                    <a:pt x="298" y="18"/>
                  </a:lnTo>
                  <a:lnTo>
                    <a:pt x="302" y="25"/>
                  </a:lnTo>
                  <a:lnTo>
                    <a:pt x="306" y="27"/>
                  </a:lnTo>
                  <a:lnTo>
                    <a:pt x="307" y="20"/>
                  </a:lnTo>
                  <a:lnTo>
                    <a:pt x="306" y="18"/>
                  </a:lnTo>
                  <a:lnTo>
                    <a:pt x="306" y="12"/>
                  </a:lnTo>
                  <a:lnTo>
                    <a:pt x="309" y="8"/>
                  </a:lnTo>
                  <a:lnTo>
                    <a:pt x="313" y="6"/>
                  </a:lnTo>
                  <a:lnTo>
                    <a:pt x="319" y="2"/>
                  </a:lnTo>
                  <a:lnTo>
                    <a:pt x="325" y="6"/>
                  </a:lnTo>
                  <a:lnTo>
                    <a:pt x="330" y="8"/>
                  </a:lnTo>
                  <a:lnTo>
                    <a:pt x="334" y="10"/>
                  </a:lnTo>
                  <a:lnTo>
                    <a:pt x="338" y="10"/>
                  </a:lnTo>
                  <a:lnTo>
                    <a:pt x="344" y="6"/>
                  </a:lnTo>
                  <a:lnTo>
                    <a:pt x="346" y="8"/>
                  </a:lnTo>
                  <a:lnTo>
                    <a:pt x="348" y="10"/>
                  </a:lnTo>
                  <a:lnTo>
                    <a:pt x="352" y="8"/>
                  </a:lnTo>
                  <a:lnTo>
                    <a:pt x="359" y="4"/>
                  </a:lnTo>
                  <a:lnTo>
                    <a:pt x="363" y="2"/>
                  </a:lnTo>
                  <a:lnTo>
                    <a:pt x="371" y="4"/>
                  </a:lnTo>
                  <a:lnTo>
                    <a:pt x="377" y="8"/>
                  </a:lnTo>
                  <a:lnTo>
                    <a:pt x="382" y="6"/>
                  </a:lnTo>
                  <a:lnTo>
                    <a:pt x="392" y="4"/>
                  </a:lnTo>
                  <a:lnTo>
                    <a:pt x="394" y="10"/>
                  </a:lnTo>
                  <a:lnTo>
                    <a:pt x="398" y="12"/>
                  </a:lnTo>
                  <a:lnTo>
                    <a:pt x="400" y="4"/>
                  </a:lnTo>
                  <a:lnTo>
                    <a:pt x="405" y="4"/>
                  </a:lnTo>
                  <a:lnTo>
                    <a:pt x="405" y="6"/>
                  </a:lnTo>
                  <a:lnTo>
                    <a:pt x="407" y="8"/>
                  </a:lnTo>
                  <a:lnTo>
                    <a:pt x="413" y="6"/>
                  </a:lnTo>
                  <a:lnTo>
                    <a:pt x="413" y="2"/>
                  </a:lnTo>
                  <a:lnTo>
                    <a:pt x="421" y="0"/>
                  </a:lnTo>
                  <a:lnTo>
                    <a:pt x="423" y="2"/>
                  </a:lnTo>
                  <a:lnTo>
                    <a:pt x="423" y="6"/>
                  </a:lnTo>
                  <a:lnTo>
                    <a:pt x="426" y="8"/>
                  </a:lnTo>
                  <a:lnTo>
                    <a:pt x="428" y="8"/>
                  </a:lnTo>
                  <a:lnTo>
                    <a:pt x="430" y="10"/>
                  </a:lnTo>
                  <a:lnTo>
                    <a:pt x="434" y="12"/>
                  </a:lnTo>
                  <a:lnTo>
                    <a:pt x="438" y="8"/>
                  </a:lnTo>
                  <a:lnTo>
                    <a:pt x="440" y="10"/>
                  </a:lnTo>
                  <a:lnTo>
                    <a:pt x="448" y="10"/>
                  </a:lnTo>
                  <a:lnTo>
                    <a:pt x="449" y="8"/>
                  </a:lnTo>
                  <a:lnTo>
                    <a:pt x="451" y="10"/>
                  </a:lnTo>
                  <a:lnTo>
                    <a:pt x="449" y="12"/>
                  </a:lnTo>
                  <a:lnTo>
                    <a:pt x="444" y="12"/>
                  </a:lnTo>
                  <a:lnTo>
                    <a:pt x="440" y="14"/>
                  </a:lnTo>
                  <a:lnTo>
                    <a:pt x="444" y="18"/>
                  </a:lnTo>
                  <a:lnTo>
                    <a:pt x="448" y="18"/>
                  </a:lnTo>
                  <a:lnTo>
                    <a:pt x="449" y="16"/>
                  </a:lnTo>
                  <a:lnTo>
                    <a:pt x="453" y="23"/>
                  </a:lnTo>
                  <a:lnTo>
                    <a:pt x="459" y="22"/>
                  </a:lnTo>
                  <a:lnTo>
                    <a:pt x="459" y="27"/>
                  </a:lnTo>
                  <a:lnTo>
                    <a:pt x="463" y="33"/>
                  </a:lnTo>
                  <a:lnTo>
                    <a:pt x="467" y="33"/>
                  </a:lnTo>
                  <a:lnTo>
                    <a:pt x="465" y="27"/>
                  </a:lnTo>
                  <a:lnTo>
                    <a:pt x="467" y="27"/>
                  </a:lnTo>
                  <a:lnTo>
                    <a:pt x="467" y="25"/>
                  </a:lnTo>
                  <a:lnTo>
                    <a:pt x="471" y="22"/>
                  </a:lnTo>
                  <a:lnTo>
                    <a:pt x="474" y="25"/>
                  </a:lnTo>
                  <a:lnTo>
                    <a:pt x="482" y="27"/>
                  </a:lnTo>
                  <a:lnTo>
                    <a:pt x="486" y="27"/>
                  </a:lnTo>
                  <a:lnTo>
                    <a:pt x="486" y="33"/>
                  </a:lnTo>
                  <a:lnTo>
                    <a:pt x="490" y="39"/>
                  </a:lnTo>
                  <a:lnTo>
                    <a:pt x="497" y="39"/>
                  </a:lnTo>
                  <a:lnTo>
                    <a:pt x="503" y="37"/>
                  </a:lnTo>
                  <a:lnTo>
                    <a:pt x="509" y="41"/>
                  </a:lnTo>
                  <a:lnTo>
                    <a:pt x="517" y="37"/>
                  </a:lnTo>
                  <a:lnTo>
                    <a:pt x="515" y="35"/>
                  </a:lnTo>
                  <a:lnTo>
                    <a:pt x="517" y="31"/>
                  </a:lnTo>
                  <a:lnTo>
                    <a:pt x="519" y="29"/>
                  </a:lnTo>
                  <a:lnTo>
                    <a:pt x="517" y="27"/>
                  </a:lnTo>
                  <a:lnTo>
                    <a:pt x="519" y="25"/>
                  </a:lnTo>
                  <a:lnTo>
                    <a:pt x="521" y="25"/>
                  </a:lnTo>
                  <a:lnTo>
                    <a:pt x="521" y="27"/>
                  </a:lnTo>
                  <a:lnTo>
                    <a:pt x="522" y="27"/>
                  </a:lnTo>
                  <a:lnTo>
                    <a:pt x="528" y="23"/>
                  </a:lnTo>
                  <a:lnTo>
                    <a:pt x="530" y="31"/>
                  </a:lnTo>
                  <a:lnTo>
                    <a:pt x="528" y="35"/>
                  </a:lnTo>
                  <a:lnTo>
                    <a:pt x="536" y="39"/>
                  </a:lnTo>
                  <a:lnTo>
                    <a:pt x="540" y="37"/>
                  </a:lnTo>
                  <a:lnTo>
                    <a:pt x="542" y="37"/>
                  </a:lnTo>
                  <a:lnTo>
                    <a:pt x="540" y="41"/>
                  </a:lnTo>
                  <a:lnTo>
                    <a:pt x="538" y="41"/>
                  </a:lnTo>
                  <a:lnTo>
                    <a:pt x="536" y="45"/>
                  </a:lnTo>
                  <a:lnTo>
                    <a:pt x="532" y="45"/>
                  </a:lnTo>
                  <a:lnTo>
                    <a:pt x="532" y="47"/>
                  </a:lnTo>
                  <a:lnTo>
                    <a:pt x="528" y="50"/>
                  </a:lnTo>
                  <a:lnTo>
                    <a:pt x="526" y="56"/>
                  </a:lnTo>
                  <a:lnTo>
                    <a:pt x="532" y="64"/>
                  </a:lnTo>
                  <a:lnTo>
                    <a:pt x="540" y="70"/>
                  </a:lnTo>
                  <a:lnTo>
                    <a:pt x="538" y="73"/>
                  </a:lnTo>
                  <a:lnTo>
                    <a:pt x="544" y="77"/>
                  </a:lnTo>
                  <a:lnTo>
                    <a:pt x="547" y="77"/>
                  </a:lnTo>
                  <a:lnTo>
                    <a:pt x="547" y="73"/>
                  </a:lnTo>
                  <a:lnTo>
                    <a:pt x="551" y="72"/>
                  </a:lnTo>
                  <a:lnTo>
                    <a:pt x="553" y="66"/>
                  </a:lnTo>
                  <a:lnTo>
                    <a:pt x="557" y="64"/>
                  </a:lnTo>
                  <a:lnTo>
                    <a:pt x="557" y="68"/>
                  </a:lnTo>
                  <a:lnTo>
                    <a:pt x="561" y="72"/>
                  </a:lnTo>
                  <a:lnTo>
                    <a:pt x="561" y="79"/>
                  </a:lnTo>
                  <a:lnTo>
                    <a:pt x="563" y="85"/>
                  </a:lnTo>
                  <a:lnTo>
                    <a:pt x="557" y="87"/>
                  </a:lnTo>
                  <a:lnTo>
                    <a:pt x="555" y="93"/>
                  </a:lnTo>
                  <a:lnTo>
                    <a:pt x="555" y="96"/>
                  </a:lnTo>
                  <a:lnTo>
                    <a:pt x="555" y="100"/>
                  </a:lnTo>
                  <a:lnTo>
                    <a:pt x="557" y="102"/>
                  </a:lnTo>
                  <a:lnTo>
                    <a:pt x="559" y="100"/>
                  </a:lnTo>
                  <a:lnTo>
                    <a:pt x="561" y="102"/>
                  </a:lnTo>
                  <a:lnTo>
                    <a:pt x="565" y="104"/>
                  </a:lnTo>
                  <a:lnTo>
                    <a:pt x="567" y="110"/>
                  </a:lnTo>
                  <a:lnTo>
                    <a:pt x="570" y="110"/>
                  </a:lnTo>
                  <a:lnTo>
                    <a:pt x="570" y="116"/>
                  </a:lnTo>
                  <a:lnTo>
                    <a:pt x="568" y="118"/>
                  </a:lnTo>
                  <a:lnTo>
                    <a:pt x="570" y="120"/>
                  </a:lnTo>
                  <a:lnTo>
                    <a:pt x="576" y="116"/>
                  </a:lnTo>
                  <a:lnTo>
                    <a:pt x="582" y="116"/>
                  </a:lnTo>
                  <a:lnTo>
                    <a:pt x="586" y="118"/>
                  </a:lnTo>
                  <a:lnTo>
                    <a:pt x="584" y="125"/>
                  </a:lnTo>
                  <a:lnTo>
                    <a:pt x="582" y="129"/>
                  </a:lnTo>
                  <a:lnTo>
                    <a:pt x="586" y="131"/>
                  </a:lnTo>
                  <a:lnTo>
                    <a:pt x="582" y="137"/>
                  </a:lnTo>
                  <a:lnTo>
                    <a:pt x="584" y="139"/>
                  </a:lnTo>
                  <a:lnTo>
                    <a:pt x="590" y="137"/>
                  </a:lnTo>
                  <a:lnTo>
                    <a:pt x="592" y="141"/>
                  </a:lnTo>
                  <a:lnTo>
                    <a:pt x="595" y="137"/>
                  </a:lnTo>
                  <a:lnTo>
                    <a:pt x="597" y="139"/>
                  </a:lnTo>
                  <a:lnTo>
                    <a:pt x="603" y="137"/>
                  </a:lnTo>
                  <a:lnTo>
                    <a:pt x="607" y="143"/>
                  </a:lnTo>
                  <a:lnTo>
                    <a:pt x="609" y="146"/>
                  </a:lnTo>
                  <a:lnTo>
                    <a:pt x="609" y="150"/>
                  </a:lnTo>
                  <a:lnTo>
                    <a:pt x="615" y="148"/>
                  </a:lnTo>
                  <a:lnTo>
                    <a:pt x="615" y="146"/>
                  </a:lnTo>
                  <a:lnTo>
                    <a:pt x="618" y="144"/>
                  </a:lnTo>
                  <a:lnTo>
                    <a:pt x="620" y="150"/>
                  </a:lnTo>
                  <a:lnTo>
                    <a:pt x="624" y="150"/>
                  </a:lnTo>
                  <a:lnTo>
                    <a:pt x="624" y="152"/>
                  </a:lnTo>
                  <a:lnTo>
                    <a:pt x="626" y="152"/>
                  </a:lnTo>
                  <a:lnTo>
                    <a:pt x="626" y="154"/>
                  </a:lnTo>
                  <a:lnTo>
                    <a:pt x="630" y="154"/>
                  </a:lnTo>
                  <a:lnTo>
                    <a:pt x="636" y="158"/>
                  </a:lnTo>
                  <a:lnTo>
                    <a:pt x="634" y="166"/>
                  </a:lnTo>
                  <a:lnTo>
                    <a:pt x="636" y="169"/>
                  </a:lnTo>
                  <a:lnTo>
                    <a:pt x="640" y="169"/>
                  </a:lnTo>
                  <a:lnTo>
                    <a:pt x="641" y="164"/>
                  </a:lnTo>
                  <a:lnTo>
                    <a:pt x="645" y="164"/>
                  </a:lnTo>
                  <a:lnTo>
                    <a:pt x="647" y="168"/>
                  </a:lnTo>
                  <a:lnTo>
                    <a:pt x="651" y="173"/>
                  </a:lnTo>
                  <a:lnTo>
                    <a:pt x="649" y="175"/>
                  </a:lnTo>
                  <a:lnTo>
                    <a:pt x="655" y="179"/>
                  </a:lnTo>
                  <a:close/>
                  <a:moveTo>
                    <a:pt x="499" y="475"/>
                  </a:moveTo>
                  <a:lnTo>
                    <a:pt x="497" y="477"/>
                  </a:lnTo>
                  <a:lnTo>
                    <a:pt x="499" y="479"/>
                  </a:lnTo>
                  <a:lnTo>
                    <a:pt x="501" y="477"/>
                  </a:lnTo>
                  <a:lnTo>
                    <a:pt x="499" y="475"/>
                  </a:lnTo>
                  <a:close/>
                </a:path>
              </a:pathLst>
            </a:custGeom>
            <a:solidFill>
              <a:schemeClr val="accent3"/>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25" name="Freeform 17">
              <a:extLst>
                <a:ext uri="{FF2B5EF4-FFF2-40B4-BE49-F238E27FC236}">
                  <a16:creationId xmlns:a16="http://schemas.microsoft.com/office/drawing/2014/main" id="{DF9EDC4B-28BE-4C68-9A14-504AE61D8A76}"/>
                </a:ext>
              </a:extLst>
            </p:cNvPr>
            <p:cNvSpPr>
              <a:spLocks noEditPoints="1"/>
            </p:cNvSpPr>
            <p:nvPr/>
          </p:nvSpPr>
          <p:spPr bwMode="gray">
            <a:xfrm>
              <a:off x="6462714" y="2903539"/>
              <a:ext cx="701675" cy="977900"/>
            </a:xfrm>
            <a:custGeom>
              <a:avLst/>
              <a:gdLst>
                <a:gd name="T0" fmla="*/ 294 w 442"/>
                <a:gd name="T1" fmla="*/ 609 h 616"/>
                <a:gd name="T2" fmla="*/ 313 w 442"/>
                <a:gd name="T3" fmla="*/ 605 h 616"/>
                <a:gd name="T4" fmla="*/ 294 w 442"/>
                <a:gd name="T5" fmla="*/ 597 h 616"/>
                <a:gd name="T6" fmla="*/ 294 w 442"/>
                <a:gd name="T7" fmla="*/ 609 h 616"/>
                <a:gd name="T8" fmla="*/ 296 w 442"/>
                <a:gd name="T9" fmla="*/ 586 h 616"/>
                <a:gd name="T10" fmla="*/ 238 w 442"/>
                <a:gd name="T11" fmla="*/ 591 h 616"/>
                <a:gd name="T12" fmla="*/ 300 w 442"/>
                <a:gd name="T13" fmla="*/ 576 h 616"/>
                <a:gd name="T14" fmla="*/ 304 w 442"/>
                <a:gd name="T15" fmla="*/ 564 h 616"/>
                <a:gd name="T16" fmla="*/ 332 w 442"/>
                <a:gd name="T17" fmla="*/ 25 h 616"/>
                <a:gd name="T18" fmla="*/ 394 w 442"/>
                <a:gd name="T19" fmla="*/ 40 h 616"/>
                <a:gd name="T20" fmla="*/ 438 w 442"/>
                <a:gd name="T21" fmla="*/ 84 h 616"/>
                <a:gd name="T22" fmla="*/ 419 w 442"/>
                <a:gd name="T23" fmla="*/ 115 h 616"/>
                <a:gd name="T24" fmla="*/ 411 w 442"/>
                <a:gd name="T25" fmla="*/ 126 h 616"/>
                <a:gd name="T26" fmla="*/ 355 w 442"/>
                <a:gd name="T27" fmla="*/ 101 h 616"/>
                <a:gd name="T28" fmla="*/ 342 w 442"/>
                <a:gd name="T29" fmla="*/ 86 h 616"/>
                <a:gd name="T30" fmla="*/ 332 w 442"/>
                <a:gd name="T31" fmla="*/ 105 h 616"/>
                <a:gd name="T32" fmla="*/ 304 w 442"/>
                <a:gd name="T33" fmla="*/ 84 h 616"/>
                <a:gd name="T34" fmla="*/ 292 w 442"/>
                <a:gd name="T35" fmla="*/ 88 h 616"/>
                <a:gd name="T36" fmla="*/ 254 w 442"/>
                <a:gd name="T37" fmla="*/ 130 h 616"/>
                <a:gd name="T38" fmla="*/ 290 w 442"/>
                <a:gd name="T39" fmla="*/ 178 h 616"/>
                <a:gd name="T40" fmla="*/ 325 w 442"/>
                <a:gd name="T41" fmla="*/ 192 h 616"/>
                <a:gd name="T42" fmla="*/ 330 w 442"/>
                <a:gd name="T43" fmla="*/ 219 h 616"/>
                <a:gd name="T44" fmla="*/ 275 w 442"/>
                <a:gd name="T45" fmla="*/ 246 h 616"/>
                <a:gd name="T46" fmla="*/ 250 w 442"/>
                <a:gd name="T47" fmla="*/ 263 h 616"/>
                <a:gd name="T48" fmla="*/ 298 w 442"/>
                <a:gd name="T49" fmla="*/ 319 h 616"/>
                <a:gd name="T50" fmla="*/ 313 w 442"/>
                <a:gd name="T51" fmla="*/ 357 h 616"/>
                <a:gd name="T52" fmla="*/ 294 w 442"/>
                <a:gd name="T53" fmla="*/ 390 h 616"/>
                <a:gd name="T54" fmla="*/ 311 w 442"/>
                <a:gd name="T55" fmla="*/ 420 h 616"/>
                <a:gd name="T56" fmla="*/ 332 w 442"/>
                <a:gd name="T57" fmla="*/ 441 h 616"/>
                <a:gd name="T58" fmla="*/ 334 w 442"/>
                <a:gd name="T59" fmla="*/ 480 h 616"/>
                <a:gd name="T60" fmla="*/ 342 w 442"/>
                <a:gd name="T61" fmla="*/ 539 h 616"/>
                <a:gd name="T62" fmla="*/ 340 w 442"/>
                <a:gd name="T63" fmla="*/ 587 h 616"/>
                <a:gd name="T64" fmla="*/ 330 w 442"/>
                <a:gd name="T65" fmla="*/ 601 h 616"/>
                <a:gd name="T66" fmla="*/ 305 w 442"/>
                <a:gd name="T67" fmla="*/ 587 h 616"/>
                <a:gd name="T68" fmla="*/ 309 w 442"/>
                <a:gd name="T69" fmla="*/ 566 h 616"/>
                <a:gd name="T70" fmla="*/ 290 w 442"/>
                <a:gd name="T71" fmla="*/ 580 h 616"/>
                <a:gd name="T72" fmla="*/ 282 w 442"/>
                <a:gd name="T73" fmla="*/ 589 h 616"/>
                <a:gd name="T74" fmla="*/ 267 w 442"/>
                <a:gd name="T75" fmla="*/ 599 h 616"/>
                <a:gd name="T76" fmla="*/ 254 w 442"/>
                <a:gd name="T77" fmla="*/ 599 h 616"/>
                <a:gd name="T78" fmla="*/ 238 w 442"/>
                <a:gd name="T79" fmla="*/ 547 h 616"/>
                <a:gd name="T80" fmla="*/ 204 w 442"/>
                <a:gd name="T81" fmla="*/ 599 h 616"/>
                <a:gd name="T82" fmla="*/ 150 w 442"/>
                <a:gd name="T83" fmla="*/ 582 h 616"/>
                <a:gd name="T84" fmla="*/ 106 w 442"/>
                <a:gd name="T85" fmla="*/ 553 h 616"/>
                <a:gd name="T86" fmla="*/ 100 w 442"/>
                <a:gd name="T87" fmla="*/ 503 h 616"/>
                <a:gd name="T88" fmla="*/ 75 w 442"/>
                <a:gd name="T89" fmla="*/ 461 h 616"/>
                <a:gd name="T90" fmla="*/ 6 w 442"/>
                <a:gd name="T91" fmla="*/ 434 h 616"/>
                <a:gd name="T92" fmla="*/ 25 w 442"/>
                <a:gd name="T93" fmla="*/ 393 h 616"/>
                <a:gd name="T94" fmla="*/ 58 w 442"/>
                <a:gd name="T95" fmla="*/ 405 h 616"/>
                <a:gd name="T96" fmla="*/ 112 w 442"/>
                <a:gd name="T97" fmla="*/ 368 h 616"/>
                <a:gd name="T98" fmla="*/ 148 w 442"/>
                <a:gd name="T99" fmla="*/ 367 h 616"/>
                <a:gd name="T100" fmla="*/ 177 w 442"/>
                <a:gd name="T101" fmla="*/ 349 h 616"/>
                <a:gd name="T102" fmla="*/ 200 w 442"/>
                <a:gd name="T103" fmla="*/ 326 h 616"/>
                <a:gd name="T104" fmla="*/ 213 w 442"/>
                <a:gd name="T105" fmla="*/ 295 h 616"/>
                <a:gd name="T106" fmla="*/ 219 w 442"/>
                <a:gd name="T107" fmla="*/ 263 h 616"/>
                <a:gd name="T108" fmla="*/ 215 w 442"/>
                <a:gd name="T109" fmla="*/ 213 h 616"/>
                <a:gd name="T110" fmla="*/ 244 w 442"/>
                <a:gd name="T111" fmla="*/ 188 h 616"/>
                <a:gd name="T112" fmla="*/ 219 w 442"/>
                <a:gd name="T113" fmla="*/ 142 h 616"/>
                <a:gd name="T114" fmla="*/ 248 w 442"/>
                <a:gd name="T115" fmla="*/ 113 h 616"/>
                <a:gd name="T116" fmla="*/ 263 w 442"/>
                <a:gd name="T117" fmla="*/ 75 h 616"/>
                <a:gd name="T118" fmla="*/ 240 w 442"/>
                <a:gd name="T119" fmla="*/ 11 h 616"/>
                <a:gd name="T120" fmla="*/ 313 w 442"/>
                <a:gd name="T121" fmla="*/ 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2" h="616">
                  <a:moveTo>
                    <a:pt x="248" y="611"/>
                  </a:moveTo>
                  <a:lnTo>
                    <a:pt x="250" y="611"/>
                  </a:lnTo>
                  <a:lnTo>
                    <a:pt x="250" y="612"/>
                  </a:lnTo>
                  <a:lnTo>
                    <a:pt x="248" y="612"/>
                  </a:lnTo>
                  <a:lnTo>
                    <a:pt x="248" y="611"/>
                  </a:lnTo>
                  <a:close/>
                  <a:moveTo>
                    <a:pt x="286" y="616"/>
                  </a:moveTo>
                  <a:lnTo>
                    <a:pt x="282" y="614"/>
                  </a:lnTo>
                  <a:lnTo>
                    <a:pt x="282" y="611"/>
                  </a:lnTo>
                  <a:lnTo>
                    <a:pt x="288" y="612"/>
                  </a:lnTo>
                  <a:lnTo>
                    <a:pt x="286" y="616"/>
                  </a:lnTo>
                  <a:close/>
                  <a:moveTo>
                    <a:pt x="321" y="611"/>
                  </a:moveTo>
                  <a:lnTo>
                    <a:pt x="325" y="611"/>
                  </a:lnTo>
                  <a:lnTo>
                    <a:pt x="327" y="614"/>
                  </a:lnTo>
                  <a:lnTo>
                    <a:pt x="321" y="614"/>
                  </a:lnTo>
                  <a:lnTo>
                    <a:pt x="319" y="611"/>
                  </a:lnTo>
                  <a:lnTo>
                    <a:pt x="321" y="611"/>
                  </a:lnTo>
                  <a:close/>
                  <a:moveTo>
                    <a:pt x="292" y="609"/>
                  </a:moveTo>
                  <a:lnTo>
                    <a:pt x="294" y="609"/>
                  </a:lnTo>
                  <a:lnTo>
                    <a:pt x="292" y="612"/>
                  </a:lnTo>
                  <a:lnTo>
                    <a:pt x="288" y="614"/>
                  </a:lnTo>
                  <a:lnTo>
                    <a:pt x="284" y="611"/>
                  </a:lnTo>
                  <a:lnTo>
                    <a:pt x="286" y="605"/>
                  </a:lnTo>
                  <a:lnTo>
                    <a:pt x="292" y="609"/>
                  </a:lnTo>
                  <a:close/>
                  <a:moveTo>
                    <a:pt x="298" y="601"/>
                  </a:moveTo>
                  <a:lnTo>
                    <a:pt x="298" y="605"/>
                  </a:lnTo>
                  <a:lnTo>
                    <a:pt x="298" y="601"/>
                  </a:lnTo>
                  <a:close/>
                  <a:moveTo>
                    <a:pt x="263" y="599"/>
                  </a:moveTo>
                  <a:lnTo>
                    <a:pt x="265" y="599"/>
                  </a:lnTo>
                  <a:lnTo>
                    <a:pt x="267" y="601"/>
                  </a:lnTo>
                  <a:lnTo>
                    <a:pt x="267" y="607"/>
                  </a:lnTo>
                  <a:lnTo>
                    <a:pt x="263" y="609"/>
                  </a:lnTo>
                  <a:lnTo>
                    <a:pt x="263" y="607"/>
                  </a:lnTo>
                  <a:lnTo>
                    <a:pt x="263" y="603"/>
                  </a:lnTo>
                  <a:lnTo>
                    <a:pt x="263" y="599"/>
                  </a:lnTo>
                  <a:close/>
                  <a:moveTo>
                    <a:pt x="311" y="605"/>
                  </a:moveTo>
                  <a:lnTo>
                    <a:pt x="313" y="605"/>
                  </a:lnTo>
                  <a:lnTo>
                    <a:pt x="315" y="611"/>
                  </a:lnTo>
                  <a:lnTo>
                    <a:pt x="309" y="612"/>
                  </a:lnTo>
                  <a:lnTo>
                    <a:pt x="307" y="612"/>
                  </a:lnTo>
                  <a:lnTo>
                    <a:pt x="305" y="609"/>
                  </a:lnTo>
                  <a:lnTo>
                    <a:pt x="307" y="605"/>
                  </a:lnTo>
                  <a:lnTo>
                    <a:pt x="304" y="601"/>
                  </a:lnTo>
                  <a:lnTo>
                    <a:pt x="305" y="597"/>
                  </a:lnTo>
                  <a:lnTo>
                    <a:pt x="305" y="601"/>
                  </a:lnTo>
                  <a:lnTo>
                    <a:pt x="311" y="605"/>
                  </a:lnTo>
                  <a:close/>
                  <a:moveTo>
                    <a:pt x="254" y="603"/>
                  </a:moveTo>
                  <a:lnTo>
                    <a:pt x="256" y="605"/>
                  </a:lnTo>
                  <a:lnTo>
                    <a:pt x="252" y="609"/>
                  </a:lnTo>
                  <a:lnTo>
                    <a:pt x="250" y="601"/>
                  </a:lnTo>
                  <a:lnTo>
                    <a:pt x="252" y="597"/>
                  </a:lnTo>
                  <a:lnTo>
                    <a:pt x="254" y="599"/>
                  </a:lnTo>
                  <a:lnTo>
                    <a:pt x="252" y="601"/>
                  </a:lnTo>
                  <a:lnTo>
                    <a:pt x="254" y="603"/>
                  </a:lnTo>
                  <a:close/>
                  <a:moveTo>
                    <a:pt x="294" y="597"/>
                  </a:moveTo>
                  <a:lnTo>
                    <a:pt x="292" y="591"/>
                  </a:lnTo>
                  <a:lnTo>
                    <a:pt x="292" y="593"/>
                  </a:lnTo>
                  <a:lnTo>
                    <a:pt x="296" y="595"/>
                  </a:lnTo>
                  <a:lnTo>
                    <a:pt x="294" y="597"/>
                  </a:lnTo>
                  <a:close/>
                  <a:moveTo>
                    <a:pt x="296" y="597"/>
                  </a:moveTo>
                  <a:lnTo>
                    <a:pt x="294" y="597"/>
                  </a:lnTo>
                  <a:lnTo>
                    <a:pt x="296" y="597"/>
                  </a:lnTo>
                  <a:lnTo>
                    <a:pt x="298" y="595"/>
                  </a:lnTo>
                  <a:lnTo>
                    <a:pt x="294" y="593"/>
                  </a:lnTo>
                  <a:lnTo>
                    <a:pt x="296" y="589"/>
                  </a:lnTo>
                  <a:lnTo>
                    <a:pt x="298" y="593"/>
                  </a:lnTo>
                  <a:lnTo>
                    <a:pt x="296" y="597"/>
                  </a:lnTo>
                  <a:close/>
                  <a:moveTo>
                    <a:pt x="290" y="591"/>
                  </a:moveTo>
                  <a:lnTo>
                    <a:pt x="292" y="597"/>
                  </a:lnTo>
                  <a:lnTo>
                    <a:pt x="296" y="601"/>
                  </a:lnTo>
                  <a:lnTo>
                    <a:pt x="294" y="603"/>
                  </a:lnTo>
                  <a:lnTo>
                    <a:pt x="294" y="607"/>
                  </a:lnTo>
                  <a:lnTo>
                    <a:pt x="294" y="609"/>
                  </a:lnTo>
                  <a:lnTo>
                    <a:pt x="286" y="605"/>
                  </a:lnTo>
                  <a:lnTo>
                    <a:pt x="286" y="601"/>
                  </a:lnTo>
                  <a:lnTo>
                    <a:pt x="284" y="593"/>
                  </a:lnTo>
                  <a:lnTo>
                    <a:pt x="286" y="591"/>
                  </a:lnTo>
                  <a:lnTo>
                    <a:pt x="284" y="593"/>
                  </a:lnTo>
                  <a:lnTo>
                    <a:pt x="284" y="591"/>
                  </a:lnTo>
                  <a:lnTo>
                    <a:pt x="288" y="587"/>
                  </a:lnTo>
                  <a:lnTo>
                    <a:pt x="292" y="589"/>
                  </a:lnTo>
                  <a:lnTo>
                    <a:pt x="290" y="591"/>
                  </a:lnTo>
                  <a:close/>
                  <a:moveTo>
                    <a:pt x="282" y="584"/>
                  </a:moveTo>
                  <a:lnTo>
                    <a:pt x="282" y="587"/>
                  </a:lnTo>
                  <a:lnTo>
                    <a:pt x="279" y="587"/>
                  </a:lnTo>
                  <a:lnTo>
                    <a:pt x="282" y="584"/>
                  </a:lnTo>
                  <a:close/>
                  <a:moveTo>
                    <a:pt x="296" y="589"/>
                  </a:moveTo>
                  <a:lnTo>
                    <a:pt x="294" y="589"/>
                  </a:lnTo>
                  <a:lnTo>
                    <a:pt x="292" y="587"/>
                  </a:lnTo>
                  <a:lnTo>
                    <a:pt x="294" y="582"/>
                  </a:lnTo>
                  <a:lnTo>
                    <a:pt x="296" y="586"/>
                  </a:lnTo>
                  <a:lnTo>
                    <a:pt x="296" y="587"/>
                  </a:lnTo>
                  <a:lnTo>
                    <a:pt x="296" y="589"/>
                  </a:lnTo>
                  <a:close/>
                  <a:moveTo>
                    <a:pt x="284" y="582"/>
                  </a:moveTo>
                  <a:lnTo>
                    <a:pt x="286" y="582"/>
                  </a:lnTo>
                  <a:lnTo>
                    <a:pt x="286" y="586"/>
                  </a:lnTo>
                  <a:lnTo>
                    <a:pt x="284" y="586"/>
                  </a:lnTo>
                  <a:lnTo>
                    <a:pt x="284" y="582"/>
                  </a:lnTo>
                  <a:close/>
                  <a:moveTo>
                    <a:pt x="246" y="582"/>
                  </a:moveTo>
                  <a:lnTo>
                    <a:pt x="250" y="587"/>
                  </a:lnTo>
                  <a:lnTo>
                    <a:pt x="248" y="595"/>
                  </a:lnTo>
                  <a:lnTo>
                    <a:pt x="246" y="601"/>
                  </a:lnTo>
                  <a:lnTo>
                    <a:pt x="246" y="605"/>
                  </a:lnTo>
                  <a:lnTo>
                    <a:pt x="244" y="607"/>
                  </a:lnTo>
                  <a:lnTo>
                    <a:pt x="238" y="607"/>
                  </a:lnTo>
                  <a:lnTo>
                    <a:pt x="234" y="605"/>
                  </a:lnTo>
                  <a:lnTo>
                    <a:pt x="234" y="601"/>
                  </a:lnTo>
                  <a:lnTo>
                    <a:pt x="236" y="595"/>
                  </a:lnTo>
                  <a:lnTo>
                    <a:pt x="238" y="591"/>
                  </a:lnTo>
                  <a:lnTo>
                    <a:pt x="240" y="589"/>
                  </a:lnTo>
                  <a:lnTo>
                    <a:pt x="240" y="587"/>
                  </a:lnTo>
                  <a:lnTo>
                    <a:pt x="244" y="580"/>
                  </a:lnTo>
                  <a:lnTo>
                    <a:pt x="246" y="582"/>
                  </a:lnTo>
                  <a:close/>
                  <a:moveTo>
                    <a:pt x="282" y="576"/>
                  </a:moveTo>
                  <a:lnTo>
                    <a:pt x="284" y="576"/>
                  </a:lnTo>
                  <a:lnTo>
                    <a:pt x="284" y="578"/>
                  </a:lnTo>
                  <a:lnTo>
                    <a:pt x="282" y="578"/>
                  </a:lnTo>
                  <a:lnTo>
                    <a:pt x="282" y="576"/>
                  </a:lnTo>
                  <a:close/>
                  <a:moveTo>
                    <a:pt x="300" y="576"/>
                  </a:moveTo>
                  <a:lnTo>
                    <a:pt x="302" y="576"/>
                  </a:lnTo>
                  <a:lnTo>
                    <a:pt x="300" y="580"/>
                  </a:lnTo>
                  <a:lnTo>
                    <a:pt x="300" y="582"/>
                  </a:lnTo>
                  <a:lnTo>
                    <a:pt x="298" y="589"/>
                  </a:lnTo>
                  <a:lnTo>
                    <a:pt x="296" y="587"/>
                  </a:lnTo>
                  <a:lnTo>
                    <a:pt x="298" y="586"/>
                  </a:lnTo>
                  <a:lnTo>
                    <a:pt x="294" y="582"/>
                  </a:lnTo>
                  <a:lnTo>
                    <a:pt x="300" y="576"/>
                  </a:lnTo>
                  <a:close/>
                  <a:moveTo>
                    <a:pt x="244" y="574"/>
                  </a:moveTo>
                  <a:lnTo>
                    <a:pt x="246" y="574"/>
                  </a:lnTo>
                  <a:lnTo>
                    <a:pt x="246" y="578"/>
                  </a:lnTo>
                  <a:lnTo>
                    <a:pt x="244" y="578"/>
                  </a:lnTo>
                  <a:lnTo>
                    <a:pt x="244" y="574"/>
                  </a:lnTo>
                  <a:close/>
                  <a:moveTo>
                    <a:pt x="309" y="566"/>
                  </a:moveTo>
                  <a:lnTo>
                    <a:pt x="311" y="566"/>
                  </a:lnTo>
                  <a:lnTo>
                    <a:pt x="311" y="568"/>
                  </a:lnTo>
                  <a:lnTo>
                    <a:pt x="309" y="568"/>
                  </a:lnTo>
                  <a:lnTo>
                    <a:pt x="309" y="566"/>
                  </a:lnTo>
                  <a:close/>
                  <a:moveTo>
                    <a:pt x="304" y="564"/>
                  </a:moveTo>
                  <a:lnTo>
                    <a:pt x="307" y="566"/>
                  </a:lnTo>
                  <a:lnTo>
                    <a:pt x="305" y="570"/>
                  </a:lnTo>
                  <a:lnTo>
                    <a:pt x="304" y="572"/>
                  </a:lnTo>
                  <a:lnTo>
                    <a:pt x="298" y="572"/>
                  </a:lnTo>
                  <a:lnTo>
                    <a:pt x="300" y="566"/>
                  </a:lnTo>
                  <a:lnTo>
                    <a:pt x="302" y="564"/>
                  </a:lnTo>
                  <a:lnTo>
                    <a:pt x="304" y="564"/>
                  </a:lnTo>
                  <a:close/>
                  <a:moveTo>
                    <a:pt x="236" y="576"/>
                  </a:moveTo>
                  <a:lnTo>
                    <a:pt x="236" y="572"/>
                  </a:lnTo>
                  <a:lnTo>
                    <a:pt x="238" y="566"/>
                  </a:lnTo>
                  <a:lnTo>
                    <a:pt x="246" y="564"/>
                  </a:lnTo>
                  <a:lnTo>
                    <a:pt x="242" y="570"/>
                  </a:lnTo>
                  <a:lnTo>
                    <a:pt x="238" y="574"/>
                  </a:lnTo>
                  <a:lnTo>
                    <a:pt x="236" y="576"/>
                  </a:lnTo>
                  <a:close/>
                  <a:moveTo>
                    <a:pt x="246" y="559"/>
                  </a:moveTo>
                  <a:lnTo>
                    <a:pt x="250" y="559"/>
                  </a:lnTo>
                  <a:lnTo>
                    <a:pt x="250" y="562"/>
                  </a:lnTo>
                  <a:lnTo>
                    <a:pt x="246" y="562"/>
                  </a:lnTo>
                  <a:lnTo>
                    <a:pt x="246" y="559"/>
                  </a:lnTo>
                  <a:close/>
                  <a:moveTo>
                    <a:pt x="321" y="7"/>
                  </a:moveTo>
                  <a:lnTo>
                    <a:pt x="327" y="9"/>
                  </a:lnTo>
                  <a:lnTo>
                    <a:pt x="330" y="11"/>
                  </a:lnTo>
                  <a:lnTo>
                    <a:pt x="334" y="11"/>
                  </a:lnTo>
                  <a:lnTo>
                    <a:pt x="334" y="17"/>
                  </a:lnTo>
                  <a:lnTo>
                    <a:pt x="332" y="25"/>
                  </a:lnTo>
                  <a:lnTo>
                    <a:pt x="334" y="30"/>
                  </a:lnTo>
                  <a:lnTo>
                    <a:pt x="338" y="25"/>
                  </a:lnTo>
                  <a:lnTo>
                    <a:pt x="342" y="27"/>
                  </a:lnTo>
                  <a:lnTo>
                    <a:pt x="342" y="30"/>
                  </a:lnTo>
                  <a:lnTo>
                    <a:pt x="346" y="32"/>
                  </a:lnTo>
                  <a:lnTo>
                    <a:pt x="350" y="30"/>
                  </a:lnTo>
                  <a:lnTo>
                    <a:pt x="352" y="32"/>
                  </a:lnTo>
                  <a:lnTo>
                    <a:pt x="352" y="34"/>
                  </a:lnTo>
                  <a:lnTo>
                    <a:pt x="355" y="34"/>
                  </a:lnTo>
                  <a:lnTo>
                    <a:pt x="357" y="36"/>
                  </a:lnTo>
                  <a:lnTo>
                    <a:pt x="357" y="42"/>
                  </a:lnTo>
                  <a:lnTo>
                    <a:pt x="361" y="44"/>
                  </a:lnTo>
                  <a:lnTo>
                    <a:pt x="365" y="42"/>
                  </a:lnTo>
                  <a:lnTo>
                    <a:pt x="375" y="44"/>
                  </a:lnTo>
                  <a:lnTo>
                    <a:pt x="378" y="40"/>
                  </a:lnTo>
                  <a:lnTo>
                    <a:pt x="388" y="38"/>
                  </a:lnTo>
                  <a:lnTo>
                    <a:pt x="388" y="40"/>
                  </a:lnTo>
                  <a:lnTo>
                    <a:pt x="394" y="40"/>
                  </a:lnTo>
                  <a:lnTo>
                    <a:pt x="396" y="46"/>
                  </a:lnTo>
                  <a:lnTo>
                    <a:pt x="405" y="44"/>
                  </a:lnTo>
                  <a:lnTo>
                    <a:pt x="405" y="46"/>
                  </a:lnTo>
                  <a:lnTo>
                    <a:pt x="415" y="48"/>
                  </a:lnTo>
                  <a:lnTo>
                    <a:pt x="413" y="53"/>
                  </a:lnTo>
                  <a:lnTo>
                    <a:pt x="417" y="53"/>
                  </a:lnTo>
                  <a:lnTo>
                    <a:pt x="417" y="52"/>
                  </a:lnTo>
                  <a:lnTo>
                    <a:pt x="423" y="53"/>
                  </a:lnTo>
                  <a:lnTo>
                    <a:pt x="426" y="52"/>
                  </a:lnTo>
                  <a:lnTo>
                    <a:pt x="428" y="55"/>
                  </a:lnTo>
                  <a:lnTo>
                    <a:pt x="432" y="55"/>
                  </a:lnTo>
                  <a:lnTo>
                    <a:pt x="438" y="55"/>
                  </a:lnTo>
                  <a:lnTo>
                    <a:pt x="440" y="59"/>
                  </a:lnTo>
                  <a:lnTo>
                    <a:pt x="440" y="67"/>
                  </a:lnTo>
                  <a:lnTo>
                    <a:pt x="442" y="73"/>
                  </a:lnTo>
                  <a:lnTo>
                    <a:pt x="440" y="73"/>
                  </a:lnTo>
                  <a:lnTo>
                    <a:pt x="436" y="82"/>
                  </a:lnTo>
                  <a:lnTo>
                    <a:pt x="438" y="84"/>
                  </a:lnTo>
                  <a:lnTo>
                    <a:pt x="436" y="84"/>
                  </a:lnTo>
                  <a:lnTo>
                    <a:pt x="438" y="88"/>
                  </a:lnTo>
                  <a:lnTo>
                    <a:pt x="436" y="90"/>
                  </a:lnTo>
                  <a:lnTo>
                    <a:pt x="434" y="90"/>
                  </a:lnTo>
                  <a:lnTo>
                    <a:pt x="428" y="94"/>
                  </a:lnTo>
                  <a:lnTo>
                    <a:pt x="428" y="98"/>
                  </a:lnTo>
                  <a:lnTo>
                    <a:pt x="426" y="98"/>
                  </a:lnTo>
                  <a:lnTo>
                    <a:pt x="426" y="101"/>
                  </a:lnTo>
                  <a:lnTo>
                    <a:pt x="423" y="100"/>
                  </a:lnTo>
                  <a:lnTo>
                    <a:pt x="424" y="103"/>
                  </a:lnTo>
                  <a:lnTo>
                    <a:pt x="421" y="103"/>
                  </a:lnTo>
                  <a:lnTo>
                    <a:pt x="423" y="105"/>
                  </a:lnTo>
                  <a:lnTo>
                    <a:pt x="421" y="109"/>
                  </a:lnTo>
                  <a:lnTo>
                    <a:pt x="424" y="109"/>
                  </a:lnTo>
                  <a:lnTo>
                    <a:pt x="421" y="111"/>
                  </a:lnTo>
                  <a:lnTo>
                    <a:pt x="421" y="113"/>
                  </a:lnTo>
                  <a:lnTo>
                    <a:pt x="421" y="115"/>
                  </a:lnTo>
                  <a:lnTo>
                    <a:pt x="419" y="115"/>
                  </a:lnTo>
                  <a:lnTo>
                    <a:pt x="417" y="105"/>
                  </a:lnTo>
                  <a:lnTo>
                    <a:pt x="413" y="107"/>
                  </a:lnTo>
                  <a:lnTo>
                    <a:pt x="415" y="111"/>
                  </a:lnTo>
                  <a:lnTo>
                    <a:pt x="413" y="111"/>
                  </a:lnTo>
                  <a:lnTo>
                    <a:pt x="415" y="111"/>
                  </a:lnTo>
                  <a:lnTo>
                    <a:pt x="415" y="113"/>
                  </a:lnTo>
                  <a:lnTo>
                    <a:pt x="409" y="111"/>
                  </a:lnTo>
                  <a:lnTo>
                    <a:pt x="411" y="113"/>
                  </a:lnTo>
                  <a:lnTo>
                    <a:pt x="409" y="113"/>
                  </a:lnTo>
                  <a:lnTo>
                    <a:pt x="409" y="117"/>
                  </a:lnTo>
                  <a:lnTo>
                    <a:pt x="413" y="119"/>
                  </a:lnTo>
                  <a:lnTo>
                    <a:pt x="409" y="121"/>
                  </a:lnTo>
                  <a:lnTo>
                    <a:pt x="409" y="123"/>
                  </a:lnTo>
                  <a:lnTo>
                    <a:pt x="413" y="121"/>
                  </a:lnTo>
                  <a:lnTo>
                    <a:pt x="415" y="125"/>
                  </a:lnTo>
                  <a:lnTo>
                    <a:pt x="411" y="126"/>
                  </a:lnTo>
                  <a:lnTo>
                    <a:pt x="409" y="125"/>
                  </a:lnTo>
                  <a:lnTo>
                    <a:pt x="411" y="126"/>
                  </a:lnTo>
                  <a:lnTo>
                    <a:pt x="407" y="130"/>
                  </a:lnTo>
                  <a:lnTo>
                    <a:pt x="407" y="136"/>
                  </a:lnTo>
                  <a:lnTo>
                    <a:pt x="403" y="136"/>
                  </a:lnTo>
                  <a:lnTo>
                    <a:pt x="401" y="132"/>
                  </a:lnTo>
                  <a:lnTo>
                    <a:pt x="394" y="132"/>
                  </a:lnTo>
                  <a:lnTo>
                    <a:pt x="388" y="128"/>
                  </a:lnTo>
                  <a:lnTo>
                    <a:pt x="386" y="132"/>
                  </a:lnTo>
                  <a:lnTo>
                    <a:pt x="382" y="130"/>
                  </a:lnTo>
                  <a:lnTo>
                    <a:pt x="378" y="126"/>
                  </a:lnTo>
                  <a:lnTo>
                    <a:pt x="373" y="126"/>
                  </a:lnTo>
                  <a:lnTo>
                    <a:pt x="375" y="126"/>
                  </a:lnTo>
                  <a:lnTo>
                    <a:pt x="371" y="125"/>
                  </a:lnTo>
                  <a:lnTo>
                    <a:pt x="373" y="121"/>
                  </a:lnTo>
                  <a:lnTo>
                    <a:pt x="369" y="119"/>
                  </a:lnTo>
                  <a:lnTo>
                    <a:pt x="361" y="117"/>
                  </a:lnTo>
                  <a:lnTo>
                    <a:pt x="359" y="113"/>
                  </a:lnTo>
                  <a:lnTo>
                    <a:pt x="361" y="107"/>
                  </a:lnTo>
                  <a:lnTo>
                    <a:pt x="355" y="101"/>
                  </a:lnTo>
                  <a:lnTo>
                    <a:pt x="357" y="100"/>
                  </a:lnTo>
                  <a:lnTo>
                    <a:pt x="357" y="98"/>
                  </a:lnTo>
                  <a:lnTo>
                    <a:pt x="359" y="100"/>
                  </a:lnTo>
                  <a:lnTo>
                    <a:pt x="359" y="98"/>
                  </a:lnTo>
                  <a:lnTo>
                    <a:pt x="355" y="96"/>
                  </a:lnTo>
                  <a:lnTo>
                    <a:pt x="352" y="98"/>
                  </a:lnTo>
                  <a:lnTo>
                    <a:pt x="352" y="96"/>
                  </a:lnTo>
                  <a:lnTo>
                    <a:pt x="353" y="98"/>
                  </a:lnTo>
                  <a:lnTo>
                    <a:pt x="355" y="96"/>
                  </a:lnTo>
                  <a:lnTo>
                    <a:pt x="355" y="92"/>
                  </a:lnTo>
                  <a:lnTo>
                    <a:pt x="353" y="92"/>
                  </a:lnTo>
                  <a:lnTo>
                    <a:pt x="355" y="88"/>
                  </a:lnTo>
                  <a:lnTo>
                    <a:pt x="350" y="88"/>
                  </a:lnTo>
                  <a:lnTo>
                    <a:pt x="346" y="86"/>
                  </a:lnTo>
                  <a:lnTo>
                    <a:pt x="344" y="88"/>
                  </a:lnTo>
                  <a:lnTo>
                    <a:pt x="346" y="84"/>
                  </a:lnTo>
                  <a:lnTo>
                    <a:pt x="342" y="82"/>
                  </a:lnTo>
                  <a:lnTo>
                    <a:pt x="342" y="86"/>
                  </a:lnTo>
                  <a:lnTo>
                    <a:pt x="338" y="84"/>
                  </a:lnTo>
                  <a:lnTo>
                    <a:pt x="338" y="88"/>
                  </a:lnTo>
                  <a:lnTo>
                    <a:pt x="336" y="88"/>
                  </a:lnTo>
                  <a:lnTo>
                    <a:pt x="338" y="92"/>
                  </a:lnTo>
                  <a:lnTo>
                    <a:pt x="342" y="94"/>
                  </a:lnTo>
                  <a:lnTo>
                    <a:pt x="340" y="96"/>
                  </a:lnTo>
                  <a:lnTo>
                    <a:pt x="344" y="94"/>
                  </a:lnTo>
                  <a:lnTo>
                    <a:pt x="346" y="96"/>
                  </a:lnTo>
                  <a:lnTo>
                    <a:pt x="344" y="100"/>
                  </a:lnTo>
                  <a:lnTo>
                    <a:pt x="352" y="103"/>
                  </a:lnTo>
                  <a:lnTo>
                    <a:pt x="350" y="105"/>
                  </a:lnTo>
                  <a:lnTo>
                    <a:pt x="348" y="105"/>
                  </a:lnTo>
                  <a:lnTo>
                    <a:pt x="348" y="107"/>
                  </a:lnTo>
                  <a:lnTo>
                    <a:pt x="338" y="105"/>
                  </a:lnTo>
                  <a:lnTo>
                    <a:pt x="336" y="101"/>
                  </a:lnTo>
                  <a:lnTo>
                    <a:pt x="332" y="101"/>
                  </a:lnTo>
                  <a:lnTo>
                    <a:pt x="330" y="103"/>
                  </a:lnTo>
                  <a:lnTo>
                    <a:pt x="332" y="105"/>
                  </a:lnTo>
                  <a:lnTo>
                    <a:pt x="328" y="107"/>
                  </a:lnTo>
                  <a:lnTo>
                    <a:pt x="327" y="103"/>
                  </a:lnTo>
                  <a:lnTo>
                    <a:pt x="327" y="100"/>
                  </a:lnTo>
                  <a:lnTo>
                    <a:pt x="325" y="98"/>
                  </a:lnTo>
                  <a:lnTo>
                    <a:pt x="321" y="100"/>
                  </a:lnTo>
                  <a:lnTo>
                    <a:pt x="319" y="98"/>
                  </a:lnTo>
                  <a:lnTo>
                    <a:pt x="315" y="103"/>
                  </a:lnTo>
                  <a:lnTo>
                    <a:pt x="311" y="101"/>
                  </a:lnTo>
                  <a:lnTo>
                    <a:pt x="311" y="100"/>
                  </a:lnTo>
                  <a:lnTo>
                    <a:pt x="309" y="98"/>
                  </a:lnTo>
                  <a:lnTo>
                    <a:pt x="315" y="96"/>
                  </a:lnTo>
                  <a:lnTo>
                    <a:pt x="313" y="90"/>
                  </a:lnTo>
                  <a:lnTo>
                    <a:pt x="311" y="90"/>
                  </a:lnTo>
                  <a:lnTo>
                    <a:pt x="311" y="88"/>
                  </a:lnTo>
                  <a:lnTo>
                    <a:pt x="307" y="86"/>
                  </a:lnTo>
                  <a:lnTo>
                    <a:pt x="305" y="80"/>
                  </a:lnTo>
                  <a:lnTo>
                    <a:pt x="304" y="80"/>
                  </a:lnTo>
                  <a:lnTo>
                    <a:pt x="304" y="84"/>
                  </a:lnTo>
                  <a:lnTo>
                    <a:pt x="300" y="82"/>
                  </a:lnTo>
                  <a:lnTo>
                    <a:pt x="300" y="80"/>
                  </a:lnTo>
                  <a:lnTo>
                    <a:pt x="296" y="80"/>
                  </a:lnTo>
                  <a:lnTo>
                    <a:pt x="296" y="78"/>
                  </a:lnTo>
                  <a:lnTo>
                    <a:pt x="292" y="77"/>
                  </a:lnTo>
                  <a:lnTo>
                    <a:pt x="292" y="75"/>
                  </a:lnTo>
                  <a:lnTo>
                    <a:pt x="286" y="73"/>
                  </a:lnTo>
                  <a:lnTo>
                    <a:pt x="284" y="71"/>
                  </a:lnTo>
                  <a:lnTo>
                    <a:pt x="284" y="63"/>
                  </a:lnTo>
                  <a:lnTo>
                    <a:pt x="279" y="69"/>
                  </a:lnTo>
                  <a:lnTo>
                    <a:pt x="277" y="77"/>
                  </a:lnTo>
                  <a:lnTo>
                    <a:pt x="275" y="78"/>
                  </a:lnTo>
                  <a:lnTo>
                    <a:pt x="277" y="84"/>
                  </a:lnTo>
                  <a:lnTo>
                    <a:pt x="279" y="78"/>
                  </a:lnTo>
                  <a:lnTo>
                    <a:pt x="284" y="82"/>
                  </a:lnTo>
                  <a:lnTo>
                    <a:pt x="286" y="80"/>
                  </a:lnTo>
                  <a:lnTo>
                    <a:pt x="292" y="82"/>
                  </a:lnTo>
                  <a:lnTo>
                    <a:pt x="292" y="88"/>
                  </a:lnTo>
                  <a:lnTo>
                    <a:pt x="294" y="90"/>
                  </a:lnTo>
                  <a:lnTo>
                    <a:pt x="296" y="94"/>
                  </a:lnTo>
                  <a:lnTo>
                    <a:pt x="294" y="94"/>
                  </a:lnTo>
                  <a:lnTo>
                    <a:pt x="292" y="94"/>
                  </a:lnTo>
                  <a:lnTo>
                    <a:pt x="288" y="92"/>
                  </a:lnTo>
                  <a:lnTo>
                    <a:pt x="286" y="96"/>
                  </a:lnTo>
                  <a:lnTo>
                    <a:pt x="284" y="96"/>
                  </a:lnTo>
                  <a:lnTo>
                    <a:pt x="277" y="101"/>
                  </a:lnTo>
                  <a:lnTo>
                    <a:pt x="277" y="107"/>
                  </a:lnTo>
                  <a:lnTo>
                    <a:pt x="269" y="111"/>
                  </a:lnTo>
                  <a:lnTo>
                    <a:pt x="265" y="111"/>
                  </a:lnTo>
                  <a:lnTo>
                    <a:pt x="263" y="113"/>
                  </a:lnTo>
                  <a:lnTo>
                    <a:pt x="257" y="117"/>
                  </a:lnTo>
                  <a:lnTo>
                    <a:pt x="256" y="123"/>
                  </a:lnTo>
                  <a:lnTo>
                    <a:pt x="259" y="125"/>
                  </a:lnTo>
                  <a:lnTo>
                    <a:pt x="257" y="126"/>
                  </a:lnTo>
                  <a:lnTo>
                    <a:pt x="257" y="130"/>
                  </a:lnTo>
                  <a:lnTo>
                    <a:pt x="254" y="130"/>
                  </a:lnTo>
                  <a:lnTo>
                    <a:pt x="252" y="140"/>
                  </a:lnTo>
                  <a:lnTo>
                    <a:pt x="250" y="140"/>
                  </a:lnTo>
                  <a:lnTo>
                    <a:pt x="248" y="142"/>
                  </a:lnTo>
                  <a:lnTo>
                    <a:pt x="250" y="148"/>
                  </a:lnTo>
                  <a:lnTo>
                    <a:pt x="250" y="151"/>
                  </a:lnTo>
                  <a:lnTo>
                    <a:pt x="254" y="155"/>
                  </a:lnTo>
                  <a:lnTo>
                    <a:pt x="257" y="153"/>
                  </a:lnTo>
                  <a:lnTo>
                    <a:pt x="259" y="155"/>
                  </a:lnTo>
                  <a:lnTo>
                    <a:pt x="267" y="151"/>
                  </a:lnTo>
                  <a:lnTo>
                    <a:pt x="267" y="155"/>
                  </a:lnTo>
                  <a:lnTo>
                    <a:pt x="273" y="159"/>
                  </a:lnTo>
                  <a:lnTo>
                    <a:pt x="279" y="163"/>
                  </a:lnTo>
                  <a:lnTo>
                    <a:pt x="282" y="165"/>
                  </a:lnTo>
                  <a:lnTo>
                    <a:pt x="281" y="167"/>
                  </a:lnTo>
                  <a:lnTo>
                    <a:pt x="286" y="167"/>
                  </a:lnTo>
                  <a:lnTo>
                    <a:pt x="286" y="176"/>
                  </a:lnTo>
                  <a:lnTo>
                    <a:pt x="288" y="178"/>
                  </a:lnTo>
                  <a:lnTo>
                    <a:pt x="290" y="178"/>
                  </a:lnTo>
                  <a:lnTo>
                    <a:pt x="290" y="180"/>
                  </a:lnTo>
                  <a:lnTo>
                    <a:pt x="292" y="182"/>
                  </a:lnTo>
                  <a:lnTo>
                    <a:pt x="294" y="182"/>
                  </a:lnTo>
                  <a:lnTo>
                    <a:pt x="294" y="186"/>
                  </a:lnTo>
                  <a:lnTo>
                    <a:pt x="296" y="184"/>
                  </a:lnTo>
                  <a:lnTo>
                    <a:pt x="302" y="186"/>
                  </a:lnTo>
                  <a:lnTo>
                    <a:pt x="302" y="184"/>
                  </a:lnTo>
                  <a:lnTo>
                    <a:pt x="304" y="186"/>
                  </a:lnTo>
                  <a:lnTo>
                    <a:pt x="305" y="186"/>
                  </a:lnTo>
                  <a:lnTo>
                    <a:pt x="305" y="190"/>
                  </a:lnTo>
                  <a:lnTo>
                    <a:pt x="311" y="190"/>
                  </a:lnTo>
                  <a:lnTo>
                    <a:pt x="313" y="186"/>
                  </a:lnTo>
                  <a:lnTo>
                    <a:pt x="319" y="186"/>
                  </a:lnTo>
                  <a:lnTo>
                    <a:pt x="319" y="184"/>
                  </a:lnTo>
                  <a:lnTo>
                    <a:pt x="321" y="186"/>
                  </a:lnTo>
                  <a:lnTo>
                    <a:pt x="323" y="184"/>
                  </a:lnTo>
                  <a:lnTo>
                    <a:pt x="327" y="192"/>
                  </a:lnTo>
                  <a:lnTo>
                    <a:pt x="325" y="192"/>
                  </a:lnTo>
                  <a:lnTo>
                    <a:pt x="325" y="198"/>
                  </a:lnTo>
                  <a:lnTo>
                    <a:pt x="327" y="198"/>
                  </a:lnTo>
                  <a:lnTo>
                    <a:pt x="330" y="205"/>
                  </a:lnTo>
                  <a:lnTo>
                    <a:pt x="334" y="203"/>
                  </a:lnTo>
                  <a:lnTo>
                    <a:pt x="334" y="207"/>
                  </a:lnTo>
                  <a:lnTo>
                    <a:pt x="336" y="207"/>
                  </a:lnTo>
                  <a:lnTo>
                    <a:pt x="336" y="209"/>
                  </a:lnTo>
                  <a:lnTo>
                    <a:pt x="340" y="207"/>
                  </a:lnTo>
                  <a:lnTo>
                    <a:pt x="344" y="209"/>
                  </a:lnTo>
                  <a:lnTo>
                    <a:pt x="344" y="211"/>
                  </a:lnTo>
                  <a:lnTo>
                    <a:pt x="342" y="211"/>
                  </a:lnTo>
                  <a:lnTo>
                    <a:pt x="338" y="215"/>
                  </a:lnTo>
                  <a:lnTo>
                    <a:pt x="340" y="219"/>
                  </a:lnTo>
                  <a:lnTo>
                    <a:pt x="336" y="219"/>
                  </a:lnTo>
                  <a:lnTo>
                    <a:pt x="338" y="221"/>
                  </a:lnTo>
                  <a:lnTo>
                    <a:pt x="334" y="222"/>
                  </a:lnTo>
                  <a:lnTo>
                    <a:pt x="330" y="221"/>
                  </a:lnTo>
                  <a:lnTo>
                    <a:pt x="330" y="219"/>
                  </a:lnTo>
                  <a:lnTo>
                    <a:pt x="328" y="219"/>
                  </a:lnTo>
                  <a:lnTo>
                    <a:pt x="327" y="217"/>
                  </a:lnTo>
                  <a:lnTo>
                    <a:pt x="323" y="222"/>
                  </a:lnTo>
                  <a:lnTo>
                    <a:pt x="319" y="221"/>
                  </a:lnTo>
                  <a:lnTo>
                    <a:pt x="317" y="221"/>
                  </a:lnTo>
                  <a:lnTo>
                    <a:pt x="311" y="217"/>
                  </a:lnTo>
                  <a:lnTo>
                    <a:pt x="309" y="219"/>
                  </a:lnTo>
                  <a:lnTo>
                    <a:pt x="302" y="219"/>
                  </a:lnTo>
                  <a:lnTo>
                    <a:pt x="298" y="221"/>
                  </a:lnTo>
                  <a:lnTo>
                    <a:pt x="288" y="217"/>
                  </a:lnTo>
                  <a:lnTo>
                    <a:pt x="284" y="219"/>
                  </a:lnTo>
                  <a:lnTo>
                    <a:pt x="284" y="222"/>
                  </a:lnTo>
                  <a:lnTo>
                    <a:pt x="286" y="224"/>
                  </a:lnTo>
                  <a:lnTo>
                    <a:pt x="284" y="226"/>
                  </a:lnTo>
                  <a:lnTo>
                    <a:pt x="284" y="236"/>
                  </a:lnTo>
                  <a:lnTo>
                    <a:pt x="279" y="244"/>
                  </a:lnTo>
                  <a:lnTo>
                    <a:pt x="279" y="247"/>
                  </a:lnTo>
                  <a:lnTo>
                    <a:pt x="275" y="246"/>
                  </a:lnTo>
                  <a:lnTo>
                    <a:pt x="271" y="249"/>
                  </a:lnTo>
                  <a:lnTo>
                    <a:pt x="271" y="251"/>
                  </a:lnTo>
                  <a:lnTo>
                    <a:pt x="273" y="253"/>
                  </a:lnTo>
                  <a:lnTo>
                    <a:pt x="273" y="255"/>
                  </a:lnTo>
                  <a:lnTo>
                    <a:pt x="271" y="253"/>
                  </a:lnTo>
                  <a:lnTo>
                    <a:pt x="269" y="255"/>
                  </a:lnTo>
                  <a:lnTo>
                    <a:pt x="265" y="253"/>
                  </a:lnTo>
                  <a:lnTo>
                    <a:pt x="265" y="255"/>
                  </a:lnTo>
                  <a:lnTo>
                    <a:pt x="263" y="255"/>
                  </a:lnTo>
                  <a:lnTo>
                    <a:pt x="265" y="249"/>
                  </a:lnTo>
                  <a:lnTo>
                    <a:pt x="261" y="246"/>
                  </a:lnTo>
                  <a:lnTo>
                    <a:pt x="254" y="247"/>
                  </a:lnTo>
                  <a:lnTo>
                    <a:pt x="252" y="249"/>
                  </a:lnTo>
                  <a:lnTo>
                    <a:pt x="254" y="253"/>
                  </a:lnTo>
                  <a:lnTo>
                    <a:pt x="252" y="253"/>
                  </a:lnTo>
                  <a:lnTo>
                    <a:pt x="254" y="257"/>
                  </a:lnTo>
                  <a:lnTo>
                    <a:pt x="250" y="259"/>
                  </a:lnTo>
                  <a:lnTo>
                    <a:pt x="250" y="263"/>
                  </a:lnTo>
                  <a:lnTo>
                    <a:pt x="246" y="267"/>
                  </a:lnTo>
                  <a:lnTo>
                    <a:pt x="242" y="272"/>
                  </a:lnTo>
                  <a:lnTo>
                    <a:pt x="236" y="276"/>
                  </a:lnTo>
                  <a:lnTo>
                    <a:pt x="238" y="280"/>
                  </a:lnTo>
                  <a:lnTo>
                    <a:pt x="242" y="286"/>
                  </a:lnTo>
                  <a:lnTo>
                    <a:pt x="244" y="288"/>
                  </a:lnTo>
                  <a:lnTo>
                    <a:pt x="244" y="294"/>
                  </a:lnTo>
                  <a:lnTo>
                    <a:pt x="248" y="292"/>
                  </a:lnTo>
                  <a:lnTo>
                    <a:pt x="252" y="297"/>
                  </a:lnTo>
                  <a:lnTo>
                    <a:pt x="256" y="299"/>
                  </a:lnTo>
                  <a:lnTo>
                    <a:pt x="261" y="301"/>
                  </a:lnTo>
                  <a:lnTo>
                    <a:pt x="263" y="301"/>
                  </a:lnTo>
                  <a:lnTo>
                    <a:pt x="269" y="307"/>
                  </a:lnTo>
                  <a:lnTo>
                    <a:pt x="277" y="309"/>
                  </a:lnTo>
                  <a:lnTo>
                    <a:pt x="282" y="307"/>
                  </a:lnTo>
                  <a:lnTo>
                    <a:pt x="290" y="313"/>
                  </a:lnTo>
                  <a:lnTo>
                    <a:pt x="296" y="315"/>
                  </a:lnTo>
                  <a:lnTo>
                    <a:pt x="298" y="319"/>
                  </a:lnTo>
                  <a:lnTo>
                    <a:pt x="302" y="319"/>
                  </a:lnTo>
                  <a:lnTo>
                    <a:pt x="304" y="317"/>
                  </a:lnTo>
                  <a:lnTo>
                    <a:pt x="305" y="319"/>
                  </a:lnTo>
                  <a:lnTo>
                    <a:pt x="311" y="317"/>
                  </a:lnTo>
                  <a:lnTo>
                    <a:pt x="313" y="320"/>
                  </a:lnTo>
                  <a:lnTo>
                    <a:pt x="313" y="328"/>
                  </a:lnTo>
                  <a:lnTo>
                    <a:pt x="309" y="334"/>
                  </a:lnTo>
                  <a:lnTo>
                    <a:pt x="309" y="338"/>
                  </a:lnTo>
                  <a:lnTo>
                    <a:pt x="313" y="344"/>
                  </a:lnTo>
                  <a:lnTo>
                    <a:pt x="311" y="345"/>
                  </a:lnTo>
                  <a:lnTo>
                    <a:pt x="315" y="345"/>
                  </a:lnTo>
                  <a:lnTo>
                    <a:pt x="313" y="347"/>
                  </a:lnTo>
                  <a:lnTo>
                    <a:pt x="313" y="349"/>
                  </a:lnTo>
                  <a:lnTo>
                    <a:pt x="315" y="349"/>
                  </a:lnTo>
                  <a:lnTo>
                    <a:pt x="317" y="351"/>
                  </a:lnTo>
                  <a:lnTo>
                    <a:pt x="313" y="351"/>
                  </a:lnTo>
                  <a:lnTo>
                    <a:pt x="313" y="355"/>
                  </a:lnTo>
                  <a:lnTo>
                    <a:pt x="313" y="357"/>
                  </a:lnTo>
                  <a:lnTo>
                    <a:pt x="305" y="363"/>
                  </a:lnTo>
                  <a:lnTo>
                    <a:pt x="305" y="365"/>
                  </a:lnTo>
                  <a:lnTo>
                    <a:pt x="304" y="365"/>
                  </a:lnTo>
                  <a:lnTo>
                    <a:pt x="300" y="363"/>
                  </a:lnTo>
                  <a:lnTo>
                    <a:pt x="300" y="365"/>
                  </a:lnTo>
                  <a:lnTo>
                    <a:pt x="298" y="363"/>
                  </a:lnTo>
                  <a:lnTo>
                    <a:pt x="294" y="365"/>
                  </a:lnTo>
                  <a:lnTo>
                    <a:pt x="296" y="367"/>
                  </a:lnTo>
                  <a:lnTo>
                    <a:pt x="298" y="365"/>
                  </a:lnTo>
                  <a:lnTo>
                    <a:pt x="296" y="368"/>
                  </a:lnTo>
                  <a:lnTo>
                    <a:pt x="298" y="368"/>
                  </a:lnTo>
                  <a:lnTo>
                    <a:pt x="296" y="372"/>
                  </a:lnTo>
                  <a:lnTo>
                    <a:pt x="294" y="372"/>
                  </a:lnTo>
                  <a:lnTo>
                    <a:pt x="296" y="374"/>
                  </a:lnTo>
                  <a:lnTo>
                    <a:pt x="294" y="380"/>
                  </a:lnTo>
                  <a:lnTo>
                    <a:pt x="294" y="386"/>
                  </a:lnTo>
                  <a:lnTo>
                    <a:pt x="296" y="386"/>
                  </a:lnTo>
                  <a:lnTo>
                    <a:pt x="294" y="390"/>
                  </a:lnTo>
                  <a:lnTo>
                    <a:pt x="298" y="390"/>
                  </a:lnTo>
                  <a:lnTo>
                    <a:pt x="296" y="390"/>
                  </a:lnTo>
                  <a:lnTo>
                    <a:pt x="300" y="392"/>
                  </a:lnTo>
                  <a:lnTo>
                    <a:pt x="298" y="393"/>
                  </a:lnTo>
                  <a:lnTo>
                    <a:pt x="304" y="392"/>
                  </a:lnTo>
                  <a:lnTo>
                    <a:pt x="304" y="397"/>
                  </a:lnTo>
                  <a:lnTo>
                    <a:pt x="307" y="401"/>
                  </a:lnTo>
                  <a:lnTo>
                    <a:pt x="311" y="403"/>
                  </a:lnTo>
                  <a:lnTo>
                    <a:pt x="313" y="405"/>
                  </a:lnTo>
                  <a:lnTo>
                    <a:pt x="315" y="405"/>
                  </a:lnTo>
                  <a:lnTo>
                    <a:pt x="317" y="405"/>
                  </a:lnTo>
                  <a:lnTo>
                    <a:pt x="315" y="403"/>
                  </a:lnTo>
                  <a:lnTo>
                    <a:pt x="317" y="403"/>
                  </a:lnTo>
                  <a:lnTo>
                    <a:pt x="319" y="405"/>
                  </a:lnTo>
                  <a:lnTo>
                    <a:pt x="319" y="411"/>
                  </a:lnTo>
                  <a:lnTo>
                    <a:pt x="315" y="411"/>
                  </a:lnTo>
                  <a:lnTo>
                    <a:pt x="315" y="418"/>
                  </a:lnTo>
                  <a:lnTo>
                    <a:pt x="311" y="420"/>
                  </a:lnTo>
                  <a:lnTo>
                    <a:pt x="313" y="424"/>
                  </a:lnTo>
                  <a:lnTo>
                    <a:pt x="311" y="424"/>
                  </a:lnTo>
                  <a:lnTo>
                    <a:pt x="311" y="426"/>
                  </a:lnTo>
                  <a:lnTo>
                    <a:pt x="309" y="424"/>
                  </a:lnTo>
                  <a:lnTo>
                    <a:pt x="307" y="426"/>
                  </a:lnTo>
                  <a:lnTo>
                    <a:pt x="311" y="428"/>
                  </a:lnTo>
                  <a:lnTo>
                    <a:pt x="309" y="430"/>
                  </a:lnTo>
                  <a:lnTo>
                    <a:pt x="315" y="434"/>
                  </a:lnTo>
                  <a:lnTo>
                    <a:pt x="317" y="436"/>
                  </a:lnTo>
                  <a:lnTo>
                    <a:pt x="319" y="436"/>
                  </a:lnTo>
                  <a:lnTo>
                    <a:pt x="319" y="432"/>
                  </a:lnTo>
                  <a:lnTo>
                    <a:pt x="325" y="434"/>
                  </a:lnTo>
                  <a:lnTo>
                    <a:pt x="327" y="434"/>
                  </a:lnTo>
                  <a:lnTo>
                    <a:pt x="327" y="436"/>
                  </a:lnTo>
                  <a:lnTo>
                    <a:pt x="330" y="436"/>
                  </a:lnTo>
                  <a:lnTo>
                    <a:pt x="338" y="436"/>
                  </a:lnTo>
                  <a:lnTo>
                    <a:pt x="336" y="440"/>
                  </a:lnTo>
                  <a:lnTo>
                    <a:pt x="332" y="441"/>
                  </a:lnTo>
                  <a:lnTo>
                    <a:pt x="332" y="443"/>
                  </a:lnTo>
                  <a:lnTo>
                    <a:pt x="327" y="447"/>
                  </a:lnTo>
                  <a:lnTo>
                    <a:pt x="323" y="453"/>
                  </a:lnTo>
                  <a:lnTo>
                    <a:pt x="327" y="455"/>
                  </a:lnTo>
                  <a:lnTo>
                    <a:pt x="327" y="457"/>
                  </a:lnTo>
                  <a:lnTo>
                    <a:pt x="323" y="457"/>
                  </a:lnTo>
                  <a:lnTo>
                    <a:pt x="325" y="459"/>
                  </a:lnTo>
                  <a:lnTo>
                    <a:pt x="325" y="461"/>
                  </a:lnTo>
                  <a:lnTo>
                    <a:pt x="325" y="465"/>
                  </a:lnTo>
                  <a:lnTo>
                    <a:pt x="328" y="463"/>
                  </a:lnTo>
                  <a:lnTo>
                    <a:pt x="327" y="465"/>
                  </a:lnTo>
                  <a:lnTo>
                    <a:pt x="330" y="466"/>
                  </a:lnTo>
                  <a:lnTo>
                    <a:pt x="328" y="466"/>
                  </a:lnTo>
                  <a:lnTo>
                    <a:pt x="328" y="470"/>
                  </a:lnTo>
                  <a:lnTo>
                    <a:pt x="332" y="470"/>
                  </a:lnTo>
                  <a:lnTo>
                    <a:pt x="336" y="474"/>
                  </a:lnTo>
                  <a:lnTo>
                    <a:pt x="334" y="478"/>
                  </a:lnTo>
                  <a:lnTo>
                    <a:pt x="334" y="480"/>
                  </a:lnTo>
                  <a:lnTo>
                    <a:pt x="328" y="486"/>
                  </a:lnTo>
                  <a:lnTo>
                    <a:pt x="334" y="491"/>
                  </a:lnTo>
                  <a:lnTo>
                    <a:pt x="330" y="495"/>
                  </a:lnTo>
                  <a:lnTo>
                    <a:pt x="332" y="499"/>
                  </a:lnTo>
                  <a:lnTo>
                    <a:pt x="334" y="499"/>
                  </a:lnTo>
                  <a:lnTo>
                    <a:pt x="330" y="505"/>
                  </a:lnTo>
                  <a:lnTo>
                    <a:pt x="334" y="507"/>
                  </a:lnTo>
                  <a:lnTo>
                    <a:pt x="338" y="516"/>
                  </a:lnTo>
                  <a:lnTo>
                    <a:pt x="338" y="520"/>
                  </a:lnTo>
                  <a:lnTo>
                    <a:pt x="336" y="522"/>
                  </a:lnTo>
                  <a:lnTo>
                    <a:pt x="338" y="524"/>
                  </a:lnTo>
                  <a:lnTo>
                    <a:pt x="336" y="526"/>
                  </a:lnTo>
                  <a:lnTo>
                    <a:pt x="336" y="532"/>
                  </a:lnTo>
                  <a:lnTo>
                    <a:pt x="340" y="534"/>
                  </a:lnTo>
                  <a:lnTo>
                    <a:pt x="338" y="536"/>
                  </a:lnTo>
                  <a:lnTo>
                    <a:pt x="340" y="538"/>
                  </a:lnTo>
                  <a:lnTo>
                    <a:pt x="340" y="539"/>
                  </a:lnTo>
                  <a:lnTo>
                    <a:pt x="342" y="539"/>
                  </a:lnTo>
                  <a:lnTo>
                    <a:pt x="342" y="541"/>
                  </a:lnTo>
                  <a:lnTo>
                    <a:pt x="346" y="545"/>
                  </a:lnTo>
                  <a:lnTo>
                    <a:pt x="346" y="549"/>
                  </a:lnTo>
                  <a:lnTo>
                    <a:pt x="348" y="549"/>
                  </a:lnTo>
                  <a:lnTo>
                    <a:pt x="342" y="555"/>
                  </a:lnTo>
                  <a:lnTo>
                    <a:pt x="342" y="559"/>
                  </a:lnTo>
                  <a:lnTo>
                    <a:pt x="346" y="568"/>
                  </a:lnTo>
                  <a:lnTo>
                    <a:pt x="344" y="574"/>
                  </a:lnTo>
                  <a:lnTo>
                    <a:pt x="340" y="574"/>
                  </a:lnTo>
                  <a:lnTo>
                    <a:pt x="338" y="572"/>
                  </a:lnTo>
                  <a:lnTo>
                    <a:pt x="338" y="570"/>
                  </a:lnTo>
                  <a:lnTo>
                    <a:pt x="336" y="572"/>
                  </a:lnTo>
                  <a:lnTo>
                    <a:pt x="340" y="576"/>
                  </a:lnTo>
                  <a:lnTo>
                    <a:pt x="336" y="578"/>
                  </a:lnTo>
                  <a:lnTo>
                    <a:pt x="340" y="582"/>
                  </a:lnTo>
                  <a:lnTo>
                    <a:pt x="340" y="586"/>
                  </a:lnTo>
                  <a:lnTo>
                    <a:pt x="338" y="587"/>
                  </a:lnTo>
                  <a:lnTo>
                    <a:pt x="340" y="587"/>
                  </a:lnTo>
                  <a:lnTo>
                    <a:pt x="340" y="593"/>
                  </a:lnTo>
                  <a:lnTo>
                    <a:pt x="344" y="597"/>
                  </a:lnTo>
                  <a:lnTo>
                    <a:pt x="342" y="597"/>
                  </a:lnTo>
                  <a:lnTo>
                    <a:pt x="346" y="601"/>
                  </a:lnTo>
                  <a:lnTo>
                    <a:pt x="348" y="607"/>
                  </a:lnTo>
                  <a:lnTo>
                    <a:pt x="342" y="609"/>
                  </a:lnTo>
                  <a:lnTo>
                    <a:pt x="338" y="603"/>
                  </a:lnTo>
                  <a:lnTo>
                    <a:pt x="340" y="609"/>
                  </a:lnTo>
                  <a:lnTo>
                    <a:pt x="336" y="611"/>
                  </a:lnTo>
                  <a:lnTo>
                    <a:pt x="336" y="609"/>
                  </a:lnTo>
                  <a:lnTo>
                    <a:pt x="330" y="607"/>
                  </a:lnTo>
                  <a:lnTo>
                    <a:pt x="332" y="601"/>
                  </a:lnTo>
                  <a:lnTo>
                    <a:pt x="328" y="597"/>
                  </a:lnTo>
                  <a:lnTo>
                    <a:pt x="330" y="591"/>
                  </a:lnTo>
                  <a:lnTo>
                    <a:pt x="327" y="593"/>
                  </a:lnTo>
                  <a:lnTo>
                    <a:pt x="328" y="595"/>
                  </a:lnTo>
                  <a:lnTo>
                    <a:pt x="328" y="597"/>
                  </a:lnTo>
                  <a:lnTo>
                    <a:pt x="330" y="601"/>
                  </a:lnTo>
                  <a:lnTo>
                    <a:pt x="328" y="607"/>
                  </a:lnTo>
                  <a:lnTo>
                    <a:pt x="327" y="605"/>
                  </a:lnTo>
                  <a:lnTo>
                    <a:pt x="323" y="599"/>
                  </a:lnTo>
                  <a:lnTo>
                    <a:pt x="325" y="593"/>
                  </a:lnTo>
                  <a:lnTo>
                    <a:pt x="321" y="591"/>
                  </a:lnTo>
                  <a:lnTo>
                    <a:pt x="319" y="591"/>
                  </a:lnTo>
                  <a:lnTo>
                    <a:pt x="323" y="593"/>
                  </a:lnTo>
                  <a:lnTo>
                    <a:pt x="321" y="597"/>
                  </a:lnTo>
                  <a:lnTo>
                    <a:pt x="323" y="605"/>
                  </a:lnTo>
                  <a:lnTo>
                    <a:pt x="321" y="609"/>
                  </a:lnTo>
                  <a:lnTo>
                    <a:pt x="317" y="607"/>
                  </a:lnTo>
                  <a:lnTo>
                    <a:pt x="317" y="601"/>
                  </a:lnTo>
                  <a:lnTo>
                    <a:pt x="315" y="605"/>
                  </a:lnTo>
                  <a:lnTo>
                    <a:pt x="311" y="603"/>
                  </a:lnTo>
                  <a:lnTo>
                    <a:pt x="309" y="603"/>
                  </a:lnTo>
                  <a:lnTo>
                    <a:pt x="307" y="601"/>
                  </a:lnTo>
                  <a:lnTo>
                    <a:pt x="305" y="593"/>
                  </a:lnTo>
                  <a:lnTo>
                    <a:pt x="305" y="587"/>
                  </a:lnTo>
                  <a:lnTo>
                    <a:pt x="307" y="587"/>
                  </a:lnTo>
                  <a:lnTo>
                    <a:pt x="305" y="586"/>
                  </a:lnTo>
                  <a:lnTo>
                    <a:pt x="305" y="582"/>
                  </a:lnTo>
                  <a:lnTo>
                    <a:pt x="307" y="576"/>
                  </a:lnTo>
                  <a:lnTo>
                    <a:pt x="309" y="578"/>
                  </a:lnTo>
                  <a:lnTo>
                    <a:pt x="307" y="574"/>
                  </a:lnTo>
                  <a:lnTo>
                    <a:pt x="309" y="576"/>
                  </a:lnTo>
                  <a:lnTo>
                    <a:pt x="307" y="574"/>
                  </a:lnTo>
                  <a:lnTo>
                    <a:pt x="309" y="568"/>
                  </a:lnTo>
                  <a:lnTo>
                    <a:pt x="311" y="570"/>
                  </a:lnTo>
                  <a:lnTo>
                    <a:pt x="313" y="564"/>
                  </a:lnTo>
                  <a:lnTo>
                    <a:pt x="311" y="561"/>
                  </a:lnTo>
                  <a:lnTo>
                    <a:pt x="311" y="557"/>
                  </a:lnTo>
                  <a:lnTo>
                    <a:pt x="309" y="561"/>
                  </a:lnTo>
                  <a:lnTo>
                    <a:pt x="305" y="559"/>
                  </a:lnTo>
                  <a:lnTo>
                    <a:pt x="304" y="559"/>
                  </a:lnTo>
                  <a:lnTo>
                    <a:pt x="309" y="562"/>
                  </a:lnTo>
                  <a:lnTo>
                    <a:pt x="309" y="566"/>
                  </a:lnTo>
                  <a:lnTo>
                    <a:pt x="302" y="564"/>
                  </a:lnTo>
                  <a:lnTo>
                    <a:pt x="302" y="559"/>
                  </a:lnTo>
                  <a:lnTo>
                    <a:pt x="300" y="557"/>
                  </a:lnTo>
                  <a:lnTo>
                    <a:pt x="298" y="557"/>
                  </a:lnTo>
                  <a:lnTo>
                    <a:pt x="300" y="562"/>
                  </a:lnTo>
                  <a:lnTo>
                    <a:pt x="298" y="564"/>
                  </a:lnTo>
                  <a:lnTo>
                    <a:pt x="296" y="562"/>
                  </a:lnTo>
                  <a:lnTo>
                    <a:pt x="296" y="564"/>
                  </a:lnTo>
                  <a:lnTo>
                    <a:pt x="294" y="568"/>
                  </a:lnTo>
                  <a:lnTo>
                    <a:pt x="296" y="576"/>
                  </a:lnTo>
                  <a:lnTo>
                    <a:pt x="292" y="578"/>
                  </a:lnTo>
                  <a:lnTo>
                    <a:pt x="292" y="576"/>
                  </a:lnTo>
                  <a:lnTo>
                    <a:pt x="290" y="576"/>
                  </a:lnTo>
                  <a:lnTo>
                    <a:pt x="292" y="578"/>
                  </a:lnTo>
                  <a:lnTo>
                    <a:pt x="290" y="586"/>
                  </a:lnTo>
                  <a:lnTo>
                    <a:pt x="288" y="584"/>
                  </a:lnTo>
                  <a:lnTo>
                    <a:pt x="288" y="582"/>
                  </a:lnTo>
                  <a:lnTo>
                    <a:pt x="290" y="580"/>
                  </a:lnTo>
                  <a:lnTo>
                    <a:pt x="286" y="582"/>
                  </a:lnTo>
                  <a:lnTo>
                    <a:pt x="284" y="580"/>
                  </a:lnTo>
                  <a:lnTo>
                    <a:pt x="286" y="576"/>
                  </a:lnTo>
                  <a:lnTo>
                    <a:pt x="286" y="574"/>
                  </a:lnTo>
                  <a:lnTo>
                    <a:pt x="286" y="572"/>
                  </a:lnTo>
                  <a:lnTo>
                    <a:pt x="284" y="572"/>
                  </a:lnTo>
                  <a:lnTo>
                    <a:pt x="286" y="574"/>
                  </a:lnTo>
                  <a:lnTo>
                    <a:pt x="286" y="576"/>
                  </a:lnTo>
                  <a:lnTo>
                    <a:pt x="282" y="576"/>
                  </a:lnTo>
                  <a:lnTo>
                    <a:pt x="281" y="578"/>
                  </a:lnTo>
                  <a:lnTo>
                    <a:pt x="282" y="580"/>
                  </a:lnTo>
                  <a:lnTo>
                    <a:pt x="282" y="582"/>
                  </a:lnTo>
                  <a:lnTo>
                    <a:pt x="282" y="584"/>
                  </a:lnTo>
                  <a:lnTo>
                    <a:pt x="281" y="584"/>
                  </a:lnTo>
                  <a:lnTo>
                    <a:pt x="279" y="586"/>
                  </a:lnTo>
                  <a:lnTo>
                    <a:pt x="279" y="587"/>
                  </a:lnTo>
                  <a:lnTo>
                    <a:pt x="281" y="589"/>
                  </a:lnTo>
                  <a:lnTo>
                    <a:pt x="282" y="589"/>
                  </a:lnTo>
                  <a:lnTo>
                    <a:pt x="279" y="597"/>
                  </a:lnTo>
                  <a:lnTo>
                    <a:pt x="281" y="603"/>
                  </a:lnTo>
                  <a:lnTo>
                    <a:pt x="279" y="607"/>
                  </a:lnTo>
                  <a:lnTo>
                    <a:pt x="275" y="605"/>
                  </a:lnTo>
                  <a:lnTo>
                    <a:pt x="275" y="597"/>
                  </a:lnTo>
                  <a:lnTo>
                    <a:pt x="275" y="603"/>
                  </a:lnTo>
                  <a:lnTo>
                    <a:pt x="277" y="607"/>
                  </a:lnTo>
                  <a:lnTo>
                    <a:pt x="273" y="611"/>
                  </a:lnTo>
                  <a:lnTo>
                    <a:pt x="271" y="609"/>
                  </a:lnTo>
                  <a:lnTo>
                    <a:pt x="273" y="607"/>
                  </a:lnTo>
                  <a:lnTo>
                    <a:pt x="271" y="601"/>
                  </a:lnTo>
                  <a:lnTo>
                    <a:pt x="273" y="597"/>
                  </a:lnTo>
                  <a:lnTo>
                    <a:pt x="269" y="597"/>
                  </a:lnTo>
                  <a:lnTo>
                    <a:pt x="273" y="593"/>
                  </a:lnTo>
                  <a:lnTo>
                    <a:pt x="269" y="597"/>
                  </a:lnTo>
                  <a:lnTo>
                    <a:pt x="273" y="597"/>
                  </a:lnTo>
                  <a:lnTo>
                    <a:pt x="269" y="601"/>
                  </a:lnTo>
                  <a:lnTo>
                    <a:pt x="267" y="599"/>
                  </a:lnTo>
                  <a:lnTo>
                    <a:pt x="267" y="597"/>
                  </a:lnTo>
                  <a:lnTo>
                    <a:pt x="263" y="599"/>
                  </a:lnTo>
                  <a:lnTo>
                    <a:pt x="263" y="595"/>
                  </a:lnTo>
                  <a:lnTo>
                    <a:pt x="261" y="599"/>
                  </a:lnTo>
                  <a:lnTo>
                    <a:pt x="259" y="595"/>
                  </a:lnTo>
                  <a:lnTo>
                    <a:pt x="263" y="603"/>
                  </a:lnTo>
                  <a:lnTo>
                    <a:pt x="261" y="609"/>
                  </a:lnTo>
                  <a:lnTo>
                    <a:pt x="263" y="612"/>
                  </a:lnTo>
                  <a:lnTo>
                    <a:pt x="261" y="616"/>
                  </a:lnTo>
                  <a:lnTo>
                    <a:pt x="261" y="614"/>
                  </a:lnTo>
                  <a:lnTo>
                    <a:pt x="261" y="612"/>
                  </a:lnTo>
                  <a:lnTo>
                    <a:pt x="257" y="614"/>
                  </a:lnTo>
                  <a:lnTo>
                    <a:pt x="256" y="611"/>
                  </a:lnTo>
                  <a:lnTo>
                    <a:pt x="254" y="609"/>
                  </a:lnTo>
                  <a:lnTo>
                    <a:pt x="256" y="607"/>
                  </a:lnTo>
                  <a:lnTo>
                    <a:pt x="256" y="603"/>
                  </a:lnTo>
                  <a:lnTo>
                    <a:pt x="252" y="601"/>
                  </a:lnTo>
                  <a:lnTo>
                    <a:pt x="254" y="599"/>
                  </a:lnTo>
                  <a:lnTo>
                    <a:pt x="254" y="591"/>
                  </a:lnTo>
                  <a:lnTo>
                    <a:pt x="252" y="586"/>
                  </a:lnTo>
                  <a:lnTo>
                    <a:pt x="248" y="580"/>
                  </a:lnTo>
                  <a:lnTo>
                    <a:pt x="250" y="574"/>
                  </a:lnTo>
                  <a:lnTo>
                    <a:pt x="248" y="572"/>
                  </a:lnTo>
                  <a:lnTo>
                    <a:pt x="250" y="568"/>
                  </a:lnTo>
                  <a:lnTo>
                    <a:pt x="254" y="562"/>
                  </a:lnTo>
                  <a:lnTo>
                    <a:pt x="256" y="557"/>
                  </a:lnTo>
                  <a:lnTo>
                    <a:pt x="254" y="551"/>
                  </a:lnTo>
                  <a:lnTo>
                    <a:pt x="250" y="545"/>
                  </a:lnTo>
                  <a:lnTo>
                    <a:pt x="244" y="543"/>
                  </a:lnTo>
                  <a:lnTo>
                    <a:pt x="238" y="543"/>
                  </a:lnTo>
                  <a:lnTo>
                    <a:pt x="238" y="539"/>
                  </a:lnTo>
                  <a:lnTo>
                    <a:pt x="236" y="543"/>
                  </a:lnTo>
                  <a:lnTo>
                    <a:pt x="233" y="543"/>
                  </a:lnTo>
                  <a:lnTo>
                    <a:pt x="233" y="545"/>
                  </a:lnTo>
                  <a:lnTo>
                    <a:pt x="234" y="543"/>
                  </a:lnTo>
                  <a:lnTo>
                    <a:pt x="238" y="547"/>
                  </a:lnTo>
                  <a:lnTo>
                    <a:pt x="246" y="547"/>
                  </a:lnTo>
                  <a:lnTo>
                    <a:pt x="252" y="553"/>
                  </a:lnTo>
                  <a:lnTo>
                    <a:pt x="252" y="555"/>
                  </a:lnTo>
                  <a:lnTo>
                    <a:pt x="250" y="559"/>
                  </a:lnTo>
                  <a:lnTo>
                    <a:pt x="248" y="561"/>
                  </a:lnTo>
                  <a:lnTo>
                    <a:pt x="240" y="564"/>
                  </a:lnTo>
                  <a:lnTo>
                    <a:pt x="236" y="564"/>
                  </a:lnTo>
                  <a:lnTo>
                    <a:pt x="236" y="566"/>
                  </a:lnTo>
                  <a:lnTo>
                    <a:pt x="233" y="572"/>
                  </a:lnTo>
                  <a:lnTo>
                    <a:pt x="233" y="576"/>
                  </a:lnTo>
                  <a:lnTo>
                    <a:pt x="229" y="582"/>
                  </a:lnTo>
                  <a:lnTo>
                    <a:pt x="223" y="587"/>
                  </a:lnTo>
                  <a:lnTo>
                    <a:pt x="219" y="589"/>
                  </a:lnTo>
                  <a:lnTo>
                    <a:pt x="217" y="587"/>
                  </a:lnTo>
                  <a:lnTo>
                    <a:pt x="219" y="591"/>
                  </a:lnTo>
                  <a:lnTo>
                    <a:pt x="213" y="597"/>
                  </a:lnTo>
                  <a:lnTo>
                    <a:pt x="208" y="601"/>
                  </a:lnTo>
                  <a:lnTo>
                    <a:pt x="204" y="599"/>
                  </a:lnTo>
                  <a:lnTo>
                    <a:pt x="196" y="605"/>
                  </a:lnTo>
                  <a:lnTo>
                    <a:pt x="192" y="605"/>
                  </a:lnTo>
                  <a:lnTo>
                    <a:pt x="190" y="605"/>
                  </a:lnTo>
                  <a:lnTo>
                    <a:pt x="183" y="607"/>
                  </a:lnTo>
                  <a:lnTo>
                    <a:pt x="175" y="609"/>
                  </a:lnTo>
                  <a:lnTo>
                    <a:pt x="175" y="607"/>
                  </a:lnTo>
                  <a:lnTo>
                    <a:pt x="173" y="605"/>
                  </a:lnTo>
                  <a:lnTo>
                    <a:pt x="175" y="597"/>
                  </a:lnTo>
                  <a:lnTo>
                    <a:pt x="173" y="595"/>
                  </a:lnTo>
                  <a:lnTo>
                    <a:pt x="171" y="595"/>
                  </a:lnTo>
                  <a:lnTo>
                    <a:pt x="171" y="591"/>
                  </a:lnTo>
                  <a:lnTo>
                    <a:pt x="165" y="591"/>
                  </a:lnTo>
                  <a:lnTo>
                    <a:pt x="163" y="591"/>
                  </a:lnTo>
                  <a:lnTo>
                    <a:pt x="162" y="589"/>
                  </a:lnTo>
                  <a:lnTo>
                    <a:pt x="160" y="589"/>
                  </a:lnTo>
                  <a:lnTo>
                    <a:pt x="156" y="587"/>
                  </a:lnTo>
                  <a:lnTo>
                    <a:pt x="154" y="587"/>
                  </a:lnTo>
                  <a:lnTo>
                    <a:pt x="150" y="582"/>
                  </a:lnTo>
                  <a:lnTo>
                    <a:pt x="150" y="580"/>
                  </a:lnTo>
                  <a:lnTo>
                    <a:pt x="148" y="578"/>
                  </a:lnTo>
                  <a:lnTo>
                    <a:pt x="150" y="576"/>
                  </a:lnTo>
                  <a:lnTo>
                    <a:pt x="148" y="570"/>
                  </a:lnTo>
                  <a:lnTo>
                    <a:pt x="144" y="570"/>
                  </a:lnTo>
                  <a:lnTo>
                    <a:pt x="142" y="568"/>
                  </a:lnTo>
                  <a:lnTo>
                    <a:pt x="140" y="574"/>
                  </a:lnTo>
                  <a:lnTo>
                    <a:pt x="135" y="576"/>
                  </a:lnTo>
                  <a:lnTo>
                    <a:pt x="135" y="582"/>
                  </a:lnTo>
                  <a:lnTo>
                    <a:pt x="131" y="582"/>
                  </a:lnTo>
                  <a:lnTo>
                    <a:pt x="123" y="576"/>
                  </a:lnTo>
                  <a:lnTo>
                    <a:pt x="129" y="566"/>
                  </a:lnTo>
                  <a:lnTo>
                    <a:pt x="127" y="562"/>
                  </a:lnTo>
                  <a:lnTo>
                    <a:pt x="119" y="557"/>
                  </a:lnTo>
                  <a:lnTo>
                    <a:pt x="117" y="557"/>
                  </a:lnTo>
                  <a:lnTo>
                    <a:pt x="108" y="555"/>
                  </a:lnTo>
                  <a:lnTo>
                    <a:pt x="106" y="557"/>
                  </a:lnTo>
                  <a:lnTo>
                    <a:pt x="106" y="553"/>
                  </a:lnTo>
                  <a:lnTo>
                    <a:pt x="104" y="553"/>
                  </a:lnTo>
                  <a:lnTo>
                    <a:pt x="102" y="549"/>
                  </a:lnTo>
                  <a:lnTo>
                    <a:pt x="94" y="551"/>
                  </a:lnTo>
                  <a:lnTo>
                    <a:pt x="94" y="543"/>
                  </a:lnTo>
                  <a:lnTo>
                    <a:pt x="98" y="541"/>
                  </a:lnTo>
                  <a:lnTo>
                    <a:pt x="104" y="545"/>
                  </a:lnTo>
                  <a:lnTo>
                    <a:pt x="104" y="543"/>
                  </a:lnTo>
                  <a:lnTo>
                    <a:pt x="104" y="539"/>
                  </a:lnTo>
                  <a:lnTo>
                    <a:pt x="112" y="538"/>
                  </a:lnTo>
                  <a:lnTo>
                    <a:pt x="114" y="534"/>
                  </a:lnTo>
                  <a:lnTo>
                    <a:pt x="106" y="532"/>
                  </a:lnTo>
                  <a:lnTo>
                    <a:pt x="108" y="524"/>
                  </a:lnTo>
                  <a:lnTo>
                    <a:pt x="106" y="522"/>
                  </a:lnTo>
                  <a:lnTo>
                    <a:pt x="100" y="520"/>
                  </a:lnTo>
                  <a:lnTo>
                    <a:pt x="98" y="516"/>
                  </a:lnTo>
                  <a:lnTo>
                    <a:pt x="106" y="511"/>
                  </a:lnTo>
                  <a:lnTo>
                    <a:pt x="102" y="505"/>
                  </a:lnTo>
                  <a:lnTo>
                    <a:pt x="100" y="503"/>
                  </a:lnTo>
                  <a:lnTo>
                    <a:pt x="94" y="503"/>
                  </a:lnTo>
                  <a:lnTo>
                    <a:pt x="89" y="503"/>
                  </a:lnTo>
                  <a:lnTo>
                    <a:pt x="87" y="501"/>
                  </a:lnTo>
                  <a:lnTo>
                    <a:pt x="87" y="495"/>
                  </a:lnTo>
                  <a:lnTo>
                    <a:pt x="87" y="493"/>
                  </a:lnTo>
                  <a:lnTo>
                    <a:pt x="79" y="489"/>
                  </a:lnTo>
                  <a:lnTo>
                    <a:pt x="77" y="491"/>
                  </a:lnTo>
                  <a:lnTo>
                    <a:pt x="73" y="491"/>
                  </a:lnTo>
                  <a:lnTo>
                    <a:pt x="69" y="484"/>
                  </a:lnTo>
                  <a:lnTo>
                    <a:pt x="66" y="480"/>
                  </a:lnTo>
                  <a:lnTo>
                    <a:pt x="64" y="476"/>
                  </a:lnTo>
                  <a:lnTo>
                    <a:pt x="66" y="472"/>
                  </a:lnTo>
                  <a:lnTo>
                    <a:pt x="69" y="468"/>
                  </a:lnTo>
                  <a:lnTo>
                    <a:pt x="66" y="466"/>
                  </a:lnTo>
                  <a:lnTo>
                    <a:pt x="69" y="463"/>
                  </a:lnTo>
                  <a:lnTo>
                    <a:pt x="75" y="466"/>
                  </a:lnTo>
                  <a:lnTo>
                    <a:pt x="77" y="459"/>
                  </a:lnTo>
                  <a:lnTo>
                    <a:pt x="75" y="461"/>
                  </a:lnTo>
                  <a:lnTo>
                    <a:pt x="71" y="459"/>
                  </a:lnTo>
                  <a:lnTo>
                    <a:pt x="66" y="459"/>
                  </a:lnTo>
                  <a:lnTo>
                    <a:pt x="62" y="461"/>
                  </a:lnTo>
                  <a:lnTo>
                    <a:pt x="60" y="459"/>
                  </a:lnTo>
                  <a:lnTo>
                    <a:pt x="56" y="459"/>
                  </a:lnTo>
                  <a:lnTo>
                    <a:pt x="52" y="457"/>
                  </a:lnTo>
                  <a:lnTo>
                    <a:pt x="43" y="459"/>
                  </a:lnTo>
                  <a:lnTo>
                    <a:pt x="41" y="455"/>
                  </a:lnTo>
                  <a:lnTo>
                    <a:pt x="39" y="457"/>
                  </a:lnTo>
                  <a:lnTo>
                    <a:pt x="37" y="453"/>
                  </a:lnTo>
                  <a:lnTo>
                    <a:pt x="35" y="449"/>
                  </a:lnTo>
                  <a:lnTo>
                    <a:pt x="25" y="445"/>
                  </a:lnTo>
                  <a:lnTo>
                    <a:pt x="25" y="441"/>
                  </a:lnTo>
                  <a:lnTo>
                    <a:pt x="21" y="441"/>
                  </a:lnTo>
                  <a:lnTo>
                    <a:pt x="12" y="443"/>
                  </a:lnTo>
                  <a:lnTo>
                    <a:pt x="8" y="440"/>
                  </a:lnTo>
                  <a:lnTo>
                    <a:pt x="8" y="436"/>
                  </a:lnTo>
                  <a:lnTo>
                    <a:pt x="6" y="434"/>
                  </a:lnTo>
                  <a:lnTo>
                    <a:pt x="2" y="434"/>
                  </a:lnTo>
                  <a:lnTo>
                    <a:pt x="2" y="432"/>
                  </a:lnTo>
                  <a:lnTo>
                    <a:pt x="0" y="430"/>
                  </a:lnTo>
                  <a:lnTo>
                    <a:pt x="2" y="424"/>
                  </a:lnTo>
                  <a:lnTo>
                    <a:pt x="8" y="420"/>
                  </a:lnTo>
                  <a:lnTo>
                    <a:pt x="6" y="416"/>
                  </a:lnTo>
                  <a:lnTo>
                    <a:pt x="10" y="415"/>
                  </a:lnTo>
                  <a:lnTo>
                    <a:pt x="8" y="415"/>
                  </a:lnTo>
                  <a:lnTo>
                    <a:pt x="8" y="411"/>
                  </a:lnTo>
                  <a:lnTo>
                    <a:pt x="6" y="411"/>
                  </a:lnTo>
                  <a:lnTo>
                    <a:pt x="6" y="409"/>
                  </a:lnTo>
                  <a:lnTo>
                    <a:pt x="8" y="407"/>
                  </a:lnTo>
                  <a:lnTo>
                    <a:pt x="16" y="409"/>
                  </a:lnTo>
                  <a:lnTo>
                    <a:pt x="19" y="407"/>
                  </a:lnTo>
                  <a:lnTo>
                    <a:pt x="27" y="405"/>
                  </a:lnTo>
                  <a:lnTo>
                    <a:pt x="25" y="403"/>
                  </a:lnTo>
                  <a:lnTo>
                    <a:pt x="23" y="399"/>
                  </a:lnTo>
                  <a:lnTo>
                    <a:pt x="25" y="393"/>
                  </a:lnTo>
                  <a:lnTo>
                    <a:pt x="29" y="395"/>
                  </a:lnTo>
                  <a:lnTo>
                    <a:pt x="37" y="395"/>
                  </a:lnTo>
                  <a:lnTo>
                    <a:pt x="37" y="401"/>
                  </a:lnTo>
                  <a:lnTo>
                    <a:pt x="37" y="403"/>
                  </a:lnTo>
                  <a:lnTo>
                    <a:pt x="37" y="407"/>
                  </a:lnTo>
                  <a:lnTo>
                    <a:pt x="39" y="405"/>
                  </a:lnTo>
                  <a:lnTo>
                    <a:pt x="44" y="409"/>
                  </a:lnTo>
                  <a:lnTo>
                    <a:pt x="46" y="407"/>
                  </a:lnTo>
                  <a:lnTo>
                    <a:pt x="44" y="411"/>
                  </a:lnTo>
                  <a:lnTo>
                    <a:pt x="46" y="413"/>
                  </a:lnTo>
                  <a:lnTo>
                    <a:pt x="48" y="413"/>
                  </a:lnTo>
                  <a:lnTo>
                    <a:pt x="46" y="411"/>
                  </a:lnTo>
                  <a:lnTo>
                    <a:pt x="50" y="409"/>
                  </a:lnTo>
                  <a:lnTo>
                    <a:pt x="50" y="411"/>
                  </a:lnTo>
                  <a:lnTo>
                    <a:pt x="54" y="411"/>
                  </a:lnTo>
                  <a:lnTo>
                    <a:pt x="52" y="409"/>
                  </a:lnTo>
                  <a:lnTo>
                    <a:pt x="56" y="409"/>
                  </a:lnTo>
                  <a:lnTo>
                    <a:pt x="58" y="405"/>
                  </a:lnTo>
                  <a:lnTo>
                    <a:pt x="60" y="405"/>
                  </a:lnTo>
                  <a:lnTo>
                    <a:pt x="58" y="403"/>
                  </a:lnTo>
                  <a:lnTo>
                    <a:pt x="60" y="401"/>
                  </a:lnTo>
                  <a:lnTo>
                    <a:pt x="60" y="399"/>
                  </a:lnTo>
                  <a:lnTo>
                    <a:pt x="62" y="393"/>
                  </a:lnTo>
                  <a:lnTo>
                    <a:pt x="64" y="393"/>
                  </a:lnTo>
                  <a:lnTo>
                    <a:pt x="69" y="390"/>
                  </a:lnTo>
                  <a:lnTo>
                    <a:pt x="77" y="390"/>
                  </a:lnTo>
                  <a:lnTo>
                    <a:pt x="87" y="386"/>
                  </a:lnTo>
                  <a:lnTo>
                    <a:pt x="96" y="382"/>
                  </a:lnTo>
                  <a:lnTo>
                    <a:pt x="102" y="384"/>
                  </a:lnTo>
                  <a:lnTo>
                    <a:pt x="108" y="384"/>
                  </a:lnTo>
                  <a:lnTo>
                    <a:pt x="106" y="382"/>
                  </a:lnTo>
                  <a:lnTo>
                    <a:pt x="108" y="376"/>
                  </a:lnTo>
                  <a:lnTo>
                    <a:pt x="110" y="376"/>
                  </a:lnTo>
                  <a:lnTo>
                    <a:pt x="108" y="372"/>
                  </a:lnTo>
                  <a:lnTo>
                    <a:pt x="112" y="370"/>
                  </a:lnTo>
                  <a:lnTo>
                    <a:pt x="112" y="368"/>
                  </a:lnTo>
                  <a:lnTo>
                    <a:pt x="114" y="368"/>
                  </a:lnTo>
                  <a:lnTo>
                    <a:pt x="112" y="368"/>
                  </a:lnTo>
                  <a:lnTo>
                    <a:pt x="114" y="367"/>
                  </a:lnTo>
                  <a:lnTo>
                    <a:pt x="117" y="368"/>
                  </a:lnTo>
                  <a:lnTo>
                    <a:pt x="115" y="365"/>
                  </a:lnTo>
                  <a:lnTo>
                    <a:pt x="117" y="363"/>
                  </a:lnTo>
                  <a:lnTo>
                    <a:pt x="119" y="363"/>
                  </a:lnTo>
                  <a:lnTo>
                    <a:pt x="123" y="367"/>
                  </a:lnTo>
                  <a:lnTo>
                    <a:pt x="125" y="363"/>
                  </a:lnTo>
                  <a:lnTo>
                    <a:pt x="133" y="367"/>
                  </a:lnTo>
                  <a:lnTo>
                    <a:pt x="135" y="370"/>
                  </a:lnTo>
                  <a:lnTo>
                    <a:pt x="140" y="372"/>
                  </a:lnTo>
                  <a:lnTo>
                    <a:pt x="144" y="372"/>
                  </a:lnTo>
                  <a:lnTo>
                    <a:pt x="146" y="368"/>
                  </a:lnTo>
                  <a:lnTo>
                    <a:pt x="142" y="365"/>
                  </a:lnTo>
                  <a:lnTo>
                    <a:pt x="142" y="363"/>
                  </a:lnTo>
                  <a:lnTo>
                    <a:pt x="148" y="365"/>
                  </a:lnTo>
                  <a:lnTo>
                    <a:pt x="148" y="367"/>
                  </a:lnTo>
                  <a:lnTo>
                    <a:pt x="154" y="365"/>
                  </a:lnTo>
                  <a:lnTo>
                    <a:pt x="152" y="367"/>
                  </a:lnTo>
                  <a:lnTo>
                    <a:pt x="154" y="368"/>
                  </a:lnTo>
                  <a:lnTo>
                    <a:pt x="154" y="361"/>
                  </a:lnTo>
                  <a:lnTo>
                    <a:pt x="156" y="359"/>
                  </a:lnTo>
                  <a:lnTo>
                    <a:pt x="158" y="363"/>
                  </a:lnTo>
                  <a:lnTo>
                    <a:pt x="160" y="361"/>
                  </a:lnTo>
                  <a:lnTo>
                    <a:pt x="160" y="355"/>
                  </a:lnTo>
                  <a:lnTo>
                    <a:pt x="156" y="353"/>
                  </a:lnTo>
                  <a:lnTo>
                    <a:pt x="158" y="349"/>
                  </a:lnTo>
                  <a:lnTo>
                    <a:pt x="156" y="349"/>
                  </a:lnTo>
                  <a:lnTo>
                    <a:pt x="154" y="345"/>
                  </a:lnTo>
                  <a:lnTo>
                    <a:pt x="158" y="345"/>
                  </a:lnTo>
                  <a:lnTo>
                    <a:pt x="163" y="345"/>
                  </a:lnTo>
                  <a:lnTo>
                    <a:pt x="163" y="349"/>
                  </a:lnTo>
                  <a:lnTo>
                    <a:pt x="169" y="349"/>
                  </a:lnTo>
                  <a:lnTo>
                    <a:pt x="177" y="351"/>
                  </a:lnTo>
                  <a:lnTo>
                    <a:pt x="177" y="349"/>
                  </a:lnTo>
                  <a:lnTo>
                    <a:pt x="175" y="347"/>
                  </a:lnTo>
                  <a:lnTo>
                    <a:pt x="183" y="347"/>
                  </a:lnTo>
                  <a:lnTo>
                    <a:pt x="183" y="345"/>
                  </a:lnTo>
                  <a:lnTo>
                    <a:pt x="181" y="342"/>
                  </a:lnTo>
                  <a:lnTo>
                    <a:pt x="183" y="340"/>
                  </a:lnTo>
                  <a:lnTo>
                    <a:pt x="183" y="338"/>
                  </a:lnTo>
                  <a:lnTo>
                    <a:pt x="185" y="338"/>
                  </a:lnTo>
                  <a:lnTo>
                    <a:pt x="186" y="340"/>
                  </a:lnTo>
                  <a:lnTo>
                    <a:pt x="188" y="340"/>
                  </a:lnTo>
                  <a:lnTo>
                    <a:pt x="190" y="340"/>
                  </a:lnTo>
                  <a:lnTo>
                    <a:pt x="188" y="338"/>
                  </a:lnTo>
                  <a:lnTo>
                    <a:pt x="190" y="336"/>
                  </a:lnTo>
                  <a:lnTo>
                    <a:pt x="194" y="336"/>
                  </a:lnTo>
                  <a:lnTo>
                    <a:pt x="190" y="332"/>
                  </a:lnTo>
                  <a:lnTo>
                    <a:pt x="196" y="332"/>
                  </a:lnTo>
                  <a:lnTo>
                    <a:pt x="202" y="332"/>
                  </a:lnTo>
                  <a:lnTo>
                    <a:pt x="204" y="330"/>
                  </a:lnTo>
                  <a:lnTo>
                    <a:pt x="200" y="326"/>
                  </a:lnTo>
                  <a:lnTo>
                    <a:pt x="196" y="326"/>
                  </a:lnTo>
                  <a:lnTo>
                    <a:pt x="196" y="322"/>
                  </a:lnTo>
                  <a:lnTo>
                    <a:pt x="200" y="324"/>
                  </a:lnTo>
                  <a:lnTo>
                    <a:pt x="204" y="320"/>
                  </a:lnTo>
                  <a:lnTo>
                    <a:pt x="206" y="317"/>
                  </a:lnTo>
                  <a:lnTo>
                    <a:pt x="208" y="319"/>
                  </a:lnTo>
                  <a:lnTo>
                    <a:pt x="209" y="317"/>
                  </a:lnTo>
                  <a:lnTo>
                    <a:pt x="215" y="307"/>
                  </a:lnTo>
                  <a:lnTo>
                    <a:pt x="213" y="305"/>
                  </a:lnTo>
                  <a:lnTo>
                    <a:pt x="215" y="305"/>
                  </a:lnTo>
                  <a:lnTo>
                    <a:pt x="213" y="303"/>
                  </a:lnTo>
                  <a:lnTo>
                    <a:pt x="213" y="301"/>
                  </a:lnTo>
                  <a:lnTo>
                    <a:pt x="217" y="299"/>
                  </a:lnTo>
                  <a:lnTo>
                    <a:pt x="215" y="297"/>
                  </a:lnTo>
                  <a:lnTo>
                    <a:pt x="217" y="295"/>
                  </a:lnTo>
                  <a:lnTo>
                    <a:pt x="215" y="295"/>
                  </a:lnTo>
                  <a:lnTo>
                    <a:pt x="215" y="294"/>
                  </a:lnTo>
                  <a:lnTo>
                    <a:pt x="213" y="295"/>
                  </a:lnTo>
                  <a:lnTo>
                    <a:pt x="215" y="290"/>
                  </a:lnTo>
                  <a:lnTo>
                    <a:pt x="211" y="286"/>
                  </a:lnTo>
                  <a:lnTo>
                    <a:pt x="215" y="286"/>
                  </a:lnTo>
                  <a:lnTo>
                    <a:pt x="221" y="290"/>
                  </a:lnTo>
                  <a:lnTo>
                    <a:pt x="223" y="288"/>
                  </a:lnTo>
                  <a:lnTo>
                    <a:pt x="227" y="284"/>
                  </a:lnTo>
                  <a:lnTo>
                    <a:pt x="223" y="282"/>
                  </a:lnTo>
                  <a:lnTo>
                    <a:pt x="227" y="282"/>
                  </a:lnTo>
                  <a:lnTo>
                    <a:pt x="225" y="280"/>
                  </a:lnTo>
                  <a:lnTo>
                    <a:pt x="227" y="280"/>
                  </a:lnTo>
                  <a:lnTo>
                    <a:pt x="227" y="278"/>
                  </a:lnTo>
                  <a:lnTo>
                    <a:pt x="225" y="276"/>
                  </a:lnTo>
                  <a:lnTo>
                    <a:pt x="227" y="271"/>
                  </a:lnTo>
                  <a:lnTo>
                    <a:pt x="225" y="269"/>
                  </a:lnTo>
                  <a:lnTo>
                    <a:pt x="223" y="271"/>
                  </a:lnTo>
                  <a:lnTo>
                    <a:pt x="219" y="269"/>
                  </a:lnTo>
                  <a:lnTo>
                    <a:pt x="217" y="267"/>
                  </a:lnTo>
                  <a:lnTo>
                    <a:pt x="219" y="263"/>
                  </a:lnTo>
                  <a:lnTo>
                    <a:pt x="219" y="267"/>
                  </a:lnTo>
                  <a:lnTo>
                    <a:pt x="223" y="265"/>
                  </a:lnTo>
                  <a:lnTo>
                    <a:pt x="223" y="263"/>
                  </a:lnTo>
                  <a:lnTo>
                    <a:pt x="223" y="259"/>
                  </a:lnTo>
                  <a:lnTo>
                    <a:pt x="225" y="261"/>
                  </a:lnTo>
                  <a:lnTo>
                    <a:pt x="227" y="257"/>
                  </a:lnTo>
                  <a:lnTo>
                    <a:pt x="233" y="255"/>
                  </a:lnTo>
                  <a:lnTo>
                    <a:pt x="234" y="249"/>
                  </a:lnTo>
                  <a:lnTo>
                    <a:pt x="234" y="247"/>
                  </a:lnTo>
                  <a:lnTo>
                    <a:pt x="229" y="246"/>
                  </a:lnTo>
                  <a:lnTo>
                    <a:pt x="223" y="238"/>
                  </a:lnTo>
                  <a:lnTo>
                    <a:pt x="219" y="234"/>
                  </a:lnTo>
                  <a:lnTo>
                    <a:pt x="215" y="234"/>
                  </a:lnTo>
                  <a:lnTo>
                    <a:pt x="213" y="232"/>
                  </a:lnTo>
                  <a:lnTo>
                    <a:pt x="213" y="228"/>
                  </a:lnTo>
                  <a:lnTo>
                    <a:pt x="215" y="222"/>
                  </a:lnTo>
                  <a:lnTo>
                    <a:pt x="215" y="215"/>
                  </a:lnTo>
                  <a:lnTo>
                    <a:pt x="215" y="213"/>
                  </a:lnTo>
                  <a:lnTo>
                    <a:pt x="221" y="213"/>
                  </a:lnTo>
                  <a:lnTo>
                    <a:pt x="221" y="211"/>
                  </a:lnTo>
                  <a:lnTo>
                    <a:pt x="215" y="205"/>
                  </a:lnTo>
                  <a:lnTo>
                    <a:pt x="211" y="201"/>
                  </a:lnTo>
                  <a:lnTo>
                    <a:pt x="211" y="198"/>
                  </a:lnTo>
                  <a:lnTo>
                    <a:pt x="213" y="194"/>
                  </a:lnTo>
                  <a:lnTo>
                    <a:pt x="215" y="192"/>
                  </a:lnTo>
                  <a:lnTo>
                    <a:pt x="219" y="194"/>
                  </a:lnTo>
                  <a:lnTo>
                    <a:pt x="221" y="190"/>
                  </a:lnTo>
                  <a:lnTo>
                    <a:pt x="223" y="190"/>
                  </a:lnTo>
                  <a:lnTo>
                    <a:pt x="225" y="184"/>
                  </a:lnTo>
                  <a:lnTo>
                    <a:pt x="227" y="186"/>
                  </a:lnTo>
                  <a:lnTo>
                    <a:pt x="231" y="182"/>
                  </a:lnTo>
                  <a:lnTo>
                    <a:pt x="236" y="184"/>
                  </a:lnTo>
                  <a:lnTo>
                    <a:pt x="236" y="186"/>
                  </a:lnTo>
                  <a:lnTo>
                    <a:pt x="238" y="188"/>
                  </a:lnTo>
                  <a:lnTo>
                    <a:pt x="238" y="186"/>
                  </a:lnTo>
                  <a:lnTo>
                    <a:pt x="244" y="188"/>
                  </a:lnTo>
                  <a:lnTo>
                    <a:pt x="246" y="188"/>
                  </a:lnTo>
                  <a:lnTo>
                    <a:pt x="246" y="186"/>
                  </a:lnTo>
                  <a:lnTo>
                    <a:pt x="242" y="180"/>
                  </a:lnTo>
                  <a:lnTo>
                    <a:pt x="242" y="176"/>
                  </a:lnTo>
                  <a:lnTo>
                    <a:pt x="240" y="174"/>
                  </a:lnTo>
                  <a:lnTo>
                    <a:pt x="242" y="174"/>
                  </a:lnTo>
                  <a:lnTo>
                    <a:pt x="244" y="165"/>
                  </a:lnTo>
                  <a:lnTo>
                    <a:pt x="240" y="165"/>
                  </a:lnTo>
                  <a:lnTo>
                    <a:pt x="238" y="163"/>
                  </a:lnTo>
                  <a:lnTo>
                    <a:pt x="236" y="163"/>
                  </a:lnTo>
                  <a:lnTo>
                    <a:pt x="233" y="157"/>
                  </a:lnTo>
                  <a:lnTo>
                    <a:pt x="229" y="157"/>
                  </a:lnTo>
                  <a:lnTo>
                    <a:pt x="229" y="153"/>
                  </a:lnTo>
                  <a:lnTo>
                    <a:pt x="229" y="151"/>
                  </a:lnTo>
                  <a:lnTo>
                    <a:pt x="227" y="151"/>
                  </a:lnTo>
                  <a:lnTo>
                    <a:pt x="229" y="148"/>
                  </a:lnTo>
                  <a:lnTo>
                    <a:pt x="221" y="146"/>
                  </a:lnTo>
                  <a:lnTo>
                    <a:pt x="219" y="142"/>
                  </a:lnTo>
                  <a:lnTo>
                    <a:pt x="219" y="138"/>
                  </a:lnTo>
                  <a:lnTo>
                    <a:pt x="221" y="140"/>
                  </a:lnTo>
                  <a:lnTo>
                    <a:pt x="221" y="132"/>
                  </a:lnTo>
                  <a:lnTo>
                    <a:pt x="223" y="126"/>
                  </a:lnTo>
                  <a:lnTo>
                    <a:pt x="229" y="123"/>
                  </a:lnTo>
                  <a:lnTo>
                    <a:pt x="231" y="123"/>
                  </a:lnTo>
                  <a:lnTo>
                    <a:pt x="233" y="125"/>
                  </a:lnTo>
                  <a:lnTo>
                    <a:pt x="233" y="123"/>
                  </a:lnTo>
                  <a:lnTo>
                    <a:pt x="236" y="123"/>
                  </a:lnTo>
                  <a:lnTo>
                    <a:pt x="234" y="121"/>
                  </a:lnTo>
                  <a:lnTo>
                    <a:pt x="236" y="119"/>
                  </a:lnTo>
                  <a:lnTo>
                    <a:pt x="234" y="119"/>
                  </a:lnTo>
                  <a:lnTo>
                    <a:pt x="236" y="117"/>
                  </a:lnTo>
                  <a:lnTo>
                    <a:pt x="236" y="115"/>
                  </a:lnTo>
                  <a:lnTo>
                    <a:pt x="242" y="117"/>
                  </a:lnTo>
                  <a:lnTo>
                    <a:pt x="240" y="115"/>
                  </a:lnTo>
                  <a:lnTo>
                    <a:pt x="244" y="113"/>
                  </a:lnTo>
                  <a:lnTo>
                    <a:pt x="248" y="113"/>
                  </a:lnTo>
                  <a:lnTo>
                    <a:pt x="252" y="107"/>
                  </a:lnTo>
                  <a:lnTo>
                    <a:pt x="254" y="107"/>
                  </a:lnTo>
                  <a:lnTo>
                    <a:pt x="256" y="103"/>
                  </a:lnTo>
                  <a:lnTo>
                    <a:pt x="263" y="101"/>
                  </a:lnTo>
                  <a:lnTo>
                    <a:pt x="263" y="100"/>
                  </a:lnTo>
                  <a:lnTo>
                    <a:pt x="271" y="94"/>
                  </a:lnTo>
                  <a:lnTo>
                    <a:pt x="269" y="92"/>
                  </a:lnTo>
                  <a:lnTo>
                    <a:pt x="265" y="92"/>
                  </a:lnTo>
                  <a:lnTo>
                    <a:pt x="265" y="90"/>
                  </a:lnTo>
                  <a:lnTo>
                    <a:pt x="269" y="86"/>
                  </a:lnTo>
                  <a:lnTo>
                    <a:pt x="263" y="82"/>
                  </a:lnTo>
                  <a:lnTo>
                    <a:pt x="265" y="80"/>
                  </a:lnTo>
                  <a:lnTo>
                    <a:pt x="261" y="80"/>
                  </a:lnTo>
                  <a:lnTo>
                    <a:pt x="259" y="78"/>
                  </a:lnTo>
                  <a:lnTo>
                    <a:pt x="265" y="75"/>
                  </a:lnTo>
                  <a:lnTo>
                    <a:pt x="265" y="73"/>
                  </a:lnTo>
                  <a:lnTo>
                    <a:pt x="263" y="71"/>
                  </a:lnTo>
                  <a:lnTo>
                    <a:pt x="263" y="75"/>
                  </a:lnTo>
                  <a:lnTo>
                    <a:pt x="259" y="75"/>
                  </a:lnTo>
                  <a:lnTo>
                    <a:pt x="256" y="77"/>
                  </a:lnTo>
                  <a:lnTo>
                    <a:pt x="250" y="73"/>
                  </a:lnTo>
                  <a:lnTo>
                    <a:pt x="256" y="65"/>
                  </a:lnTo>
                  <a:lnTo>
                    <a:pt x="257" y="63"/>
                  </a:lnTo>
                  <a:lnTo>
                    <a:pt x="257" y="59"/>
                  </a:lnTo>
                  <a:lnTo>
                    <a:pt x="261" y="52"/>
                  </a:lnTo>
                  <a:lnTo>
                    <a:pt x="259" y="44"/>
                  </a:lnTo>
                  <a:lnTo>
                    <a:pt x="259" y="42"/>
                  </a:lnTo>
                  <a:lnTo>
                    <a:pt x="259" y="38"/>
                  </a:lnTo>
                  <a:lnTo>
                    <a:pt x="256" y="36"/>
                  </a:lnTo>
                  <a:lnTo>
                    <a:pt x="257" y="32"/>
                  </a:lnTo>
                  <a:lnTo>
                    <a:pt x="254" y="28"/>
                  </a:lnTo>
                  <a:lnTo>
                    <a:pt x="254" y="25"/>
                  </a:lnTo>
                  <a:lnTo>
                    <a:pt x="250" y="23"/>
                  </a:lnTo>
                  <a:lnTo>
                    <a:pt x="250" y="21"/>
                  </a:lnTo>
                  <a:lnTo>
                    <a:pt x="244" y="19"/>
                  </a:lnTo>
                  <a:lnTo>
                    <a:pt x="240" y="11"/>
                  </a:lnTo>
                  <a:lnTo>
                    <a:pt x="244" y="5"/>
                  </a:lnTo>
                  <a:lnTo>
                    <a:pt x="244" y="0"/>
                  </a:lnTo>
                  <a:lnTo>
                    <a:pt x="248" y="0"/>
                  </a:lnTo>
                  <a:lnTo>
                    <a:pt x="252" y="9"/>
                  </a:lnTo>
                  <a:lnTo>
                    <a:pt x="257" y="11"/>
                  </a:lnTo>
                  <a:lnTo>
                    <a:pt x="261" y="9"/>
                  </a:lnTo>
                  <a:lnTo>
                    <a:pt x="267" y="11"/>
                  </a:lnTo>
                  <a:lnTo>
                    <a:pt x="273" y="9"/>
                  </a:lnTo>
                  <a:lnTo>
                    <a:pt x="275" y="13"/>
                  </a:lnTo>
                  <a:lnTo>
                    <a:pt x="277" y="11"/>
                  </a:lnTo>
                  <a:lnTo>
                    <a:pt x="286" y="15"/>
                  </a:lnTo>
                  <a:lnTo>
                    <a:pt x="290" y="13"/>
                  </a:lnTo>
                  <a:lnTo>
                    <a:pt x="292" y="11"/>
                  </a:lnTo>
                  <a:lnTo>
                    <a:pt x="298" y="7"/>
                  </a:lnTo>
                  <a:lnTo>
                    <a:pt x="298" y="5"/>
                  </a:lnTo>
                  <a:lnTo>
                    <a:pt x="304" y="4"/>
                  </a:lnTo>
                  <a:lnTo>
                    <a:pt x="311" y="5"/>
                  </a:lnTo>
                  <a:lnTo>
                    <a:pt x="313" y="4"/>
                  </a:lnTo>
                  <a:lnTo>
                    <a:pt x="319" y="9"/>
                  </a:lnTo>
                  <a:lnTo>
                    <a:pt x="321"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26" name="Freeform 18">
              <a:extLst>
                <a:ext uri="{FF2B5EF4-FFF2-40B4-BE49-F238E27FC236}">
                  <a16:creationId xmlns:a16="http://schemas.microsoft.com/office/drawing/2014/main" id="{E7600B20-CF68-42CD-8519-09833966420C}"/>
                </a:ext>
              </a:extLst>
            </p:cNvPr>
            <p:cNvSpPr>
              <a:spLocks noEditPoints="1"/>
            </p:cNvSpPr>
            <p:nvPr/>
          </p:nvSpPr>
          <p:spPr bwMode="gray">
            <a:xfrm>
              <a:off x="7529514" y="5238753"/>
              <a:ext cx="354012" cy="1192213"/>
            </a:xfrm>
            <a:custGeom>
              <a:avLst/>
              <a:gdLst>
                <a:gd name="T0" fmla="*/ 184 w 223"/>
                <a:gd name="T1" fmla="*/ 722 h 751"/>
                <a:gd name="T2" fmla="*/ 175 w 223"/>
                <a:gd name="T3" fmla="*/ 749 h 751"/>
                <a:gd name="T4" fmla="*/ 159 w 223"/>
                <a:gd name="T5" fmla="*/ 726 h 751"/>
                <a:gd name="T6" fmla="*/ 169 w 223"/>
                <a:gd name="T7" fmla="*/ 703 h 751"/>
                <a:gd name="T8" fmla="*/ 152 w 223"/>
                <a:gd name="T9" fmla="*/ 690 h 751"/>
                <a:gd name="T10" fmla="*/ 129 w 223"/>
                <a:gd name="T11" fmla="*/ 626 h 751"/>
                <a:gd name="T12" fmla="*/ 119 w 223"/>
                <a:gd name="T13" fmla="*/ 617 h 751"/>
                <a:gd name="T14" fmla="*/ 146 w 223"/>
                <a:gd name="T15" fmla="*/ 609 h 751"/>
                <a:gd name="T16" fmla="*/ 138 w 223"/>
                <a:gd name="T17" fmla="*/ 613 h 751"/>
                <a:gd name="T18" fmla="*/ 136 w 223"/>
                <a:gd name="T19" fmla="*/ 592 h 751"/>
                <a:gd name="T20" fmla="*/ 94 w 223"/>
                <a:gd name="T21" fmla="*/ 580 h 751"/>
                <a:gd name="T22" fmla="*/ 152 w 223"/>
                <a:gd name="T23" fmla="*/ 563 h 751"/>
                <a:gd name="T24" fmla="*/ 33 w 223"/>
                <a:gd name="T25" fmla="*/ 304 h 751"/>
                <a:gd name="T26" fmla="*/ 17 w 223"/>
                <a:gd name="T27" fmla="*/ 342 h 751"/>
                <a:gd name="T28" fmla="*/ 31 w 223"/>
                <a:gd name="T29" fmla="*/ 305 h 751"/>
                <a:gd name="T30" fmla="*/ 52 w 223"/>
                <a:gd name="T31" fmla="*/ 248 h 751"/>
                <a:gd name="T32" fmla="*/ 37 w 223"/>
                <a:gd name="T33" fmla="*/ 234 h 751"/>
                <a:gd name="T34" fmla="*/ 44 w 223"/>
                <a:gd name="T35" fmla="*/ 229 h 751"/>
                <a:gd name="T36" fmla="*/ 35 w 223"/>
                <a:gd name="T37" fmla="*/ 231 h 751"/>
                <a:gd name="T38" fmla="*/ 56 w 223"/>
                <a:gd name="T39" fmla="*/ 184 h 751"/>
                <a:gd name="T40" fmla="*/ 84 w 223"/>
                <a:gd name="T41" fmla="*/ 186 h 751"/>
                <a:gd name="T42" fmla="*/ 84 w 223"/>
                <a:gd name="T43" fmla="*/ 169 h 751"/>
                <a:gd name="T44" fmla="*/ 90 w 223"/>
                <a:gd name="T45" fmla="*/ 177 h 751"/>
                <a:gd name="T46" fmla="*/ 94 w 223"/>
                <a:gd name="T47" fmla="*/ 171 h 751"/>
                <a:gd name="T48" fmla="*/ 60 w 223"/>
                <a:gd name="T49" fmla="*/ 163 h 751"/>
                <a:gd name="T50" fmla="*/ 60 w 223"/>
                <a:gd name="T51" fmla="*/ 183 h 751"/>
                <a:gd name="T52" fmla="*/ 54 w 223"/>
                <a:gd name="T53" fmla="*/ 200 h 751"/>
                <a:gd name="T54" fmla="*/ 52 w 223"/>
                <a:gd name="T55" fmla="*/ 213 h 751"/>
                <a:gd name="T56" fmla="*/ 58 w 223"/>
                <a:gd name="T57" fmla="*/ 225 h 751"/>
                <a:gd name="T58" fmla="*/ 46 w 223"/>
                <a:gd name="T59" fmla="*/ 223 h 751"/>
                <a:gd name="T60" fmla="*/ 38 w 223"/>
                <a:gd name="T61" fmla="*/ 188 h 751"/>
                <a:gd name="T62" fmla="*/ 46 w 223"/>
                <a:gd name="T63" fmla="*/ 161 h 751"/>
                <a:gd name="T64" fmla="*/ 60 w 223"/>
                <a:gd name="T65" fmla="*/ 161 h 751"/>
                <a:gd name="T66" fmla="*/ 96 w 223"/>
                <a:gd name="T67" fmla="*/ 154 h 751"/>
                <a:gd name="T68" fmla="*/ 58 w 223"/>
                <a:gd name="T69" fmla="*/ 152 h 751"/>
                <a:gd name="T70" fmla="*/ 77 w 223"/>
                <a:gd name="T71" fmla="*/ 154 h 751"/>
                <a:gd name="T72" fmla="*/ 69 w 223"/>
                <a:gd name="T73" fmla="*/ 165 h 751"/>
                <a:gd name="T74" fmla="*/ 58 w 223"/>
                <a:gd name="T75" fmla="*/ 152 h 751"/>
                <a:gd name="T76" fmla="*/ 67 w 223"/>
                <a:gd name="T77" fmla="*/ 136 h 751"/>
                <a:gd name="T78" fmla="*/ 50 w 223"/>
                <a:gd name="T79" fmla="*/ 123 h 751"/>
                <a:gd name="T80" fmla="*/ 56 w 223"/>
                <a:gd name="T81" fmla="*/ 88 h 751"/>
                <a:gd name="T82" fmla="*/ 81 w 223"/>
                <a:gd name="T83" fmla="*/ 94 h 751"/>
                <a:gd name="T84" fmla="*/ 81 w 223"/>
                <a:gd name="T85" fmla="*/ 131 h 751"/>
                <a:gd name="T86" fmla="*/ 63 w 223"/>
                <a:gd name="T87" fmla="*/ 131 h 751"/>
                <a:gd name="T88" fmla="*/ 60 w 223"/>
                <a:gd name="T89" fmla="*/ 150 h 751"/>
                <a:gd name="T90" fmla="*/ 54 w 223"/>
                <a:gd name="T91" fmla="*/ 111 h 751"/>
                <a:gd name="T92" fmla="*/ 58 w 223"/>
                <a:gd name="T93" fmla="*/ 104 h 751"/>
                <a:gd name="T94" fmla="*/ 69 w 223"/>
                <a:gd name="T95" fmla="*/ 86 h 751"/>
                <a:gd name="T96" fmla="*/ 56 w 223"/>
                <a:gd name="T97" fmla="*/ 75 h 751"/>
                <a:gd name="T98" fmla="*/ 83 w 223"/>
                <a:gd name="T99" fmla="*/ 77 h 751"/>
                <a:gd name="T100" fmla="*/ 77 w 223"/>
                <a:gd name="T101" fmla="*/ 71 h 751"/>
                <a:gd name="T102" fmla="*/ 69 w 223"/>
                <a:gd name="T103" fmla="*/ 27 h 751"/>
                <a:gd name="T104" fmla="*/ 90 w 223"/>
                <a:gd name="T105" fmla="*/ 25 h 751"/>
                <a:gd name="T106" fmla="*/ 92 w 223"/>
                <a:gd name="T107" fmla="*/ 37 h 751"/>
                <a:gd name="T108" fmla="*/ 86 w 223"/>
                <a:gd name="T109" fmla="*/ 42 h 751"/>
                <a:gd name="T110" fmla="*/ 77 w 223"/>
                <a:gd name="T111" fmla="*/ 67 h 751"/>
                <a:gd name="T112" fmla="*/ 73 w 223"/>
                <a:gd name="T113" fmla="*/ 79 h 751"/>
                <a:gd name="T114" fmla="*/ 65 w 223"/>
                <a:gd name="T115" fmla="*/ 73 h 751"/>
                <a:gd name="T116" fmla="*/ 67 w 223"/>
                <a:gd name="T117" fmla="*/ 54 h 751"/>
                <a:gd name="T118" fmla="*/ 73 w 223"/>
                <a:gd name="T119" fmla="*/ 27 h 751"/>
                <a:gd name="T120" fmla="*/ 73 w 223"/>
                <a:gd name="T121" fmla="*/ 8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3" h="751">
                  <a:moveTo>
                    <a:pt x="159" y="699"/>
                  </a:moveTo>
                  <a:lnTo>
                    <a:pt x="161" y="699"/>
                  </a:lnTo>
                  <a:lnTo>
                    <a:pt x="161" y="701"/>
                  </a:lnTo>
                  <a:lnTo>
                    <a:pt x="159" y="701"/>
                  </a:lnTo>
                  <a:lnTo>
                    <a:pt x="159" y="699"/>
                  </a:lnTo>
                  <a:close/>
                  <a:moveTo>
                    <a:pt x="175" y="699"/>
                  </a:moveTo>
                  <a:lnTo>
                    <a:pt x="175" y="701"/>
                  </a:lnTo>
                  <a:lnTo>
                    <a:pt x="179" y="703"/>
                  </a:lnTo>
                  <a:lnTo>
                    <a:pt x="179" y="711"/>
                  </a:lnTo>
                  <a:lnTo>
                    <a:pt x="179" y="715"/>
                  </a:lnTo>
                  <a:lnTo>
                    <a:pt x="182" y="720"/>
                  </a:lnTo>
                  <a:lnTo>
                    <a:pt x="182" y="722"/>
                  </a:lnTo>
                  <a:lnTo>
                    <a:pt x="184" y="722"/>
                  </a:lnTo>
                  <a:lnTo>
                    <a:pt x="186" y="724"/>
                  </a:lnTo>
                  <a:lnTo>
                    <a:pt x="182" y="724"/>
                  </a:lnTo>
                  <a:lnTo>
                    <a:pt x="184" y="730"/>
                  </a:lnTo>
                  <a:lnTo>
                    <a:pt x="182" y="730"/>
                  </a:lnTo>
                  <a:lnTo>
                    <a:pt x="182" y="734"/>
                  </a:lnTo>
                  <a:lnTo>
                    <a:pt x="180" y="736"/>
                  </a:lnTo>
                  <a:lnTo>
                    <a:pt x="180" y="741"/>
                  </a:lnTo>
                  <a:lnTo>
                    <a:pt x="180" y="743"/>
                  </a:lnTo>
                  <a:lnTo>
                    <a:pt x="180" y="745"/>
                  </a:lnTo>
                  <a:lnTo>
                    <a:pt x="179" y="747"/>
                  </a:lnTo>
                  <a:lnTo>
                    <a:pt x="177" y="745"/>
                  </a:lnTo>
                  <a:lnTo>
                    <a:pt x="175" y="745"/>
                  </a:lnTo>
                  <a:lnTo>
                    <a:pt x="175" y="749"/>
                  </a:lnTo>
                  <a:lnTo>
                    <a:pt x="173" y="751"/>
                  </a:lnTo>
                  <a:lnTo>
                    <a:pt x="171" y="751"/>
                  </a:lnTo>
                  <a:lnTo>
                    <a:pt x="171" y="745"/>
                  </a:lnTo>
                  <a:lnTo>
                    <a:pt x="169" y="743"/>
                  </a:lnTo>
                  <a:lnTo>
                    <a:pt x="169" y="741"/>
                  </a:lnTo>
                  <a:lnTo>
                    <a:pt x="167" y="738"/>
                  </a:lnTo>
                  <a:lnTo>
                    <a:pt x="167" y="736"/>
                  </a:lnTo>
                  <a:lnTo>
                    <a:pt x="163" y="732"/>
                  </a:lnTo>
                  <a:lnTo>
                    <a:pt x="165" y="732"/>
                  </a:lnTo>
                  <a:lnTo>
                    <a:pt x="163" y="728"/>
                  </a:lnTo>
                  <a:lnTo>
                    <a:pt x="163" y="730"/>
                  </a:lnTo>
                  <a:lnTo>
                    <a:pt x="161" y="726"/>
                  </a:lnTo>
                  <a:lnTo>
                    <a:pt x="159" y="726"/>
                  </a:lnTo>
                  <a:lnTo>
                    <a:pt x="157" y="722"/>
                  </a:lnTo>
                  <a:lnTo>
                    <a:pt x="156" y="724"/>
                  </a:lnTo>
                  <a:lnTo>
                    <a:pt x="156" y="722"/>
                  </a:lnTo>
                  <a:lnTo>
                    <a:pt x="154" y="715"/>
                  </a:lnTo>
                  <a:lnTo>
                    <a:pt x="156" y="713"/>
                  </a:lnTo>
                  <a:lnTo>
                    <a:pt x="154" y="713"/>
                  </a:lnTo>
                  <a:lnTo>
                    <a:pt x="154" y="711"/>
                  </a:lnTo>
                  <a:lnTo>
                    <a:pt x="156" y="709"/>
                  </a:lnTo>
                  <a:lnTo>
                    <a:pt x="156" y="705"/>
                  </a:lnTo>
                  <a:lnTo>
                    <a:pt x="157" y="705"/>
                  </a:lnTo>
                  <a:lnTo>
                    <a:pt x="163" y="705"/>
                  </a:lnTo>
                  <a:lnTo>
                    <a:pt x="165" y="701"/>
                  </a:lnTo>
                  <a:lnTo>
                    <a:pt x="169" y="703"/>
                  </a:lnTo>
                  <a:lnTo>
                    <a:pt x="171" y="699"/>
                  </a:lnTo>
                  <a:lnTo>
                    <a:pt x="175" y="699"/>
                  </a:lnTo>
                  <a:close/>
                  <a:moveTo>
                    <a:pt x="159" y="676"/>
                  </a:moveTo>
                  <a:lnTo>
                    <a:pt x="161" y="682"/>
                  </a:lnTo>
                  <a:lnTo>
                    <a:pt x="165" y="684"/>
                  </a:lnTo>
                  <a:lnTo>
                    <a:pt x="165" y="686"/>
                  </a:lnTo>
                  <a:lnTo>
                    <a:pt x="161" y="692"/>
                  </a:lnTo>
                  <a:lnTo>
                    <a:pt x="157" y="693"/>
                  </a:lnTo>
                  <a:lnTo>
                    <a:pt x="154" y="699"/>
                  </a:lnTo>
                  <a:lnTo>
                    <a:pt x="152" y="695"/>
                  </a:lnTo>
                  <a:lnTo>
                    <a:pt x="152" y="693"/>
                  </a:lnTo>
                  <a:lnTo>
                    <a:pt x="150" y="692"/>
                  </a:lnTo>
                  <a:lnTo>
                    <a:pt x="152" y="690"/>
                  </a:lnTo>
                  <a:lnTo>
                    <a:pt x="152" y="684"/>
                  </a:lnTo>
                  <a:lnTo>
                    <a:pt x="161" y="682"/>
                  </a:lnTo>
                  <a:lnTo>
                    <a:pt x="159" y="682"/>
                  </a:lnTo>
                  <a:lnTo>
                    <a:pt x="159" y="676"/>
                  </a:lnTo>
                  <a:close/>
                  <a:moveTo>
                    <a:pt x="125" y="613"/>
                  </a:moveTo>
                  <a:lnTo>
                    <a:pt x="127" y="615"/>
                  </a:lnTo>
                  <a:lnTo>
                    <a:pt x="127" y="619"/>
                  </a:lnTo>
                  <a:lnTo>
                    <a:pt x="129" y="620"/>
                  </a:lnTo>
                  <a:lnTo>
                    <a:pt x="131" y="620"/>
                  </a:lnTo>
                  <a:lnTo>
                    <a:pt x="134" y="624"/>
                  </a:lnTo>
                  <a:lnTo>
                    <a:pt x="134" y="628"/>
                  </a:lnTo>
                  <a:lnTo>
                    <a:pt x="132" y="630"/>
                  </a:lnTo>
                  <a:lnTo>
                    <a:pt x="129" y="626"/>
                  </a:lnTo>
                  <a:lnTo>
                    <a:pt x="125" y="628"/>
                  </a:lnTo>
                  <a:lnTo>
                    <a:pt x="121" y="628"/>
                  </a:lnTo>
                  <a:lnTo>
                    <a:pt x="121" y="624"/>
                  </a:lnTo>
                  <a:lnTo>
                    <a:pt x="123" y="622"/>
                  </a:lnTo>
                  <a:lnTo>
                    <a:pt x="121" y="619"/>
                  </a:lnTo>
                  <a:lnTo>
                    <a:pt x="119" y="620"/>
                  </a:lnTo>
                  <a:lnTo>
                    <a:pt x="121" y="620"/>
                  </a:lnTo>
                  <a:lnTo>
                    <a:pt x="119" y="622"/>
                  </a:lnTo>
                  <a:lnTo>
                    <a:pt x="121" y="622"/>
                  </a:lnTo>
                  <a:lnTo>
                    <a:pt x="119" y="624"/>
                  </a:lnTo>
                  <a:lnTo>
                    <a:pt x="117" y="622"/>
                  </a:lnTo>
                  <a:lnTo>
                    <a:pt x="117" y="620"/>
                  </a:lnTo>
                  <a:lnTo>
                    <a:pt x="119" y="617"/>
                  </a:lnTo>
                  <a:lnTo>
                    <a:pt x="125" y="613"/>
                  </a:lnTo>
                  <a:close/>
                  <a:moveTo>
                    <a:pt x="142" y="613"/>
                  </a:moveTo>
                  <a:lnTo>
                    <a:pt x="144" y="613"/>
                  </a:lnTo>
                  <a:lnTo>
                    <a:pt x="146" y="617"/>
                  </a:lnTo>
                  <a:lnTo>
                    <a:pt x="146" y="624"/>
                  </a:lnTo>
                  <a:lnTo>
                    <a:pt x="138" y="619"/>
                  </a:lnTo>
                  <a:lnTo>
                    <a:pt x="140" y="613"/>
                  </a:lnTo>
                  <a:lnTo>
                    <a:pt x="142" y="617"/>
                  </a:lnTo>
                  <a:lnTo>
                    <a:pt x="142" y="613"/>
                  </a:lnTo>
                  <a:close/>
                  <a:moveTo>
                    <a:pt x="148" y="603"/>
                  </a:moveTo>
                  <a:lnTo>
                    <a:pt x="148" y="611"/>
                  </a:lnTo>
                  <a:lnTo>
                    <a:pt x="148" y="613"/>
                  </a:lnTo>
                  <a:lnTo>
                    <a:pt x="146" y="609"/>
                  </a:lnTo>
                  <a:lnTo>
                    <a:pt x="146" y="605"/>
                  </a:lnTo>
                  <a:lnTo>
                    <a:pt x="144" y="603"/>
                  </a:lnTo>
                  <a:lnTo>
                    <a:pt x="146" y="603"/>
                  </a:lnTo>
                  <a:lnTo>
                    <a:pt x="148" y="603"/>
                  </a:lnTo>
                  <a:close/>
                  <a:moveTo>
                    <a:pt x="140" y="592"/>
                  </a:moveTo>
                  <a:lnTo>
                    <a:pt x="142" y="592"/>
                  </a:lnTo>
                  <a:lnTo>
                    <a:pt x="142" y="595"/>
                  </a:lnTo>
                  <a:lnTo>
                    <a:pt x="138" y="599"/>
                  </a:lnTo>
                  <a:lnTo>
                    <a:pt x="142" y="607"/>
                  </a:lnTo>
                  <a:lnTo>
                    <a:pt x="142" y="613"/>
                  </a:lnTo>
                  <a:lnTo>
                    <a:pt x="140" y="611"/>
                  </a:lnTo>
                  <a:lnTo>
                    <a:pt x="140" y="613"/>
                  </a:lnTo>
                  <a:lnTo>
                    <a:pt x="138" y="613"/>
                  </a:lnTo>
                  <a:lnTo>
                    <a:pt x="138" y="617"/>
                  </a:lnTo>
                  <a:lnTo>
                    <a:pt x="136" y="611"/>
                  </a:lnTo>
                  <a:lnTo>
                    <a:pt x="138" y="611"/>
                  </a:lnTo>
                  <a:lnTo>
                    <a:pt x="138" y="609"/>
                  </a:lnTo>
                  <a:lnTo>
                    <a:pt x="140" y="611"/>
                  </a:lnTo>
                  <a:lnTo>
                    <a:pt x="140" y="607"/>
                  </a:lnTo>
                  <a:lnTo>
                    <a:pt x="138" y="607"/>
                  </a:lnTo>
                  <a:lnTo>
                    <a:pt x="136" y="611"/>
                  </a:lnTo>
                  <a:lnTo>
                    <a:pt x="136" y="607"/>
                  </a:lnTo>
                  <a:lnTo>
                    <a:pt x="132" y="603"/>
                  </a:lnTo>
                  <a:lnTo>
                    <a:pt x="132" y="597"/>
                  </a:lnTo>
                  <a:lnTo>
                    <a:pt x="136" y="594"/>
                  </a:lnTo>
                  <a:lnTo>
                    <a:pt x="136" y="592"/>
                  </a:lnTo>
                  <a:lnTo>
                    <a:pt x="140" y="592"/>
                  </a:lnTo>
                  <a:close/>
                  <a:moveTo>
                    <a:pt x="109" y="592"/>
                  </a:moveTo>
                  <a:lnTo>
                    <a:pt x="108" y="590"/>
                  </a:lnTo>
                  <a:lnTo>
                    <a:pt x="109" y="588"/>
                  </a:lnTo>
                  <a:lnTo>
                    <a:pt x="109" y="592"/>
                  </a:lnTo>
                  <a:close/>
                  <a:moveTo>
                    <a:pt x="98" y="578"/>
                  </a:moveTo>
                  <a:lnTo>
                    <a:pt x="98" y="586"/>
                  </a:lnTo>
                  <a:lnTo>
                    <a:pt x="100" y="590"/>
                  </a:lnTo>
                  <a:lnTo>
                    <a:pt x="106" y="594"/>
                  </a:lnTo>
                  <a:lnTo>
                    <a:pt x="106" y="595"/>
                  </a:lnTo>
                  <a:lnTo>
                    <a:pt x="96" y="592"/>
                  </a:lnTo>
                  <a:lnTo>
                    <a:pt x="92" y="586"/>
                  </a:lnTo>
                  <a:lnTo>
                    <a:pt x="94" y="580"/>
                  </a:lnTo>
                  <a:lnTo>
                    <a:pt x="98" y="578"/>
                  </a:lnTo>
                  <a:close/>
                  <a:moveTo>
                    <a:pt x="86" y="565"/>
                  </a:moveTo>
                  <a:lnTo>
                    <a:pt x="90" y="565"/>
                  </a:lnTo>
                  <a:lnTo>
                    <a:pt x="90" y="569"/>
                  </a:lnTo>
                  <a:lnTo>
                    <a:pt x="86" y="569"/>
                  </a:lnTo>
                  <a:lnTo>
                    <a:pt x="86" y="565"/>
                  </a:lnTo>
                  <a:close/>
                  <a:moveTo>
                    <a:pt x="150" y="553"/>
                  </a:moveTo>
                  <a:lnTo>
                    <a:pt x="152" y="559"/>
                  </a:lnTo>
                  <a:lnTo>
                    <a:pt x="154" y="565"/>
                  </a:lnTo>
                  <a:lnTo>
                    <a:pt x="152" y="565"/>
                  </a:lnTo>
                  <a:lnTo>
                    <a:pt x="152" y="571"/>
                  </a:lnTo>
                  <a:lnTo>
                    <a:pt x="150" y="567"/>
                  </a:lnTo>
                  <a:lnTo>
                    <a:pt x="152" y="563"/>
                  </a:lnTo>
                  <a:lnTo>
                    <a:pt x="150" y="557"/>
                  </a:lnTo>
                  <a:lnTo>
                    <a:pt x="150" y="553"/>
                  </a:lnTo>
                  <a:close/>
                  <a:moveTo>
                    <a:pt x="61" y="482"/>
                  </a:moveTo>
                  <a:lnTo>
                    <a:pt x="63" y="484"/>
                  </a:lnTo>
                  <a:lnTo>
                    <a:pt x="65" y="492"/>
                  </a:lnTo>
                  <a:lnTo>
                    <a:pt x="61" y="496"/>
                  </a:lnTo>
                  <a:lnTo>
                    <a:pt x="54" y="494"/>
                  </a:lnTo>
                  <a:lnTo>
                    <a:pt x="54" y="492"/>
                  </a:lnTo>
                  <a:lnTo>
                    <a:pt x="54" y="484"/>
                  </a:lnTo>
                  <a:lnTo>
                    <a:pt x="58" y="484"/>
                  </a:lnTo>
                  <a:lnTo>
                    <a:pt x="60" y="480"/>
                  </a:lnTo>
                  <a:lnTo>
                    <a:pt x="61" y="482"/>
                  </a:lnTo>
                  <a:close/>
                  <a:moveTo>
                    <a:pt x="33" y="304"/>
                  </a:moveTo>
                  <a:lnTo>
                    <a:pt x="35" y="304"/>
                  </a:lnTo>
                  <a:lnTo>
                    <a:pt x="37" y="305"/>
                  </a:lnTo>
                  <a:lnTo>
                    <a:pt x="37" y="311"/>
                  </a:lnTo>
                  <a:lnTo>
                    <a:pt x="40" y="313"/>
                  </a:lnTo>
                  <a:lnTo>
                    <a:pt x="38" y="319"/>
                  </a:lnTo>
                  <a:lnTo>
                    <a:pt x="40" y="325"/>
                  </a:lnTo>
                  <a:lnTo>
                    <a:pt x="38" y="327"/>
                  </a:lnTo>
                  <a:lnTo>
                    <a:pt x="35" y="332"/>
                  </a:lnTo>
                  <a:lnTo>
                    <a:pt x="38" y="336"/>
                  </a:lnTo>
                  <a:lnTo>
                    <a:pt x="33" y="342"/>
                  </a:lnTo>
                  <a:lnTo>
                    <a:pt x="31" y="344"/>
                  </a:lnTo>
                  <a:lnTo>
                    <a:pt x="23" y="340"/>
                  </a:lnTo>
                  <a:lnTo>
                    <a:pt x="17" y="342"/>
                  </a:lnTo>
                  <a:lnTo>
                    <a:pt x="21" y="332"/>
                  </a:lnTo>
                  <a:lnTo>
                    <a:pt x="19" y="327"/>
                  </a:lnTo>
                  <a:lnTo>
                    <a:pt x="17" y="327"/>
                  </a:lnTo>
                  <a:lnTo>
                    <a:pt x="17" y="319"/>
                  </a:lnTo>
                  <a:lnTo>
                    <a:pt x="17" y="317"/>
                  </a:lnTo>
                  <a:lnTo>
                    <a:pt x="17" y="313"/>
                  </a:lnTo>
                  <a:lnTo>
                    <a:pt x="19" y="317"/>
                  </a:lnTo>
                  <a:lnTo>
                    <a:pt x="23" y="309"/>
                  </a:lnTo>
                  <a:lnTo>
                    <a:pt x="25" y="307"/>
                  </a:lnTo>
                  <a:lnTo>
                    <a:pt x="25" y="305"/>
                  </a:lnTo>
                  <a:lnTo>
                    <a:pt x="29" y="302"/>
                  </a:lnTo>
                  <a:lnTo>
                    <a:pt x="31" y="302"/>
                  </a:lnTo>
                  <a:lnTo>
                    <a:pt x="31" y="305"/>
                  </a:lnTo>
                  <a:lnTo>
                    <a:pt x="31" y="302"/>
                  </a:lnTo>
                  <a:lnTo>
                    <a:pt x="33" y="302"/>
                  </a:lnTo>
                  <a:lnTo>
                    <a:pt x="33" y="304"/>
                  </a:lnTo>
                  <a:close/>
                  <a:moveTo>
                    <a:pt x="54" y="259"/>
                  </a:moveTo>
                  <a:lnTo>
                    <a:pt x="54" y="261"/>
                  </a:lnTo>
                  <a:lnTo>
                    <a:pt x="50" y="263"/>
                  </a:lnTo>
                  <a:lnTo>
                    <a:pt x="52" y="259"/>
                  </a:lnTo>
                  <a:lnTo>
                    <a:pt x="54" y="259"/>
                  </a:lnTo>
                  <a:close/>
                  <a:moveTo>
                    <a:pt x="46" y="234"/>
                  </a:moveTo>
                  <a:lnTo>
                    <a:pt x="48" y="236"/>
                  </a:lnTo>
                  <a:lnTo>
                    <a:pt x="50" y="242"/>
                  </a:lnTo>
                  <a:lnTo>
                    <a:pt x="46" y="246"/>
                  </a:lnTo>
                  <a:lnTo>
                    <a:pt x="52" y="248"/>
                  </a:lnTo>
                  <a:lnTo>
                    <a:pt x="52" y="250"/>
                  </a:lnTo>
                  <a:lnTo>
                    <a:pt x="48" y="252"/>
                  </a:lnTo>
                  <a:lnTo>
                    <a:pt x="42" y="252"/>
                  </a:lnTo>
                  <a:lnTo>
                    <a:pt x="40" y="250"/>
                  </a:lnTo>
                  <a:lnTo>
                    <a:pt x="40" y="246"/>
                  </a:lnTo>
                  <a:lnTo>
                    <a:pt x="44" y="246"/>
                  </a:lnTo>
                  <a:lnTo>
                    <a:pt x="42" y="238"/>
                  </a:lnTo>
                  <a:lnTo>
                    <a:pt x="44" y="234"/>
                  </a:lnTo>
                  <a:lnTo>
                    <a:pt x="46" y="234"/>
                  </a:lnTo>
                  <a:close/>
                  <a:moveTo>
                    <a:pt x="37" y="232"/>
                  </a:moveTo>
                  <a:lnTo>
                    <a:pt x="38" y="232"/>
                  </a:lnTo>
                  <a:lnTo>
                    <a:pt x="38" y="234"/>
                  </a:lnTo>
                  <a:lnTo>
                    <a:pt x="37" y="234"/>
                  </a:lnTo>
                  <a:lnTo>
                    <a:pt x="37" y="232"/>
                  </a:lnTo>
                  <a:close/>
                  <a:moveTo>
                    <a:pt x="42" y="229"/>
                  </a:moveTo>
                  <a:lnTo>
                    <a:pt x="44" y="229"/>
                  </a:lnTo>
                  <a:lnTo>
                    <a:pt x="44" y="232"/>
                  </a:lnTo>
                  <a:lnTo>
                    <a:pt x="42" y="232"/>
                  </a:lnTo>
                  <a:lnTo>
                    <a:pt x="42" y="229"/>
                  </a:lnTo>
                  <a:close/>
                  <a:moveTo>
                    <a:pt x="40" y="231"/>
                  </a:moveTo>
                  <a:lnTo>
                    <a:pt x="40" y="232"/>
                  </a:lnTo>
                  <a:lnTo>
                    <a:pt x="40" y="227"/>
                  </a:lnTo>
                  <a:lnTo>
                    <a:pt x="40" y="231"/>
                  </a:lnTo>
                  <a:close/>
                  <a:moveTo>
                    <a:pt x="42" y="227"/>
                  </a:moveTo>
                  <a:lnTo>
                    <a:pt x="44" y="227"/>
                  </a:lnTo>
                  <a:lnTo>
                    <a:pt x="44" y="229"/>
                  </a:lnTo>
                  <a:lnTo>
                    <a:pt x="42" y="229"/>
                  </a:lnTo>
                  <a:lnTo>
                    <a:pt x="42" y="227"/>
                  </a:lnTo>
                  <a:close/>
                  <a:moveTo>
                    <a:pt x="2" y="227"/>
                  </a:moveTo>
                  <a:lnTo>
                    <a:pt x="6" y="227"/>
                  </a:lnTo>
                  <a:lnTo>
                    <a:pt x="6" y="232"/>
                  </a:lnTo>
                  <a:lnTo>
                    <a:pt x="6" y="234"/>
                  </a:lnTo>
                  <a:lnTo>
                    <a:pt x="0" y="232"/>
                  </a:lnTo>
                  <a:lnTo>
                    <a:pt x="0" y="227"/>
                  </a:lnTo>
                  <a:lnTo>
                    <a:pt x="2" y="227"/>
                  </a:lnTo>
                  <a:close/>
                  <a:moveTo>
                    <a:pt x="37" y="227"/>
                  </a:moveTo>
                  <a:lnTo>
                    <a:pt x="38" y="227"/>
                  </a:lnTo>
                  <a:lnTo>
                    <a:pt x="38" y="229"/>
                  </a:lnTo>
                  <a:lnTo>
                    <a:pt x="35" y="231"/>
                  </a:lnTo>
                  <a:lnTo>
                    <a:pt x="35" y="225"/>
                  </a:lnTo>
                  <a:lnTo>
                    <a:pt x="37" y="227"/>
                  </a:lnTo>
                  <a:close/>
                  <a:moveTo>
                    <a:pt x="88" y="200"/>
                  </a:moveTo>
                  <a:lnTo>
                    <a:pt x="92" y="200"/>
                  </a:lnTo>
                  <a:lnTo>
                    <a:pt x="90" y="202"/>
                  </a:lnTo>
                  <a:lnTo>
                    <a:pt x="86" y="200"/>
                  </a:lnTo>
                  <a:lnTo>
                    <a:pt x="86" y="198"/>
                  </a:lnTo>
                  <a:lnTo>
                    <a:pt x="88" y="200"/>
                  </a:lnTo>
                  <a:close/>
                  <a:moveTo>
                    <a:pt x="56" y="184"/>
                  </a:moveTo>
                  <a:lnTo>
                    <a:pt x="60" y="184"/>
                  </a:lnTo>
                  <a:lnTo>
                    <a:pt x="60" y="186"/>
                  </a:lnTo>
                  <a:lnTo>
                    <a:pt x="56" y="186"/>
                  </a:lnTo>
                  <a:lnTo>
                    <a:pt x="56" y="184"/>
                  </a:lnTo>
                  <a:close/>
                  <a:moveTo>
                    <a:pt x="42" y="184"/>
                  </a:moveTo>
                  <a:lnTo>
                    <a:pt x="42" y="188"/>
                  </a:lnTo>
                  <a:lnTo>
                    <a:pt x="42" y="190"/>
                  </a:lnTo>
                  <a:lnTo>
                    <a:pt x="42" y="184"/>
                  </a:lnTo>
                  <a:close/>
                  <a:moveTo>
                    <a:pt x="83" y="179"/>
                  </a:moveTo>
                  <a:lnTo>
                    <a:pt x="83" y="177"/>
                  </a:lnTo>
                  <a:lnTo>
                    <a:pt x="86" y="179"/>
                  </a:lnTo>
                  <a:lnTo>
                    <a:pt x="86" y="183"/>
                  </a:lnTo>
                  <a:lnTo>
                    <a:pt x="88" y="188"/>
                  </a:lnTo>
                  <a:lnTo>
                    <a:pt x="90" y="192"/>
                  </a:lnTo>
                  <a:lnTo>
                    <a:pt x="90" y="194"/>
                  </a:lnTo>
                  <a:lnTo>
                    <a:pt x="88" y="194"/>
                  </a:lnTo>
                  <a:lnTo>
                    <a:pt x="84" y="186"/>
                  </a:lnTo>
                  <a:lnTo>
                    <a:pt x="83" y="186"/>
                  </a:lnTo>
                  <a:lnTo>
                    <a:pt x="81" y="184"/>
                  </a:lnTo>
                  <a:lnTo>
                    <a:pt x="77" y="183"/>
                  </a:lnTo>
                  <a:lnTo>
                    <a:pt x="81" y="181"/>
                  </a:lnTo>
                  <a:lnTo>
                    <a:pt x="81" y="177"/>
                  </a:lnTo>
                  <a:lnTo>
                    <a:pt x="83" y="179"/>
                  </a:lnTo>
                  <a:close/>
                  <a:moveTo>
                    <a:pt x="84" y="169"/>
                  </a:moveTo>
                  <a:lnTo>
                    <a:pt x="86" y="171"/>
                  </a:lnTo>
                  <a:lnTo>
                    <a:pt x="84" y="177"/>
                  </a:lnTo>
                  <a:lnTo>
                    <a:pt x="81" y="173"/>
                  </a:lnTo>
                  <a:lnTo>
                    <a:pt x="83" y="173"/>
                  </a:lnTo>
                  <a:lnTo>
                    <a:pt x="81" y="169"/>
                  </a:lnTo>
                  <a:lnTo>
                    <a:pt x="84" y="169"/>
                  </a:lnTo>
                  <a:close/>
                  <a:moveTo>
                    <a:pt x="79" y="169"/>
                  </a:moveTo>
                  <a:lnTo>
                    <a:pt x="81" y="169"/>
                  </a:lnTo>
                  <a:lnTo>
                    <a:pt x="81" y="173"/>
                  </a:lnTo>
                  <a:lnTo>
                    <a:pt x="79" y="173"/>
                  </a:lnTo>
                  <a:lnTo>
                    <a:pt x="79" y="169"/>
                  </a:lnTo>
                  <a:close/>
                  <a:moveTo>
                    <a:pt x="96" y="165"/>
                  </a:moveTo>
                  <a:lnTo>
                    <a:pt x="98" y="165"/>
                  </a:lnTo>
                  <a:lnTo>
                    <a:pt x="98" y="167"/>
                  </a:lnTo>
                  <a:lnTo>
                    <a:pt x="96" y="167"/>
                  </a:lnTo>
                  <a:lnTo>
                    <a:pt x="96" y="165"/>
                  </a:lnTo>
                  <a:close/>
                  <a:moveTo>
                    <a:pt x="88" y="169"/>
                  </a:moveTo>
                  <a:lnTo>
                    <a:pt x="90" y="173"/>
                  </a:lnTo>
                  <a:lnTo>
                    <a:pt x="90" y="177"/>
                  </a:lnTo>
                  <a:lnTo>
                    <a:pt x="86" y="173"/>
                  </a:lnTo>
                  <a:lnTo>
                    <a:pt x="86" y="169"/>
                  </a:lnTo>
                  <a:lnTo>
                    <a:pt x="84" y="169"/>
                  </a:lnTo>
                  <a:lnTo>
                    <a:pt x="81" y="169"/>
                  </a:lnTo>
                  <a:lnTo>
                    <a:pt x="81" y="165"/>
                  </a:lnTo>
                  <a:lnTo>
                    <a:pt x="84" y="165"/>
                  </a:lnTo>
                  <a:lnTo>
                    <a:pt x="86" y="169"/>
                  </a:lnTo>
                  <a:lnTo>
                    <a:pt x="86" y="165"/>
                  </a:lnTo>
                  <a:lnTo>
                    <a:pt x="88" y="163"/>
                  </a:lnTo>
                  <a:lnTo>
                    <a:pt x="88" y="169"/>
                  </a:lnTo>
                  <a:close/>
                  <a:moveTo>
                    <a:pt x="92" y="159"/>
                  </a:moveTo>
                  <a:lnTo>
                    <a:pt x="96" y="167"/>
                  </a:lnTo>
                  <a:lnTo>
                    <a:pt x="94" y="171"/>
                  </a:lnTo>
                  <a:lnTo>
                    <a:pt x="94" y="173"/>
                  </a:lnTo>
                  <a:lnTo>
                    <a:pt x="92" y="169"/>
                  </a:lnTo>
                  <a:lnTo>
                    <a:pt x="88" y="167"/>
                  </a:lnTo>
                  <a:lnTo>
                    <a:pt x="92" y="159"/>
                  </a:lnTo>
                  <a:close/>
                  <a:moveTo>
                    <a:pt x="77" y="158"/>
                  </a:moveTo>
                  <a:lnTo>
                    <a:pt x="79" y="158"/>
                  </a:lnTo>
                  <a:lnTo>
                    <a:pt x="79" y="159"/>
                  </a:lnTo>
                  <a:lnTo>
                    <a:pt x="77" y="159"/>
                  </a:lnTo>
                  <a:lnTo>
                    <a:pt x="77" y="158"/>
                  </a:lnTo>
                  <a:close/>
                  <a:moveTo>
                    <a:pt x="54" y="159"/>
                  </a:moveTo>
                  <a:lnTo>
                    <a:pt x="54" y="163"/>
                  </a:lnTo>
                  <a:lnTo>
                    <a:pt x="56" y="161"/>
                  </a:lnTo>
                  <a:lnTo>
                    <a:pt x="60" y="163"/>
                  </a:lnTo>
                  <a:lnTo>
                    <a:pt x="56" y="171"/>
                  </a:lnTo>
                  <a:lnTo>
                    <a:pt x="56" y="175"/>
                  </a:lnTo>
                  <a:lnTo>
                    <a:pt x="58" y="173"/>
                  </a:lnTo>
                  <a:lnTo>
                    <a:pt x="60" y="175"/>
                  </a:lnTo>
                  <a:lnTo>
                    <a:pt x="58" y="175"/>
                  </a:lnTo>
                  <a:lnTo>
                    <a:pt x="61" y="177"/>
                  </a:lnTo>
                  <a:lnTo>
                    <a:pt x="61" y="179"/>
                  </a:lnTo>
                  <a:lnTo>
                    <a:pt x="60" y="179"/>
                  </a:lnTo>
                  <a:lnTo>
                    <a:pt x="58" y="177"/>
                  </a:lnTo>
                  <a:lnTo>
                    <a:pt x="56" y="181"/>
                  </a:lnTo>
                  <a:lnTo>
                    <a:pt x="58" y="181"/>
                  </a:lnTo>
                  <a:lnTo>
                    <a:pt x="60" y="181"/>
                  </a:lnTo>
                  <a:lnTo>
                    <a:pt x="60" y="183"/>
                  </a:lnTo>
                  <a:lnTo>
                    <a:pt x="58" y="183"/>
                  </a:lnTo>
                  <a:lnTo>
                    <a:pt x="60" y="183"/>
                  </a:lnTo>
                  <a:lnTo>
                    <a:pt x="58" y="184"/>
                  </a:lnTo>
                  <a:lnTo>
                    <a:pt x="56" y="183"/>
                  </a:lnTo>
                  <a:lnTo>
                    <a:pt x="56" y="184"/>
                  </a:lnTo>
                  <a:lnTo>
                    <a:pt x="54" y="188"/>
                  </a:lnTo>
                  <a:lnTo>
                    <a:pt x="56" y="190"/>
                  </a:lnTo>
                  <a:lnTo>
                    <a:pt x="56" y="198"/>
                  </a:lnTo>
                  <a:lnTo>
                    <a:pt x="54" y="202"/>
                  </a:lnTo>
                  <a:lnTo>
                    <a:pt x="50" y="202"/>
                  </a:lnTo>
                  <a:lnTo>
                    <a:pt x="52" y="202"/>
                  </a:lnTo>
                  <a:lnTo>
                    <a:pt x="54" y="202"/>
                  </a:lnTo>
                  <a:lnTo>
                    <a:pt x="54" y="200"/>
                  </a:lnTo>
                  <a:lnTo>
                    <a:pt x="56" y="198"/>
                  </a:lnTo>
                  <a:lnTo>
                    <a:pt x="56" y="192"/>
                  </a:lnTo>
                  <a:lnTo>
                    <a:pt x="58" y="188"/>
                  </a:lnTo>
                  <a:lnTo>
                    <a:pt x="61" y="188"/>
                  </a:lnTo>
                  <a:lnTo>
                    <a:pt x="61" y="192"/>
                  </a:lnTo>
                  <a:lnTo>
                    <a:pt x="61" y="194"/>
                  </a:lnTo>
                  <a:lnTo>
                    <a:pt x="61" y="198"/>
                  </a:lnTo>
                  <a:lnTo>
                    <a:pt x="61" y="200"/>
                  </a:lnTo>
                  <a:lnTo>
                    <a:pt x="60" y="209"/>
                  </a:lnTo>
                  <a:lnTo>
                    <a:pt x="58" y="211"/>
                  </a:lnTo>
                  <a:lnTo>
                    <a:pt x="58" y="213"/>
                  </a:lnTo>
                  <a:lnTo>
                    <a:pt x="58" y="215"/>
                  </a:lnTo>
                  <a:lnTo>
                    <a:pt x="52" y="213"/>
                  </a:lnTo>
                  <a:lnTo>
                    <a:pt x="54" y="217"/>
                  </a:lnTo>
                  <a:lnTo>
                    <a:pt x="50" y="219"/>
                  </a:lnTo>
                  <a:lnTo>
                    <a:pt x="48" y="219"/>
                  </a:lnTo>
                  <a:lnTo>
                    <a:pt x="50" y="223"/>
                  </a:lnTo>
                  <a:lnTo>
                    <a:pt x="52" y="221"/>
                  </a:lnTo>
                  <a:lnTo>
                    <a:pt x="52" y="223"/>
                  </a:lnTo>
                  <a:lnTo>
                    <a:pt x="52" y="219"/>
                  </a:lnTo>
                  <a:lnTo>
                    <a:pt x="54" y="221"/>
                  </a:lnTo>
                  <a:lnTo>
                    <a:pt x="56" y="219"/>
                  </a:lnTo>
                  <a:lnTo>
                    <a:pt x="54" y="217"/>
                  </a:lnTo>
                  <a:lnTo>
                    <a:pt x="56" y="215"/>
                  </a:lnTo>
                  <a:lnTo>
                    <a:pt x="58" y="217"/>
                  </a:lnTo>
                  <a:lnTo>
                    <a:pt x="58" y="225"/>
                  </a:lnTo>
                  <a:lnTo>
                    <a:pt x="58" y="227"/>
                  </a:lnTo>
                  <a:lnTo>
                    <a:pt x="56" y="234"/>
                  </a:lnTo>
                  <a:lnTo>
                    <a:pt x="54" y="238"/>
                  </a:lnTo>
                  <a:lnTo>
                    <a:pt x="52" y="234"/>
                  </a:lnTo>
                  <a:lnTo>
                    <a:pt x="48" y="236"/>
                  </a:lnTo>
                  <a:lnTo>
                    <a:pt x="46" y="234"/>
                  </a:lnTo>
                  <a:lnTo>
                    <a:pt x="46" y="229"/>
                  </a:lnTo>
                  <a:lnTo>
                    <a:pt x="46" y="227"/>
                  </a:lnTo>
                  <a:lnTo>
                    <a:pt x="44" y="229"/>
                  </a:lnTo>
                  <a:lnTo>
                    <a:pt x="44" y="227"/>
                  </a:lnTo>
                  <a:lnTo>
                    <a:pt x="42" y="225"/>
                  </a:lnTo>
                  <a:lnTo>
                    <a:pt x="42" y="223"/>
                  </a:lnTo>
                  <a:lnTo>
                    <a:pt x="46" y="223"/>
                  </a:lnTo>
                  <a:lnTo>
                    <a:pt x="46" y="221"/>
                  </a:lnTo>
                  <a:lnTo>
                    <a:pt x="44" y="219"/>
                  </a:lnTo>
                  <a:lnTo>
                    <a:pt x="44" y="223"/>
                  </a:lnTo>
                  <a:lnTo>
                    <a:pt x="42" y="221"/>
                  </a:lnTo>
                  <a:lnTo>
                    <a:pt x="40" y="213"/>
                  </a:lnTo>
                  <a:lnTo>
                    <a:pt x="38" y="215"/>
                  </a:lnTo>
                  <a:lnTo>
                    <a:pt x="37" y="206"/>
                  </a:lnTo>
                  <a:lnTo>
                    <a:pt x="35" y="202"/>
                  </a:lnTo>
                  <a:lnTo>
                    <a:pt x="37" y="200"/>
                  </a:lnTo>
                  <a:lnTo>
                    <a:pt x="33" y="200"/>
                  </a:lnTo>
                  <a:lnTo>
                    <a:pt x="33" y="198"/>
                  </a:lnTo>
                  <a:lnTo>
                    <a:pt x="35" y="192"/>
                  </a:lnTo>
                  <a:lnTo>
                    <a:pt x="38" y="188"/>
                  </a:lnTo>
                  <a:lnTo>
                    <a:pt x="40" y="194"/>
                  </a:lnTo>
                  <a:lnTo>
                    <a:pt x="42" y="192"/>
                  </a:lnTo>
                  <a:lnTo>
                    <a:pt x="42" y="198"/>
                  </a:lnTo>
                  <a:lnTo>
                    <a:pt x="42" y="194"/>
                  </a:lnTo>
                  <a:lnTo>
                    <a:pt x="42" y="190"/>
                  </a:lnTo>
                  <a:lnTo>
                    <a:pt x="42" y="188"/>
                  </a:lnTo>
                  <a:lnTo>
                    <a:pt x="42" y="183"/>
                  </a:lnTo>
                  <a:lnTo>
                    <a:pt x="44" y="183"/>
                  </a:lnTo>
                  <a:lnTo>
                    <a:pt x="44" y="181"/>
                  </a:lnTo>
                  <a:lnTo>
                    <a:pt x="44" y="177"/>
                  </a:lnTo>
                  <a:lnTo>
                    <a:pt x="44" y="173"/>
                  </a:lnTo>
                  <a:lnTo>
                    <a:pt x="46" y="169"/>
                  </a:lnTo>
                  <a:lnTo>
                    <a:pt x="46" y="161"/>
                  </a:lnTo>
                  <a:lnTo>
                    <a:pt x="48" y="158"/>
                  </a:lnTo>
                  <a:lnTo>
                    <a:pt x="48" y="161"/>
                  </a:lnTo>
                  <a:lnTo>
                    <a:pt x="50" y="158"/>
                  </a:lnTo>
                  <a:lnTo>
                    <a:pt x="52" y="159"/>
                  </a:lnTo>
                  <a:lnTo>
                    <a:pt x="52" y="156"/>
                  </a:lnTo>
                  <a:lnTo>
                    <a:pt x="54" y="159"/>
                  </a:lnTo>
                  <a:close/>
                  <a:moveTo>
                    <a:pt x="56" y="156"/>
                  </a:moveTo>
                  <a:lnTo>
                    <a:pt x="56" y="159"/>
                  </a:lnTo>
                  <a:lnTo>
                    <a:pt x="58" y="158"/>
                  </a:lnTo>
                  <a:lnTo>
                    <a:pt x="58" y="159"/>
                  </a:lnTo>
                  <a:lnTo>
                    <a:pt x="58" y="156"/>
                  </a:lnTo>
                  <a:lnTo>
                    <a:pt x="60" y="158"/>
                  </a:lnTo>
                  <a:lnTo>
                    <a:pt x="60" y="161"/>
                  </a:lnTo>
                  <a:lnTo>
                    <a:pt x="56" y="161"/>
                  </a:lnTo>
                  <a:lnTo>
                    <a:pt x="56" y="156"/>
                  </a:lnTo>
                  <a:close/>
                  <a:moveTo>
                    <a:pt x="75" y="156"/>
                  </a:moveTo>
                  <a:lnTo>
                    <a:pt x="75" y="158"/>
                  </a:lnTo>
                  <a:lnTo>
                    <a:pt x="73" y="156"/>
                  </a:lnTo>
                  <a:lnTo>
                    <a:pt x="73" y="159"/>
                  </a:lnTo>
                  <a:lnTo>
                    <a:pt x="71" y="156"/>
                  </a:lnTo>
                  <a:lnTo>
                    <a:pt x="73" y="156"/>
                  </a:lnTo>
                  <a:lnTo>
                    <a:pt x="75" y="154"/>
                  </a:lnTo>
                  <a:lnTo>
                    <a:pt x="75" y="156"/>
                  </a:lnTo>
                  <a:close/>
                  <a:moveTo>
                    <a:pt x="94" y="154"/>
                  </a:moveTo>
                  <a:lnTo>
                    <a:pt x="94" y="156"/>
                  </a:lnTo>
                  <a:lnTo>
                    <a:pt x="96" y="154"/>
                  </a:lnTo>
                  <a:lnTo>
                    <a:pt x="96" y="159"/>
                  </a:lnTo>
                  <a:lnTo>
                    <a:pt x="96" y="158"/>
                  </a:lnTo>
                  <a:lnTo>
                    <a:pt x="92" y="158"/>
                  </a:lnTo>
                  <a:lnTo>
                    <a:pt x="94" y="154"/>
                  </a:lnTo>
                  <a:close/>
                  <a:moveTo>
                    <a:pt x="56" y="152"/>
                  </a:moveTo>
                  <a:lnTo>
                    <a:pt x="58" y="152"/>
                  </a:lnTo>
                  <a:lnTo>
                    <a:pt x="58" y="154"/>
                  </a:lnTo>
                  <a:lnTo>
                    <a:pt x="56" y="154"/>
                  </a:lnTo>
                  <a:lnTo>
                    <a:pt x="56" y="152"/>
                  </a:lnTo>
                  <a:close/>
                  <a:moveTo>
                    <a:pt x="58" y="150"/>
                  </a:moveTo>
                  <a:lnTo>
                    <a:pt x="60" y="150"/>
                  </a:lnTo>
                  <a:lnTo>
                    <a:pt x="60" y="152"/>
                  </a:lnTo>
                  <a:lnTo>
                    <a:pt x="58" y="152"/>
                  </a:lnTo>
                  <a:lnTo>
                    <a:pt x="58" y="150"/>
                  </a:lnTo>
                  <a:close/>
                  <a:moveTo>
                    <a:pt x="177" y="150"/>
                  </a:moveTo>
                  <a:lnTo>
                    <a:pt x="180" y="150"/>
                  </a:lnTo>
                  <a:lnTo>
                    <a:pt x="180" y="154"/>
                  </a:lnTo>
                  <a:lnTo>
                    <a:pt x="177" y="154"/>
                  </a:lnTo>
                  <a:lnTo>
                    <a:pt x="177" y="150"/>
                  </a:lnTo>
                  <a:close/>
                  <a:moveTo>
                    <a:pt x="54" y="150"/>
                  </a:moveTo>
                  <a:lnTo>
                    <a:pt x="56" y="150"/>
                  </a:lnTo>
                  <a:lnTo>
                    <a:pt x="54" y="158"/>
                  </a:lnTo>
                  <a:lnTo>
                    <a:pt x="54" y="150"/>
                  </a:lnTo>
                  <a:close/>
                  <a:moveTo>
                    <a:pt x="79" y="152"/>
                  </a:moveTo>
                  <a:lnTo>
                    <a:pt x="77" y="156"/>
                  </a:lnTo>
                  <a:lnTo>
                    <a:pt x="77" y="154"/>
                  </a:lnTo>
                  <a:lnTo>
                    <a:pt x="75" y="152"/>
                  </a:lnTo>
                  <a:lnTo>
                    <a:pt x="75" y="150"/>
                  </a:lnTo>
                  <a:lnTo>
                    <a:pt x="77" y="152"/>
                  </a:lnTo>
                  <a:lnTo>
                    <a:pt x="79" y="148"/>
                  </a:lnTo>
                  <a:lnTo>
                    <a:pt x="79" y="152"/>
                  </a:lnTo>
                  <a:close/>
                  <a:moveTo>
                    <a:pt x="61" y="148"/>
                  </a:moveTo>
                  <a:lnTo>
                    <a:pt x="67" y="150"/>
                  </a:lnTo>
                  <a:lnTo>
                    <a:pt x="71" y="148"/>
                  </a:lnTo>
                  <a:lnTo>
                    <a:pt x="73" y="152"/>
                  </a:lnTo>
                  <a:lnTo>
                    <a:pt x="69" y="156"/>
                  </a:lnTo>
                  <a:lnTo>
                    <a:pt x="73" y="161"/>
                  </a:lnTo>
                  <a:lnTo>
                    <a:pt x="69" y="159"/>
                  </a:lnTo>
                  <a:lnTo>
                    <a:pt x="69" y="165"/>
                  </a:lnTo>
                  <a:lnTo>
                    <a:pt x="65" y="163"/>
                  </a:lnTo>
                  <a:lnTo>
                    <a:pt x="65" y="167"/>
                  </a:lnTo>
                  <a:lnTo>
                    <a:pt x="63" y="167"/>
                  </a:lnTo>
                  <a:lnTo>
                    <a:pt x="65" y="171"/>
                  </a:lnTo>
                  <a:lnTo>
                    <a:pt x="61" y="171"/>
                  </a:lnTo>
                  <a:lnTo>
                    <a:pt x="63" y="173"/>
                  </a:lnTo>
                  <a:lnTo>
                    <a:pt x="60" y="175"/>
                  </a:lnTo>
                  <a:lnTo>
                    <a:pt x="58" y="171"/>
                  </a:lnTo>
                  <a:lnTo>
                    <a:pt x="60" y="163"/>
                  </a:lnTo>
                  <a:lnTo>
                    <a:pt x="60" y="161"/>
                  </a:lnTo>
                  <a:lnTo>
                    <a:pt x="60" y="156"/>
                  </a:lnTo>
                  <a:lnTo>
                    <a:pt x="58" y="156"/>
                  </a:lnTo>
                  <a:lnTo>
                    <a:pt x="58" y="152"/>
                  </a:lnTo>
                  <a:lnTo>
                    <a:pt x="60" y="154"/>
                  </a:lnTo>
                  <a:lnTo>
                    <a:pt x="61" y="150"/>
                  </a:lnTo>
                  <a:lnTo>
                    <a:pt x="60" y="150"/>
                  </a:lnTo>
                  <a:lnTo>
                    <a:pt x="61" y="148"/>
                  </a:lnTo>
                  <a:close/>
                  <a:moveTo>
                    <a:pt x="69" y="136"/>
                  </a:moveTo>
                  <a:lnTo>
                    <a:pt x="73" y="138"/>
                  </a:lnTo>
                  <a:lnTo>
                    <a:pt x="73" y="140"/>
                  </a:lnTo>
                  <a:lnTo>
                    <a:pt x="69" y="138"/>
                  </a:lnTo>
                  <a:lnTo>
                    <a:pt x="69" y="136"/>
                  </a:lnTo>
                  <a:close/>
                  <a:moveTo>
                    <a:pt x="67" y="134"/>
                  </a:moveTo>
                  <a:lnTo>
                    <a:pt x="69" y="134"/>
                  </a:lnTo>
                  <a:lnTo>
                    <a:pt x="69" y="136"/>
                  </a:lnTo>
                  <a:lnTo>
                    <a:pt x="67" y="136"/>
                  </a:lnTo>
                  <a:lnTo>
                    <a:pt x="67" y="134"/>
                  </a:lnTo>
                  <a:close/>
                  <a:moveTo>
                    <a:pt x="81" y="136"/>
                  </a:moveTo>
                  <a:lnTo>
                    <a:pt x="79" y="142"/>
                  </a:lnTo>
                  <a:lnTo>
                    <a:pt x="77" y="142"/>
                  </a:lnTo>
                  <a:lnTo>
                    <a:pt x="79" y="136"/>
                  </a:lnTo>
                  <a:lnTo>
                    <a:pt x="81" y="136"/>
                  </a:lnTo>
                  <a:lnTo>
                    <a:pt x="81" y="134"/>
                  </a:lnTo>
                  <a:lnTo>
                    <a:pt x="81" y="136"/>
                  </a:lnTo>
                  <a:close/>
                  <a:moveTo>
                    <a:pt x="50" y="123"/>
                  </a:moveTo>
                  <a:lnTo>
                    <a:pt x="52" y="123"/>
                  </a:lnTo>
                  <a:lnTo>
                    <a:pt x="52" y="125"/>
                  </a:lnTo>
                  <a:lnTo>
                    <a:pt x="50" y="125"/>
                  </a:lnTo>
                  <a:lnTo>
                    <a:pt x="50" y="123"/>
                  </a:lnTo>
                  <a:close/>
                  <a:moveTo>
                    <a:pt x="56" y="96"/>
                  </a:moveTo>
                  <a:lnTo>
                    <a:pt x="56" y="98"/>
                  </a:lnTo>
                  <a:lnTo>
                    <a:pt x="56" y="96"/>
                  </a:lnTo>
                  <a:close/>
                  <a:moveTo>
                    <a:pt x="54" y="92"/>
                  </a:moveTo>
                  <a:lnTo>
                    <a:pt x="54" y="98"/>
                  </a:lnTo>
                  <a:lnTo>
                    <a:pt x="56" y="100"/>
                  </a:lnTo>
                  <a:lnTo>
                    <a:pt x="56" y="104"/>
                  </a:lnTo>
                  <a:lnTo>
                    <a:pt x="54" y="104"/>
                  </a:lnTo>
                  <a:lnTo>
                    <a:pt x="54" y="98"/>
                  </a:lnTo>
                  <a:lnTo>
                    <a:pt x="52" y="94"/>
                  </a:lnTo>
                  <a:lnTo>
                    <a:pt x="54" y="92"/>
                  </a:lnTo>
                  <a:close/>
                  <a:moveTo>
                    <a:pt x="54" y="88"/>
                  </a:moveTo>
                  <a:lnTo>
                    <a:pt x="56" y="88"/>
                  </a:lnTo>
                  <a:lnTo>
                    <a:pt x="56" y="90"/>
                  </a:lnTo>
                  <a:lnTo>
                    <a:pt x="54" y="90"/>
                  </a:lnTo>
                  <a:lnTo>
                    <a:pt x="54" y="88"/>
                  </a:lnTo>
                  <a:close/>
                  <a:moveTo>
                    <a:pt x="61" y="83"/>
                  </a:moveTo>
                  <a:lnTo>
                    <a:pt x="63" y="83"/>
                  </a:lnTo>
                  <a:lnTo>
                    <a:pt x="63" y="85"/>
                  </a:lnTo>
                  <a:lnTo>
                    <a:pt x="61" y="85"/>
                  </a:lnTo>
                  <a:lnTo>
                    <a:pt x="61" y="83"/>
                  </a:lnTo>
                  <a:close/>
                  <a:moveTo>
                    <a:pt x="75" y="83"/>
                  </a:moveTo>
                  <a:lnTo>
                    <a:pt x="77" y="83"/>
                  </a:lnTo>
                  <a:lnTo>
                    <a:pt x="75" y="86"/>
                  </a:lnTo>
                  <a:lnTo>
                    <a:pt x="77" y="86"/>
                  </a:lnTo>
                  <a:lnTo>
                    <a:pt x="81" y="94"/>
                  </a:lnTo>
                  <a:lnTo>
                    <a:pt x="79" y="98"/>
                  </a:lnTo>
                  <a:lnTo>
                    <a:pt x="81" y="100"/>
                  </a:lnTo>
                  <a:lnTo>
                    <a:pt x="83" y="104"/>
                  </a:lnTo>
                  <a:lnTo>
                    <a:pt x="83" y="106"/>
                  </a:lnTo>
                  <a:lnTo>
                    <a:pt x="81" y="111"/>
                  </a:lnTo>
                  <a:lnTo>
                    <a:pt x="81" y="117"/>
                  </a:lnTo>
                  <a:lnTo>
                    <a:pt x="83" y="123"/>
                  </a:lnTo>
                  <a:lnTo>
                    <a:pt x="83" y="127"/>
                  </a:lnTo>
                  <a:lnTo>
                    <a:pt x="81" y="129"/>
                  </a:lnTo>
                  <a:lnTo>
                    <a:pt x="79" y="127"/>
                  </a:lnTo>
                  <a:lnTo>
                    <a:pt x="79" y="129"/>
                  </a:lnTo>
                  <a:lnTo>
                    <a:pt x="79" y="131"/>
                  </a:lnTo>
                  <a:lnTo>
                    <a:pt x="81" y="131"/>
                  </a:lnTo>
                  <a:lnTo>
                    <a:pt x="77" y="133"/>
                  </a:lnTo>
                  <a:lnTo>
                    <a:pt x="77" y="138"/>
                  </a:lnTo>
                  <a:lnTo>
                    <a:pt x="75" y="136"/>
                  </a:lnTo>
                  <a:lnTo>
                    <a:pt x="73" y="133"/>
                  </a:lnTo>
                  <a:lnTo>
                    <a:pt x="71" y="133"/>
                  </a:lnTo>
                  <a:lnTo>
                    <a:pt x="69" y="133"/>
                  </a:lnTo>
                  <a:lnTo>
                    <a:pt x="67" y="129"/>
                  </a:lnTo>
                  <a:lnTo>
                    <a:pt x="69" y="133"/>
                  </a:lnTo>
                  <a:lnTo>
                    <a:pt x="75" y="136"/>
                  </a:lnTo>
                  <a:lnTo>
                    <a:pt x="71" y="136"/>
                  </a:lnTo>
                  <a:lnTo>
                    <a:pt x="71" y="134"/>
                  </a:lnTo>
                  <a:lnTo>
                    <a:pt x="63" y="134"/>
                  </a:lnTo>
                  <a:lnTo>
                    <a:pt x="63" y="131"/>
                  </a:lnTo>
                  <a:lnTo>
                    <a:pt x="63" y="134"/>
                  </a:lnTo>
                  <a:lnTo>
                    <a:pt x="67" y="134"/>
                  </a:lnTo>
                  <a:lnTo>
                    <a:pt x="67" y="136"/>
                  </a:lnTo>
                  <a:lnTo>
                    <a:pt x="69" y="138"/>
                  </a:lnTo>
                  <a:lnTo>
                    <a:pt x="67" y="138"/>
                  </a:lnTo>
                  <a:lnTo>
                    <a:pt x="71" y="142"/>
                  </a:lnTo>
                  <a:lnTo>
                    <a:pt x="73" y="144"/>
                  </a:lnTo>
                  <a:lnTo>
                    <a:pt x="75" y="146"/>
                  </a:lnTo>
                  <a:lnTo>
                    <a:pt x="73" y="144"/>
                  </a:lnTo>
                  <a:lnTo>
                    <a:pt x="73" y="146"/>
                  </a:lnTo>
                  <a:lnTo>
                    <a:pt x="67" y="148"/>
                  </a:lnTo>
                  <a:lnTo>
                    <a:pt x="61" y="146"/>
                  </a:lnTo>
                  <a:lnTo>
                    <a:pt x="60" y="150"/>
                  </a:lnTo>
                  <a:lnTo>
                    <a:pt x="58" y="148"/>
                  </a:lnTo>
                  <a:lnTo>
                    <a:pt x="56" y="150"/>
                  </a:lnTo>
                  <a:lnTo>
                    <a:pt x="52" y="146"/>
                  </a:lnTo>
                  <a:lnTo>
                    <a:pt x="54" y="142"/>
                  </a:lnTo>
                  <a:lnTo>
                    <a:pt x="52" y="136"/>
                  </a:lnTo>
                  <a:lnTo>
                    <a:pt x="54" y="133"/>
                  </a:lnTo>
                  <a:lnTo>
                    <a:pt x="54" y="131"/>
                  </a:lnTo>
                  <a:lnTo>
                    <a:pt x="54" y="129"/>
                  </a:lnTo>
                  <a:lnTo>
                    <a:pt x="52" y="125"/>
                  </a:lnTo>
                  <a:lnTo>
                    <a:pt x="54" y="117"/>
                  </a:lnTo>
                  <a:lnTo>
                    <a:pt x="52" y="115"/>
                  </a:lnTo>
                  <a:lnTo>
                    <a:pt x="54" y="115"/>
                  </a:lnTo>
                  <a:lnTo>
                    <a:pt x="54" y="111"/>
                  </a:lnTo>
                  <a:lnTo>
                    <a:pt x="56" y="113"/>
                  </a:lnTo>
                  <a:lnTo>
                    <a:pt x="60" y="110"/>
                  </a:lnTo>
                  <a:lnTo>
                    <a:pt x="61" y="110"/>
                  </a:lnTo>
                  <a:lnTo>
                    <a:pt x="61" y="115"/>
                  </a:lnTo>
                  <a:lnTo>
                    <a:pt x="63" y="108"/>
                  </a:lnTo>
                  <a:lnTo>
                    <a:pt x="63" y="106"/>
                  </a:lnTo>
                  <a:lnTo>
                    <a:pt x="61" y="104"/>
                  </a:lnTo>
                  <a:lnTo>
                    <a:pt x="61" y="106"/>
                  </a:lnTo>
                  <a:lnTo>
                    <a:pt x="60" y="110"/>
                  </a:lnTo>
                  <a:lnTo>
                    <a:pt x="56" y="108"/>
                  </a:lnTo>
                  <a:lnTo>
                    <a:pt x="56" y="106"/>
                  </a:lnTo>
                  <a:lnTo>
                    <a:pt x="58" y="106"/>
                  </a:lnTo>
                  <a:lnTo>
                    <a:pt x="58" y="104"/>
                  </a:lnTo>
                  <a:lnTo>
                    <a:pt x="56" y="96"/>
                  </a:lnTo>
                  <a:lnTo>
                    <a:pt x="56" y="92"/>
                  </a:lnTo>
                  <a:lnTo>
                    <a:pt x="56" y="90"/>
                  </a:lnTo>
                  <a:lnTo>
                    <a:pt x="58" y="94"/>
                  </a:lnTo>
                  <a:lnTo>
                    <a:pt x="60" y="88"/>
                  </a:lnTo>
                  <a:lnTo>
                    <a:pt x="61" y="94"/>
                  </a:lnTo>
                  <a:lnTo>
                    <a:pt x="61" y="88"/>
                  </a:lnTo>
                  <a:lnTo>
                    <a:pt x="61" y="90"/>
                  </a:lnTo>
                  <a:lnTo>
                    <a:pt x="63" y="85"/>
                  </a:lnTo>
                  <a:lnTo>
                    <a:pt x="65" y="85"/>
                  </a:lnTo>
                  <a:lnTo>
                    <a:pt x="67" y="86"/>
                  </a:lnTo>
                  <a:lnTo>
                    <a:pt x="69" y="85"/>
                  </a:lnTo>
                  <a:lnTo>
                    <a:pt x="69" y="86"/>
                  </a:lnTo>
                  <a:lnTo>
                    <a:pt x="71" y="86"/>
                  </a:lnTo>
                  <a:lnTo>
                    <a:pt x="71" y="85"/>
                  </a:lnTo>
                  <a:lnTo>
                    <a:pt x="73" y="85"/>
                  </a:lnTo>
                  <a:lnTo>
                    <a:pt x="75" y="85"/>
                  </a:lnTo>
                  <a:lnTo>
                    <a:pt x="75" y="81"/>
                  </a:lnTo>
                  <a:lnTo>
                    <a:pt x="75" y="83"/>
                  </a:lnTo>
                  <a:close/>
                  <a:moveTo>
                    <a:pt x="71" y="81"/>
                  </a:moveTo>
                  <a:lnTo>
                    <a:pt x="73" y="81"/>
                  </a:lnTo>
                  <a:lnTo>
                    <a:pt x="73" y="83"/>
                  </a:lnTo>
                  <a:lnTo>
                    <a:pt x="71" y="83"/>
                  </a:lnTo>
                  <a:lnTo>
                    <a:pt x="71" y="81"/>
                  </a:lnTo>
                  <a:close/>
                  <a:moveTo>
                    <a:pt x="52" y="73"/>
                  </a:moveTo>
                  <a:lnTo>
                    <a:pt x="56" y="75"/>
                  </a:lnTo>
                  <a:lnTo>
                    <a:pt x="56" y="85"/>
                  </a:lnTo>
                  <a:lnTo>
                    <a:pt x="54" y="86"/>
                  </a:lnTo>
                  <a:lnTo>
                    <a:pt x="56" y="86"/>
                  </a:lnTo>
                  <a:lnTo>
                    <a:pt x="54" y="90"/>
                  </a:lnTo>
                  <a:lnTo>
                    <a:pt x="50" y="90"/>
                  </a:lnTo>
                  <a:lnTo>
                    <a:pt x="52" y="92"/>
                  </a:lnTo>
                  <a:lnTo>
                    <a:pt x="50" y="96"/>
                  </a:lnTo>
                  <a:lnTo>
                    <a:pt x="48" y="88"/>
                  </a:lnTo>
                  <a:lnTo>
                    <a:pt x="52" y="79"/>
                  </a:lnTo>
                  <a:lnTo>
                    <a:pt x="50" y="77"/>
                  </a:lnTo>
                  <a:lnTo>
                    <a:pt x="52" y="73"/>
                  </a:lnTo>
                  <a:close/>
                  <a:moveTo>
                    <a:pt x="86" y="73"/>
                  </a:moveTo>
                  <a:lnTo>
                    <a:pt x="83" y="77"/>
                  </a:lnTo>
                  <a:lnTo>
                    <a:pt x="84" y="81"/>
                  </a:lnTo>
                  <a:lnTo>
                    <a:pt x="81" y="79"/>
                  </a:lnTo>
                  <a:lnTo>
                    <a:pt x="83" y="79"/>
                  </a:lnTo>
                  <a:lnTo>
                    <a:pt x="81" y="77"/>
                  </a:lnTo>
                  <a:lnTo>
                    <a:pt x="81" y="75"/>
                  </a:lnTo>
                  <a:lnTo>
                    <a:pt x="83" y="77"/>
                  </a:lnTo>
                  <a:lnTo>
                    <a:pt x="84" y="73"/>
                  </a:lnTo>
                  <a:lnTo>
                    <a:pt x="86" y="73"/>
                  </a:lnTo>
                  <a:close/>
                  <a:moveTo>
                    <a:pt x="77" y="71"/>
                  </a:moveTo>
                  <a:lnTo>
                    <a:pt x="79" y="71"/>
                  </a:lnTo>
                  <a:lnTo>
                    <a:pt x="79" y="73"/>
                  </a:lnTo>
                  <a:lnTo>
                    <a:pt x="77" y="73"/>
                  </a:lnTo>
                  <a:lnTo>
                    <a:pt x="77" y="71"/>
                  </a:lnTo>
                  <a:close/>
                  <a:moveTo>
                    <a:pt x="54" y="63"/>
                  </a:moveTo>
                  <a:lnTo>
                    <a:pt x="56" y="63"/>
                  </a:lnTo>
                  <a:lnTo>
                    <a:pt x="56" y="65"/>
                  </a:lnTo>
                  <a:lnTo>
                    <a:pt x="54" y="65"/>
                  </a:lnTo>
                  <a:lnTo>
                    <a:pt x="54" y="63"/>
                  </a:lnTo>
                  <a:close/>
                  <a:moveTo>
                    <a:pt x="86" y="37"/>
                  </a:moveTo>
                  <a:lnTo>
                    <a:pt x="88" y="37"/>
                  </a:lnTo>
                  <a:lnTo>
                    <a:pt x="88" y="40"/>
                  </a:lnTo>
                  <a:lnTo>
                    <a:pt x="86" y="40"/>
                  </a:lnTo>
                  <a:lnTo>
                    <a:pt x="86" y="37"/>
                  </a:lnTo>
                  <a:close/>
                  <a:moveTo>
                    <a:pt x="67" y="25"/>
                  </a:moveTo>
                  <a:lnTo>
                    <a:pt x="69" y="25"/>
                  </a:lnTo>
                  <a:lnTo>
                    <a:pt x="69" y="27"/>
                  </a:lnTo>
                  <a:lnTo>
                    <a:pt x="67" y="27"/>
                  </a:lnTo>
                  <a:lnTo>
                    <a:pt x="67" y="25"/>
                  </a:lnTo>
                  <a:close/>
                  <a:moveTo>
                    <a:pt x="221" y="23"/>
                  </a:moveTo>
                  <a:lnTo>
                    <a:pt x="223" y="23"/>
                  </a:lnTo>
                  <a:lnTo>
                    <a:pt x="223" y="27"/>
                  </a:lnTo>
                  <a:lnTo>
                    <a:pt x="221" y="27"/>
                  </a:lnTo>
                  <a:lnTo>
                    <a:pt x="221" y="23"/>
                  </a:lnTo>
                  <a:close/>
                  <a:moveTo>
                    <a:pt x="88" y="12"/>
                  </a:moveTo>
                  <a:lnTo>
                    <a:pt x="90" y="15"/>
                  </a:lnTo>
                  <a:lnTo>
                    <a:pt x="90" y="23"/>
                  </a:lnTo>
                  <a:lnTo>
                    <a:pt x="88" y="23"/>
                  </a:lnTo>
                  <a:lnTo>
                    <a:pt x="90" y="23"/>
                  </a:lnTo>
                  <a:lnTo>
                    <a:pt x="90" y="25"/>
                  </a:lnTo>
                  <a:lnTo>
                    <a:pt x="88" y="27"/>
                  </a:lnTo>
                  <a:lnTo>
                    <a:pt x="90" y="27"/>
                  </a:lnTo>
                  <a:lnTo>
                    <a:pt x="90" y="29"/>
                  </a:lnTo>
                  <a:lnTo>
                    <a:pt x="92" y="27"/>
                  </a:lnTo>
                  <a:lnTo>
                    <a:pt x="92" y="29"/>
                  </a:lnTo>
                  <a:lnTo>
                    <a:pt x="94" y="29"/>
                  </a:lnTo>
                  <a:lnTo>
                    <a:pt x="90" y="33"/>
                  </a:lnTo>
                  <a:lnTo>
                    <a:pt x="88" y="33"/>
                  </a:lnTo>
                  <a:lnTo>
                    <a:pt x="90" y="33"/>
                  </a:lnTo>
                  <a:lnTo>
                    <a:pt x="92" y="31"/>
                  </a:lnTo>
                  <a:lnTo>
                    <a:pt x="96" y="37"/>
                  </a:lnTo>
                  <a:lnTo>
                    <a:pt x="92" y="40"/>
                  </a:lnTo>
                  <a:lnTo>
                    <a:pt x="92" y="37"/>
                  </a:lnTo>
                  <a:lnTo>
                    <a:pt x="90" y="38"/>
                  </a:lnTo>
                  <a:lnTo>
                    <a:pt x="90" y="33"/>
                  </a:lnTo>
                  <a:lnTo>
                    <a:pt x="90" y="35"/>
                  </a:lnTo>
                  <a:lnTo>
                    <a:pt x="86" y="35"/>
                  </a:lnTo>
                  <a:lnTo>
                    <a:pt x="84" y="37"/>
                  </a:lnTo>
                  <a:lnTo>
                    <a:pt x="83" y="35"/>
                  </a:lnTo>
                  <a:lnTo>
                    <a:pt x="81" y="37"/>
                  </a:lnTo>
                  <a:lnTo>
                    <a:pt x="86" y="38"/>
                  </a:lnTo>
                  <a:lnTo>
                    <a:pt x="84" y="40"/>
                  </a:lnTo>
                  <a:lnTo>
                    <a:pt x="86" y="38"/>
                  </a:lnTo>
                  <a:lnTo>
                    <a:pt x="86" y="40"/>
                  </a:lnTo>
                  <a:lnTo>
                    <a:pt x="88" y="40"/>
                  </a:lnTo>
                  <a:lnTo>
                    <a:pt x="86" y="42"/>
                  </a:lnTo>
                  <a:lnTo>
                    <a:pt x="90" y="42"/>
                  </a:lnTo>
                  <a:lnTo>
                    <a:pt x="90" y="44"/>
                  </a:lnTo>
                  <a:lnTo>
                    <a:pt x="92" y="44"/>
                  </a:lnTo>
                  <a:lnTo>
                    <a:pt x="90" y="48"/>
                  </a:lnTo>
                  <a:lnTo>
                    <a:pt x="88" y="54"/>
                  </a:lnTo>
                  <a:lnTo>
                    <a:pt x="90" y="54"/>
                  </a:lnTo>
                  <a:lnTo>
                    <a:pt x="90" y="63"/>
                  </a:lnTo>
                  <a:lnTo>
                    <a:pt x="86" y="69"/>
                  </a:lnTo>
                  <a:lnTo>
                    <a:pt x="83" y="69"/>
                  </a:lnTo>
                  <a:lnTo>
                    <a:pt x="83" y="71"/>
                  </a:lnTo>
                  <a:lnTo>
                    <a:pt x="79" y="69"/>
                  </a:lnTo>
                  <a:lnTo>
                    <a:pt x="79" y="63"/>
                  </a:lnTo>
                  <a:lnTo>
                    <a:pt x="77" y="67"/>
                  </a:lnTo>
                  <a:lnTo>
                    <a:pt x="75" y="63"/>
                  </a:lnTo>
                  <a:lnTo>
                    <a:pt x="77" y="65"/>
                  </a:lnTo>
                  <a:lnTo>
                    <a:pt x="73" y="67"/>
                  </a:lnTo>
                  <a:lnTo>
                    <a:pt x="77" y="67"/>
                  </a:lnTo>
                  <a:lnTo>
                    <a:pt x="75" y="71"/>
                  </a:lnTo>
                  <a:lnTo>
                    <a:pt x="75" y="73"/>
                  </a:lnTo>
                  <a:lnTo>
                    <a:pt x="79" y="75"/>
                  </a:lnTo>
                  <a:lnTo>
                    <a:pt x="79" y="77"/>
                  </a:lnTo>
                  <a:lnTo>
                    <a:pt x="77" y="79"/>
                  </a:lnTo>
                  <a:lnTo>
                    <a:pt x="75" y="75"/>
                  </a:lnTo>
                  <a:lnTo>
                    <a:pt x="75" y="73"/>
                  </a:lnTo>
                  <a:lnTo>
                    <a:pt x="73" y="75"/>
                  </a:lnTo>
                  <a:lnTo>
                    <a:pt x="73" y="79"/>
                  </a:lnTo>
                  <a:lnTo>
                    <a:pt x="71" y="81"/>
                  </a:lnTo>
                  <a:lnTo>
                    <a:pt x="69" y="81"/>
                  </a:lnTo>
                  <a:lnTo>
                    <a:pt x="71" y="83"/>
                  </a:lnTo>
                  <a:lnTo>
                    <a:pt x="73" y="83"/>
                  </a:lnTo>
                  <a:lnTo>
                    <a:pt x="71" y="85"/>
                  </a:lnTo>
                  <a:lnTo>
                    <a:pt x="71" y="86"/>
                  </a:lnTo>
                  <a:lnTo>
                    <a:pt x="69" y="86"/>
                  </a:lnTo>
                  <a:lnTo>
                    <a:pt x="69" y="85"/>
                  </a:lnTo>
                  <a:lnTo>
                    <a:pt x="67" y="85"/>
                  </a:lnTo>
                  <a:lnTo>
                    <a:pt x="63" y="83"/>
                  </a:lnTo>
                  <a:lnTo>
                    <a:pt x="63" y="75"/>
                  </a:lnTo>
                  <a:lnTo>
                    <a:pt x="65" y="75"/>
                  </a:lnTo>
                  <a:lnTo>
                    <a:pt x="65" y="73"/>
                  </a:lnTo>
                  <a:lnTo>
                    <a:pt x="67" y="71"/>
                  </a:lnTo>
                  <a:lnTo>
                    <a:pt x="63" y="71"/>
                  </a:lnTo>
                  <a:lnTo>
                    <a:pt x="63" y="63"/>
                  </a:lnTo>
                  <a:lnTo>
                    <a:pt x="65" y="65"/>
                  </a:lnTo>
                  <a:lnTo>
                    <a:pt x="65" y="62"/>
                  </a:lnTo>
                  <a:lnTo>
                    <a:pt x="67" y="63"/>
                  </a:lnTo>
                  <a:lnTo>
                    <a:pt x="67" y="62"/>
                  </a:lnTo>
                  <a:lnTo>
                    <a:pt x="65" y="60"/>
                  </a:lnTo>
                  <a:lnTo>
                    <a:pt x="69" y="60"/>
                  </a:lnTo>
                  <a:lnTo>
                    <a:pt x="69" y="58"/>
                  </a:lnTo>
                  <a:lnTo>
                    <a:pt x="65" y="56"/>
                  </a:lnTo>
                  <a:lnTo>
                    <a:pt x="65" y="54"/>
                  </a:lnTo>
                  <a:lnTo>
                    <a:pt x="67" y="54"/>
                  </a:lnTo>
                  <a:lnTo>
                    <a:pt x="65" y="54"/>
                  </a:lnTo>
                  <a:lnTo>
                    <a:pt x="67" y="48"/>
                  </a:lnTo>
                  <a:lnTo>
                    <a:pt x="69" y="46"/>
                  </a:lnTo>
                  <a:lnTo>
                    <a:pt x="69" y="44"/>
                  </a:lnTo>
                  <a:lnTo>
                    <a:pt x="67" y="42"/>
                  </a:lnTo>
                  <a:lnTo>
                    <a:pt x="69" y="40"/>
                  </a:lnTo>
                  <a:lnTo>
                    <a:pt x="67" y="38"/>
                  </a:lnTo>
                  <a:lnTo>
                    <a:pt x="69" y="33"/>
                  </a:lnTo>
                  <a:lnTo>
                    <a:pt x="71" y="31"/>
                  </a:lnTo>
                  <a:lnTo>
                    <a:pt x="69" y="29"/>
                  </a:lnTo>
                  <a:lnTo>
                    <a:pt x="71" y="29"/>
                  </a:lnTo>
                  <a:lnTo>
                    <a:pt x="71" y="27"/>
                  </a:lnTo>
                  <a:lnTo>
                    <a:pt x="73" y="27"/>
                  </a:lnTo>
                  <a:lnTo>
                    <a:pt x="73" y="21"/>
                  </a:lnTo>
                  <a:lnTo>
                    <a:pt x="79" y="19"/>
                  </a:lnTo>
                  <a:lnTo>
                    <a:pt x="77" y="15"/>
                  </a:lnTo>
                  <a:lnTo>
                    <a:pt x="83" y="13"/>
                  </a:lnTo>
                  <a:lnTo>
                    <a:pt x="84" y="15"/>
                  </a:lnTo>
                  <a:lnTo>
                    <a:pt x="84" y="12"/>
                  </a:lnTo>
                  <a:lnTo>
                    <a:pt x="86" y="13"/>
                  </a:lnTo>
                  <a:lnTo>
                    <a:pt x="88" y="12"/>
                  </a:lnTo>
                  <a:close/>
                  <a:moveTo>
                    <a:pt x="73" y="8"/>
                  </a:moveTo>
                  <a:lnTo>
                    <a:pt x="75" y="8"/>
                  </a:lnTo>
                  <a:lnTo>
                    <a:pt x="75" y="10"/>
                  </a:lnTo>
                  <a:lnTo>
                    <a:pt x="73" y="10"/>
                  </a:lnTo>
                  <a:lnTo>
                    <a:pt x="73" y="8"/>
                  </a:lnTo>
                  <a:close/>
                  <a:moveTo>
                    <a:pt x="90" y="2"/>
                  </a:moveTo>
                  <a:lnTo>
                    <a:pt x="94" y="2"/>
                  </a:lnTo>
                  <a:lnTo>
                    <a:pt x="94" y="6"/>
                  </a:lnTo>
                  <a:lnTo>
                    <a:pt x="90" y="6"/>
                  </a:lnTo>
                  <a:lnTo>
                    <a:pt x="90" y="2"/>
                  </a:lnTo>
                  <a:close/>
                  <a:moveTo>
                    <a:pt x="88" y="0"/>
                  </a:moveTo>
                  <a:lnTo>
                    <a:pt x="88" y="6"/>
                  </a:lnTo>
                  <a:lnTo>
                    <a:pt x="84" y="2"/>
                  </a:lnTo>
                  <a:lnTo>
                    <a:pt x="88"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27" name="Freeform 19">
              <a:extLst>
                <a:ext uri="{FF2B5EF4-FFF2-40B4-BE49-F238E27FC236}">
                  <a16:creationId xmlns:a16="http://schemas.microsoft.com/office/drawing/2014/main" id="{B9051A39-A1D2-4BF1-AC06-BEBB1FE6DE4E}"/>
                </a:ext>
              </a:extLst>
            </p:cNvPr>
            <p:cNvSpPr>
              <a:spLocks/>
            </p:cNvSpPr>
            <p:nvPr/>
          </p:nvSpPr>
          <p:spPr bwMode="gray">
            <a:xfrm>
              <a:off x="4976814" y="4162427"/>
              <a:ext cx="785813" cy="704851"/>
            </a:xfrm>
            <a:custGeom>
              <a:avLst/>
              <a:gdLst>
                <a:gd name="T0" fmla="*/ 30 w 495"/>
                <a:gd name="T1" fmla="*/ 401 h 444"/>
                <a:gd name="T2" fmla="*/ 30 w 495"/>
                <a:gd name="T3" fmla="*/ 384 h 444"/>
                <a:gd name="T4" fmla="*/ 7 w 495"/>
                <a:gd name="T5" fmla="*/ 371 h 444"/>
                <a:gd name="T6" fmla="*/ 27 w 495"/>
                <a:gd name="T7" fmla="*/ 355 h 444"/>
                <a:gd name="T8" fmla="*/ 25 w 495"/>
                <a:gd name="T9" fmla="*/ 336 h 444"/>
                <a:gd name="T10" fmla="*/ 19 w 495"/>
                <a:gd name="T11" fmla="*/ 296 h 444"/>
                <a:gd name="T12" fmla="*/ 27 w 495"/>
                <a:gd name="T13" fmla="*/ 277 h 444"/>
                <a:gd name="T14" fmla="*/ 40 w 495"/>
                <a:gd name="T15" fmla="*/ 267 h 444"/>
                <a:gd name="T16" fmla="*/ 48 w 495"/>
                <a:gd name="T17" fmla="*/ 259 h 444"/>
                <a:gd name="T18" fmla="*/ 27 w 495"/>
                <a:gd name="T19" fmla="*/ 248 h 444"/>
                <a:gd name="T20" fmla="*/ 38 w 495"/>
                <a:gd name="T21" fmla="*/ 229 h 444"/>
                <a:gd name="T22" fmla="*/ 48 w 495"/>
                <a:gd name="T23" fmla="*/ 207 h 444"/>
                <a:gd name="T24" fmla="*/ 44 w 495"/>
                <a:gd name="T25" fmla="*/ 192 h 444"/>
                <a:gd name="T26" fmla="*/ 40 w 495"/>
                <a:gd name="T27" fmla="*/ 163 h 444"/>
                <a:gd name="T28" fmla="*/ 44 w 495"/>
                <a:gd name="T29" fmla="*/ 156 h 444"/>
                <a:gd name="T30" fmla="*/ 59 w 495"/>
                <a:gd name="T31" fmla="*/ 136 h 444"/>
                <a:gd name="T32" fmla="*/ 76 w 495"/>
                <a:gd name="T33" fmla="*/ 109 h 444"/>
                <a:gd name="T34" fmla="*/ 67 w 495"/>
                <a:gd name="T35" fmla="*/ 94 h 444"/>
                <a:gd name="T36" fmla="*/ 76 w 495"/>
                <a:gd name="T37" fmla="*/ 69 h 444"/>
                <a:gd name="T38" fmla="*/ 109 w 495"/>
                <a:gd name="T39" fmla="*/ 73 h 444"/>
                <a:gd name="T40" fmla="*/ 121 w 495"/>
                <a:gd name="T41" fmla="*/ 38 h 444"/>
                <a:gd name="T42" fmla="*/ 128 w 495"/>
                <a:gd name="T43" fmla="*/ 8 h 444"/>
                <a:gd name="T44" fmla="*/ 142 w 495"/>
                <a:gd name="T45" fmla="*/ 12 h 444"/>
                <a:gd name="T46" fmla="*/ 174 w 495"/>
                <a:gd name="T47" fmla="*/ 15 h 444"/>
                <a:gd name="T48" fmla="*/ 195 w 495"/>
                <a:gd name="T49" fmla="*/ 36 h 444"/>
                <a:gd name="T50" fmla="*/ 220 w 495"/>
                <a:gd name="T51" fmla="*/ 48 h 444"/>
                <a:gd name="T52" fmla="*/ 242 w 495"/>
                <a:gd name="T53" fmla="*/ 40 h 444"/>
                <a:gd name="T54" fmla="*/ 265 w 495"/>
                <a:gd name="T55" fmla="*/ 36 h 444"/>
                <a:gd name="T56" fmla="*/ 299 w 495"/>
                <a:gd name="T57" fmla="*/ 63 h 444"/>
                <a:gd name="T58" fmla="*/ 295 w 495"/>
                <a:gd name="T59" fmla="*/ 94 h 444"/>
                <a:gd name="T60" fmla="*/ 297 w 495"/>
                <a:gd name="T61" fmla="*/ 123 h 444"/>
                <a:gd name="T62" fmla="*/ 332 w 495"/>
                <a:gd name="T63" fmla="*/ 129 h 444"/>
                <a:gd name="T64" fmla="*/ 361 w 495"/>
                <a:gd name="T65" fmla="*/ 144 h 444"/>
                <a:gd name="T66" fmla="*/ 380 w 495"/>
                <a:gd name="T67" fmla="*/ 169 h 444"/>
                <a:gd name="T68" fmla="*/ 395 w 495"/>
                <a:gd name="T69" fmla="*/ 186 h 444"/>
                <a:gd name="T70" fmla="*/ 405 w 495"/>
                <a:gd name="T71" fmla="*/ 204 h 444"/>
                <a:gd name="T72" fmla="*/ 426 w 495"/>
                <a:gd name="T73" fmla="*/ 223 h 444"/>
                <a:gd name="T74" fmla="*/ 470 w 495"/>
                <a:gd name="T75" fmla="*/ 227 h 444"/>
                <a:gd name="T76" fmla="*/ 487 w 495"/>
                <a:gd name="T77" fmla="*/ 227 h 444"/>
                <a:gd name="T78" fmla="*/ 464 w 495"/>
                <a:gd name="T79" fmla="*/ 254 h 444"/>
                <a:gd name="T80" fmla="*/ 443 w 495"/>
                <a:gd name="T81" fmla="*/ 275 h 444"/>
                <a:gd name="T82" fmla="*/ 412 w 495"/>
                <a:gd name="T83" fmla="*/ 292 h 444"/>
                <a:gd name="T84" fmla="*/ 389 w 495"/>
                <a:gd name="T85" fmla="*/ 313 h 444"/>
                <a:gd name="T86" fmla="*/ 368 w 495"/>
                <a:gd name="T87" fmla="*/ 303 h 444"/>
                <a:gd name="T88" fmla="*/ 343 w 495"/>
                <a:gd name="T89" fmla="*/ 315 h 444"/>
                <a:gd name="T90" fmla="*/ 361 w 495"/>
                <a:gd name="T91" fmla="*/ 327 h 444"/>
                <a:gd name="T92" fmla="*/ 347 w 495"/>
                <a:gd name="T93" fmla="*/ 336 h 444"/>
                <a:gd name="T94" fmla="*/ 330 w 495"/>
                <a:gd name="T95" fmla="*/ 317 h 444"/>
                <a:gd name="T96" fmla="*/ 305 w 495"/>
                <a:gd name="T97" fmla="*/ 321 h 444"/>
                <a:gd name="T98" fmla="*/ 293 w 495"/>
                <a:gd name="T99" fmla="*/ 355 h 444"/>
                <a:gd name="T100" fmla="*/ 261 w 495"/>
                <a:gd name="T101" fmla="*/ 350 h 444"/>
                <a:gd name="T102" fmla="*/ 218 w 495"/>
                <a:gd name="T103" fmla="*/ 363 h 444"/>
                <a:gd name="T104" fmla="*/ 205 w 495"/>
                <a:gd name="T105" fmla="*/ 403 h 444"/>
                <a:gd name="T106" fmla="*/ 178 w 495"/>
                <a:gd name="T107" fmla="*/ 415 h 444"/>
                <a:gd name="T108" fmla="*/ 147 w 495"/>
                <a:gd name="T109" fmla="*/ 415 h 444"/>
                <a:gd name="T110" fmla="*/ 109 w 495"/>
                <a:gd name="T111" fmla="*/ 426 h 444"/>
                <a:gd name="T112" fmla="*/ 86 w 495"/>
                <a:gd name="T113" fmla="*/ 436 h 444"/>
                <a:gd name="T114" fmla="*/ 51 w 495"/>
                <a:gd name="T115" fmla="*/ 436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 h="444">
                  <a:moveTo>
                    <a:pt x="28" y="434"/>
                  </a:moveTo>
                  <a:lnTo>
                    <a:pt x="28" y="428"/>
                  </a:lnTo>
                  <a:lnTo>
                    <a:pt x="27" y="421"/>
                  </a:lnTo>
                  <a:lnTo>
                    <a:pt x="28" y="413"/>
                  </a:lnTo>
                  <a:lnTo>
                    <a:pt x="27" y="413"/>
                  </a:lnTo>
                  <a:lnTo>
                    <a:pt x="27" y="407"/>
                  </a:lnTo>
                  <a:lnTo>
                    <a:pt x="28" y="401"/>
                  </a:lnTo>
                  <a:lnTo>
                    <a:pt x="30" y="401"/>
                  </a:lnTo>
                  <a:lnTo>
                    <a:pt x="27" y="400"/>
                  </a:lnTo>
                  <a:lnTo>
                    <a:pt x="27" y="398"/>
                  </a:lnTo>
                  <a:lnTo>
                    <a:pt x="28" y="396"/>
                  </a:lnTo>
                  <a:lnTo>
                    <a:pt x="32" y="396"/>
                  </a:lnTo>
                  <a:lnTo>
                    <a:pt x="34" y="392"/>
                  </a:lnTo>
                  <a:lnTo>
                    <a:pt x="38" y="394"/>
                  </a:lnTo>
                  <a:lnTo>
                    <a:pt x="38" y="390"/>
                  </a:lnTo>
                  <a:lnTo>
                    <a:pt x="30" y="384"/>
                  </a:lnTo>
                  <a:lnTo>
                    <a:pt x="25" y="384"/>
                  </a:lnTo>
                  <a:lnTo>
                    <a:pt x="19" y="386"/>
                  </a:lnTo>
                  <a:lnTo>
                    <a:pt x="15" y="384"/>
                  </a:lnTo>
                  <a:lnTo>
                    <a:pt x="7" y="382"/>
                  </a:lnTo>
                  <a:lnTo>
                    <a:pt x="5" y="380"/>
                  </a:lnTo>
                  <a:lnTo>
                    <a:pt x="0" y="375"/>
                  </a:lnTo>
                  <a:lnTo>
                    <a:pt x="5" y="375"/>
                  </a:lnTo>
                  <a:lnTo>
                    <a:pt x="7" y="371"/>
                  </a:lnTo>
                  <a:lnTo>
                    <a:pt x="15" y="373"/>
                  </a:lnTo>
                  <a:lnTo>
                    <a:pt x="15" y="371"/>
                  </a:lnTo>
                  <a:lnTo>
                    <a:pt x="19" y="369"/>
                  </a:lnTo>
                  <a:lnTo>
                    <a:pt x="21" y="365"/>
                  </a:lnTo>
                  <a:lnTo>
                    <a:pt x="17" y="363"/>
                  </a:lnTo>
                  <a:lnTo>
                    <a:pt x="25" y="361"/>
                  </a:lnTo>
                  <a:lnTo>
                    <a:pt x="25" y="357"/>
                  </a:lnTo>
                  <a:lnTo>
                    <a:pt x="27" y="355"/>
                  </a:lnTo>
                  <a:lnTo>
                    <a:pt x="23" y="355"/>
                  </a:lnTo>
                  <a:lnTo>
                    <a:pt x="21" y="353"/>
                  </a:lnTo>
                  <a:lnTo>
                    <a:pt x="25" y="351"/>
                  </a:lnTo>
                  <a:lnTo>
                    <a:pt x="27" y="348"/>
                  </a:lnTo>
                  <a:lnTo>
                    <a:pt x="21" y="348"/>
                  </a:lnTo>
                  <a:lnTo>
                    <a:pt x="23" y="340"/>
                  </a:lnTo>
                  <a:lnTo>
                    <a:pt x="27" y="340"/>
                  </a:lnTo>
                  <a:lnTo>
                    <a:pt x="25" y="336"/>
                  </a:lnTo>
                  <a:lnTo>
                    <a:pt x="25" y="327"/>
                  </a:lnTo>
                  <a:lnTo>
                    <a:pt x="27" y="317"/>
                  </a:lnTo>
                  <a:lnTo>
                    <a:pt x="30" y="315"/>
                  </a:lnTo>
                  <a:lnTo>
                    <a:pt x="27" y="305"/>
                  </a:lnTo>
                  <a:lnTo>
                    <a:pt x="21" y="303"/>
                  </a:lnTo>
                  <a:lnTo>
                    <a:pt x="17" y="300"/>
                  </a:lnTo>
                  <a:lnTo>
                    <a:pt x="17" y="296"/>
                  </a:lnTo>
                  <a:lnTo>
                    <a:pt x="19" y="296"/>
                  </a:lnTo>
                  <a:lnTo>
                    <a:pt x="19" y="294"/>
                  </a:lnTo>
                  <a:lnTo>
                    <a:pt x="17" y="292"/>
                  </a:lnTo>
                  <a:lnTo>
                    <a:pt x="21" y="290"/>
                  </a:lnTo>
                  <a:lnTo>
                    <a:pt x="21" y="292"/>
                  </a:lnTo>
                  <a:lnTo>
                    <a:pt x="23" y="288"/>
                  </a:lnTo>
                  <a:lnTo>
                    <a:pt x="27" y="286"/>
                  </a:lnTo>
                  <a:lnTo>
                    <a:pt x="25" y="284"/>
                  </a:lnTo>
                  <a:lnTo>
                    <a:pt x="27" y="277"/>
                  </a:lnTo>
                  <a:lnTo>
                    <a:pt x="30" y="279"/>
                  </a:lnTo>
                  <a:lnTo>
                    <a:pt x="34" y="277"/>
                  </a:lnTo>
                  <a:lnTo>
                    <a:pt x="34" y="275"/>
                  </a:lnTo>
                  <a:lnTo>
                    <a:pt x="34" y="273"/>
                  </a:lnTo>
                  <a:lnTo>
                    <a:pt x="32" y="271"/>
                  </a:lnTo>
                  <a:lnTo>
                    <a:pt x="34" y="269"/>
                  </a:lnTo>
                  <a:lnTo>
                    <a:pt x="38" y="269"/>
                  </a:lnTo>
                  <a:lnTo>
                    <a:pt x="40" y="267"/>
                  </a:lnTo>
                  <a:lnTo>
                    <a:pt x="44" y="269"/>
                  </a:lnTo>
                  <a:lnTo>
                    <a:pt x="44" y="265"/>
                  </a:lnTo>
                  <a:lnTo>
                    <a:pt x="46" y="265"/>
                  </a:lnTo>
                  <a:lnTo>
                    <a:pt x="48" y="261"/>
                  </a:lnTo>
                  <a:lnTo>
                    <a:pt x="48" y="263"/>
                  </a:lnTo>
                  <a:lnTo>
                    <a:pt x="51" y="265"/>
                  </a:lnTo>
                  <a:lnTo>
                    <a:pt x="51" y="261"/>
                  </a:lnTo>
                  <a:lnTo>
                    <a:pt x="48" y="259"/>
                  </a:lnTo>
                  <a:lnTo>
                    <a:pt x="42" y="259"/>
                  </a:lnTo>
                  <a:lnTo>
                    <a:pt x="42" y="255"/>
                  </a:lnTo>
                  <a:lnTo>
                    <a:pt x="36" y="257"/>
                  </a:lnTo>
                  <a:lnTo>
                    <a:pt x="34" y="254"/>
                  </a:lnTo>
                  <a:lnTo>
                    <a:pt x="32" y="257"/>
                  </a:lnTo>
                  <a:lnTo>
                    <a:pt x="30" y="255"/>
                  </a:lnTo>
                  <a:lnTo>
                    <a:pt x="25" y="254"/>
                  </a:lnTo>
                  <a:lnTo>
                    <a:pt x="27" y="248"/>
                  </a:lnTo>
                  <a:lnTo>
                    <a:pt x="27" y="242"/>
                  </a:lnTo>
                  <a:lnTo>
                    <a:pt x="27" y="240"/>
                  </a:lnTo>
                  <a:lnTo>
                    <a:pt x="36" y="238"/>
                  </a:lnTo>
                  <a:lnTo>
                    <a:pt x="38" y="236"/>
                  </a:lnTo>
                  <a:lnTo>
                    <a:pt x="38" y="234"/>
                  </a:lnTo>
                  <a:lnTo>
                    <a:pt x="32" y="230"/>
                  </a:lnTo>
                  <a:lnTo>
                    <a:pt x="34" y="227"/>
                  </a:lnTo>
                  <a:lnTo>
                    <a:pt x="38" y="229"/>
                  </a:lnTo>
                  <a:lnTo>
                    <a:pt x="40" y="223"/>
                  </a:lnTo>
                  <a:lnTo>
                    <a:pt x="42" y="223"/>
                  </a:lnTo>
                  <a:lnTo>
                    <a:pt x="42" y="219"/>
                  </a:lnTo>
                  <a:lnTo>
                    <a:pt x="46" y="219"/>
                  </a:lnTo>
                  <a:lnTo>
                    <a:pt x="46" y="215"/>
                  </a:lnTo>
                  <a:lnTo>
                    <a:pt x="48" y="213"/>
                  </a:lnTo>
                  <a:lnTo>
                    <a:pt x="50" y="211"/>
                  </a:lnTo>
                  <a:lnTo>
                    <a:pt x="48" y="207"/>
                  </a:lnTo>
                  <a:lnTo>
                    <a:pt x="46" y="207"/>
                  </a:lnTo>
                  <a:lnTo>
                    <a:pt x="44" y="206"/>
                  </a:lnTo>
                  <a:lnTo>
                    <a:pt x="42" y="207"/>
                  </a:lnTo>
                  <a:lnTo>
                    <a:pt x="40" y="204"/>
                  </a:lnTo>
                  <a:lnTo>
                    <a:pt x="38" y="204"/>
                  </a:lnTo>
                  <a:lnTo>
                    <a:pt x="38" y="202"/>
                  </a:lnTo>
                  <a:lnTo>
                    <a:pt x="44" y="198"/>
                  </a:lnTo>
                  <a:lnTo>
                    <a:pt x="44" y="192"/>
                  </a:lnTo>
                  <a:lnTo>
                    <a:pt x="40" y="186"/>
                  </a:lnTo>
                  <a:lnTo>
                    <a:pt x="42" y="184"/>
                  </a:lnTo>
                  <a:lnTo>
                    <a:pt x="42" y="181"/>
                  </a:lnTo>
                  <a:lnTo>
                    <a:pt x="44" y="177"/>
                  </a:lnTo>
                  <a:lnTo>
                    <a:pt x="38" y="177"/>
                  </a:lnTo>
                  <a:lnTo>
                    <a:pt x="40" y="173"/>
                  </a:lnTo>
                  <a:lnTo>
                    <a:pt x="36" y="169"/>
                  </a:lnTo>
                  <a:lnTo>
                    <a:pt x="40" y="163"/>
                  </a:lnTo>
                  <a:lnTo>
                    <a:pt x="36" y="161"/>
                  </a:lnTo>
                  <a:lnTo>
                    <a:pt x="36" y="159"/>
                  </a:lnTo>
                  <a:lnTo>
                    <a:pt x="40" y="161"/>
                  </a:lnTo>
                  <a:lnTo>
                    <a:pt x="44" y="159"/>
                  </a:lnTo>
                  <a:lnTo>
                    <a:pt x="38" y="157"/>
                  </a:lnTo>
                  <a:lnTo>
                    <a:pt x="42" y="157"/>
                  </a:lnTo>
                  <a:lnTo>
                    <a:pt x="42" y="156"/>
                  </a:lnTo>
                  <a:lnTo>
                    <a:pt x="44" y="156"/>
                  </a:lnTo>
                  <a:lnTo>
                    <a:pt x="44" y="154"/>
                  </a:lnTo>
                  <a:lnTo>
                    <a:pt x="46" y="152"/>
                  </a:lnTo>
                  <a:lnTo>
                    <a:pt x="44" y="148"/>
                  </a:lnTo>
                  <a:lnTo>
                    <a:pt x="50" y="148"/>
                  </a:lnTo>
                  <a:lnTo>
                    <a:pt x="50" y="150"/>
                  </a:lnTo>
                  <a:lnTo>
                    <a:pt x="59" y="148"/>
                  </a:lnTo>
                  <a:lnTo>
                    <a:pt x="61" y="142"/>
                  </a:lnTo>
                  <a:lnTo>
                    <a:pt x="59" y="136"/>
                  </a:lnTo>
                  <a:lnTo>
                    <a:pt x="61" y="133"/>
                  </a:lnTo>
                  <a:lnTo>
                    <a:pt x="67" y="133"/>
                  </a:lnTo>
                  <a:lnTo>
                    <a:pt x="69" y="127"/>
                  </a:lnTo>
                  <a:lnTo>
                    <a:pt x="71" y="121"/>
                  </a:lnTo>
                  <a:lnTo>
                    <a:pt x="76" y="119"/>
                  </a:lnTo>
                  <a:lnTo>
                    <a:pt x="82" y="117"/>
                  </a:lnTo>
                  <a:lnTo>
                    <a:pt x="78" y="113"/>
                  </a:lnTo>
                  <a:lnTo>
                    <a:pt x="76" y="109"/>
                  </a:lnTo>
                  <a:lnTo>
                    <a:pt x="71" y="109"/>
                  </a:lnTo>
                  <a:lnTo>
                    <a:pt x="73" y="106"/>
                  </a:lnTo>
                  <a:lnTo>
                    <a:pt x="69" y="106"/>
                  </a:lnTo>
                  <a:lnTo>
                    <a:pt x="69" y="102"/>
                  </a:lnTo>
                  <a:lnTo>
                    <a:pt x="65" y="102"/>
                  </a:lnTo>
                  <a:lnTo>
                    <a:pt x="65" y="100"/>
                  </a:lnTo>
                  <a:lnTo>
                    <a:pt x="63" y="92"/>
                  </a:lnTo>
                  <a:lnTo>
                    <a:pt x="67" y="94"/>
                  </a:lnTo>
                  <a:lnTo>
                    <a:pt x="69" y="88"/>
                  </a:lnTo>
                  <a:lnTo>
                    <a:pt x="73" y="88"/>
                  </a:lnTo>
                  <a:lnTo>
                    <a:pt x="75" y="88"/>
                  </a:lnTo>
                  <a:lnTo>
                    <a:pt x="73" y="84"/>
                  </a:lnTo>
                  <a:lnTo>
                    <a:pt x="75" y="83"/>
                  </a:lnTo>
                  <a:lnTo>
                    <a:pt x="75" y="75"/>
                  </a:lnTo>
                  <a:lnTo>
                    <a:pt x="80" y="71"/>
                  </a:lnTo>
                  <a:lnTo>
                    <a:pt x="76" y="69"/>
                  </a:lnTo>
                  <a:lnTo>
                    <a:pt x="76" y="67"/>
                  </a:lnTo>
                  <a:lnTo>
                    <a:pt x="84" y="63"/>
                  </a:lnTo>
                  <a:lnTo>
                    <a:pt x="90" y="67"/>
                  </a:lnTo>
                  <a:lnTo>
                    <a:pt x="96" y="73"/>
                  </a:lnTo>
                  <a:lnTo>
                    <a:pt x="101" y="73"/>
                  </a:lnTo>
                  <a:lnTo>
                    <a:pt x="105" y="75"/>
                  </a:lnTo>
                  <a:lnTo>
                    <a:pt x="107" y="73"/>
                  </a:lnTo>
                  <a:lnTo>
                    <a:pt x="109" y="73"/>
                  </a:lnTo>
                  <a:lnTo>
                    <a:pt x="111" y="63"/>
                  </a:lnTo>
                  <a:lnTo>
                    <a:pt x="109" y="61"/>
                  </a:lnTo>
                  <a:lnTo>
                    <a:pt x="111" y="56"/>
                  </a:lnTo>
                  <a:lnTo>
                    <a:pt x="113" y="54"/>
                  </a:lnTo>
                  <a:lnTo>
                    <a:pt x="117" y="52"/>
                  </a:lnTo>
                  <a:lnTo>
                    <a:pt x="123" y="48"/>
                  </a:lnTo>
                  <a:lnTo>
                    <a:pt x="123" y="40"/>
                  </a:lnTo>
                  <a:lnTo>
                    <a:pt x="121" y="38"/>
                  </a:lnTo>
                  <a:lnTo>
                    <a:pt x="124" y="36"/>
                  </a:lnTo>
                  <a:lnTo>
                    <a:pt x="124" y="33"/>
                  </a:lnTo>
                  <a:lnTo>
                    <a:pt x="121" y="27"/>
                  </a:lnTo>
                  <a:lnTo>
                    <a:pt x="121" y="25"/>
                  </a:lnTo>
                  <a:lnTo>
                    <a:pt x="124" y="25"/>
                  </a:lnTo>
                  <a:lnTo>
                    <a:pt x="128" y="21"/>
                  </a:lnTo>
                  <a:lnTo>
                    <a:pt x="130" y="15"/>
                  </a:lnTo>
                  <a:lnTo>
                    <a:pt x="128" y="8"/>
                  </a:lnTo>
                  <a:lnTo>
                    <a:pt x="123" y="6"/>
                  </a:lnTo>
                  <a:lnTo>
                    <a:pt x="126" y="0"/>
                  </a:lnTo>
                  <a:lnTo>
                    <a:pt x="126" y="4"/>
                  </a:lnTo>
                  <a:lnTo>
                    <a:pt x="132" y="4"/>
                  </a:lnTo>
                  <a:lnTo>
                    <a:pt x="132" y="8"/>
                  </a:lnTo>
                  <a:lnTo>
                    <a:pt x="136" y="10"/>
                  </a:lnTo>
                  <a:lnTo>
                    <a:pt x="138" y="12"/>
                  </a:lnTo>
                  <a:lnTo>
                    <a:pt x="142" y="12"/>
                  </a:lnTo>
                  <a:lnTo>
                    <a:pt x="144" y="13"/>
                  </a:lnTo>
                  <a:lnTo>
                    <a:pt x="146" y="12"/>
                  </a:lnTo>
                  <a:lnTo>
                    <a:pt x="149" y="10"/>
                  </a:lnTo>
                  <a:lnTo>
                    <a:pt x="157" y="12"/>
                  </a:lnTo>
                  <a:lnTo>
                    <a:pt x="165" y="13"/>
                  </a:lnTo>
                  <a:lnTo>
                    <a:pt x="169" y="15"/>
                  </a:lnTo>
                  <a:lnTo>
                    <a:pt x="170" y="15"/>
                  </a:lnTo>
                  <a:lnTo>
                    <a:pt x="174" y="15"/>
                  </a:lnTo>
                  <a:lnTo>
                    <a:pt x="176" y="17"/>
                  </a:lnTo>
                  <a:lnTo>
                    <a:pt x="180" y="17"/>
                  </a:lnTo>
                  <a:lnTo>
                    <a:pt x="182" y="21"/>
                  </a:lnTo>
                  <a:lnTo>
                    <a:pt x="182" y="27"/>
                  </a:lnTo>
                  <a:lnTo>
                    <a:pt x="190" y="27"/>
                  </a:lnTo>
                  <a:lnTo>
                    <a:pt x="194" y="29"/>
                  </a:lnTo>
                  <a:lnTo>
                    <a:pt x="194" y="35"/>
                  </a:lnTo>
                  <a:lnTo>
                    <a:pt x="195" y="36"/>
                  </a:lnTo>
                  <a:lnTo>
                    <a:pt x="195" y="38"/>
                  </a:lnTo>
                  <a:lnTo>
                    <a:pt x="197" y="38"/>
                  </a:lnTo>
                  <a:lnTo>
                    <a:pt x="195" y="40"/>
                  </a:lnTo>
                  <a:lnTo>
                    <a:pt x="203" y="40"/>
                  </a:lnTo>
                  <a:lnTo>
                    <a:pt x="209" y="42"/>
                  </a:lnTo>
                  <a:lnTo>
                    <a:pt x="215" y="46"/>
                  </a:lnTo>
                  <a:lnTo>
                    <a:pt x="218" y="50"/>
                  </a:lnTo>
                  <a:lnTo>
                    <a:pt x="220" y="48"/>
                  </a:lnTo>
                  <a:lnTo>
                    <a:pt x="218" y="46"/>
                  </a:lnTo>
                  <a:lnTo>
                    <a:pt x="222" y="42"/>
                  </a:lnTo>
                  <a:lnTo>
                    <a:pt x="224" y="36"/>
                  </a:lnTo>
                  <a:lnTo>
                    <a:pt x="224" y="33"/>
                  </a:lnTo>
                  <a:lnTo>
                    <a:pt x="230" y="35"/>
                  </a:lnTo>
                  <a:lnTo>
                    <a:pt x="232" y="38"/>
                  </a:lnTo>
                  <a:lnTo>
                    <a:pt x="238" y="36"/>
                  </a:lnTo>
                  <a:lnTo>
                    <a:pt x="242" y="40"/>
                  </a:lnTo>
                  <a:lnTo>
                    <a:pt x="245" y="40"/>
                  </a:lnTo>
                  <a:lnTo>
                    <a:pt x="247" y="44"/>
                  </a:lnTo>
                  <a:lnTo>
                    <a:pt x="253" y="42"/>
                  </a:lnTo>
                  <a:lnTo>
                    <a:pt x="253" y="40"/>
                  </a:lnTo>
                  <a:lnTo>
                    <a:pt x="255" y="38"/>
                  </a:lnTo>
                  <a:lnTo>
                    <a:pt x="257" y="42"/>
                  </a:lnTo>
                  <a:lnTo>
                    <a:pt x="261" y="44"/>
                  </a:lnTo>
                  <a:lnTo>
                    <a:pt x="265" y="36"/>
                  </a:lnTo>
                  <a:lnTo>
                    <a:pt x="274" y="36"/>
                  </a:lnTo>
                  <a:lnTo>
                    <a:pt x="278" y="33"/>
                  </a:lnTo>
                  <a:lnTo>
                    <a:pt x="282" y="35"/>
                  </a:lnTo>
                  <a:lnTo>
                    <a:pt x="286" y="36"/>
                  </a:lnTo>
                  <a:lnTo>
                    <a:pt x="291" y="44"/>
                  </a:lnTo>
                  <a:lnTo>
                    <a:pt x="299" y="48"/>
                  </a:lnTo>
                  <a:lnTo>
                    <a:pt x="301" y="56"/>
                  </a:lnTo>
                  <a:lnTo>
                    <a:pt x="299" y="63"/>
                  </a:lnTo>
                  <a:lnTo>
                    <a:pt x="301" y="67"/>
                  </a:lnTo>
                  <a:lnTo>
                    <a:pt x="299" y="67"/>
                  </a:lnTo>
                  <a:lnTo>
                    <a:pt x="295" y="75"/>
                  </a:lnTo>
                  <a:lnTo>
                    <a:pt x="297" y="81"/>
                  </a:lnTo>
                  <a:lnTo>
                    <a:pt x="289" y="86"/>
                  </a:lnTo>
                  <a:lnTo>
                    <a:pt x="288" y="88"/>
                  </a:lnTo>
                  <a:lnTo>
                    <a:pt x="289" y="96"/>
                  </a:lnTo>
                  <a:lnTo>
                    <a:pt x="295" y="94"/>
                  </a:lnTo>
                  <a:lnTo>
                    <a:pt x="297" y="96"/>
                  </a:lnTo>
                  <a:lnTo>
                    <a:pt x="297" y="100"/>
                  </a:lnTo>
                  <a:lnTo>
                    <a:pt x="299" y="104"/>
                  </a:lnTo>
                  <a:lnTo>
                    <a:pt x="299" y="111"/>
                  </a:lnTo>
                  <a:lnTo>
                    <a:pt x="299" y="113"/>
                  </a:lnTo>
                  <a:lnTo>
                    <a:pt x="293" y="117"/>
                  </a:lnTo>
                  <a:lnTo>
                    <a:pt x="293" y="119"/>
                  </a:lnTo>
                  <a:lnTo>
                    <a:pt x="297" y="123"/>
                  </a:lnTo>
                  <a:lnTo>
                    <a:pt x="305" y="125"/>
                  </a:lnTo>
                  <a:lnTo>
                    <a:pt x="309" y="131"/>
                  </a:lnTo>
                  <a:lnTo>
                    <a:pt x="314" y="133"/>
                  </a:lnTo>
                  <a:lnTo>
                    <a:pt x="318" y="133"/>
                  </a:lnTo>
                  <a:lnTo>
                    <a:pt x="322" y="131"/>
                  </a:lnTo>
                  <a:lnTo>
                    <a:pt x="324" y="133"/>
                  </a:lnTo>
                  <a:lnTo>
                    <a:pt x="326" y="133"/>
                  </a:lnTo>
                  <a:lnTo>
                    <a:pt x="332" y="129"/>
                  </a:lnTo>
                  <a:lnTo>
                    <a:pt x="336" y="133"/>
                  </a:lnTo>
                  <a:lnTo>
                    <a:pt x="337" y="138"/>
                  </a:lnTo>
                  <a:lnTo>
                    <a:pt x="339" y="144"/>
                  </a:lnTo>
                  <a:lnTo>
                    <a:pt x="341" y="142"/>
                  </a:lnTo>
                  <a:lnTo>
                    <a:pt x="343" y="144"/>
                  </a:lnTo>
                  <a:lnTo>
                    <a:pt x="351" y="140"/>
                  </a:lnTo>
                  <a:lnTo>
                    <a:pt x="355" y="140"/>
                  </a:lnTo>
                  <a:lnTo>
                    <a:pt x="361" y="144"/>
                  </a:lnTo>
                  <a:lnTo>
                    <a:pt x="366" y="148"/>
                  </a:lnTo>
                  <a:lnTo>
                    <a:pt x="370" y="152"/>
                  </a:lnTo>
                  <a:lnTo>
                    <a:pt x="372" y="156"/>
                  </a:lnTo>
                  <a:lnTo>
                    <a:pt x="378" y="159"/>
                  </a:lnTo>
                  <a:lnTo>
                    <a:pt x="378" y="163"/>
                  </a:lnTo>
                  <a:lnTo>
                    <a:pt x="382" y="163"/>
                  </a:lnTo>
                  <a:lnTo>
                    <a:pt x="380" y="165"/>
                  </a:lnTo>
                  <a:lnTo>
                    <a:pt x="380" y="169"/>
                  </a:lnTo>
                  <a:lnTo>
                    <a:pt x="384" y="177"/>
                  </a:lnTo>
                  <a:lnTo>
                    <a:pt x="387" y="181"/>
                  </a:lnTo>
                  <a:lnTo>
                    <a:pt x="382" y="184"/>
                  </a:lnTo>
                  <a:lnTo>
                    <a:pt x="382" y="190"/>
                  </a:lnTo>
                  <a:lnTo>
                    <a:pt x="389" y="190"/>
                  </a:lnTo>
                  <a:lnTo>
                    <a:pt x="391" y="182"/>
                  </a:lnTo>
                  <a:lnTo>
                    <a:pt x="395" y="184"/>
                  </a:lnTo>
                  <a:lnTo>
                    <a:pt x="395" y="186"/>
                  </a:lnTo>
                  <a:lnTo>
                    <a:pt x="393" y="186"/>
                  </a:lnTo>
                  <a:lnTo>
                    <a:pt x="395" y="194"/>
                  </a:lnTo>
                  <a:lnTo>
                    <a:pt x="401" y="192"/>
                  </a:lnTo>
                  <a:lnTo>
                    <a:pt x="407" y="188"/>
                  </a:lnTo>
                  <a:lnTo>
                    <a:pt x="407" y="190"/>
                  </a:lnTo>
                  <a:lnTo>
                    <a:pt x="405" y="194"/>
                  </a:lnTo>
                  <a:lnTo>
                    <a:pt x="403" y="198"/>
                  </a:lnTo>
                  <a:lnTo>
                    <a:pt x="405" y="204"/>
                  </a:lnTo>
                  <a:lnTo>
                    <a:pt x="407" y="207"/>
                  </a:lnTo>
                  <a:lnTo>
                    <a:pt x="407" y="211"/>
                  </a:lnTo>
                  <a:lnTo>
                    <a:pt x="408" y="217"/>
                  </a:lnTo>
                  <a:lnTo>
                    <a:pt x="407" y="225"/>
                  </a:lnTo>
                  <a:lnTo>
                    <a:pt x="408" y="230"/>
                  </a:lnTo>
                  <a:lnTo>
                    <a:pt x="416" y="230"/>
                  </a:lnTo>
                  <a:lnTo>
                    <a:pt x="418" y="229"/>
                  </a:lnTo>
                  <a:lnTo>
                    <a:pt x="426" y="223"/>
                  </a:lnTo>
                  <a:lnTo>
                    <a:pt x="433" y="227"/>
                  </a:lnTo>
                  <a:lnTo>
                    <a:pt x="435" y="229"/>
                  </a:lnTo>
                  <a:lnTo>
                    <a:pt x="445" y="229"/>
                  </a:lnTo>
                  <a:lnTo>
                    <a:pt x="449" y="230"/>
                  </a:lnTo>
                  <a:lnTo>
                    <a:pt x="451" y="229"/>
                  </a:lnTo>
                  <a:lnTo>
                    <a:pt x="458" y="225"/>
                  </a:lnTo>
                  <a:lnTo>
                    <a:pt x="460" y="229"/>
                  </a:lnTo>
                  <a:lnTo>
                    <a:pt x="470" y="227"/>
                  </a:lnTo>
                  <a:lnTo>
                    <a:pt x="474" y="227"/>
                  </a:lnTo>
                  <a:lnTo>
                    <a:pt x="479" y="221"/>
                  </a:lnTo>
                  <a:lnTo>
                    <a:pt x="483" y="219"/>
                  </a:lnTo>
                  <a:lnTo>
                    <a:pt x="483" y="223"/>
                  </a:lnTo>
                  <a:lnTo>
                    <a:pt x="489" y="219"/>
                  </a:lnTo>
                  <a:lnTo>
                    <a:pt x="495" y="223"/>
                  </a:lnTo>
                  <a:lnTo>
                    <a:pt x="495" y="225"/>
                  </a:lnTo>
                  <a:lnTo>
                    <a:pt x="487" y="227"/>
                  </a:lnTo>
                  <a:lnTo>
                    <a:pt x="483" y="232"/>
                  </a:lnTo>
                  <a:lnTo>
                    <a:pt x="476" y="232"/>
                  </a:lnTo>
                  <a:lnTo>
                    <a:pt x="474" y="236"/>
                  </a:lnTo>
                  <a:lnTo>
                    <a:pt x="472" y="236"/>
                  </a:lnTo>
                  <a:lnTo>
                    <a:pt x="470" y="238"/>
                  </a:lnTo>
                  <a:lnTo>
                    <a:pt x="468" y="244"/>
                  </a:lnTo>
                  <a:lnTo>
                    <a:pt x="464" y="250"/>
                  </a:lnTo>
                  <a:lnTo>
                    <a:pt x="464" y="254"/>
                  </a:lnTo>
                  <a:lnTo>
                    <a:pt x="460" y="255"/>
                  </a:lnTo>
                  <a:lnTo>
                    <a:pt x="464" y="261"/>
                  </a:lnTo>
                  <a:lnTo>
                    <a:pt x="460" y="265"/>
                  </a:lnTo>
                  <a:lnTo>
                    <a:pt x="460" y="267"/>
                  </a:lnTo>
                  <a:lnTo>
                    <a:pt x="458" y="269"/>
                  </a:lnTo>
                  <a:lnTo>
                    <a:pt x="453" y="277"/>
                  </a:lnTo>
                  <a:lnTo>
                    <a:pt x="447" y="277"/>
                  </a:lnTo>
                  <a:lnTo>
                    <a:pt x="443" y="275"/>
                  </a:lnTo>
                  <a:lnTo>
                    <a:pt x="435" y="282"/>
                  </a:lnTo>
                  <a:lnTo>
                    <a:pt x="428" y="282"/>
                  </a:lnTo>
                  <a:lnTo>
                    <a:pt x="426" y="284"/>
                  </a:lnTo>
                  <a:lnTo>
                    <a:pt x="426" y="290"/>
                  </a:lnTo>
                  <a:lnTo>
                    <a:pt x="426" y="292"/>
                  </a:lnTo>
                  <a:lnTo>
                    <a:pt x="422" y="292"/>
                  </a:lnTo>
                  <a:lnTo>
                    <a:pt x="414" y="294"/>
                  </a:lnTo>
                  <a:lnTo>
                    <a:pt x="412" y="292"/>
                  </a:lnTo>
                  <a:lnTo>
                    <a:pt x="410" y="296"/>
                  </a:lnTo>
                  <a:lnTo>
                    <a:pt x="407" y="296"/>
                  </a:lnTo>
                  <a:lnTo>
                    <a:pt x="399" y="294"/>
                  </a:lnTo>
                  <a:lnTo>
                    <a:pt x="399" y="300"/>
                  </a:lnTo>
                  <a:lnTo>
                    <a:pt x="393" y="300"/>
                  </a:lnTo>
                  <a:lnTo>
                    <a:pt x="393" y="303"/>
                  </a:lnTo>
                  <a:lnTo>
                    <a:pt x="393" y="309"/>
                  </a:lnTo>
                  <a:lnTo>
                    <a:pt x="389" y="313"/>
                  </a:lnTo>
                  <a:lnTo>
                    <a:pt x="387" y="311"/>
                  </a:lnTo>
                  <a:lnTo>
                    <a:pt x="385" y="311"/>
                  </a:lnTo>
                  <a:lnTo>
                    <a:pt x="384" y="309"/>
                  </a:lnTo>
                  <a:lnTo>
                    <a:pt x="376" y="307"/>
                  </a:lnTo>
                  <a:lnTo>
                    <a:pt x="370" y="309"/>
                  </a:lnTo>
                  <a:lnTo>
                    <a:pt x="368" y="307"/>
                  </a:lnTo>
                  <a:lnTo>
                    <a:pt x="370" y="305"/>
                  </a:lnTo>
                  <a:lnTo>
                    <a:pt x="368" y="303"/>
                  </a:lnTo>
                  <a:lnTo>
                    <a:pt x="362" y="300"/>
                  </a:lnTo>
                  <a:lnTo>
                    <a:pt x="355" y="303"/>
                  </a:lnTo>
                  <a:lnTo>
                    <a:pt x="353" y="309"/>
                  </a:lnTo>
                  <a:lnTo>
                    <a:pt x="349" y="313"/>
                  </a:lnTo>
                  <a:lnTo>
                    <a:pt x="345" y="313"/>
                  </a:lnTo>
                  <a:lnTo>
                    <a:pt x="343" y="307"/>
                  </a:lnTo>
                  <a:lnTo>
                    <a:pt x="341" y="309"/>
                  </a:lnTo>
                  <a:lnTo>
                    <a:pt x="343" y="315"/>
                  </a:lnTo>
                  <a:lnTo>
                    <a:pt x="337" y="319"/>
                  </a:lnTo>
                  <a:lnTo>
                    <a:pt x="347" y="323"/>
                  </a:lnTo>
                  <a:lnTo>
                    <a:pt x="351" y="325"/>
                  </a:lnTo>
                  <a:lnTo>
                    <a:pt x="351" y="321"/>
                  </a:lnTo>
                  <a:lnTo>
                    <a:pt x="355" y="323"/>
                  </a:lnTo>
                  <a:lnTo>
                    <a:pt x="357" y="321"/>
                  </a:lnTo>
                  <a:lnTo>
                    <a:pt x="362" y="327"/>
                  </a:lnTo>
                  <a:lnTo>
                    <a:pt x="361" y="327"/>
                  </a:lnTo>
                  <a:lnTo>
                    <a:pt x="362" y="330"/>
                  </a:lnTo>
                  <a:lnTo>
                    <a:pt x="361" y="330"/>
                  </a:lnTo>
                  <a:lnTo>
                    <a:pt x="359" y="334"/>
                  </a:lnTo>
                  <a:lnTo>
                    <a:pt x="362" y="340"/>
                  </a:lnTo>
                  <a:lnTo>
                    <a:pt x="359" y="342"/>
                  </a:lnTo>
                  <a:lnTo>
                    <a:pt x="353" y="342"/>
                  </a:lnTo>
                  <a:lnTo>
                    <a:pt x="349" y="338"/>
                  </a:lnTo>
                  <a:lnTo>
                    <a:pt x="347" y="336"/>
                  </a:lnTo>
                  <a:lnTo>
                    <a:pt x="343" y="332"/>
                  </a:lnTo>
                  <a:lnTo>
                    <a:pt x="339" y="332"/>
                  </a:lnTo>
                  <a:lnTo>
                    <a:pt x="341" y="334"/>
                  </a:lnTo>
                  <a:lnTo>
                    <a:pt x="339" y="336"/>
                  </a:lnTo>
                  <a:lnTo>
                    <a:pt x="339" y="334"/>
                  </a:lnTo>
                  <a:lnTo>
                    <a:pt x="332" y="330"/>
                  </a:lnTo>
                  <a:lnTo>
                    <a:pt x="332" y="323"/>
                  </a:lnTo>
                  <a:lnTo>
                    <a:pt x="330" y="317"/>
                  </a:lnTo>
                  <a:lnTo>
                    <a:pt x="326" y="317"/>
                  </a:lnTo>
                  <a:lnTo>
                    <a:pt x="320" y="315"/>
                  </a:lnTo>
                  <a:lnTo>
                    <a:pt x="320" y="311"/>
                  </a:lnTo>
                  <a:lnTo>
                    <a:pt x="318" y="315"/>
                  </a:lnTo>
                  <a:lnTo>
                    <a:pt x="314" y="319"/>
                  </a:lnTo>
                  <a:lnTo>
                    <a:pt x="309" y="317"/>
                  </a:lnTo>
                  <a:lnTo>
                    <a:pt x="309" y="321"/>
                  </a:lnTo>
                  <a:lnTo>
                    <a:pt x="305" y="321"/>
                  </a:lnTo>
                  <a:lnTo>
                    <a:pt x="303" y="327"/>
                  </a:lnTo>
                  <a:lnTo>
                    <a:pt x="301" y="327"/>
                  </a:lnTo>
                  <a:lnTo>
                    <a:pt x="299" y="332"/>
                  </a:lnTo>
                  <a:lnTo>
                    <a:pt x="303" y="332"/>
                  </a:lnTo>
                  <a:lnTo>
                    <a:pt x="305" y="338"/>
                  </a:lnTo>
                  <a:lnTo>
                    <a:pt x="303" y="344"/>
                  </a:lnTo>
                  <a:lnTo>
                    <a:pt x="297" y="348"/>
                  </a:lnTo>
                  <a:lnTo>
                    <a:pt x="293" y="355"/>
                  </a:lnTo>
                  <a:lnTo>
                    <a:pt x="288" y="357"/>
                  </a:lnTo>
                  <a:lnTo>
                    <a:pt x="284" y="350"/>
                  </a:lnTo>
                  <a:lnTo>
                    <a:pt x="282" y="348"/>
                  </a:lnTo>
                  <a:lnTo>
                    <a:pt x="278" y="350"/>
                  </a:lnTo>
                  <a:lnTo>
                    <a:pt x="274" y="346"/>
                  </a:lnTo>
                  <a:lnTo>
                    <a:pt x="270" y="348"/>
                  </a:lnTo>
                  <a:lnTo>
                    <a:pt x="268" y="350"/>
                  </a:lnTo>
                  <a:lnTo>
                    <a:pt x="261" y="350"/>
                  </a:lnTo>
                  <a:lnTo>
                    <a:pt x="259" y="353"/>
                  </a:lnTo>
                  <a:lnTo>
                    <a:pt x="255" y="351"/>
                  </a:lnTo>
                  <a:lnTo>
                    <a:pt x="249" y="357"/>
                  </a:lnTo>
                  <a:lnTo>
                    <a:pt x="243" y="355"/>
                  </a:lnTo>
                  <a:lnTo>
                    <a:pt x="238" y="357"/>
                  </a:lnTo>
                  <a:lnTo>
                    <a:pt x="236" y="363"/>
                  </a:lnTo>
                  <a:lnTo>
                    <a:pt x="226" y="361"/>
                  </a:lnTo>
                  <a:lnTo>
                    <a:pt x="218" y="363"/>
                  </a:lnTo>
                  <a:lnTo>
                    <a:pt x="213" y="371"/>
                  </a:lnTo>
                  <a:lnTo>
                    <a:pt x="215" y="375"/>
                  </a:lnTo>
                  <a:lnTo>
                    <a:pt x="213" y="376"/>
                  </a:lnTo>
                  <a:lnTo>
                    <a:pt x="213" y="386"/>
                  </a:lnTo>
                  <a:lnTo>
                    <a:pt x="215" y="388"/>
                  </a:lnTo>
                  <a:lnTo>
                    <a:pt x="215" y="394"/>
                  </a:lnTo>
                  <a:lnTo>
                    <a:pt x="213" y="400"/>
                  </a:lnTo>
                  <a:lnTo>
                    <a:pt x="205" y="403"/>
                  </a:lnTo>
                  <a:lnTo>
                    <a:pt x="203" y="400"/>
                  </a:lnTo>
                  <a:lnTo>
                    <a:pt x="199" y="401"/>
                  </a:lnTo>
                  <a:lnTo>
                    <a:pt x="190" y="400"/>
                  </a:lnTo>
                  <a:lnTo>
                    <a:pt x="188" y="401"/>
                  </a:lnTo>
                  <a:lnTo>
                    <a:pt x="178" y="405"/>
                  </a:lnTo>
                  <a:lnTo>
                    <a:pt x="180" y="411"/>
                  </a:lnTo>
                  <a:lnTo>
                    <a:pt x="180" y="415"/>
                  </a:lnTo>
                  <a:lnTo>
                    <a:pt x="178" y="415"/>
                  </a:lnTo>
                  <a:lnTo>
                    <a:pt x="176" y="411"/>
                  </a:lnTo>
                  <a:lnTo>
                    <a:pt x="170" y="409"/>
                  </a:lnTo>
                  <a:lnTo>
                    <a:pt x="172" y="417"/>
                  </a:lnTo>
                  <a:lnTo>
                    <a:pt x="167" y="423"/>
                  </a:lnTo>
                  <a:lnTo>
                    <a:pt x="161" y="424"/>
                  </a:lnTo>
                  <a:lnTo>
                    <a:pt x="155" y="423"/>
                  </a:lnTo>
                  <a:lnTo>
                    <a:pt x="151" y="417"/>
                  </a:lnTo>
                  <a:lnTo>
                    <a:pt x="147" y="415"/>
                  </a:lnTo>
                  <a:lnTo>
                    <a:pt x="140" y="421"/>
                  </a:lnTo>
                  <a:lnTo>
                    <a:pt x="136" y="419"/>
                  </a:lnTo>
                  <a:lnTo>
                    <a:pt x="130" y="417"/>
                  </a:lnTo>
                  <a:lnTo>
                    <a:pt x="124" y="417"/>
                  </a:lnTo>
                  <a:lnTo>
                    <a:pt x="117" y="421"/>
                  </a:lnTo>
                  <a:lnTo>
                    <a:pt x="115" y="424"/>
                  </a:lnTo>
                  <a:lnTo>
                    <a:pt x="109" y="423"/>
                  </a:lnTo>
                  <a:lnTo>
                    <a:pt x="109" y="426"/>
                  </a:lnTo>
                  <a:lnTo>
                    <a:pt x="107" y="432"/>
                  </a:lnTo>
                  <a:lnTo>
                    <a:pt x="99" y="436"/>
                  </a:lnTo>
                  <a:lnTo>
                    <a:pt x="101" y="438"/>
                  </a:lnTo>
                  <a:lnTo>
                    <a:pt x="99" y="442"/>
                  </a:lnTo>
                  <a:lnTo>
                    <a:pt x="96" y="442"/>
                  </a:lnTo>
                  <a:lnTo>
                    <a:pt x="94" y="444"/>
                  </a:lnTo>
                  <a:lnTo>
                    <a:pt x="88" y="442"/>
                  </a:lnTo>
                  <a:lnTo>
                    <a:pt x="86" y="436"/>
                  </a:lnTo>
                  <a:lnTo>
                    <a:pt x="84" y="436"/>
                  </a:lnTo>
                  <a:lnTo>
                    <a:pt x="82" y="440"/>
                  </a:lnTo>
                  <a:lnTo>
                    <a:pt x="78" y="438"/>
                  </a:lnTo>
                  <a:lnTo>
                    <a:pt x="75" y="438"/>
                  </a:lnTo>
                  <a:lnTo>
                    <a:pt x="69" y="436"/>
                  </a:lnTo>
                  <a:lnTo>
                    <a:pt x="65" y="438"/>
                  </a:lnTo>
                  <a:lnTo>
                    <a:pt x="61" y="440"/>
                  </a:lnTo>
                  <a:lnTo>
                    <a:pt x="51" y="436"/>
                  </a:lnTo>
                  <a:lnTo>
                    <a:pt x="44" y="438"/>
                  </a:lnTo>
                  <a:lnTo>
                    <a:pt x="40" y="434"/>
                  </a:lnTo>
                  <a:lnTo>
                    <a:pt x="36" y="434"/>
                  </a:lnTo>
                  <a:lnTo>
                    <a:pt x="28" y="43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0">
              <a:extLst>
                <a:ext uri="{FF2B5EF4-FFF2-40B4-BE49-F238E27FC236}">
                  <a16:creationId xmlns:a16="http://schemas.microsoft.com/office/drawing/2014/main" id="{89CFD52D-F17E-4860-A295-5434FD158B31}"/>
                </a:ext>
              </a:extLst>
            </p:cNvPr>
            <p:cNvSpPr>
              <a:spLocks/>
            </p:cNvSpPr>
            <p:nvPr/>
          </p:nvSpPr>
          <p:spPr bwMode="gray">
            <a:xfrm>
              <a:off x="5500689" y="3440114"/>
              <a:ext cx="722313" cy="1087438"/>
            </a:xfrm>
            <a:custGeom>
              <a:avLst/>
              <a:gdLst>
                <a:gd name="T0" fmla="*/ 391 w 455"/>
                <a:gd name="T1" fmla="*/ 194 h 685"/>
                <a:gd name="T2" fmla="*/ 361 w 455"/>
                <a:gd name="T3" fmla="*/ 223 h 685"/>
                <a:gd name="T4" fmla="*/ 361 w 455"/>
                <a:gd name="T5" fmla="*/ 246 h 685"/>
                <a:gd name="T6" fmla="*/ 353 w 455"/>
                <a:gd name="T7" fmla="*/ 269 h 685"/>
                <a:gd name="T8" fmla="*/ 341 w 455"/>
                <a:gd name="T9" fmla="*/ 299 h 685"/>
                <a:gd name="T10" fmla="*/ 322 w 455"/>
                <a:gd name="T11" fmla="*/ 321 h 685"/>
                <a:gd name="T12" fmla="*/ 295 w 455"/>
                <a:gd name="T13" fmla="*/ 319 h 685"/>
                <a:gd name="T14" fmla="*/ 261 w 455"/>
                <a:gd name="T15" fmla="*/ 324 h 685"/>
                <a:gd name="T16" fmla="*/ 236 w 455"/>
                <a:gd name="T17" fmla="*/ 351 h 685"/>
                <a:gd name="T18" fmla="*/ 230 w 455"/>
                <a:gd name="T19" fmla="*/ 388 h 685"/>
                <a:gd name="T20" fmla="*/ 236 w 455"/>
                <a:gd name="T21" fmla="*/ 424 h 685"/>
                <a:gd name="T22" fmla="*/ 267 w 455"/>
                <a:gd name="T23" fmla="*/ 451 h 685"/>
                <a:gd name="T24" fmla="*/ 251 w 455"/>
                <a:gd name="T25" fmla="*/ 459 h 685"/>
                <a:gd name="T26" fmla="*/ 211 w 455"/>
                <a:gd name="T27" fmla="*/ 447 h 685"/>
                <a:gd name="T28" fmla="*/ 176 w 455"/>
                <a:gd name="T29" fmla="*/ 445 h 685"/>
                <a:gd name="T30" fmla="*/ 196 w 455"/>
                <a:gd name="T31" fmla="*/ 495 h 685"/>
                <a:gd name="T32" fmla="*/ 205 w 455"/>
                <a:gd name="T33" fmla="*/ 516 h 685"/>
                <a:gd name="T34" fmla="*/ 209 w 455"/>
                <a:gd name="T35" fmla="*/ 547 h 685"/>
                <a:gd name="T36" fmla="*/ 196 w 455"/>
                <a:gd name="T37" fmla="*/ 586 h 685"/>
                <a:gd name="T38" fmla="*/ 173 w 455"/>
                <a:gd name="T39" fmla="*/ 607 h 685"/>
                <a:gd name="T40" fmla="*/ 132 w 455"/>
                <a:gd name="T41" fmla="*/ 643 h 685"/>
                <a:gd name="T42" fmla="*/ 115 w 455"/>
                <a:gd name="T43" fmla="*/ 684 h 685"/>
                <a:gd name="T44" fmla="*/ 77 w 455"/>
                <a:gd name="T45" fmla="*/ 662 h 685"/>
                <a:gd name="T46" fmla="*/ 65 w 455"/>
                <a:gd name="T47" fmla="*/ 639 h 685"/>
                <a:gd name="T48" fmla="*/ 48 w 455"/>
                <a:gd name="T49" fmla="*/ 618 h 685"/>
                <a:gd name="T50" fmla="*/ 9 w 455"/>
                <a:gd name="T51" fmla="*/ 599 h 685"/>
                <a:gd name="T52" fmla="*/ 2 w 455"/>
                <a:gd name="T53" fmla="*/ 555 h 685"/>
                <a:gd name="T54" fmla="*/ 36 w 455"/>
                <a:gd name="T55" fmla="*/ 511 h 685"/>
                <a:gd name="T56" fmla="*/ 65 w 455"/>
                <a:gd name="T57" fmla="*/ 515 h 685"/>
                <a:gd name="T58" fmla="*/ 52 w 455"/>
                <a:gd name="T59" fmla="*/ 488 h 685"/>
                <a:gd name="T60" fmla="*/ 19 w 455"/>
                <a:gd name="T61" fmla="*/ 468 h 685"/>
                <a:gd name="T62" fmla="*/ 34 w 455"/>
                <a:gd name="T63" fmla="*/ 447 h 685"/>
                <a:gd name="T64" fmla="*/ 19 w 455"/>
                <a:gd name="T65" fmla="*/ 420 h 685"/>
                <a:gd name="T66" fmla="*/ 44 w 455"/>
                <a:gd name="T67" fmla="*/ 392 h 685"/>
                <a:gd name="T68" fmla="*/ 38 w 455"/>
                <a:gd name="T69" fmla="*/ 369 h 685"/>
                <a:gd name="T70" fmla="*/ 27 w 455"/>
                <a:gd name="T71" fmla="*/ 324 h 685"/>
                <a:gd name="T72" fmla="*/ 59 w 455"/>
                <a:gd name="T73" fmla="*/ 286 h 685"/>
                <a:gd name="T74" fmla="*/ 69 w 455"/>
                <a:gd name="T75" fmla="*/ 255 h 685"/>
                <a:gd name="T76" fmla="*/ 80 w 455"/>
                <a:gd name="T77" fmla="*/ 217 h 685"/>
                <a:gd name="T78" fmla="*/ 100 w 455"/>
                <a:gd name="T79" fmla="*/ 201 h 685"/>
                <a:gd name="T80" fmla="*/ 117 w 455"/>
                <a:gd name="T81" fmla="*/ 178 h 685"/>
                <a:gd name="T82" fmla="*/ 138 w 455"/>
                <a:gd name="T83" fmla="*/ 178 h 685"/>
                <a:gd name="T84" fmla="*/ 161 w 455"/>
                <a:gd name="T85" fmla="*/ 167 h 685"/>
                <a:gd name="T86" fmla="*/ 174 w 455"/>
                <a:gd name="T87" fmla="*/ 134 h 685"/>
                <a:gd name="T88" fmla="*/ 217 w 455"/>
                <a:gd name="T89" fmla="*/ 103 h 685"/>
                <a:gd name="T90" fmla="*/ 201 w 455"/>
                <a:gd name="T91" fmla="*/ 78 h 685"/>
                <a:gd name="T92" fmla="*/ 174 w 455"/>
                <a:gd name="T93" fmla="*/ 61 h 685"/>
                <a:gd name="T94" fmla="*/ 159 w 455"/>
                <a:gd name="T95" fmla="*/ 48 h 685"/>
                <a:gd name="T96" fmla="*/ 161 w 455"/>
                <a:gd name="T97" fmla="*/ 25 h 685"/>
                <a:gd name="T98" fmla="*/ 182 w 455"/>
                <a:gd name="T99" fmla="*/ 32 h 685"/>
                <a:gd name="T100" fmla="*/ 228 w 455"/>
                <a:gd name="T101" fmla="*/ 30 h 685"/>
                <a:gd name="T102" fmla="*/ 270 w 455"/>
                <a:gd name="T103" fmla="*/ 27 h 685"/>
                <a:gd name="T104" fmla="*/ 324 w 455"/>
                <a:gd name="T105" fmla="*/ 23 h 685"/>
                <a:gd name="T106" fmla="*/ 355 w 455"/>
                <a:gd name="T107" fmla="*/ 2 h 685"/>
                <a:gd name="T108" fmla="*/ 382 w 455"/>
                <a:gd name="T109" fmla="*/ 30 h 685"/>
                <a:gd name="T110" fmla="*/ 407 w 455"/>
                <a:gd name="T111" fmla="*/ 52 h 685"/>
                <a:gd name="T112" fmla="*/ 416 w 455"/>
                <a:gd name="T113" fmla="*/ 78 h 685"/>
                <a:gd name="T114" fmla="*/ 426 w 455"/>
                <a:gd name="T115" fmla="*/ 123 h 685"/>
                <a:gd name="T116" fmla="*/ 449 w 455"/>
                <a:gd name="T117" fmla="*/ 123 h 685"/>
                <a:gd name="T118" fmla="*/ 426 w 455"/>
                <a:gd name="T119" fmla="*/ 159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5" h="685">
                  <a:moveTo>
                    <a:pt x="411" y="171"/>
                  </a:moveTo>
                  <a:lnTo>
                    <a:pt x="409" y="173"/>
                  </a:lnTo>
                  <a:lnTo>
                    <a:pt x="409" y="175"/>
                  </a:lnTo>
                  <a:lnTo>
                    <a:pt x="416" y="176"/>
                  </a:lnTo>
                  <a:lnTo>
                    <a:pt x="416" y="180"/>
                  </a:lnTo>
                  <a:lnTo>
                    <a:pt x="412" y="188"/>
                  </a:lnTo>
                  <a:lnTo>
                    <a:pt x="409" y="190"/>
                  </a:lnTo>
                  <a:lnTo>
                    <a:pt x="405" y="190"/>
                  </a:lnTo>
                  <a:lnTo>
                    <a:pt x="397" y="192"/>
                  </a:lnTo>
                  <a:lnTo>
                    <a:pt x="391" y="194"/>
                  </a:lnTo>
                  <a:lnTo>
                    <a:pt x="391" y="198"/>
                  </a:lnTo>
                  <a:lnTo>
                    <a:pt x="389" y="198"/>
                  </a:lnTo>
                  <a:lnTo>
                    <a:pt x="386" y="201"/>
                  </a:lnTo>
                  <a:lnTo>
                    <a:pt x="384" y="201"/>
                  </a:lnTo>
                  <a:lnTo>
                    <a:pt x="378" y="201"/>
                  </a:lnTo>
                  <a:lnTo>
                    <a:pt x="372" y="205"/>
                  </a:lnTo>
                  <a:lnTo>
                    <a:pt x="368" y="211"/>
                  </a:lnTo>
                  <a:lnTo>
                    <a:pt x="363" y="217"/>
                  </a:lnTo>
                  <a:lnTo>
                    <a:pt x="366" y="223"/>
                  </a:lnTo>
                  <a:lnTo>
                    <a:pt x="361" y="223"/>
                  </a:lnTo>
                  <a:lnTo>
                    <a:pt x="361" y="224"/>
                  </a:lnTo>
                  <a:lnTo>
                    <a:pt x="363" y="228"/>
                  </a:lnTo>
                  <a:lnTo>
                    <a:pt x="361" y="232"/>
                  </a:lnTo>
                  <a:lnTo>
                    <a:pt x="363" y="234"/>
                  </a:lnTo>
                  <a:lnTo>
                    <a:pt x="363" y="236"/>
                  </a:lnTo>
                  <a:lnTo>
                    <a:pt x="366" y="238"/>
                  </a:lnTo>
                  <a:lnTo>
                    <a:pt x="364" y="242"/>
                  </a:lnTo>
                  <a:lnTo>
                    <a:pt x="366" y="246"/>
                  </a:lnTo>
                  <a:lnTo>
                    <a:pt x="364" y="248"/>
                  </a:lnTo>
                  <a:lnTo>
                    <a:pt x="361" y="246"/>
                  </a:lnTo>
                  <a:lnTo>
                    <a:pt x="359" y="248"/>
                  </a:lnTo>
                  <a:lnTo>
                    <a:pt x="361" y="251"/>
                  </a:lnTo>
                  <a:lnTo>
                    <a:pt x="359" y="251"/>
                  </a:lnTo>
                  <a:lnTo>
                    <a:pt x="355" y="248"/>
                  </a:lnTo>
                  <a:lnTo>
                    <a:pt x="353" y="251"/>
                  </a:lnTo>
                  <a:lnTo>
                    <a:pt x="355" y="257"/>
                  </a:lnTo>
                  <a:lnTo>
                    <a:pt x="351" y="261"/>
                  </a:lnTo>
                  <a:lnTo>
                    <a:pt x="347" y="261"/>
                  </a:lnTo>
                  <a:lnTo>
                    <a:pt x="347" y="263"/>
                  </a:lnTo>
                  <a:lnTo>
                    <a:pt x="353" y="269"/>
                  </a:lnTo>
                  <a:lnTo>
                    <a:pt x="351" y="271"/>
                  </a:lnTo>
                  <a:lnTo>
                    <a:pt x="349" y="267"/>
                  </a:lnTo>
                  <a:lnTo>
                    <a:pt x="343" y="271"/>
                  </a:lnTo>
                  <a:lnTo>
                    <a:pt x="340" y="274"/>
                  </a:lnTo>
                  <a:lnTo>
                    <a:pt x="341" y="276"/>
                  </a:lnTo>
                  <a:lnTo>
                    <a:pt x="338" y="282"/>
                  </a:lnTo>
                  <a:lnTo>
                    <a:pt x="340" y="288"/>
                  </a:lnTo>
                  <a:lnTo>
                    <a:pt x="343" y="294"/>
                  </a:lnTo>
                  <a:lnTo>
                    <a:pt x="345" y="299"/>
                  </a:lnTo>
                  <a:lnTo>
                    <a:pt x="341" y="299"/>
                  </a:lnTo>
                  <a:lnTo>
                    <a:pt x="336" y="297"/>
                  </a:lnTo>
                  <a:lnTo>
                    <a:pt x="332" y="296"/>
                  </a:lnTo>
                  <a:lnTo>
                    <a:pt x="330" y="296"/>
                  </a:lnTo>
                  <a:lnTo>
                    <a:pt x="328" y="303"/>
                  </a:lnTo>
                  <a:lnTo>
                    <a:pt x="330" y="305"/>
                  </a:lnTo>
                  <a:lnTo>
                    <a:pt x="330" y="307"/>
                  </a:lnTo>
                  <a:lnTo>
                    <a:pt x="326" y="307"/>
                  </a:lnTo>
                  <a:lnTo>
                    <a:pt x="324" y="309"/>
                  </a:lnTo>
                  <a:lnTo>
                    <a:pt x="324" y="317"/>
                  </a:lnTo>
                  <a:lnTo>
                    <a:pt x="322" y="321"/>
                  </a:lnTo>
                  <a:lnTo>
                    <a:pt x="315" y="326"/>
                  </a:lnTo>
                  <a:lnTo>
                    <a:pt x="309" y="324"/>
                  </a:lnTo>
                  <a:lnTo>
                    <a:pt x="301" y="321"/>
                  </a:lnTo>
                  <a:lnTo>
                    <a:pt x="299" y="322"/>
                  </a:lnTo>
                  <a:lnTo>
                    <a:pt x="301" y="319"/>
                  </a:lnTo>
                  <a:lnTo>
                    <a:pt x="299" y="319"/>
                  </a:lnTo>
                  <a:lnTo>
                    <a:pt x="299" y="317"/>
                  </a:lnTo>
                  <a:lnTo>
                    <a:pt x="297" y="319"/>
                  </a:lnTo>
                  <a:lnTo>
                    <a:pt x="297" y="317"/>
                  </a:lnTo>
                  <a:lnTo>
                    <a:pt x="295" y="319"/>
                  </a:lnTo>
                  <a:lnTo>
                    <a:pt x="290" y="319"/>
                  </a:lnTo>
                  <a:lnTo>
                    <a:pt x="288" y="321"/>
                  </a:lnTo>
                  <a:lnTo>
                    <a:pt x="284" y="319"/>
                  </a:lnTo>
                  <a:lnTo>
                    <a:pt x="278" y="321"/>
                  </a:lnTo>
                  <a:lnTo>
                    <a:pt x="274" y="319"/>
                  </a:lnTo>
                  <a:lnTo>
                    <a:pt x="267" y="319"/>
                  </a:lnTo>
                  <a:lnTo>
                    <a:pt x="263" y="321"/>
                  </a:lnTo>
                  <a:lnTo>
                    <a:pt x="261" y="321"/>
                  </a:lnTo>
                  <a:lnTo>
                    <a:pt x="263" y="322"/>
                  </a:lnTo>
                  <a:lnTo>
                    <a:pt x="261" y="324"/>
                  </a:lnTo>
                  <a:lnTo>
                    <a:pt x="263" y="326"/>
                  </a:lnTo>
                  <a:lnTo>
                    <a:pt x="259" y="330"/>
                  </a:lnTo>
                  <a:lnTo>
                    <a:pt x="261" y="332"/>
                  </a:lnTo>
                  <a:lnTo>
                    <a:pt x="253" y="340"/>
                  </a:lnTo>
                  <a:lnTo>
                    <a:pt x="253" y="344"/>
                  </a:lnTo>
                  <a:lnTo>
                    <a:pt x="245" y="347"/>
                  </a:lnTo>
                  <a:lnTo>
                    <a:pt x="245" y="353"/>
                  </a:lnTo>
                  <a:lnTo>
                    <a:pt x="242" y="355"/>
                  </a:lnTo>
                  <a:lnTo>
                    <a:pt x="238" y="355"/>
                  </a:lnTo>
                  <a:lnTo>
                    <a:pt x="236" y="351"/>
                  </a:lnTo>
                  <a:lnTo>
                    <a:pt x="232" y="351"/>
                  </a:lnTo>
                  <a:lnTo>
                    <a:pt x="230" y="349"/>
                  </a:lnTo>
                  <a:lnTo>
                    <a:pt x="228" y="353"/>
                  </a:lnTo>
                  <a:lnTo>
                    <a:pt x="228" y="363"/>
                  </a:lnTo>
                  <a:lnTo>
                    <a:pt x="230" y="369"/>
                  </a:lnTo>
                  <a:lnTo>
                    <a:pt x="232" y="378"/>
                  </a:lnTo>
                  <a:lnTo>
                    <a:pt x="228" y="380"/>
                  </a:lnTo>
                  <a:lnTo>
                    <a:pt x="230" y="382"/>
                  </a:lnTo>
                  <a:lnTo>
                    <a:pt x="228" y="386"/>
                  </a:lnTo>
                  <a:lnTo>
                    <a:pt x="230" y="388"/>
                  </a:lnTo>
                  <a:lnTo>
                    <a:pt x="234" y="390"/>
                  </a:lnTo>
                  <a:lnTo>
                    <a:pt x="234" y="395"/>
                  </a:lnTo>
                  <a:lnTo>
                    <a:pt x="236" y="394"/>
                  </a:lnTo>
                  <a:lnTo>
                    <a:pt x="238" y="399"/>
                  </a:lnTo>
                  <a:lnTo>
                    <a:pt x="236" y="401"/>
                  </a:lnTo>
                  <a:lnTo>
                    <a:pt x="234" y="409"/>
                  </a:lnTo>
                  <a:lnTo>
                    <a:pt x="238" y="413"/>
                  </a:lnTo>
                  <a:lnTo>
                    <a:pt x="238" y="415"/>
                  </a:lnTo>
                  <a:lnTo>
                    <a:pt x="236" y="417"/>
                  </a:lnTo>
                  <a:lnTo>
                    <a:pt x="236" y="424"/>
                  </a:lnTo>
                  <a:lnTo>
                    <a:pt x="232" y="430"/>
                  </a:lnTo>
                  <a:lnTo>
                    <a:pt x="234" y="434"/>
                  </a:lnTo>
                  <a:lnTo>
                    <a:pt x="234" y="440"/>
                  </a:lnTo>
                  <a:lnTo>
                    <a:pt x="242" y="442"/>
                  </a:lnTo>
                  <a:lnTo>
                    <a:pt x="245" y="443"/>
                  </a:lnTo>
                  <a:lnTo>
                    <a:pt x="249" y="443"/>
                  </a:lnTo>
                  <a:lnTo>
                    <a:pt x="255" y="447"/>
                  </a:lnTo>
                  <a:lnTo>
                    <a:pt x="259" y="445"/>
                  </a:lnTo>
                  <a:lnTo>
                    <a:pt x="267" y="445"/>
                  </a:lnTo>
                  <a:lnTo>
                    <a:pt x="267" y="451"/>
                  </a:lnTo>
                  <a:lnTo>
                    <a:pt x="267" y="457"/>
                  </a:lnTo>
                  <a:lnTo>
                    <a:pt x="268" y="459"/>
                  </a:lnTo>
                  <a:lnTo>
                    <a:pt x="267" y="465"/>
                  </a:lnTo>
                  <a:lnTo>
                    <a:pt x="261" y="465"/>
                  </a:lnTo>
                  <a:lnTo>
                    <a:pt x="257" y="468"/>
                  </a:lnTo>
                  <a:lnTo>
                    <a:pt x="253" y="470"/>
                  </a:lnTo>
                  <a:lnTo>
                    <a:pt x="251" y="468"/>
                  </a:lnTo>
                  <a:lnTo>
                    <a:pt x="251" y="465"/>
                  </a:lnTo>
                  <a:lnTo>
                    <a:pt x="255" y="461"/>
                  </a:lnTo>
                  <a:lnTo>
                    <a:pt x="251" y="459"/>
                  </a:lnTo>
                  <a:lnTo>
                    <a:pt x="249" y="461"/>
                  </a:lnTo>
                  <a:lnTo>
                    <a:pt x="244" y="457"/>
                  </a:lnTo>
                  <a:lnTo>
                    <a:pt x="238" y="455"/>
                  </a:lnTo>
                  <a:lnTo>
                    <a:pt x="232" y="459"/>
                  </a:lnTo>
                  <a:lnTo>
                    <a:pt x="226" y="465"/>
                  </a:lnTo>
                  <a:lnTo>
                    <a:pt x="222" y="459"/>
                  </a:lnTo>
                  <a:lnTo>
                    <a:pt x="221" y="451"/>
                  </a:lnTo>
                  <a:lnTo>
                    <a:pt x="219" y="449"/>
                  </a:lnTo>
                  <a:lnTo>
                    <a:pt x="217" y="445"/>
                  </a:lnTo>
                  <a:lnTo>
                    <a:pt x="211" y="447"/>
                  </a:lnTo>
                  <a:lnTo>
                    <a:pt x="209" y="445"/>
                  </a:lnTo>
                  <a:lnTo>
                    <a:pt x="203" y="443"/>
                  </a:lnTo>
                  <a:lnTo>
                    <a:pt x="197" y="440"/>
                  </a:lnTo>
                  <a:lnTo>
                    <a:pt x="194" y="443"/>
                  </a:lnTo>
                  <a:lnTo>
                    <a:pt x="192" y="442"/>
                  </a:lnTo>
                  <a:lnTo>
                    <a:pt x="190" y="440"/>
                  </a:lnTo>
                  <a:lnTo>
                    <a:pt x="186" y="434"/>
                  </a:lnTo>
                  <a:lnTo>
                    <a:pt x="180" y="442"/>
                  </a:lnTo>
                  <a:lnTo>
                    <a:pt x="176" y="442"/>
                  </a:lnTo>
                  <a:lnTo>
                    <a:pt x="176" y="445"/>
                  </a:lnTo>
                  <a:lnTo>
                    <a:pt x="174" y="451"/>
                  </a:lnTo>
                  <a:lnTo>
                    <a:pt x="174" y="455"/>
                  </a:lnTo>
                  <a:lnTo>
                    <a:pt x="178" y="457"/>
                  </a:lnTo>
                  <a:lnTo>
                    <a:pt x="186" y="461"/>
                  </a:lnTo>
                  <a:lnTo>
                    <a:pt x="188" y="468"/>
                  </a:lnTo>
                  <a:lnTo>
                    <a:pt x="197" y="468"/>
                  </a:lnTo>
                  <a:lnTo>
                    <a:pt x="194" y="478"/>
                  </a:lnTo>
                  <a:lnTo>
                    <a:pt x="196" y="486"/>
                  </a:lnTo>
                  <a:lnTo>
                    <a:pt x="194" y="490"/>
                  </a:lnTo>
                  <a:lnTo>
                    <a:pt x="196" y="495"/>
                  </a:lnTo>
                  <a:lnTo>
                    <a:pt x="192" y="499"/>
                  </a:lnTo>
                  <a:lnTo>
                    <a:pt x="196" y="499"/>
                  </a:lnTo>
                  <a:lnTo>
                    <a:pt x="197" y="497"/>
                  </a:lnTo>
                  <a:lnTo>
                    <a:pt x="199" y="499"/>
                  </a:lnTo>
                  <a:lnTo>
                    <a:pt x="199" y="503"/>
                  </a:lnTo>
                  <a:lnTo>
                    <a:pt x="201" y="507"/>
                  </a:lnTo>
                  <a:lnTo>
                    <a:pt x="209" y="509"/>
                  </a:lnTo>
                  <a:lnTo>
                    <a:pt x="207" y="515"/>
                  </a:lnTo>
                  <a:lnTo>
                    <a:pt x="205" y="515"/>
                  </a:lnTo>
                  <a:lnTo>
                    <a:pt x="205" y="516"/>
                  </a:lnTo>
                  <a:lnTo>
                    <a:pt x="209" y="518"/>
                  </a:lnTo>
                  <a:lnTo>
                    <a:pt x="205" y="524"/>
                  </a:lnTo>
                  <a:lnTo>
                    <a:pt x="205" y="532"/>
                  </a:lnTo>
                  <a:lnTo>
                    <a:pt x="209" y="536"/>
                  </a:lnTo>
                  <a:lnTo>
                    <a:pt x="205" y="539"/>
                  </a:lnTo>
                  <a:lnTo>
                    <a:pt x="207" y="541"/>
                  </a:lnTo>
                  <a:lnTo>
                    <a:pt x="207" y="539"/>
                  </a:lnTo>
                  <a:lnTo>
                    <a:pt x="211" y="541"/>
                  </a:lnTo>
                  <a:lnTo>
                    <a:pt x="211" y="543"/>
                  </a:lnTo>
                  <a:lnTo>
                    <a:pt x="209" y="547"/>
                  </a:lnTo>
                  <a:lnTo>
                    <a:pt x="215" y="555"/>
                  </a:lnTo>
                  <a:lnTo>
                    <a:pt x="215" y="563"/>
                  </a:lnTo>
                  <a:lnTo>
                    <a:pt x="211" y="563"/>
                  </a:lnTo>
                  <a:lnTo>
                    <a:pt x="207" y="564"/>
                  </a:lnTo>
                  <a:lnTo>
                    <a:pt x="205" y="568"/>
                  </a:lnTo>
                  <a:lnTo>
                    <a:pt x="205" y="576"/>
                  </a:lnTo>
                  <a:lnTo>
                    <a:pt x="201" y="578"/>
                  </a:lnTo>
                  <a:lnTo>
                    <a:pt x="201" y="580"/>
                  </a:lnTo>
                  <a:lnTo>
                    <a:pt x="197" y="580"/>
                  </a:lnTo>
                  <a:lnTo>
                    <a:pt x="196" y="586"/>
                  </a:lnTo>
                  <a:lnTo>
                    <a:pt x="190" y="584"/>
                  </a:lnTo>
                  <a:lnTo>
                    <a:pt x="182" y="588"/>
                  </a:lnTo>
                  <a:lnTo>
                    <a:pt x="182" y="593"/>
                  </a:lnTo>
                  <a:lnTo>
                    <a:pt x="176" y="591"/>
                  </a:lnTo>
                  <a:lnTo>
                    <a:pt x="176" y="595"/>
                  </a:lnTo>
                  <a:lnTo>
                    <a:pt x="182" y="599"/>
                  </a:lnTo>
                  <a:lnTo>
                    <a:pt x="182" y="601"/>
                  </a:lnTo>
                  <a:lnTo>
                    <a:pt x="178" y="601"/>
                  </a:lnTo>
                  <a:lnTo>
                    <a:pt x="176" y="605"/>
                  </a:lnTo>
                  <a:lnTo>
                    <a:pt x="173" y="607"/>
                  </a:lnTo>
                  <a:lnTo>
                    <a:pt x="171" y="611"/>
                  </a:lnTo>
                  <a:lnTo>
                    <a:pt x="167" y="612"/>
                  </a:lnTo>
                  <a:lnTo>
                    <a:pt x="161" y="618"/>
                  </a:lnTo>
                  <a:lnTo>
                    <a:pt x="159" y="624"/>
                  </a:lnTo>
                  <a:lnTo>
                    <a:pt x="149" y="626"/>
                  </a:lnTo>
                  <a:lnTo>
                    <a:pt x="149" y="628"/>
                  </a:lnTo>
                  <a:lnTo>
                    <a:pt x="144" y="630"/>
                  </a:lnTo>
                  <a:lnTo>
                    <a:pt x="140" y="634"/>
                  </a:lnTo>
                  <a:lnTo>
                    <a:pt x="136" y="634"/>
                  </a:lnTo>
                  <a:lnTo>
                    <a:pt x="132" y="643"/>
                  </a:lnTo>
                  <a:lnTo>
                    <a:pt x="134" y="647"/>
                  </a:lnTo>
                  <a:lnTo>
                    <a:pt x="134" y="653"/>
                  </a:lnTo>
                  <a:lnTo>
                    <a:pt x="130" y="657"/>
                  </a:lnTo>
                  <a:lnTo>
                    <a:pt x="130" y="666"/>
                  </a:lnTo>
                  <a:lnTo>
                    <a:pt x="126" y="670"/>
                  </a:lnTo>
                  <a:lnTo>
                    <a:pt x="126" y="676"/>
                  </a:lnTo>
                  <a:lnTo>
                    <a:pt x="121" y="674"/>
                  </a:lnTo>
                  <a:lnTo>
                    <a:pt x="121" y="684"/>
                  </a:lnTo>
                  <a:lnTo>
                    <a:pt x="119" y="685"/>
                  </a:lnTo>
                  <a:lnTo>
                    <a:pt x="115" y="684"/>
                  </a:lnTo>
                  <a:lnTo>
                    <a:pt x="105" y="684"/>
                  </a:lnTo>
                  <a:lnTo>
                    <a:pt x="103" y="682"/>
                  </a:lnTo>
                  <a:lnTo>
                    <a:pt x="96" y="678"/>
                  </a:lnTo>
                  <a:lnTo>
                    <a:pt x="88" y="684"/>
                  </a:lnTo>
                  <a:lnTo>
                    <a:pt x="86" y="685"/>
                  </a:lnTo>
                  <a:lnTo>
                    <a:pt x="78" y="685"/>
                  </a:lnTo>
                  <a:lnTo>
                    <a:pt x="77" y="680"/>
                  </a:lnTo>
                  <a:lnTo>
                    <a:pt x="78" y="672"/>
                  </a:lnTo>
                  <a:lnTo>
                    <a:pt x="77" y="666"/>
                  </a:lnTo>
                  <a:lnTo>
                    <a:pt x="77" y="662"/>
                  </a:lnTo>
                  <a:lnTo>
                    <a:pt x="75" y="659"/>
                  </a:lnTo>
                  <a:lnTo>
                    <a:pt x="73" y="653"/>
                  </a:lnTo>
                  <a:lnTo>
                    <a:pt x="75" y="649"/>
                  </a:lnTo>
                  <a:lnTo>
                    <a:pt x="77" y="645"/>
                  </a:lnTo>
                  <a:lnTo>
                    <a:pt x="77" y="643"/>
                  </a:lnTo>
                  <a:lnTo>
                    <a:pt x="71" y="647"/>
                  </a:lnTo>
                  <a:lnTo>
                    <a:pt x="65" y="649"/>
                  </a:lnTo>
                  <a:lnTo>
                    <a:pt x="63" y="641"/>
                  </a:lnTo>
                  <a:lnTo>
                    <a:pt x="65" y="641"/>
                  </a:lnTo>
                  <a:lnTo>
                    <a:pt x="65" y="639"/>
                  </a:lnTo>
                  <a:lnTo>
                    <a:pt x="61" y="637"/>
                  </a:lnTo>
                  <a:lnTo>
                    <a:pt x="59" y="645"/>
                  </a:lnTo>
                  <a:lnTo>
                    <a:pt x="52" y="645"/>
                  </a:lnTo>
                  <a:lnTo>
                    <a:pt x="52" y="639"/>
                  </a:lnTo>
                  <a:lnTo>
                    <a:pt x="57" y="636"/>
                  </a:lnTo>
                  <a:lnTo>
                    <a:pt x="54" y="632"/>
                  </a:lnTo>
                  <a:lnTo>
                    <a:pt x="50" y="624"/>
                  </a:lnTo>
                  <a:lnTo>
                    <a:pt x="50" y="620"/>
                  </a:lnTo>
                  <a:lnTo>
                    <a:pt x="52" y="618"/>
                  </a:lnTo>
                  <a:lnTo>
                    <a:pt x="48" y="618"/>
                  </a:lnTo>
                  <a:lnTo>
                    <a:pt x="48" y="614"/>
                  </a:lnTo>
                  <a:lnTo>
                    <a:pt x="42" y="611"/>
                  </a:lnTo>
                  <a:lnTo>
                    <a:pt x="40" y="607"/>
                  </a:lnTo>
                  <a:lnTo>
                    <a:pt x="36" y="603"/>
                  </a:lnTo>
                  <a:lnTo>
                    <a:pt x="31" y="599"/>
                  </a:lnTo>
                  <a:lnTo>
                    <a:pt x="25" y="595"/>
                  </a:lnTo>
                  <a:lnTo>
                    <a:pt x="21" y="595"/>
                  </a:lnTo>
                  <a:lnTo>
                    <a:pt x="13" y="599"/>
                  </a:lnTo>
                  <a:lnTo>
                    <a:pt x="11" y="597"/>
                  </a:lnTo>
                  <a:lnTo>
                    <a:pt x="9" y="599"/>
                  </a:lnTo>
                  <a:lnTo>
                    <a:pt x="7" y="593"/>
                  </a:lnTo>
                  <a:lnTo>
                    <a:pt x="6" y="588"/>
                  </a:lnTo>
                  <a:lnTo>
                    <a:pt x="2" y="584"/>
                  </a:lnTo>
                  <a:lnTo>
                    <a:pt x="0" y="580"/>
                  </a:lnTo>
                  <a:lnTo>
                    <a:pt x="4" y="580"/>
                  </a:lnTo>
                  <a:lnTo>
                    <a:pt x="6" y="578"/>
                  </a:lnTo>
                  <a:lnTo>
                    <a:pt x="11" y="574"/>
                  </a:lnTo>
                  <a:lnTo>
                    <a:pt x="9" y="568"/>
                  </a:lnTo>
                  <a:lnTo>
                    <a:pt x="2" y="561"/>
                  </a:lnTo>
                  <a:lnTo>
                    <a:pt x="2" y="555"/>
                  </a:lnTo>
                  <a:lnTo>
                    <a:pt x="6" y="551"/>
                  </a:lnTo>
                  <a:lnTo>
                    <a:pt x="6" y="549"/>
                  </a:lnTo>
                  <a:lnTo>
                    <a:pt x="9" y="547"/>
                  </a:lnTo>
                  <a:lnTo>
                    <a:pt x="9" y="539"/>
                  </a:lnTo>
                  <a:lnTo>
                    <a:pt x="15" y="534"/>
                  </a:lnTo>
                  <a:lnTo>
                    <a:pt x="15" y="528"/>
                  </a:lnTo>
                  <a:lnTo>
                    <a:pt x="21" y="526"/>
                  </a:lnTo>
                  <a:lnTo>
                    <a:pt x="27" y="518"/>
                  </a:lnTo>
                  <a:lnTo>
                    <a:pt x="31" y="518"/>
                  </a:lnTo>
                  <a:lnTo>
                    <a:pt x="36" y="511"/>
                  </a:lnTo>
                  <a:lnTo>
                    <a:pt x="38" y="513"/>
                  </a:lnTo>
                  <a:lnTo>
                    <a:pt x="36" y="516"/>
                  </a:lnTo>
                  <a:lnTo>
                    <a:pt x="40" y="520"/>
                  </a:lnTo>
                  <a:lnTo>
                    <a:pt x="48" y="518"/>
                  </a:lnTo>
                  <a:lnTo>
                    <a:pt x="48" y="520"/>
                  </a:lnTo>
                  <a:lnTo>
                    <a:pt x="48" y="524"/>
                  </a:lnTo>
                  <a:lnTo>
                    <a:pt x="55" y="522"/>
                  </a:lnTo>
                  <a:lnTo>
                    <a:pt x="57" y="520"/>
                  </a:lnTo>
                  <a:lnTo>
                    <a:pt x="61" y="518"/>
                  </a:lnTo>
                  <a:lnTo>
                    <a:pt x="65" y="515"/>
                  </a:lnTo>
                  <a:lnTo>
                    <a:pt x="63" y="513"/>
                  </a:lnTo>
                  <a:lnTo>
                    <a:pt x="61" y="507"/>
                  </a:lnTo>
                  <a:lnTo>
                    <a:pt x="69" y="507"/>
                  </a:lnTo>
                  <a:lnTo>
                    <a:pt x="71" y="503"/>
                  </a:lnTo>
                  <a:lnTo>
                    <a:pt x="71" y="497"/>
                  </a:lnTo>
                  <a:lnTo>
                    <a:pt x="67" y="497"/>
                  </a:lnTo>
                  <a:lnTo>
                    <a:pt x="65" y="493"/>
                  </a:lnTo>
                  <a:lnTo>
                    <a:pt x="57" y="493"/>
                  </a:lnTo>
                  <a:lnTo>
                    <a:pt x="57" y="491"/>
                  </a:lnTo>
                  <a:lnTo>
                    <a:pt x="52" y="488"/>
                  </a:lnTo>
                  <a:lnTo>
                    <a:pt x="46" y="488"/>
                  </a:lnTo>
                  <a:lnTo>
                    <a:pt x="48" y="478"/>
                  </a:lnTo>
                  <a:lnTo>
                    <a:pt x="44" y="476"/>
                  </a:lnTo>
                  <a:lnTo>
                    <a:pt x="38" y="474"/>
                  </a:lnTo>
                  <a:lnTo>
                    <a:pt x="34" y="472"/>
                  </a:lnTo>
                  <a:lnTo>
                    <a:pt x="34" y="465"/>
                  </a:lnTo>
                  <a:lnTo>
                    <a:pt x="27" y="465"/>
                  </a:lnTo>
                  <a:lnTo>
                    <a:pt x="29" y="470"/>
                  </a:lnTo>
                  <a:lnTo>
                    <a:pt x="25" y="468"/>
                  </a:lnTo>
                  <a:lnTo>
                    <a:pt x="19" y="468"/>
                  </a:lnTo>
                  <a:lnTo>
                    <a:pt x="19" y="467"/>
                  </a:lnTo>
                  <a:lnTo>
                    <a:pt x="23" y="467"/>
                  </a:lnTo>
                  <a:lnTo>
                    <a:pt x="31" y="461"/>
                  </a:lnTo>
                  <a:lnTo>
                    <a:pt x="29" y="457"/>
                  </a:lnTo>
                  <a:lnTo>
                    <a:pt x="21" y="457"/>
                  </a:lnTo>
                  <a:lnTo>
                    <a:pt x="21" y="453"/>
                  </a:lnTo>
                  <a:lnTo>
                    <a:pt x="25" y="451"/>
                  </a:lnTo>
                  <a:lnTo>
                    <a:pt x="29" y="453"/>
                  </a:lnTo>
                  <a:lnTo>
                    <a:pt x="32" y="453"/>
                  </a:lnTo>
                  <a:lnTo>
                    <a:pt x="34" y="447"/>
                  </a:lnTo>
                  <a:lnTo>
                    <a:pt x="36" y="438"/>
                  </a:lnTo>
                  <a:lnTo>
                    <a:pt x="34" y="436"/>
                  </a:lnTo>
                  <a:lnTo>
                    <a:pt x="36" y="434"/>
                  </a:lnTo>
                  <a:lnTo>
                    <a:pt x="34" y="432"/>
                  </a:lnTo>
                  <a:lnTo>
                    <a:pt x="27" y="430"/>
                  </a:lnTo>
                  <a:lnTo>
                    <a:pt x="23" y="432"/>
                  </a:lnTo>
                  <a:lnTo>
                    <a:pt x="19" y="430"/>
                  </a:lnTo>
                  <a:lnTo>
                    <a:pt x="19" y="428"/>
                  </a:lnTo>
                  <a:lnTo>
                    <a:pt x="23" y="424"/>
                  </a:lnTo>
                  <a:lnTo>
                    <a:pt x="19" y="420"/>
                  </a:lnTo>
                  <a:lnTo>
                    <a:pt x="25" y="418"/>
                  </a:lnTo>
                  <a:lnTo>
                    <a:pt x="29" y="417"/>
                  </a:lnTo>
                  <a:lnTo>
                    <a:pt x="32" y="417"/>
                  </a:lnTo>
                  <a:lnTo>
                    <a:pt x="36" y="413"/>
                  </a:lnTo>
                  <a:lnTo>
                    <a:pt x="44" y="411"/>
                  </a:lnTo>
                  <a:lnTo>
                    <a:pt x="44" y="409"/>
                  </a:lnTo>
                  <a:lnTo>
                    <a:pt x="40" y="403"/>
                  </a:lnTo>
                  <a:lnTo>
                    <a:pt x="44" y="399"/>
                  </a:lnTo>
                  <a:lnTo>
                    <a:pt x="42" y="397"/>
                  </a:lnTo>
                  <a:lnTo>
                    <a:pt x="44" y="392"/>
                  </a:lnTo>
                  <a:lnTo>
                    <a:pt x="44" y="386"/>
                  </a:lnTo>
                  <a:lnTo>
                    <a:pt x="44" y="384"/>
                  </a:lnTo>
                  <a:lnTo>
                    <a:pt x="44" y="382"/>
                  </a:lnTo>
                  <a:lnTo>
                    <a:pt x="46" y="380"/>
                  </a:lnTo>
                  <a:lnTo>
                    <a:pt x="40" y="380"/>
                  </a:lnTo>
                  <a:lnTo>
                    <a:pt x="32" y="382"/>
                  </a:lnTo>
                  <a:lnTo>
                    <a:pt x="31" y="378"/>
                  </a:lnTo>
                  <a:lnTo>
                    <a:pt x="34" y="374"/>
                  </a:lnTo>
                  <a:lnTo>
                    <a:pt x="40" y="370"/>
                  </a:lnTo>
                  <a:lnTo>
                    <a:pt x="38" y="369"/>
                  </a:lnTo>
                  <a:lnTo>
                    <a:pt x="38" y="363"/>
                  </a:lnTo>
                  <a:lnTo>
                    <a:pt x="38" y="357"/>
                  </a:lnTo>
                  <a:lnTo>
                    <a:pt x="38" y="349"/>
                  </a:lnTo>
                  <a:lnTo>
                    <a:pt x="36" y="345"/>
                  </a:lnTo>
                  <a:lnTo>
                    <a:pt x="29" y="345"/>
                  </a:lnTo>
                  <a:lnTo>
                    <a:pt x="25" y="336"/>
                  </a:lnTo>
                  <a:lnTo>
                    <a:pt x="29" y="334"/>
                  </a:lnTo>
                  <a:lnTo>
                    <a:pt x="27" y="326"/>
                  </a:lnTo>
                  <a:lnTo>
                    <a:pt x="29" y="324"/>
                  </a:lnTo>
                  <a:lnTo>
                    <a:pt x="27" y="324"/>
                  </a:lnTo>
                  <a:lnTo>
                    <a:pt x="29" y="319"/>
                  </a:lnTo>
                  <a:lnTo>
                    <a:pt x="34" y="317"/>
                  </a:lnTo>
                  <a:lnTo>
                    <a:pt x="36" y="315"/>
                  </a:lnTo>
                  <a:lnTo>
                    <a:pt x="40" y="315"/>
                  </a:lnTo>
                  <a:lnTo>
                    <a:pt x="48" y="311"/>
                  </a:lnTo>
                  <a:lnTo>
                    <a:pt x="54" y="305"/>
                  </a:lnTo>
                  <a:lnTo>
                    <a:pt x="52" y="301"/>
                  </a:lnTo>
                  <a:lnTo>
                    <a:pt x="55" y="296"/>
                  </a:lnTo>
                  <a:lnTo>
                    <a:pt x="55" y="290"/>
                  </a:lnTo>
                  <a:lnTo>
                    <a:pt x="59" y="286"/>
                  </a:lnTo>
                  <a:lnTo>
                    <a:pt x="59" y="278"/>
                  </a:lnTo>
                  <a:lnTo>
                    <a:pt x="57" y="276"/>
                  </a:lnTo>
                  <a:lnTo>
                    <a:pt x="59" y="274"/>
                  </a:lnTo>
                  <a:lnTo>
                    <a:pt x="57" y="273"/>
                  </a:lnTo>
                  <a:lnTo>
                    <a:pt x="59" y="271"/>
                  </a:lnTo>
                  <a:lnTo>
                    <a:pt x="57" y="265"/>
                  </a:lnTo>
                  <a:lnTo>
                    <a:pt x="59" y="261"/>
                  </a:lnTo>
                  <a:lnTo>
                    <a:pt x="59" y="259"/>
                  </a:lnTo>
                  <a:lnTo>
                    <a:pt x="61" y="255"/>
                  </a:lnTo>
                  <a:lnTo>
                    <a:pt x="69" y="255"/>
                  </a:lnTo>
                  <a:lnTo>
                    <a:pt x="71" y="249"/>
                  </a:lnTo>
                  <a:lnTo>
                    <a:pt x="71" y="246"/>
                  </a:lnTo>
                  <a:lnTo>
                    <a:pt x="73" y="246"/>
                  </a:lnTo>
                  <a:lnTo>
                    <a:pt x="71" y="238"/>
                  </a:lnTo>
                  <a:lnTo>
                    <a:pt x="73" y="236"/>
                  </a:lnTo>
                  <a:lnTo>
                    <a:pt x="71" y="234"/>
                  </a:lnTo>
                  <a:lnTo>
                    <a:pt x="73" y="232"/>
                  </a:lnTo>
                  <a:lnTo>
                    <a:pt x="75" y="230"/>
                  </a:lnTo>
                  <a:lnTo>
                    <a:pt x="77" y="224"/>
                  </a:lnTo>
                  <a:lnTo>
                    <a:pt x="80" y="217"/>
                  </a:lnTo>
                  <a:lnTo>
                    <a:pt x="84" y="217"/>
                  </a:lnTo>
                  <a:lnTo>
                    <a:pt x="86" y="223"/>
                  </a:lnTo>
                  <a:lnTo>
                    <a:pt x="90" y="223"/>
                  </a:lnTo>
                  <a:lnTo>
                    <a:pt x="90" y="219"/>
                  </a:lnTo>
                  <a:lnTo>
                    <a:pt x="86" y="215"/>
                  </a:lnTo>
                  <a:lnTo>
                    <a:pt x="92" y="213"/>
                  </a:lnTo>
                  <a:lnTo>
                    <a:pt x="92" y="209"/>
                  </a:lnTo>
                  <a:lnTo>
                    <a:pt x="92" y="207"/>
                  </a:lnTo>
                  <a:lnTo>
                    <a:pt x="92" y="205"/>
                  </a:lnTo>
                  <a:lnTo>
                    <a:pt x="100" y="201"/>
                  </a:lnTo>
                  <a:lnTo>
                    <a:pt x="103" y="196"/>
                  </a:lnTo>
                  <a:lnTo>
                    <a:pt x="102" y="196"/>
                  </a:lnTo>
                  <a:lnTo>
                    <a:pt x="103" y="192"/>
                  </a:lnTo>
                  <a:lnTo>
                    <a:pt x="102" y="188"/>
                  </a:lnTo>
                  <a:lnTo>
                    <a:pt x="102" y="180"/>
                  </a:lnTo>
                  <a:lnTo>
                    <a:pt x="107" y="178"/>
                  </a:lnTo>
                  <a:lnTo>
                    <a:pt x="109" y="176"/>
                  </a:lnTo>
                  <a:lnTo>
                    <a:pt x="111" y="176"/>
                  </a:lnTo>
                  <a:lnTo>
                    <a:pt x="111" y="180"/>
                  </a:lnTo>
                  <a:lnTo>
                    <a:pt x="117" y="178"/>
                  </a:lnTo>
                  <a:lnTo>
                    <a:pt x="119" y="175"/>
                  </a:lnTo>
                  <a:lnTo>
                    <a:pt x="121" y="175"/>
                  </a:lnTo>
                  <a:lnTo>
                    <a:pt x="123" y="176"/>
                  </a:lnTo>
                  <a:lnTo>
                    <a:pt x="125" y="171"/>
                  </a:lnTo>
                  <a:lnTo>
                    <a:pt x="130" y="173"/>
                  </a:lnTo>
                  <a:lnTo>
                    <a:pt x="132" y="178"/>
                  </a:lnTo>
                  <a:lnTo>
                    <a:pt x="134" y="180"/>
                  </a:lnTo>
                  <a:lnTo>
                    <a:pt x="136" y="180"/>
                  </a:lnTo>
                  <a:lnTo>
                    <a:pt x="136" y="176"/>
                  </a:lnTo>
                  <a:lnTo>
                    <a:pt x="138" y="178"/>
                  </a:lnTo>
                  <a:lnTo>
                    <a:pt x="138" y="175"/>
                  </a:lnTo>
                  <a:lnTo>
                    <a:pt x="142" y="176"/>
                  </a:lnTo>
                  <a:lnTo>
                    <a:pt x="144" y="173"/>
                  </a:lnTo>
                  <a:lnTo>
                    <a:pt x="148" y="171"/>
                  </a:lnTo>
                  <a:lnTo>
                    <a:pt x="149" y="171"/>
                  </a:lnTo>
                  <a:lnTo>
                    <a:pt x="151" y="169"/>
                  </a:lnTo>
                  <a:lnTo>
                    <a:pt x="155" y="171"/>
                  </a:lnTo>
                  <a:lnTo>
                    <a:pt x="157" y="171"/>
                  </a:lnTo>
                  <a:lnTo>
                    <a:pt x="157" y="167"/>
                  </a:lnTo>
                  <a:lnTo>
                    <a:pt x="161" y="167"/>
                  </a:lnTo>
                  <a:lnTo>
                    <a:pt x="159" y="161"/>
                  </a:lnTo>
                  <a:lnTo>
                    <a:pt x="163" y="157"/>
                  </a:lnTo>
                  <a:lnTo>
                    <a:pt x="167" y="157"/>
                  </a:lnTo>
                  <a:lnTo>
                    <a:pt x="169" y="155"/>
                  </a:lnTo>
                  <a:lnTo>
                    <a:pt x="171" y="159"/>
                  </a:lnTo>
                  <a:lnTo>
                    <a:pt x="173" y="155"/>
                  </a:lnTo>
                  <a:lnTo>
                    <a:pt x="171" y="150"/>
                  </a:lnTo>
                  <a:lnTo>
                    <a:pt x="176" y="146"/>
                  </a:lnTo>
                  <a:lnTo>
                    <a:pt x="173" y="138"/>
                  </a:lnTo>
                  <a:lnTo>
                    <a:pt x="174" y="134"/>
                  </a:lnTo>
                  <a:lnTo>
                    <a:pt x="184" y="132"/>
                  </a:lnTo>
                  <a:lnTo>
                    <a:pt x="184" y="128"/>
                  </a:lnTo>
                  <a:lnTo>
                    <a:pt x="194" y="125"/>
                  </a:lnTo>
                  <a:lnTo>
                    <a:pt x="190" y="115"/>
                  </a:lnTo>
                  <a:lnTo>
                    <a:pt x="192" y="113"/>
                  </a:lnTo>
                  <a:lnTo>
                    <a:pt x="197" y="111"/>
                  </a:lnTo>
                  <a:lnTo>
                    <a:pt x="203" y="111"/>
                  </a:lnTo>
                  <a:lnTo>
                    <a:pt x="205" y="107"/>
                  </a:lnTo>
                  <a:lnTo>
                    <a:pt x="213" y="109"/>
                  </a:lnTo>
                  <a:lnTo>
                    <a:pt x="217" y="103"/>
                  </a:lnTo>
                  <a:lnTo>
                    <a:pt x="215" y="102"/>
                  </a:lnTo>
                  <a:lnTo>
                    <a:pt x="215" y="96"/>
                  </a:lnTo>
                  <a:lnTo>
                    <a:pt x="221" y="90"/>
                  </a:lnTo>
                  <a:lnTo>
                    <a:pt x="221" y="84"/>
                  </a:lnTo>
                  <a:lnTo>
                    <a:pt x="215" y="80"/>
                  </a:lnTo>
                  <a:lnTo>
                    <a:pt x="211" y="82"/>
                  </a:lnTo>
                  <a:lnTo>
                    <a:pt x="211" y="77"/>
                  </a:lnTo>
                  <a:lnTo>
                    <a:pt x="207" y="77"/>
                  </a:lnTo>
                  <a:lnTo>
                    <a:pt x="205" y="78"/>
                  </a:lnTo>
                  <a:lnTo>
                    <a:pt x="201" y="78"/>
                  </a:lnTo>
                  <a:lnTo>
                    <a:pt x="203" y="75"/>
                  </a:lnTo>
                  <a:lnTo>
                    <a:pt x="201" y="75"/>
                  </a:lnTo>
                  <a:lnTo>
                    <a:pt x="197" y="75"/>
                  </a:lnTo>
                  <a:lnTo>
                    <a:pt x="197" y="71"/>
                  </a:lnTo>
                  <a:lnTo>
                    <a:pt x="196" y="69"/>
                  </a:lnTo>
                  <a:lnTo>
                    <a:pt x="196" y="67"/>
                  </a:lnTo>
                  <a:lnTo>
                    <a:pt x="192" y="63"/>
                  </a:lnTo>
                  <a:lnTo>
                    <a:pt x="182" y="65"/>
                  </a:lnTo>
                  <a:lnTo>
                    <a:pt x="180" y="61"/>
                  </a:lnTo>
                  <a:lnTo>
                    <a:pt x="174" y="61"/>
                  </a:lnTo>
                  <a:lnTo>
                    <a:pt x="173" y="57"/>
                  </a:lnTo>
                  <a:lnTo>
                    <a:pt x="169" y="63"/>
                  </a:lnTo>
                  <a:lnTo>
                    <a:pt x="165" y="63"/>
                  </a:lnTo>
                  <a:lnTo>
                    <a:pt x="163" y="65"/>
                  </a:lnTo>
                  <a:lnTo>
                    <a:pt x="159" y="67"/>
                  </a:lnTo>
                  <a:lnTo>
                    <a:pt x="159" y="61"/>
                  </a:lnTo>
                  <a:lnTo>
                    <a:pt x="155" y="59"/>
                  </a:lnTo>
                  <a:lnTo>
                    <a:pt x="155" y="55"/>
                  </a:lnTo>
                  <a:lnTo>
                    <a:pt x="159" y="55"/>
                  </a:lnTo>
                  <a:lnTo>
                    <a:pt x="159" y="48"/>
                  </a:lnTo>
                  <a:lnTo>
                    <a:pt x="163" y="48"/>
                  </a:lnTo>
                  <a:lnTo>
                    <a:pt x="169" y="42"/>
                  </a:lnTo>
                  <a:lnTo>
                    <a:pt x="167" y="40"/>
                  </a:lnTo>
                  <a:lnTo>
                    <a:pt x="167" y="38"/>
                  </a:lnTo>
                  <a:lnTo>
                    <a:pt x="163" y="36"/>
                  </a:lnTo>
                  <a:lnTo>
                    <a:pt x="163" y="32"/>
                  </a:lnTo>
                  <a:lnTo>
                    <a:pt x="163" y="29"/>
                  </a:lnTo>
                  <a:lnTo>
                    <a:pt x="159" y="29"/>
                  </a:lnTo>
                  <a:lnTo>
                    <a:pt x="159" y="27"/>
                  </a:lnTo>
                  <a:lnTo>
                    <a:pt x="161" y="25"/>
                  </a:lnTo>
                  <a:lnTo>
                    <a:pt x="159" y="25"/>
                  </a:lnTo>
                  <a:lnTo>
                    <a:pt x="159" y="23"/>
                  </a:lnTo>
                  <a:lnTo>
                    <a:pt x="167" y="19"/>
                  </a:lnTo>
                  <a:lnTo>
                    <a:pt x="169" y="25"/>
                  </a:lnTo>
                  <a:lnTo>
                    <a:pt x="171" y="25"/>
                  </a:lnTo>
                  <a:lnTo>
                    <a:pt x="171" y="27"/>
                  </a:lnTo>
                  <a:lnTo>
                    <a:pt x="173" y="27"/>
                  </a:lnTo>
                  <a:lnTo>
                    <a:pt x="173" y="29"/>
                  </a:lnTo>
                  <a:lnTo>
                    <a:pt x="178" y="32"/>
                  </a:lnTo>
                  <a:lnTo>
                    <a:pt x="182" y="32"/>
                  </a:lnTo>
                  <a:lnTo>
                    <a:pt x="190" y="29"/>
                  </a:lnTo>
                  <a:lnTo>
                    <a:pt x="194" y="25"/>
                  </a:lnTo>
                  <a:lnTo>
                    <a:pt x="196" y="27"/>
                  </a:lnTo>
                  <a:lnTo>
                    <a:pt x="201" y="27"/>
                  </a:lnTo>
                  <a:lnTo>
                    <a:pt x="207" y="30"/>
                  </a:lnTo>
                  <a:lnTo>
                    <a:pt x="219" y="30"/>
                  </a:lnTo>
                  <a:lnTo>
                    <a:pt x="222" y="27"/>
                  </a:lnTo>
                  <a:lnTo>
                    <a:pt x="222" y="30"/>
                  </a:lnTo>
                  <a:lnTo>
                    <a:pt x="226" y="32"/>
                  </a:lnTo>
                  <a:lnTo>
                    <a:pt x="228" y="30"/>
                  </a:lnTo>
                  <a:lnTo>
                    <a:pt x="234" y="32"/>
                  </a:lnTo>
                  <a:lnTo>
                    <a:pt x="244" y="32"/>
                  </a:lnTo>
                  <a:lnTo>
                    <a:pt x="251" y="32"/>
                  </a:lnTo>
                  <a:lnTo>
                    <a:pt x="253" y="34"/>
                  </a:lnTo>
                  <a:lnTo>
                    <a:pt x="257" y="34"/>
                  </a:lnTo>
                  <a:lnTo>
                    <a:pt x="259" y="34"/>
                  </a:lnTo>
                  <a:lnTo>
                    <a:pt x="259" y="30"/>
                  </a:lnTo>
                  <a:lnTo>
                    <a:pt x="261" y="30"/>
                  </a:lnTo>
                  <a:lnTo>
                    <a:pt x="265" y="30"/>
                  </a:lnTo>
                  <a:lnTo>
                    <a:pt x="270" y="27"/>
                  </a:lnTo>
                  <a:lnTo>
                    <a:pt x="272" y="21"/>
                  </a:lnTo>
                  <a:lnTo>
                    <a:pt x="276" y="19"/>
                  </a:lnTo>
                  <a:lnTo>
                    <a:pt x="282" y="21"/>
                  </a:lnTo>
                  <a:lnTo>
                    <a:pt x="288" y="15"/>
                  </a:lnTo>
                  <a:lnTo>
                    <a:pt x="290" y="17"/>
                  </a:lnTo>
                  <a:lnTo>
                    <a:pt x="295" y="21"/>
                  </a:lnTo>
                  <a:lnTo>
                    <a:pt x="303" y="25"/>
                  </a:lnTo>
                  <a:lnTo>
                    <a:pt x="311" y="25"/>
                  </a:lnTo>
                  <a:lnTo>
                    <a:pt x="318" y="25"/>
                  </a:lnTo>
                  <a:lnTo>
                    <a:pt x="324" y="23"/>
                  </a:lnTo>
                  <a:lnTo>
                    <a:pt x="324" y="21"/>
                  </a:lnTo>
                  <a:lnTo>
                    <a:pt x="330" y="21"/>
                  </a:lnTo>
                  <a:lnTo>
                    <a:pt x="332" y="13"/>
                  </a:lnTo>
                  <a:lnTo>
                    <a:pt x="334" y="9"/>
                  </a:lnTo>
                  <a:lnTo>
                    <a:pt x="338" y="9"/>
                  </a:lnTo>
                  <a:lnTo>
                    <a:pt x="340" y="4"/>
                  </a:lnTo>
                  <a:lnTo>
                    <a:pt x="343" y="0"/>
                  </a:lnTo>
                  <a:lnTo>
                    <a:pt x="349" y="2"/>
                  </a:lnTo>
                  <a:lnTo>
                    <a:pt x="351" y="2"/>
                  </a:lnTo>
                  <a:lnTo>
                    <a:pt x="355" y="2"/>
                  </a:lnTo>
                  <a:lnTo>
                    <a:pt x="357" y="7"/>
                  </a:lnTo>
                  <a:lnTo>
                    <a:pt x="363" y="9"/>
                  </a:lnTo>
                  <a:lnTo>
                    <a:pt x="363" y="13"/>
                  </a:lnTo>
                  <a:lnTo>
                    <a:pt x="366" y="19"/>
                  </a:lnTo>
                  <a:lnTo>
                    <a:pt x="366" y="23"/>
                  </a:lnTo>
                  <a:lnTo>
                    <a:pt x="370" y="23"/>
                  </a:lnTo>
                  <a:lnTo>
                    <a:pt x="368" y="27"/>
                  </a:lnTo>
                  <a:lnTo>
                    <a:pt x="378" y="29"/>
                  </a:lnTo>
                  <a:lnTo>
                    <a:pt x="378" y="30"/>
                  </a:lnTo>
                  <a:lnTo>
                    <a:pt x="382" y="30"/>
                  </a:lnTo>
                  <a:lnTo>
                    <a:pt x="382" y="32"/>
                  </a:lnTo>
                  <a:lnTo>
                    <a:pt x="386" y="38"/>
                  </a:lnTo>
                  <a:lnTo>
                    <a:pt x="387" y="42"/>
                  </a:lnTo>
                  <a:lnTo>
                    <a:pt x="384" y="46"/>
                  </a:lnTo>
                  <a:lnTo>
                    <a:pt x="387" y="50"/>
                  </a:lnTo>
                  <a:lnTo>
                    <a:pt x="389" y="54"/>
                  </a:lnTo>
                  <a:lnTo>
                    <a:pt x="395" y="55"/>
                  </a:lnTo>
                  <a:lnTo>
                    <a:pt x="401" y="57"/>
                  </a:lnTo>
                  <a:lnTo>
                    <a:pt x="407" y="57"/>
                  </a:lnTo>
                  <a:lnTo>
                    <a:pt x="407" y="52"/>
                  </a:lnTo>
                  <a:lnTo>
                    <a:pt x="414" y="52"/>
                  </a:lnTo>
                  <a:lnTo>
                    <a:pt x="416" y="54"/>
                  </a:lnTo>
                  <a:lnTo>
                    <a:pt x="416" y="61"/>
                  </a:lnTo>
                  <a:lnTo>
                    <a:pt x="414" y="63"/>
                  </a:lnTo>
                  <a:lnTo>
                    <a:pt x="416" y="65"/>
                  </a:lnTo>
                  <a:lnTo>
                    <a:pt x="411" y="71"/>
                  </a:lnTo>
                  <a:lnTo>
                    <a:pt x="411" y="75"/>
                  </a:lnTo>
                  <a:lnTo>
                    <a:pt x="409" y="78"/>
                  </a:lnTo>
                  <a:lnTo>
                    <a:pt x="414" y="82"/>
                  </a:lnTo>
                  <a:lnTo>
                    <a:pt x="416" y="78"/>
                  </a:lnTo>
                  <a:lnTo>
                    <a:pt x="420" y="84"/>
                  </a:lnTo>
                  <a:lnTo>
                    <a:pt x="420" y="86"/>
                  </a:lnTo>
                  <a:lnTo>
                    <a:pt x="418" y="94"/>
                  </a:lnTo>
                  <a:lnTo>
                    <a:pt x="418" y="98"/>
                  </a:lnTo>
                  <a:lnTo>
                    <a:pt x="416" y="103"/>
                  </a:lnTo>
                  <a:lnTo>
                    <a:pt x="416" y="105"/>
                  </a:lnTo>
                  <a:lnTo>
                    <a:pt x="422" y="109"/>
                  </a:lnTo>
                  <a:lnTo>
                    <a:pt x="426" y="111"/>
                  </a:lnTo>
                  <a:lnTo>
                    <a:pt x="426" y="119"/>
                  </a:lnTo>
                  <a:lnTo>
                    <a:pt x="426" y="123"/>
                  </a:lnTo>
                  <a:lnTo>
                    <a:pt x="430" y="123"/>
                  </a:lnTo>
                  <a:lnTo>
                    <a:pt x="432" y="117"/>
                  </a:lnTo>
                  <a:lnTo>
                    <a:pt x="434" y="117"/>
                  </a:lnTo>
                  <a:lnTo>
                    <a:pt x="434" y="119"/>
                  </a:lnTo>
                  <a:lnTo>
                    <a:pt x="435" y="123"/>
                  </a:lnTo>
                  <a:lnTo>
                    <a:pt x="434" y="123"/>
                  </a:lnTo>
                  <a:lnTo>
                    <a:pt x="439" y="123"/>
                  </a:lnTo>
                  <a:lnTo>
                    <a:pt x="441" y="121"/>
                  </a:lnTo>
                  <a:lnTo>
                    <a:pt x="441" y="125"/>
                  </a:lnTo>
                  <a:lnTo>
                    <a:pt x="449" y="123"/>
                  </a:lnTo>
                  <a:lnTo>
                    <a:pt x="455" y="127"/>
                  </a:lnTo>
                  <a:lnTo>
                    <a:pt x="453" y="128"/>
                  </a:lnTo>
                  <a:lnTo>
                    <a:pt x="451" y="130"/>
                  </a:lnTo>
                  <a:lnTo>
                    <a:pt x="451" y="134"/>
                  </a:lnTo>
                  <a:lnTo>
                    <a:pt x="447" y="134"/>
                  </a:lnTo>
                  <a:lnTo>
                    <a:pt x="447" y="140"/>
                  </a:lnTo>
                  <a:lnTo>
                    <a:pt x="443" y="144"/>
                  </a:lnTo>
                  <a:lnTo>
                    <a:pt x="435" y="148"/>
                  </a:lnTo>
                  <a:lnTo>
                    <a:pt x="435" y="155"/>
                  </a:lnTo>
                  <a:lnTo>
                    <a:pt x="426" y="159"/>
                  </a:lnTo>
                  <a:lnTo>
                    <a:pt x="420" y="159"/>
                  </a:lnTo>
                  <a:lnTo>
                    <a:pt x="418" y="161"/>
                  </a:lnTo>
                  <a:lnTo>
                    <a:pt x="412" y="167"/>
                  </a:lnTo>
                  <a:lnTo>
                    <a:pt x="411" y="17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1">
              <a:extLst>
                <a:ext uri="{FF2B5EF4-FFF2-40B4-BE49-F238E27FC236}">
                  <a16:creationId xmlns:a16="http://schemas.microsoft.com/office/drawing/2014/main" id="{D2D5AFD1-6FE9-4A6A-98BE-AC93F0DB25B7}"/>
                </a:ext>
              </a:extLst>
            </p:cNvPr>
            <p:cNvSpPr>
              <a:spLocks noEditPoints="1"/>
            </p:cNvSpPr>
            <p:nvPr/>
          </p:nvSpPr>
          <p:spPr bwMode="gray">
            <a:xfrm>
              <a:off x="4257676" y="4086226"/>
              <a:ext cx="50800" cy="52387"/>
            </a:xfrm>
            <a:custGeom>
              <a:avLst/>
              <a:gdLst>
                <a:gd name="T0" fmla="*/ 32 w 32"/>
                <a:gd name="T1" fmla="*/ 25 h 33"/>
                <a:gd name="T2" fmla="*/ 32 w 32"/>
                <a:gd name="T3" fmla="*/ 29 h 33"/>
                <a:gd name="T4" fmla="*/ 30 w 32"/>
                <a:gd name="T5" fmla="*/ 31 h 33"/>
                <a:gd name="T6" fmla="*/ 30 w 32"/>
                <a:gd name="T7" fmla="*/ 33 h 33"/>
                <a:gd name="T8" fmla="*/ 27 w 32"/>
                <a:gd name="T9" fmla="*/ 33 h 33"/>
                <a:gd name="T10" fmla="*/ 25 w 32"/>
                <a:gd name="T11" fmla="*/ 29 h 33"/>
                <a:gd name="T12" fmla="*/ 21 w 32"/>
                <a:gd name="T13" fmla="*/ 31 h 33"/>
                <a:gd name="T14" fmla="*/ 21 w 32"/>
                <a:gd name="T15" fmla="*/ 29 h 33"/>
                <a:gd name="T16" fmla="*/ 17 w 32"/>
                <a:gd name="T17" fmla="*/ 29 h 33"/>
                <a:gd name="T18" fmla="*/ 13 w 32"/>
                <a:gd name="T19" fmla="*/ 31 h 33"/>
                <a:gd name="T20" fmla="*/ 9 w 32"/>
                <a:gd name="T21" fmla="*/ 27 h 33"/>
                <a:gd name="T22" fmla="*/ 9 w 32"/>
                <a:gd name="T23" fmla="*/ 23 h 33"/>
                <a:gd name="T24" fmla="*/ 9 w 32"/>
                <a:gd name="T25" fmla="*/ 27 h 33"/>
                <a:gd name="T26" fmla="*/ 5 w 32"/>
                <a:gd name="T27" fmla="*/ 27 h 33"/>
                <a:gd name="T28" fmla="*/ 5 w 32"/>
                <a:gd name="T29" fmla="*/ 23 h 33"/>
                <a:gd name="T30" fmla="*/ 7 w 32"/>
                <a:gd name="T31" fmla="*/ 19 h 33"/>
                <a:gd name="T32" fmla="*/ 5 w 32"/>
                <a:gd name="T33" fmla="*/ 19 h 33"/>
                <a:gd name="T34" fmla="*/ 5 w 32"/>
                <a:gd name="T35" fmla="*/ 15 h 33"/>
                <a:gd name="T36" fmla="*/ 2 w 32"/>
                <a:gd name="T37" fmla="*/ 11 h 33"/>
                <a:gd name="T38" fmla="*/ 0 w 32"/>
                <a:gd name="T39" fmla="*/ 10 h 33"/>
                <a:gd name="T40" fmla="*/ 4 w 32"/>
                <a:gd name="T41" fmla="*/ 8 h 33"/>
                <a:gd name="T42" fmla="*/ 7 w 32"/>
                <a:gd name="T43" fmla="*/ 10 h 33"/>
                <a:gd name="T44" fmla="*/ 7 w 32"/>
                <a:gd name="T45" fmla="*/ 8 h 33"/>
                <a:gd name="T46" fmla="*/ 11 w 32"/>
                <a:gd name="T47" fmla="*/ 8 h 33"/>
                <a:gd name="T48" fmla="*/ 11 w 32"/>
                <a:gd name="T49" fmla="*/ 6 h 33"/>
                <a:gd name="T50" fmla="*/ 11 w 32"/>
                <a:gd name="T51" fmla="*/ 8 h 33"/>
                <a:gd name="T52" fmla="*/ 13 w 32"/>
                <a:gd name="T53" fmla="*/ 8 h 33"/>
                <a:gd name="T54" fmla="*/ 15 w 32"/>
                <a:gd name="T55" fmla="*/ 4 h 33"/>
                <a:gd name="T56" fmla="*/ 19 w 32"/>
                <a:gd name="T57" fmla="*/ 4 h 33"/>
                <a:gd name="T58" fmla="*/ 21 w 32"/>
                <a:gd name="T59" fmla="*/ 0 h 33"/>
                <a:gd name="T60" fmla="*/ 23 w 32"/>
                <a:gd name="T61" fmla="*/ 2 h 33"/>
                <a:gd name="T62" fmla="*/ 21 w 32"/>
                <a:gd name="T63" fmla="*/ 6 h 33"/>
                <a:gd name="T64" fmla="*/ 27 w 32"/>
                <a:gd name="T65" fmla="*/ 4 h 33"/>
                <a:gd name="T66" fmla="*/ 29 w 32"/>
                <a:gd name="T67" fmla="*/ 6 h 33"/>
                <a:gd name="T68" fmla="*/ 29 w 32"/>
                <a:gd name="T69" fmla="*/ 8 h 33"/>
                <a:gd name="T70" fmla="*/ 27 w 32"/>
                <a:gd name="T71" fmla="*/ 8 h 33"/>
                <a:gd name="T72" fmla="*/ 21 w 32"/>
                <a:gd name="T73" fmla="*/ 13 h 33"/>
                <a:gd name="T74" fmla="*/ 17 w 32"/>
                <a:gd name="T75" fmla="*/ 15 h 33"/>
                <a:gd name="T76" fmla="*/ 15 w 32"/>
                <a:gd name="T77" fmla="*/ 17 h 33"/>
                <a:gd name="T78" fmla="*/ 17 w 32"/>
                <a:gd name="T79" fmla="*/ 21 h 33"/>
                <a:gd name="T80" fmla="*/ 19 w 32"/>
                <a:gd name="T81" fmla="*/ 19 h 33"/>
                <a:gd name="T82" fmla="*/ 23 w 32"/>
                <a:gd name="T83" fmla="*/ 23 h 33"/>
                <a:gd name="T84" fmla="*/ 25 w 32"/>
                <a:gd name="T85" fmla="*/ 19 h 33"/>
                <a:gd name="T86" fmla="*/ 25 w 32"/>
                <a:gd name="T87" fmla="*/ 17 h 33"/>
                <a:gd name="T88" fmla="*/ 29 w 32"/>
                <a:gd name="T89" fmla="*/ 15 h 33"/>
                <a:gd name="T90" fmla="*/ 29 w 32"/>
                <a:gd name="T91" fmla="*/ 17 h 33"/>
                <a:gd name="T92" fmla="*/ 32 w 32"/>
                <a:gd name="T93" fmla="*/ 19 h 33"/>
                <a:gd name="T94" fmla="*/ 29 w 32"/>
                <a:gd name="T95" fmla="*/ 23 h 33"/>
                <a:gd name="T96" fmla="*/ 30 w 32"/>
                <a:gd name="T97" fmla="*/ 25 h 33"/>
                <a:gd name="T98" fmla="*/ 32 w 32"/>
                <a:gd name="T99" fmla="*/ 25 h 33"/>
                <a:gd name="T100" fmla="*/ 7 w 32"/>
                <a:gd name="T101" fmla="*/ 13 h 33"/>
                <a:gd name="T102" fmla="*/ 11 w 32"/>
                <a:gd name="T103" fmla="*/ 13 h 33"/>
                <a:gd name="T104" fmla="*/ 11 w 32"/>
                <a:gd name="T105" fmla="*/ 15 h 33"/>
                <a:gd name="T106" fmla="*/ 7 w 32"/>
                <a:gd name="T107" fmla="*/ 15 h 33"/>
                <a:gd name="T108" fmla="*/ 7 w 32"/>
                <a:gd name="T109" fmla="*/ 13 h 33"/>
                <a:gd name="T110" fmla="*/ 7 w 32"/>
                <a:gd name="T111" fmla="*/ 2 h 33"/>
                <a:gd name="T112" fmla="*/ 9 w 32"/>
                <a:gd name="T113" fmla="*/ 4 h 33"/>
                <a:gd name="T114" fmla="*/ 7 w 32"/>
                <a:gd name="T115" fmla="*/ 6 h 33"/>
                <a:gd name="T116" fmla="*/ 5 w 32"/>
                <a:gd name="T117" fmla="*/ 4 h 33"/>
                <a:gd name="T118" fmla="*/ 7 w 32"/>
                <a:gd name="T119" fmla="*/ 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 h="33">
                  <a:moveTo>
                    <a:pt x="32" y="25"/>
                  </a:moveTo>
                  <a:lnTo>
                    <a:pt x="32" y="29"/>
                  </a:lnTo>
                  <a:lnTo>
                    <a:pt x="30" y="31"/>
                  </a:lnTo>
                  <a:lnTo>
                    <a:pt x="30" y="33"/>
                  </a:lnTo>
                  <a:lnTo>
                    <a:pt x="27" y="33"/>
                  </a:lnTo>
                  <a:lnTo>
                    <a:pt x="25" y="29"/>
                  </a:lnTo>
                  <a:lnTo>
                    <a:pt x="21" y="31"/>
                  </a:lnTo>
                  <a:lnTo>
                    <a:pt x="21" y="29"/>
                  </a:lnTo>
                  <a:lnTo>
                    <a:pt x="17" y="29"/>
                  </a:lnTo>
                  <a:lnTo>
                    <a:pt x="13" y="31"/>
                  </a:lnTo>
                  <a:lnTo>
                    <a:pt x="9" y="27"/>
                  </a:lnTo>
                  <a:lnTo>
                    <a:pt x="9" y="23"/>
                  </a:lnTo>
                  <a:lnTo>
                    <a:pt x="9" y="27"/>
                  </a:lnTo>
                  <a:lnTo>
                    <a:pt x="5" y="27"/>
                  </a:lnTo>
                  <a:lnTo>
                    <a:pt x="5" y="23"/>
                  </a:lnTo>
                  <a:lnTo>
                    <a:pt x="7" y="19"/>
                  </a:lnTo>
                  <a:lnTo>
                    <a:pt x="5" y="19"/>
                  </a:lnTo>
                  <a:lnTo>
                    <a:pt x="5" y="15"/>
                  </a:lnTo>
                  <a:lnTo>
                    <a:pt x="2" y="11"/>
                  </a:lnTo>
                  <a:lnTo>
                    <a:pt x="0" y="10"/>
                  </a:lnTo>
                  <a:lnTo>
                    <a:pt x="4" y="8"/>
                  </a:lnTo>
                  <a:lnTo>
                    <a:pt x="7" y="10"/>
                  </a:lnTo>
                  <a:lnTo>
                    <a:pt x="7" y="8"/>
                  </a:lnTo>
                  <a:lnTo>
                    <a:pt x="11" y="8"/>
                  </a:lnTo>
                  <a:lnTo>
                    <a:pt x="11" y="6"/>
                  </a:lnTo>
                  <a:lnTo>
                    <a:pt x="11" y="8"/>
                  </a:lnTo>
                  <a:lnTo>
                    <a:pt x="13" y="8"/>
                  </a:lnTo>
                  <a:lnTo>
                    <a:pt x="15" y="4"/>
                  </a:lnTo>
                  <a:lnTo>
                    <a:pt x="19" y="4"/>
                  </a:lnTo>
                  <a:lnTo>
                    <a:pt x="21" y="0"/>
                  </a:lnTo>
                  <a:lnTo>
                    <a:pt x="23" y="2"/>
                  </a:lnTo>
                  <a:lnTo>
                    <a:pt x="21" y="6"/>
                  </a:lnTo>
                  <a:lnTo>
                    <a:pt x="27" y="4"/>
                  </a:lnTo>
                  <a:lnTo>
                    <a:pt x="29" y="6"/>
                  </a:lnTo>
                  <a:lnTo>
                    <a:pt x="29" y="8"/>
                  </a:lnTo>
                  <a:lnTo>
                    <a:pt x="27" y="8"/>
                  </a:lnTo>
                  <a:lnTo>
                    <a:pt x="21" y="13"/>
                  </a:lnTo>
                  <a:lnTo>
                    <a:pt x="17" y="15"/>
                  </a:lnTo>
                  <a:lnTo>
                    <a:pt x="15" y="17"/>
                  </a:lnTo>
                  <a:lnTo>
                    <a:pt x="17" y="21"/>
                  </a:lnTo>
                  <a:lnTo>
                    <a:pt x="19" y="19"/>
                  </a:lnTo>
                  <a:lnTo>
                    <a:pt x="23" y="23"/>
                  </a:lnTo>
                  <a:lnTo>
                    <a:pt x="25" y="19"/>
                  </a:lnTo>
                  <a:lnTo>
                    <a:pt x="25" y="17"/>
                  </a:lnTo>
                  <a:lnTo>
                    <a:pt x="29" y="15"/>
                  </a:lnTo>
                  <a:lnTo>
                    <a:pt x="29" y="17"/>
                  </a:lnTo>
                  <a:lnTo>
                    <a:pt x="32" y="19"/>
                  </a:lnTo>
                  <a:lnTo>
                    <a:pt x="29" y="23"/>
                  </a:lnTo>
                  <a:lnTo>
                    <a:pt x="30" y="25"/>
                  </a:lnTo>
                  <a:lnTo>
                    <a:pt x="32" y="25"/>
                  </a:lnTo>
                  <a:close/>
                  <a:moveTo>
                    <a:pt x="7" y="13"/>
                  </a:moveTo>
                  <a:lnTo>
                    <a:pt x="11" y="13"/>
                  </a:lnTo>
                  <a:lnTo>
                    <a:pt x="11" y="15"/>
                  </a:lnTo>
                  <a:lnTo>
                    <a:pt x="7" y="15"/>
                  </a:lnTo>
                  <a:lnTo>
                    <a:pt x="7" y="13"/>
                  </a:lnTo>
                  <a:close/>
                  <a:moveTo>
                    <a:pt x="7" y="2"/>
                  </a:moveTo>
                  <a:lnTo>
                    <a:pt x="9" y="4"/>
                  </a:lnTo>
                  <a:lnTo>
                    <a:pt x="7" y="6"/>
                  </a:lnTo>
                  <a:lnTo>
                    <a:pt x="5" y="4"/>
                  </a:lnTo>
                  <a:lnTo>
                    <a:pt x="7" y="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0" name="Freeform 22">
              <a:extLst>
                <a:ext uri="{FF2B5EF4-FFF2-40B4-BE49-F238E27FC236}">
                  <a16:creationId xmlns:a16="http://schemas.microsoft.com/office/drawing/2014/main" id="{E7F13328-A946-4CDD-B545-4D6B927F7052}"/>
                </a:ext>
              </a:extLst>
            </p:cNvPr>
            <p:cNvSpPr>
              <a:spLocks noEditPoints="1"/>
            </p:cNvSpPr>
            <p:nvPr/>
          </p:nvSpPr>
          <p:spPr bwMode="gray">
            <a:xfrm>
              <a:off x="3916364" y="4019550"/>
              <a:ext cx="341313" cy="63499"/>
            </a:xfrm>
            <a:custGeom>
              <a:avLst/>
              <a:gdLst>
                <a:gd name="T0" fmla="*/ 207 w 215"/>
                <a:gd name="T1" fmla="*/ 40 h 40"/>
                <a:gd name="T2" fmla="*/ 207 w 215"/>
                <a:gd name="T3" fmla="*/ 32 h 40"/>
                <a:gd name="T4" fmla="*/ 211 w 215"/>
                <a:gd name="T5" fmla="*/ 30 h 40"/>
                <a:gd name="T6" fmla="*/ 215 w 215"/>
                <a:gd name="T7" fmla="*/ 30 h 40"/>
                <a:gd name="T8" fmla="*/ 215 w 215"/>
                <a:gd name="T9" fmla="*/ 32 h 40"/>
                <a:gd name="T10" fmla="*/ 211 w 215"/>
                <a:gd name="T11" fmla="*/ 34 h 40"/>
                <a:gd name="T12" fmla="*/ 215 w 215"/>
                <a:gd name="T13" fmla="*/ 36 h 40"/>
                <a:gd name="T14" fmla="*/ 213 w 215"/>
                <a:gd name="T15" fmla="*/ 38 h 40"/>
                <a:gd name="T16" fmla="*/ 215 w 215"/>
                <a:gd name="T17" fmla="*/ 40 h 40"/>
                <a:gd name="T18" fmla="*/ 213 w 215"/>
                <a:gd name="T19" fmla="*/ 40 h 40"/>
                <a:gd name="T20" fmla="*/ 207 w 215"/>
                <a:gd name="T21" fmla="*/ 40 h 40"/>
                <a:gd name="T22" fmla="*/ 13 w 215"/>
                <a:gd name="T23" fmla="*/ 0 h 40"/>
                <a:gd name="T24" fmla="*/ 9 w 215"/>
                <a:gd name="T25" fmla="*/ 5 h 40"/>
                <a:gd name="T26" fmla="*/ 6 w 215"/>
                <a:gd name="T27" fmla="*/ 4 h 40"/>
                <a:gd name="T28" fmla="*/ 2 w 215"/>
                <a:gd name="T29" fmla="*/ 5 h 40"/>
                <a:gd name="T30" fmla="*/ 0 w 215"/>
                <a:gd name="T31" fmla="*/ 4 h 40"/>
                <a:gd name="T32" fmla="*/ 0 w 215"/>
                <a:gd name="T33" fmla="*/ 2 h 40"/>
                <a:gd name="T34" fmla="*/ 4 w 215"/>
                <a:gd name="T35" fmla="*/ 0 h 40"/>
                <a:gd name="T36" fmla="*/ 13 w 215"/>
                <a:gd name="T3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5" h="40">
                  <a:moveTo>
                    <a:pt x="207" y="40"/>
                  </a:moveTo>
                  <a:lnTo>
                    <a:pt x="207" y="32"/>
                  </a:lnTo>
                  <a:lnTo>
                    <a:pt x="211" y="30"/>
                  </a:lnTo>
                  <a:lnTo>
                    <a:pt x="215" y="30"/>
                  </a:lnTo>
                  <a:lnTo>
                    <a:pt x="215" y="32"/>
                  </a:lnTo>
                  <a:lnTo>
                    <a:pt x="211" y="34"/>
                  </a:lnTo>
                  <a:lnTo>
                    <a:pt x="215" y="36"/>
                  </a:lnTo>
                  <a:lnTo>
                    <a:pt x="213" y="38"/>
                  </a:lnTo>
                  <a:lnTo>
                    <a:pt x="215" y="40"/>
                  </a:lnTo>
                  <a:lnTo>
                    <a:pt x="213" y="40"/>
                  </a:lnTo>
                  <a:lnTo>
                    <a:pt x="207" y="40"/>
                  </a:lnTo>
                  <a:close/>
                  <a:moveTo>
                    <a:pt x="13" y="0"/>
                  </a:moveTo>
                  <a:lnTo>
                    <a:pt x="9" y="5"/>
                  </a:lnTo>
                  <a:lnTo>
                    <a:pt x="6" y="4"/>
                  </a:lnTo>
                  <a:lnTo>
                    <a:pt x="2" y="5"/>
                  </a:lnTo>
                  <a:lnTo>
                    <a:pt x="0" y="4"/>
                  </a:lnTo>
                  <a:lnTo>
                    <a:pt x="0" y="2"/>
                  </a:lnTo>
                  <a:lnTo>
                    <a:pt x="4" y="0"/>
                  </a:lnTo>
                  <a:lnTo>
                    <a:pt x="13"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3">
              <a:extLst>
                <a:ext uri="{FF2B5EF4-FFF2-40B4-BE49-F238E27FC236}">
                  <a16:creationId xmlns:a16="http://schemas.microsoft.com/office/drawing/2014/main" id="{3A36E032-E438-4AD4-A2E0-E913D9535563}"/>
                </a:ext>
              </a:extLst>
            </p:cNvPr>
            <p:cNvSpPr>
              <a:spLocks/>
            </p:cNvSpPr>
            <p:nvPr/>
          </p:nvSpPr>
          <p:spPr bwMode="gray">
            <a:xfrm>
              <a:off x="3727451" y="2390775"/>
              <a:ext cx="1481138" cy="1228725"/>
            </a:xfrm>
            <a:custGeom>
              <a:avLst/>
              <a:gdLst>
                <a:gd name="T0" fmla="*/ 554 w 933"/>
                <a:gd name="T1" fmla="*/ 69 h 774"/>
                <a:gd name="T2" fmla="*/ 591 w 933"/>
                <a:gd name="T3" fmla="*/ 90 h 774"/>
                <a:gd name="T4" fmla="*/ 635 w 933"/>
                <a:gd name="T5" fmla="*/ 106 h 774"/>
                <a:gd name="T6" fmla="*/ 648 w 933"/>
                <a:gd name="T7" fmla="*/ 146 h 774"/>
                <a:gd name="T8" fmla="*/ 679 w 933"/>
                <a:gd name="T9" fmla="*/ 194 h 774"/>
                <a:gd name="T10" fmla="*/ 691 w 933"/>
                <a:gd name="T11" fmla="*/ 227 h 774"/>
                <a:gd name="T12" fmla="*/ 689 w 933"/>
                <a:gd name="T13" fmla="*/ 246 h 774"/>
                <a:gd name="T14" fmla="*/ 719 w 933"/>
                <a:gd name="T15" fmla="*/ 234 h 774"/>
                <a:gd name="T16" fmla="*/ 737 w 933"/>
                <a:gd name="T17" fmla="*/ 223 h 774"/>
                <a:gd name="T18" fmla="*/ 769 w 933"/>
                <a:gd name="T19" fmla="*/ 229 h 774"/>
                <a:gd name="T20" fmla="*/ 792 w 933"/>
                <a:gd name="T21" fmla="*/ 255 h 774"/>
                <a:gd name="T22" fmla="*/ 806 w 933"/>
                <a:gd name="T23" fmla="*/ 257 h 774"/>
                <a:gd name="T24" fmla="*/ 838 w 933"/>
                <a:gd name="T25" fmla="*/ 277 h 774"/>
                <a:gd name="T26" fmla="*/ 865 w 933"/>
                <a:gd name="T27" fmla="*/ 319 h 774"/>
                <a:gd name="T28" fmla="*/ 869 w 933"/>
                <a:gd name="T29" fmla="*/ 344 h 774"/>
                <a:gd name="T30" fmla="*/ 842 w 933"/>
                <a:gd name="T31" fmla="*/ 371 h 774"/>
                <a:gd name="T32" fmla="*/ 894 w 933"/>
                <a:gd name="T33" fmla="*/ 355 h 774"/>
                <a:gd name="T34" fmla="*/ 933 w 933"/>
                <a:gd name="T35" fmla="*/ 355 h 774"/>
                <a:gd name="T36" fmla="*/ 890 w 933"/>
                <a:gd name="T37" fmla="*/ 388 h 774"/>
                <a:gd name="T38" fmla="*/ 817 w 933"/>
                <a:gd name="T39" fmla="*/ 430 h 774"/>
                <a:gd name="T40" fmla="*/ 748 w 933"/>
                <a:gd name="T41" fmla="*/ 469 h 774"/>
                <a:gd name="T42" fmla="*/ 756 w 933"/>
                <a:gd name="T43" fmla="*/ 526 h 774"/>
                <a:gd name="T44" fmla="*/ 815 w 933"/>
                <a:gd name="T45" fmla="*/ 528 h 774"/>
                <a:gd name="T46" fmla="*/ 823 w 933"/>
                <a:gd name="T47" fmla="*/ 555 h 774"/>
                <a:gd name="T48" fmla="*/ 783 w 933"/>
                <a:gd name="T49" fmla="*/ 578 h 774"/>
                <a:gd name="T50" fmla="*/ 779 w 933"/>
                <a:gd name="T51" fmla="*/ 613 h 774"/>
                <a:gd name="T52" fmla="*/ 762 w 933"/>
                <a:gd name="T53" fmla="*/ 655 h 774"/>
                <a:gd name="T54" fmla="*/ 729 w 933"/>
                <a:gd name="T55" fmla="*/ 647 h 774"/>
                <a:gd name="T56" fmla="*/ 693 w 933"/>
                <a:gd name="T57" fmla="*/ 659 h 774"/>
                <a:gd name="T58" fmla="*/ 647 w 933"/>
                <a:gd name="T59" fmla="*/ 695 h 774"/>
                <a:gd name="T60" fmla="*/ 654 w 933"/>
                <a:gd name="T61" fmla="*/ 672 h 774"/>
                <a:gd name="T62" fmla="*/ 660 w 933"/>
                <a:gd name="T63" fmla="*/ 622 h 774"/>
                <a:gd name="T64" fmla="*/ 664 w 933"/>
                <a:gd name="T65" fmla="*/ 599 h 774"/>
                <a:gd name="T66" fmla="*/ 597 w 933"/>
                <a:gd name="T67" fmla="*/ 588 h 774"/>
                <a:gd name="T68" fmla="*/ 610 w 933"/>
                <a:gd name="T69" fmla="*/ 578 h 774"/>
                <a:gd name="T70" fmla="*/ 589 w 933"/>
                <a:gd name="T71" fmla="*/ 567 h 774"/>
                <a:gd name="T72" fmla="*/ 560 w 933"/>
                <a:gd name="T73" fmla="*/ 584 h 774"/>
                <a:gd name="T74" fmla="*/ 556 w 933"/>
                <a:gd name="T75" fmla="*/ 586 h 774"/>
                <a:gd name="T76" fmla="*/ 556 w 933"/>
                <a:gd name="T77" fmla="*/ 628 h 774"/>
                <a:gd name="T78" fmla="*/ 564 w 933"/>
                <a:gd name="T79" fmla="*/ 680 h 774"/>
                <a:gd name="T80" fmla="*/ 529 w 933"/>
                <a:gd name="T81" fmla="*/ 732 h 774"/>
                <a:gd name="T82" fmla="*/ 533 w 933"/>
                <a:gd name="T83" fmla="*/ 759 h 774"/>
                <a:gd name="T84" fmla="*/ 478 w 933"/>
                <a:gd name="T85" fmla="*/ 753 h 774"/>
                <a:gd name="T86" fmla="*/ 434 w 933"/>
                <a:gd name="T87" fmla="*/ 736 h 774"/>
                <a:gd name="T88" fmla="*/ 403 w 933"/>
                <a:gd name="T89" fmla="*/ 697 h 774"/>
                <a:gd name="T90" fmla="*/ 386 w 933"/>
                <a:gd name="T91" fmla="*/ 672 h 774"/>
                <a:gd name="T92" fmla="*/ 370 w 933"/>
                <a:gd name="T93" fmla="*/ 618 h 774"/>
                <a:gd name="T94" fmla="*/ 324 w 933"/>
                <a:gd name="T95" fmla="*/ 622 h 774"/>
                <a:gd name="T96" fmla="*/ 291 w 933"/>
                <a:gd name="T97" fmla="*/ 607 h 774"/>
                <a:gd name="T98" fmla="*/ 247 w 933"/>
                <a:gd name="T99" fmla="*/ 601 h 774"/>
                <a:gd name="T100" fmla="*/ 176 w 933"/>
                <a:gd name="T101" fmla="*/ 605 h 774"/>
                <a:gd name="T102" fmla="*/ 126 w 933"/>
                <a:gd name="T103" fmla="*/ 534 h 774"/>
                <a:gd name="T104" fmla="*/ 75 w 933"/>
                <a:gd name="T105" fmla="*/ 480 h 774"/>
                <a:gd name="T106" fmla="*/ 67 w 933"/>
                <a:gd name="T107" fmla="*/ 392 h 774"/>
                <a:gd name="T108" fmla="*/ 19 w 933"/>
                <a:gd name="T109" fmla="*/ 323 h 774"/>
                <a:gd name="T110" fmla="*/ 109 w 933"/>
                <a:gd name="T111" fmla="*/ 236 h 774"/>
                <a:gd name="T112" fmla="*/ 176 w 933"/>
                <a:gd name="T113" fmla="*/ 259 h 774"/>
                <a:gd name="T114" fmla="*/ 265 w 933"/>
                <a:gd name="T115" fmla="*/ 236 h 774"/>
                <a:gd name="T116" fmla="*/ 318 w 933"/>
                <a:gd name="T117" fmla="*/ 154 h 774"/>
                <a:gd name="T118" fmla="*/ 386 w 933"/>
                <a:gd name="T119" fmla="*/ 113 h 774"/>
                <a:gd name="T120" fmla="*/ 430 w 933"/>
                <a:gd name="T121" fmla="*/ 31 h 774"/>
                <a:gd name="T122" fmla="*/ 485 w 933"/>
                <a:gd name="T123" fmla="*/ 15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3" h="774">
                  <a:moveTo>
                    <a:pt x="551" y="27"/>
                  </a:moveTo>
                  <a:lnTo>
                    <a:pt x="549" y="31"/>
                  </a:lnTo>
                  <a:lnTo>
                    <a:pt x="553" y="31"/>
                  </a:lnTo>
                  <a:lnTo>
                    <a:pt x="554" y="35"/>
                  </a:lnTo>
                  <a:lnTo>
                    <a:pt x="551" y="38"/>
                  </a:lnTo>
                  <a:lnTo>
                    <a:pt x="547" y="38"/>
                  </a:lnTo>
                  <a:lnTo>
                    <a:pt x="545" y="46"/>
                  </a:lnTo>
                  <a:lnTo>
                    <a:pt x="545" y="48"/>
                  </a:lnTo>
                  <a:lnTo>
                    <a:pt x="549" y="48"/>
                  </a:lnTo>
                  <a:lnTo>
                    <a:pt x="554" y="48"/>
                  </a:lnTo>
                  <a:lnTo>
                    <a:pt x="556" y="46"/>
                  </a:lnTo>
                  <a:lnTo>
                    <a:pt x="558" y="48"/>
                  </a:lnTo>
                  <a:lnTo>
                    <a:pt x="558" y="50"/>
                  </a:lnTo>
                  <a:lnTo>
                    <a:pt x="556" y="58"/>
                  </a:lnTo>
                  <a:lnTo>
                    <a:pt x="556" y="61"/>
                  </a:lnTo>
                  <a:lnTo>
                    <a:pt x="554" y="69"/>
                  </a:lnTo>
                  <a:lnTo>
                    <a:pt x="558" y="73"/>
                  </a:lnTo>
                  <a:lnTo>
                    <a:pt x="554" y="79"/>
                  </a:lnTo>
                  <a:lnTo>
                    <a:pt x="551" y="79"/>
                  </a:lnTo>
                  <a:lnTo>
                    <a:pt x="549" y="81"/>
                  </a:lnTo>
                  <a:lnTo>
                    <a:pt x="549" y="83"/>
                  </a:lnTo>
                  <a:lnTo>
                    <a:pt x="553" y="84"/>
                  </a:lnTo>
                  <a:lnTo>
                    <a:pt x="554" y="88"/>
                  </a:lnTo>
                  <a:lnTo>
                    <a:pt x="556" y="94"/>
                  </a:lnTo>
                  <a:lnTo>
                    <a:pt x="560" y="94"/>
                  </a:lnTo>
                  <a:lnTo>
                    <a:pt x="562" y="88"/>
                  </a:lnTo>
                  <a:lnTo>
                    <a:pt x="566" y="88"/>
                  </a:lnTo>
                  <a:lnTo>
                    <a:pt x="570" y="90"/>
                  </a:lnTo>
                  <a:lnTo>
                    <a:pt x="576" y="90"/>
                  </a:lnTo>
                  <a:lnTo>
                    <a:pt x="577" y="86"/>
                  </a:lnTo>
                  <a:lnTo>
                    <a:pt x="581" y="86"/>
                  </a:lnTo>
                  <a:lnTo>
                    <a:pt x="591" y="90"/>
                  </a:lnTo>
                  <a:lnTo>
                    <a:pt x="593" y="94"/>
                  </a:lnTo>
                  <a:lnTo>
                    <a:pt x="593" y="98"/>
                  </a:lnTo>
                  <a:lnTo>
                    <a:pt x="597" y="100"/>
                  </a:lnTo>
                  <a:lnTo>
                    <a:pt x="599" y="98"/>
                  </a:lnTo>
                  <a:lnTo>
                    <a:pt x="602" y="98"/>
                  </a:lnTo>
                  <a:lnTo>
                    <a:pt x="604" y="104"/>
                  </a:lnTo>
                  <a:lnTo>
                    <a:pt x="610" y="106"/>
                  </a:lnTo>
                  <a:lnTo>
                    <a:pt x="618" y="100"/>
                  </a:lnTo>
                  <a:lnTo>
                    <a:pt x="618" y="104"/>
                  </a:lnTo>
                  <a:lnTo>
                    <a:pt x="622" y="104"/>
                  </a:lnTo>
                  <a:lnTo>
                    <a:pt x="624" y="102"/>
                  </a:lnTo>
                  <a:lnTo>
                    <a:pt x="627" y="102"/>
                  </a:lnTo>
                  <a:lnTo>
                    <a:pt x="627" y="100"/>
                  </a:lnTo>
                  <a:lnTo>
                    <a:pt x="631" y="98"/>
                  </a:lnTo>
                  <a:lnTo>
                    <a:pt x="631" y="104"/>
                  </a:lnTo>
                  <a:lnTo>
                    <a:pt x="635" y="106"/>
                  </a:lnTo>
                  <a:lnTo>
                    <a:pt x="637" y="102"/>
                  </a:lnTo>
                  <a:lnTo>
                    <a:pt x="641" y="102"/>
                  </a:lnTo>
                  <a:lnTo>
                    <a:pt x="639" y="106"/>
                  </a:lnTo>
                  <a:lnTo>
                    <a:pt x="639" y="109"/>
                  </a:lnTo>
                  <a:lnTo>
                    <a:pt x="637" y="111"/>
                  </a:lnTo>
                  <a:lnTo>
                    <a:pt x="635" y="115"/>
                  </a:lnTo>
                  <a:lnTo>
                    <a:pt x="639" y="115"/>
                  </a:lnTo>
                  <a:lnTo>
                    <a:pt x="637" y="117"/>
                  </a:lnTo>
                  <a:lnTo>
                    <a:pt x="637" y="121"/>
                  </a:lnTo>
                  <a:lnTo>
                    <a:pt x="643" y="123"/>
                  </a:lnTo>
                  <a:lnTo>
                    <a:pt x="643" y="129"/>
                  </a:lnTo>
                  <a:lnTo>
                    <a:pt x="650" y="129"/>
                  </a:lnTo>
                  <a:lnTo>
                    <a:pt x="650" y="133"/>
                  </a:lnTo>
                  <a:lnTo>
                    <a:pt x="648" y="136"/>
                  </a:lnTo>
                  <a:lnTo>
                    <a:pt x="645" y="138"/>
                  </a:lnTo>
                  <a:lnTo>
                    <a:pt x="648" y="146"/>
                  </a:lnTo>
                  <a:lnTo>
                    <a:pt x="650" y="148"/>
                  </a:lnTo>
                  <a:lnTo>
                    <a:pt x="648" y="152"/>
                  </a:lnTo>
                  <a:lnTo>
                    <a:pt x="652" y="159"/>
                  </a:lnTo>
                  <a:lnTo>
                    <a:pt x="652" y="167"/>
                  </a:lnTo>
                  <a:lnTo>
                    <a:pt x="654" y="171"/>
                  </a:lnTo>
                  <a:lnTo>
                    <a:pt x="660" y="173"/>
                  </a:lnTo>
                  <a:lnTo>
                    <a:pt x="660" y="179"/>
                  </a:lnTo>
                  <a:lnTo>
                    <a:pt x="664" y="181"/>
                  </a:lnTo>
                  <a:lnTo>
                    <a:pt x="668" y="184"/>
                  </a:lnTo>
                  <a:lnTo>
                    <a:pt x="672" y="184"/>
                  </a:lnTo>
                  <a:lnTo>
                    <a:pt x="672" y="186"/>
                  </a:lnTo>
                  <a:lnTo>
                    <a:pt x="675" y="188"/>
                  </a:lnTo>
                  <a:lnTo>
                    <a:pt x="677" y="190"/>
                  </a:lnTo>
                  <a:lnTo>
                    <a:pt x="673" y="192"/>
                  </a:lnTo>
                  <a:lnTo>
                    <a:pt x="675" y="194"/>
                  </a:lnTo>
                  <a:lnTo>
                    <a:pt x="679" y="194"/>
                  </a:lnTo>
                  <a:lnTo>
                    <a:pt x="683" y="196"/>
                  </a:lnTo>
                  <a:lnTo>
                    <a:pt x="687" y="196"/>
                  </a:lnTo>
                  <a:lnTo>
                    <a:pt x="691" y="202"/>
                  </a:lnTo>
                  <a:lnTo>
                    <a:pt x="693" y="202"/>
                  </a:lnTo>
                  <a:lnTo>
                    <a:pt x="695" y="204"/>
                  </a:lnTo>
                  <a:lnTo>
                    <a:pt x="700" y="207"/>
                  </a:lnTo>
                  <a:lnTo>
                    <a:pt x="698" y="211"/>
                  </a:lnTo>
                  <a:lnTo>
                    <a:pt x="704" y="213"/>
                  </a:lnTo>
                  <a:lnTo>
                    <a:pt x="702" y="217"/>
                  </a:lnTo>
                  <a:lnTo>
                    <a:pt x="708" y="221"/>
                  </a:lnTo>
                  <a:lnTo>
                    <a:pt x="708" y="223"/>
                  </a:lnTo>
                  <a:lnTo>
                    <a:pt x="704" y="223"/>
                  </a:lnTo>
                  <a:lnTo>
                    <a:pt x="704" y="221"/>
                  </a:lnTo>
                  <a:lnTo>
                    <a:pt x="700" y="219"/>
                  </a:lnTo>
                  <a:lnTo>
                    <a:pt x="696" y="225"/>
                  </a:lnTo>
                  <a:lnTo>
                    <a:pt x="691" y="227"/>
                  </a:lnTo>
                  <a:lnTo>
                    <a:pt x="691" y="229"/>
                  </a:lnTo>
                  <a:lnTo>
                    <a:pt x="695" y="229"/>
                  </a:lnTo>
                  <a:lnTo>
                    <a:pt x="695" y="232"/>
                  </a:lnTo>
                  <a:lnTo>
                    <a:pt x="698" y="229"/>
                  </a:lnTo>
                  <a:lnTo>
                    <a:pt x="700" y="230"/>
                  </a:lnTo>
                  <a:lnTo>
                    <a:pt x="700" y="232"/>
                  </a:lnTo>
                  <a:lnTo>
                    <a:pt x="698" y="232"/>
                  </a:lnTo>
                  <a:lnTo>
                    <a:pt x="698" y="234"/>
                  </a:lnTo>
                  <a:lnTo>
                    <a:pt x="695" y="234"/>
                  </a:lnTo>
                  <a:lnTo>
                    <a:pt x="696" y="238"/>
                  </a:lnTo>
                  <a:lnTo>
                    <a:pt x="693" y="238"/>
                  </a:lnTo>
                  <a:lnTo>
                    <a:pt x="693" y="240"/>
                  </a:lnTo>
                  <a:lnTo>
                    <a:pt x="696" y="240"/>
                  </a:lnTo>
                  <a:lnTo>
                    <a:pt x="695" y="246"/>
                  </a:lnTo>
                  <a:lnTo>
                    <a:pt x="691" y="244"/>
                  </a:lnTo>
                  <a:lnTo>
                    <a:pt x="689" y="246"/>
                  </a:lnTo>
                  <a:lnTo>
                    <a:pt x="689" y="248"/>
                  </a:lnTo>
                  <a:lnTo>
                    <a:pt x="695" y="250"/>
                  </a:lnTo>
                  <a:lnTo>
                    <a:pt x="695" y="254"/>
                  </a:lnTo>
                  <a:lnTo>
                    <a:pt x="702" y="255"/>
                  </a:lnTo>
                  <a:lnTo>
                    <a:pt x="708" y="254"/>
                  </a:lnTo>
                  <a:lnTo>
                    <a:pt x="714" y="259"/>
                  </a:lnTo>
                  <a:lnTo>
                    <a:pt x="718" y="257"/>
                  </a:lnTo>
                  <a:lnTo>
                    <a:pt x="719" y="257"/>
                  </a:lnTo>
                  <a:lnTo>
                    <a:pt x="719" y="255"/>
                  </a:lnTo>
                  <a:lnTo>
                    <a:pt x="716" y="254"/>
                  </a:lnTo>
                  <a:lnTo>
                    <a:pt x="718" y="250"/>
                  </a:lnTo>
                  <a:lnTo>
                    <a:pt x="714" y="248"/>
                  </a:lnTo>
                  <a:lnTo>
                    <a:pt x="716" y="242"/>
                  </a:lnTo>
                  <a:lnTo>
                    <a:pt x="714" y="240"/>
                  </a:lnTo>
                  <a:lnTo>
                    <a:pt x="716" y="236"/>
                  </a:lnTo>
                  <a:lnTo>
                    <a:pt x="719" y="234"/>
                  </a:lnTo>
                  <a:lnTo>
                    <a:pt x="718" y="234"/>
                  </a:lnTo>
                  <a:lnTo>
                    <a:pt x="716" y="232"/>
                  </a:lnTo>
                  <a:lnTo>
                    <a:pt x="721" y="232"/>
                  </a:lnTo>
                  <a:lnTo>
                    <a:pt x="723" y="230"/>
                  </a:lnTo>
                  <a:lnTo>
                    <a:pt x="727" y="232"/>
                  </a:lnTo>
                  <a:lnTo>
                    <a:pt x="727" y="236"/>
                  </a:lnTo>
                  <a:lnTo>
                    <a:pt x="731" y="236"/>
                  </a:lnTo>
                  <a:lnTo>
                    <a:pt x="733" y="234"/>
                  </a:lnTo>
                  <a:lnTo>
                    <a:pt x="735" y="230"/>
                  </a:lnTo>
                  <a:lnTo>
                    <a:pt x="729" y="227"/>
                  </a:lnTo>
                  <a:lnTo>
                    <a:pt x="733" y="227"/>
                  </a:lnTo>
                  <a:lnTo>
                    <a:pt x="735" y="225"/>
                  </a:lnTo>
                  <a:lnTo>
                    <a:pt x="727" y="219"/>
                  </a:lnTo>
                  <a:lnTo>
                    <a:pt x="729" y="219"/>
                  </a:lnTo>
                  <a:lnTo>
                    <a:pt x="733" y="219"/>
                  </a:lnTo>
                  <a:lnTo>
                    <a:pt x="737" y="223"/>
                  </a:lnTo>
                  <a:lnTo>
                    <a:pt x="743" y="223"/>
                  </a:lnTo>
                  <a:lnTo>
                    <a:pt x="743" y="227"/>
                  </a:lnTo>
                  <a:lnTo>
                    <a:pt x="744" y="221"/>
                  </a:lnTo>
                  <a:lnTo>
                    <a:pt x="748" y="221"/>
                  </a:lnTo>
                  <a:lnTo>
                    <a:pt x="750" y="227"/>
                  </a:lnTo>
                  <a:lnTo>
                    <a:pt x="746" y="227"/>
                  </a:lnTo>
                  <a:lnTo>
                    <a:pt x="744" y="229"/>
                  </a:lnTo>
                  <a:lnTo>
                    <a:pt x="750" y="232"/>
                  </a:lnTo>
                  <a:lnTo>
                    <a:pt x="746" y="232"/>
                  </a:lnTo>
                  <a:lnTo>
                    <a:pt x="744" y="234"/>
                  </a:lnTo>
                  <a:lnTo>
                    <a:pt x="754" y="234"/>
                  </a:lnTo>
                  <a:lnTo>
                    <a:pt x="754" y="242"/>
                  </a:lnTo>
                  <a:lnTo>
                    <a:pt x="758" y="238"/>
                  </a:lnTo>
                  <a:lnTo>
                    <a:pt x="767" y="236"/>
                  </a:lnTo>
                  <a:lnTo>
                    <a:pt x="767" y="229"/>
                  </a:lnTo>
                  <a:lnTo>
                    <a:pt x="769" y="229"/>
                  </a:lnTo>
                  <a:lnTo>
                    <a:pt x="773" y="225"/>
                  </a:lnTo>
                  <a:lnTo>
                    <a:pt x="775" y="225"/>
                  </a:lnTo>
                  <a:lnTo>
                    <a:pt x="779" y="223"/>
                  </a:lnTo>
                  <a:lnTo>
                    <a:pt x="781" y="221"/>
                  </a:lnTo>
                  <a:lnTo>
                    <a:pt x="781" y="217"/>
                  </a:lnTo>
                  <a:lnTo>
                    <a:pt x="785" y="217"/>
                  </a:lnTo>
                  <a:lnTo>
                    <a:pt x="783" y="215"/>
                  </a:lnTo>
                  <a:lnTo>
                    <a:pt x="789" y="213"/>
                  </a:lnTo>
                  <a:lnTo>
                    <a:pt x="794" y="219"/>
                  </a:lnTo>
                  <a:lnTo>
                    <a:pt x="800" y="223"/>
                  </a:lnTo>
                  <a:lnTo>
                    <a:pt x="798" y="230"/>
                  </a:lnTo>
                  <a:lnTo>
                    <a:pt x="794" y="238"/>
                  </a:lnTo>
                  <a:lnTo>
                    <a:pt x="794" y="246"/>
                  </a:lnTo>
                  <a:lnTo>
                    <a:pt x="794" y="248"/>
                  </a:lnTo>
                  <a:lnTo>
                    <a:pt x="794" y="255"/>
                  </a:lnTo>
                  <a:lnTo>
                    <a:pt x="792" y="255"/>
                  </a:lnTo>
                  <a:lnTo>
                    <a:pt x="791" y="265"/>
                  </a:lnTo>
                  <a:lnTo>
                    <a:pt x="789" y="267"/>
                  </a:lnTo>
                  <a:lnTo>
                    <a:pt x="792" y="271"/>
                  </a:lnTo>
                  <a:lnTo>
                    <a:pt x="789" y="271"/>
                  </a:lnTo>
                  <a:lnTo>
                    <a:pt x="791" y="273"/>
                  </a:lnTo>
                  <a:lnTo>
                    <a:pt x="791" y="275"/>
                  </a:lnTo>
                  <a:lnTo>
                    <a:pt x="794" y="275"/>
                  </a:lnTo>
                  <a:lnTo>
                    <a:pt x="794" y="273"/>
                  </a:lnTo>
                  <a:lnTo>
                    <a:pt x="798" y="277"/>
                  </a:lnTo>
                  <a:lnTo>
                    <a:pt x="802" y="267"/>
                  </a:lnTo>
                  <a:lnTo>
                    <a:pt x="806" y="265"/>
                  </a:lnTo>
                  <a:lnTo>
                    <a:pt x="808" y="267"/>
                  </a:lnTo>
                  <a:lnTo>
                    <a:pt x="810" y="267"/>
                  </a:lnTo>
                  <a:lnTo>
                    <a:pt x="810" y="263"/>
                  </a:lnTo>
                  <a:lnTo>
                    <a:pt x="804" y="261"/>
                  </a:lnTo>
                  <a:lnTo>
                    <a:pt x="806" y="257"/>
                  </a:lnTo>
                  <a:lnTo>
                    <a:pt x="814" y="261"/>
                  </a:lnTo>
                  <a:lnTo>
                    <a:pt x="815" y="261"/>
                  </a:lnTo>
                  <a:lnTo>
                    <a:pt x="815" y="263"/>
                  </a:lnTo>
                  <a:lnTo>
                    <a:pt x="819" y="261"/>
                  </a:lnTo>
                  <a:lnTo>
                    <a:pt x="819" y="257"/>
                  </a:lnTo>
                  <a:lnTo>
                    <a:pt x="821" y="259"/>
                  </a:lnTo>
                  <a:lnTo>
                    <a:pt x="819" y="261"/>
                  </a:lnTo>
                  <a:lnTo>
                    <a:pt x="823" y="257"/>
                  </a:lnTo>
                  <a:lnTo>
                    <a:pt x="827" y="261"/>
                  </a:lnTo>
                  <a:lnTo>
                    <a:pt x="831" y="257"/>
                  </a:lnTo>
                  <a:lnTo>
                    <a:pt x="831" y="259"/>
                  </a:lnTo>
                  <a:lnTo>
                    <a:pt x="835" y="261"/>
                  </a:lnTo>
                  <a:lnTo>
                    <a:pt x="835" y="267"/>
                  </a:lnTo>
                  <a:lnTo>
                    <a:pt x="833" y="271"/>
                  </a:lnTo>
                  <a:lnTo>
                    <a:pt x="837" y="271"/>
                  </a:lnTo>
                  <a:lnTo>
                    <a:pt x="838" y="277"/>
                  </a:lnTo>
                  <a:lnTo>
                    <a:pt x="835" y="280"/>
                  </a:lnTo>
                  <a:lnTo>
                    <a:pt x="838" y="282"/>
                  </a:lnTo>
                  <a:lnTo>
                    <a:pt x="837" y="284"/>
                  </a:lnTo>
                  <a:lnTo>
                    <a:pt x="837" y="290"/>
                  </a:lnTo>
                  <a:lnTo>
                    <a:pt x="840" y="292"/>
                  </a:lnTo>
                  <a:lnTo>
                    <a:pt x="842" y="296"/>
                  </a:lnTo>
                  <a:lnTo>
                    <a:pt x="846" y="298"/>
                  </a:lnTo>
                  <a:lnTo>
                    <a:pt x="844" y="302"/>
                  </a:lnTo>
                  <a:lnTo>
                    <a:pt x="846" y="303"/>
                  </a:lnTo>
                  <a:lnTo>
                    <a:pt x="854" y="305"/>
                  </a:lnTo>
                  <a:lnTo>
                    <a:pt x="862" y="311"/>
                  </a:lnTo>
                  <a:lnTo>
                    <a:pt x="865" y="309"/>
                  </a:lnTo>
                  <a:lnTo>
                    <a:pt x="865" y="313"/>
                  </a:lnTo>
                  <a:lnTo>
                    <a:pt x="863" y="315"/>
                  </a:lnTo>
                  <a:lnTo>
                    <a:pt x="865" y="317"/>
                  </a:lnTo>
                  <a:lnTo>
                    <a:pt x="865" y="319"/>
                  </a:lnTo>
                  <a:lnTo>
                    <a:pt x="867" y="321"/>
                  </a:lnTo>
                  <a:lnTo>
                    <a:pt x="867" y="325"/>
                  </a:lnTo>
                  <a:lnTo>
                    <a:pt x="871" y="325"/>
                  </a:lnTo>
                  <a:lnTo>
                    <a:pt x="869" y="328"/>
                  </a:lnTo>
                  <a:lnTo>
                    <a:pt x="863" y="328"/>
                  </a:lnTo>
                  <a:lnTo>
                    <a:pt x="863" y="334"/>
                  </a:lnTo>
                  <a:lnTo>
                    <a:pt x="856" y="336"/>
                  </a:lnTo>
                  <a:lnTo>
                    <a:pt x="854" y="336"/>
                  </a:lnTo>
                  <a:lnTo>
                    <a:pt x="852" y="336"/>
                  </a:lnTo>
                  <a:lnTo>
                    <a:pt x="854" y="336"/>
                  </a:lnTo>
                  <a:lnTo>
                    <a:pt x="854" y="340"/>
                  </a:lnTo>
                  <a:lnTo>
                    <a:pt x="860" y="340"/>
                  </a:lnTo>
                  <a:lnTo>
                    <a:pt x="858" y="344"/>
                  </a:lnTo>
                  <a:lnTo>
                    <a:pt x="860" y="342"/>
                  </a:lnTo>
                  <a:lnTo>
                    <a:pt x="862" y="344"/>
                  </a:lnTo>
                  <a:lnTo>
                    <a:pt x="869" y="344"/>
                  </a:lnTo>
                  <a:lnTo>
                    <a:pt x="871" y="342"/>
                  </a:lnTo>
                  <a:lnTo>
                    <a:pt x="873" y="348"/>
                  </a:lnTo>
                  <a:lnTo>
                    <a:pt x="875" y="348"/>
                  </a:lnTo>
                  <a:lnTo>
                    <a:pt x="877" y="344"/>
                  </a:lnTo>
                  <a:lnTo>
                    <a:pt x="879" y="346"/>
                  </a:lnTo>
                  <a:lnTo>
                    <a:pt x="877" y="348"/>
                  </a:lnTo>
                  <a:lnTo>
                    <a:pt x="875" y="348"/>
                  </a:lnTo>
                  <a:lnTo>
                    <a:pt x="869" y="351"/>
                  </a:lnTo>
                  <a:lnTo>
                    <a:pt x="867" y="350"/>
                  </a:lnTo>
                  <a:lnTo>
                    <a:pt x="860" y="355"/>
                  </a:lnTo>
                  <a:lnTo>
                    <a:pt x="856" y="355"/>
                  </a:lnTo>
                  <a:lnTo>
                    <a:pt x="848" y="357"/>
                  </a:lnTo>
                  <a:lnTo>
                    <a:pt x="842" y="361"/>
                  </a:lnTo>
                  <a:lnTo>
                    <a:pt x="842" y="365"/>
                  </a:lnTo>
                  <a:lnTo>
                    <a:pt x="844" y="367"/>
                  </a:lnTo>
                  <a:lnTo>
                    <a:pt x="842" y="371"/>
                  </a:lnTo>
                  <a:lnTo>
                    <a:pt x="846" y="371"/>
                  </a:lnTo>
                  <a:lnTo>
                    <a:pt x="846" y="375"/>
                  </a:lnTo>
                  <a:lnTo>
                    <a:pt x="848" y="375"/>
                  </a:lnTo>
                  <a:lnTo>
                    <a:pt x="850" y="373"/>
                  </a:lnTo>
                  <a:lnTo>
                    <a:pt x="848" y="371"/>
                  </a:lnTo>
                  <a:lnTo>
                    <a:pt x="850" y="363"/>
                  </a:lnTo>
                  <a:lnTo>
                    <a:pt x="852" y="363"/>
                  </a:lnTo>
                  <a:lnTo>
                    <a:pt x="852" y="367"/>
                  </a:lnTo>
                  <a:lnTo>
                    <a:pt x="863" y="365"/>
                  </a:lnTo>
                  <a:lnTo>
                    <a:pt x="871" y="361"/>
                  </a:lnTo>
                  <a:lnTo>
                    <a:pt x="873" y="361"/>
                  </a:lnTo>
                  <a:lnTo>
                    <a:pt x="875" y="355"/>
                  </a:lnTo>
                  <a:lnTo>
                    <a:pt x="879" y="353"/>
                  </a:lnTo>
                  <a:lnTo>
                    <a:pt x="888" y="355"/>
                  </a:lnTo>
                  <a:lnTo>
                    <a:pt x="892" y="359"/>
                  </a:lnTo>
                  <a:lnTo>
                    <a:pt x="894" y="355"/>
                  </a:lnTo>
                  <a:lnTo>
                    <a:pt x="898" y="357"/>
                  </a:lnTo>
                  <a:lnTo>
                    <a:pt x="900" y="357"/>
                  </a:lnTo>
                  <a:lnTo>
                    <a:pt x="902" y="359"/>
                  </a:lnTo>
                  <a:lnTo>
                    <a:pt x="906" y="357"/>
                  </a:lnTo>
                  <a:lnTo>
                    <a:pt x="908" y="361"/>
                  </a:lnTo>
                  <a:lnTo>
                    <a:pt x="906" y="363"/>
                  </a:lnTo>
                  <a:lnTo>
                    <a:pt x="910" y="361"/>
                  </a:lnTo>
                  <a:lnTo>
                    <a:pt x="910" y="357"/>
                  </a:lnTo>
                  <a:lnTo>
                    <a:pt x="915" y="357"/>
                  </a:lnTo>
                  <a:lnTo>
                    <a:pt x="915" y="355"/>
                  </a:lnTo>
                  <a:lnTo>
                    <a:pt x="917" y="355"/>
                  </a:lnTo>
                  <a:lnTo>
                    <a:pt x="915" y="351"/>
                  </a:lnTo>
                  <a:lnTo>
                    <a:pt x="921" y="351"/>
                  </a:lnTo>
                  <a:lnTo>
                    <a:pt x="927" y="353"/>
                  </a:lnTo>
                  <a:lnTo>
                    <a:pt x="927" y="351"/>
                  </a:lnTo>
                  <a:lnTo>
                    <a:pt x="933" y="355"/>
                  </a:lnTo>
                  <a:lnTo>
                    <a:pt x="929" y="359"/>
                  </a:lnTo>
                  <a:lnTo>
                    <a:pt x="925" y="359"/>
                  </a:lnTo>
                  <a:lnTo>
                    <a:pt x="927" y="365"/>
                  </a:lnTo>
                  <a:lnTo>
                    <a:pt x="921" y="365"/>
                  </a:lnTo>
                  <a:lnTo>
                    <a:pt x="923" y="371"/>
                  </a:lnTo>
                  <a:lnTo>
                    <a:pt x="915" y="369"/>
                  </a:lnTo>
                  <a:lnTo>
                    <a:pt x="913" y="369"/>
                  </a:lnTo>
                  <a:lnTo>
                    <a:pt x="913" y="373"/>
                  </a:lnTo>
                  <a:lnTo>
                    <a:pt x="915" y="375"/>
                  </a:lnTo>
                  <a:lnTo>
                    <a:pt x="913" y="376"/>
                  </a:lnTo>
                  <a:lnTo>
                    <a:pt x="913" y="382"/>
                  </a:lnTo>
                  <a:lnTo>
                    <a:pt x="910" y="382"/>
                  </a:lnTo>
                  <a:lnTo>
                    <a:pt x="902" y="380"/>
                  </a:lnTo>
                  <a:lnTo>
                    <a:pt x="900" y="382"/>
                  </a:lnTo>
                  <a:lnTo>
                    <a:pt x="892" y="384"/>
                  </a:lnTo>
                  <a:lnTo>
                    <a:pt x="890" y="388"/>
                  </a:lnTo>
                  <a:lnTo>
                    <a:pt x="886" y="388"/>
                  </a:lnTo>
                  <a:lnTo>
                    <a:pt x="885" y="390"/>
                  </a:lnTo>
                  <a:lnTo>
                    <a:pt x="885" y="394"/>
                  </a:lnTo>
                  <a:lnTo>
                    <a:pt x="883" y="396"/>
                  </a:lnTo>
                  <a:lnTo>
                    <a:pt x="875" y="398"/>
                  </a:lnTo>
                  <a:lnTo>
                    <a:pt x="873" y="401"/>
                  </a:lnTo>
                  <a:lnTo>
                    <a:pt x="867" y="401"/>
                  </a:lnTo>
                  <a:lnTo>
                    <a:pt x="862" y="405"/>
                  </a:lnTo>
                  <a:lnTo>
                    <a:pt x="854" y="407"/>
                  </a:lnTo>
                  <a:lnTo>
                    <a:pt x="852" y="411"/>
                  </a:lnTo>
                  <a:lnTo>
                    <a:pt x="842" y="411"/>
                  </a:lnTo>
                  <a:lnTo>
                    <a:pt x="842" y="415"/>
                  </a:lnTo>
                  <a:lnTo>
                    <a:pt x="835" y="415"/>
                  </a:lnTo>
                  <a:lnTo>
                    <a:pt x="829" y="419"/>
                  </a:lnTo>
                  <a:lnTo>
                    <a:pt x="825" y="424"/>
                  </a:lnTo>
                  <a:lnTo>
                    <a:pt x="817" y="430"/>
                  </a:lnTo>
                  <a:lnTo>
                    <a:pt x="810" y="430"/>
                  </a:lnTo>
                  <a:lnTo>
                    <a:pt x="806" y="436"/>
                  </a:lnTo>
                  <a:lnTo>
                    <a:pt x="798" y="436"/>
                  </a:lnTo>
                  <a:lnTo>
                    <a:pt x="794" y="442"/>
                  </a:lnTo>
                  <a:lnTo>
                    <a:pt x="785" y="446"/>
                  </a:lnTo>
                  <a:lnTo>
                    <a:pt x="783" y="449"/>
                  </a:lnTo>
                  <a:lnTo>
                    <a:pt x="777" y="451"/>
                  </a:lnTo>
                  <a:lnTo>
                    <a:pt x="773" y="457"/>
                  </a:lnTo>
                  <a:lnTo>
                    <a:pt x="773" y="459"/>
                  </a:lnTo>
                  <a:lnTo>
                    <a:pt x="771" y="461"/>
                  </a:lnTo>
                  <a:lnTo>
                    <a:pt x="767" y="461"/>
                  </a:lnTo>
                  <a:lnTo>
                    <a:pt x="767" y="465"/>
                  </a:lnTo>
                  <a:lnTo>
                    <a:pt x="764" y="467"/>
                  </a:lnTo>
                  <a:lnTo>
                    <a:pt x="754" y="465"/>
                  </a:lnTo>
                  <a:lnTo>
                    <a:pt x="752" y="469"/>
                  </a:lnTo>
                  <a:lnTo>
                    <a:pt x="748" y="469"/>
                  </a:lnTo>
                  <a:lnTo>
                    <a:pt x="744" y="474"/>
                  </a:lnTo>
                  <a:lnTo>
                    <a:pt x="743" y="478"/>
                  </a:lnTo>
                  <a:lnTo>
                    <a:pt x="743" y="484"/>
                  </a:lnTo>
                  <a:lnTo>
                    <a:pt x="737" y="486"/>
                  </a:lnTo>
                  <a:lnTo>
                    <a:pt x="737" y="490"/>
                  </a:lnTo>
                  <a:lnTo>
                    <a:pt x="739" y="490"/>
                  </a:lnTo>
                  <a:lnTo>
                    <a:pt x="739" y="494"/>
                  </a:lnTo>
                  <a:lnTo>
                    <a:pt x="741" y="497"/>
                  </a:lnTo>
                  <a:lnTo>
                    <a:pt x="739" y="501"/>
                  </a:lnTo>
                  <a:lnTo>
                    <a:pt x="741" y="507"/>
                  </a:lnTo>
                  <a:lnTo>
                    <a:pt x="744" y="511"/>
                  </a:lnTo>
                  <a:lnTo>
                    <a:pt x="744" y="515"/>
                  </a:lnTo>
                  <a:lnTo>
                    <a:pt x="746" y="517"/>
                  </a:lnTo>
                  <a:lnTo>
                    <a:pt x="750" y="522"/>
                  </a:lnTo>
                  <a:lnTo>
                    <a:pt x="752" y="522"/>
                  </a:lnTo>
                  <a:lnTo>
                    <a:pt x="756" y="526"/>
                  </a:lnTo>
                  <a:lnTo>
                    <a:pt x="760" y="526"/>
                  </a:lnTo>
                  <a:lnTo>
                    <a:pt x="762" y="528"/>
                  </a:lnTo>
                  <a:lnTo>
                    <a:pt x="767" y="530"/>
                  </a:lnTo>
                  <a:lnTo>
                    <a:pt x="773" y="528"/>
                  </a:lnTo>
                  <a:lnTo>
                    <a:pt x="777" y="526"/>
                  </a:lnTo>
                  <a:lnTo>
                    <a:pt x="783" y="530"/>
                  </a:lnTo>
                  <a:lnTo>
                    <a:pt x="785" y="534"/>
                  </a:lnTo>
                  <a:lnTo>
                    <a:pt x="787" y="532"/>
                  </a:lnTo>
                  <a:lnTo>
                    <a:pt x="794" y="532"/>
                  </a:lnTo>
                  <a:lnTo>
                    <a:pt x="796" y="528"/>
                  </a:lnTo>
                  <a:lnTo>
                    <a:pt x="798" y="530"/>
                  </a:lnTo>
                  <a:lnTo>
                    <a:pt x="800" y="526"/>
                  </a:lnTo>
                  <a:lnTo>
                    <a:pt x="808" y="530"/>
                  </a:lnTo>
                  <a:lnTo>
                    <a:pt x="814" y="530"/>
                  </a:lnTo>
                  <a:lnTo>
                    <a:pt x="814" y="528"/>
                  </a:lnTo>
                  <a:lnTo>
                    <a:pt x="815" y="528"/>
                  </a:lnTo>
                  <a:lnTo>
                    <a:pt x="815" y="522"/>
                  </a:lnTo>
                  <a:lnTo>
                    <a:pt x="823" y="519"/>
                  </a:lnTo>
                  <a:lnTo>
                    <a:pt x="825" y="517"/>
                  </a:lnTo>
                  <a:lnTo>
                    <a:pt x="831" y="519"/>
                  </a:lnTo>
                  <a:lnTo>
                    <a:pt x="829" y="528"/>
                  </a:lnTo>
                  <a:lnTo>
                    <a:pt x="831" y="528"/>
                  </a:lnTo>
                  <a:lnTo>
                    <a:pt x="831" y="532"/>
                  </a:lnTo>
                  <a:lnTo>
                    <a:pt x="829" y="536"/>
                  </a:lnTo>
                  <a:lnTo>
                    <a:pt x="835" y="540"/>
                  </a:lnTo>
                  <a:lnTo>
                    <a:pt x="835" y="544"/>
                  </a:lnTo>
                  <a:lnTo>
                    <a:pt x="833" y="544"/>
                  </a:lnTo>
                  <a:lnTo>
                    <a:pt x="831" y="551"/>
                  </a:lnTo>
                  <a:lnTo>
                    <a:pt x="833" y="551"/>
                  </a:lnTo>
                  <a:lnTo>
                    <a:pt x="831" y="551"/>
                  </a:lnTo>
                  <a:lnTo>
                    <a:pt x="829" y="553"/>
                  </a:lnTo>
                  <a:lnTo>
                    <a:pt x="823" y="555"/>
                  </a:lnTo>
                  <a:lnTo>
                    <a:pt x="819" y="551"/>
                  </a:lnTo>
                  <a:lnTo>
                    <a:pt x="808" y="551"/>
                  </a:lnTo>
                  <a:lnTo>
                    <a:pt x="808" y="555"/>
                  </a:lnTo>
                  <a:lnTo>
                    <a:pt x="806" y="553"/>
                  </a:lnTo>
                  <a:lnTo>
                    <a:pt x="802" y="557"/>
                  </a:lnTo>
                  <a:lnTo>
                    <a:pt x="798" y="557"/>
                  </a:lnTo>
                  <a:lnTo>
                    <a:pt x="789" y="555"/>
                  </a:lnTo>
                  <a:lnTo>
                    <a:pt x="787" y="559"/>
                  </a:lnTo>
                  <a:lnTo>
                    <a:pt x="777" y="559"/>
                  </a:lnTo>
                  <a:lnTo>
                    <a:pt x="777" y="563"/>
                  </a:lnTo>
                  <a:lnTo>
                    <a:pt x="775" y="563"/>
                  </a:lnTo>
                  <a:lnTo>
                    <a:pt x="775" y="569"/>
                  </a:lnTo>
                  <a:lnTo>
                    <a:pt x="777" y="572"/>
                  </a:lnTo>
                  <a:lnTo>
                    <a:pt x="781" y="572"/>
                  </a:lnTo>
                  <a:lnTo>
                    <a:pt x="779" y="576"/>
                  </a:lnTo>
                  <a:lnTo>
                    <a:pt x="783" y="578"/>
                  </a:lnTo>
                  <a:lnTo>
                    <a:pt x="779" y="582"/>
                  </a:lnTo>
                  <a:lnTo>
                    <a:pt x="769" y="582"/>
                  </a:lnTo>
                  <a:lnTo>
                    <a:pt x="767" y="584"/>
                  </a:lnTo>
                  <a:lnTo>
                    <a:pt x="773" y="590"/>
                  </a:lnTo>
                  <a:lnTo>
                    <a:pt x="773" y="592"/>
                  </a:lnTo>
                  <a:lnTo>
                    <a:pt x="777" y="592"/>
                  </a:lnTo>
                  <a:lnTo>
                    <a:pt x="779" y="594"/>
                  </a:lnTo>
                  <a:lnTo>
                    <a:pt x="783" y="590"/>
                  </a:lnTo>
                  <a:lnTo>
                    <a:pt x="789" y="595"/>
                  </a:lnTo>
                  <a:lnTo>
                    <a:pt x="792" y="595"/>
                  </a:lnTo>
                  <a:lnTo>
                    <a:pt x="794" y="603"/>
                  </a:lnTo>
                  <a:lnTo>
                    <a:pt x="796" y="611"/>
                  </a:lnTo>
                  <a:lnTo>
                    <a:pt x="791" y="618"/>
                  </a:lnTo>
                  <a:lnTo>
                    <a:pt x="785" y="622"/>
                  </a:lnTo>
                  <a:lnTo>
                    <a:pt x="779" y="620"/>
                  </a:lnTo>
                  <a:lnTo>
                    <a:pt x="779" y="613"/>
                  </a:lnTo>
                  <a:lnTo>
                    <a:pt x="775" y="617"/>
                  </a:lnTo>
                  <a:lnTo>
                    <a:pt x="773" y="613"/>
                  </a:lnTo>
                  <a:lnTo>
                    <a:pt x="767" y="615"/>
                  </a:lnTo>
                  <a:lnTo>
                    <a:pt x="771" y="622"/>
                  </a:lnTo>
                  <a:lnTo>
                    <a:pt x="769" y="628"/>
                  </a:lnTo>
                  <a:lnTo>
                    <a:pt x="771" y="630"/>
                  </a:lnTo>
                  <a:lnTo>
                    <a:pt x="769" y="636"/>
                  </a:lnTo>
                  <a:lnTo>
                    <a:pt x="773" y="643"/>
                  </a:lnTo>
                  <a:lnTo>
                    <a:pt x="779" y="649"/>
                  </a:lnTo>
                  <a:lnTo>
                    <a:pt x="781" y="651"/>
                  </a:lnTo>
                  <a:lnTo>
                    <a:pt x="779" y="653"/>
                  </a:lnTo>
                  <a:lnTo>
                    <a:pt x="777" y="651"/>
                  </a:lnTo>
                  <a:lnTo>
                    <a:pt x="775" y="659"/>
                  </a:lnTo>
                  <a:lnTo>
                    <a:pt x="771" y="657"/>
                  </a:lnTo>
                  <a:lnTo>
                    <a:pt x="766" y="659"/>
                  </a:lnTo>
                  <a:lnTo>
                    <a:pt x="762" y="655"/>
                  </a:lnTo>
                  <a:lnTo>
                    <a:pt x="756" y="655"/>
                  </a:lnTo>
                  <a:lnTo>
                    <a:pt x="754" y="655"/>
                  </a:lnTo>
                  <a:lnTo>
                    <a:pt x="752" y="651"/>
                  </a:lnTo>
                  <a:lnTo>
                    <a:pt x="754" y="645"/>
                  </a:lnTo>
                  <a:lnTo>
                    <a:pt x="754" y="642"/>
                  </a:lnTo>
                  <a:lnTo>
                    <a:pt x="750" y="643"/>
                  </a:lnTo>
                  <a:lnTo>
                    <a:pt x="746" y="643"/>
                  </a:lnTo>
                  <a:lnTo>
                    <a:pt x="744" y="647"/>
                  </a:lnTo>
                  <a:lnTo>
                    <a:pt x="743" y="645"/>
                  </a:lnTo>
                  <a:lnTo>
                    <a:pt x="743" y="649"/>
                  </a:lnTo>
                  <a:lnTo>
                    <a:pt x="741" y="651"/>
                  </a:lnTo>
                  <a:lnTo>
                    <a:pt x="741" y="653"/>
                  </a:lnTo>
                  <a:lnTo>
                    <a:pt x="737" y="655"/>
                  </a:lnTo>
                  <a:lnTo>
                    <a:pt x="735" y="655"/>
                  </a:lnTo>
                  <a:lnTo>
                    <a:pt x="733" y="649"/>
                  </a:lnTo>
                  <a:lnTo>
                    <a:pt x="729" y="647"/>
                  </a:lnTo>
                  <a:lnTo>
                    <a:pt x="727" y="649"/>
                  </a:lnTo>
                  <a:lnTo>
                    <a:pt x="725" y="649"/>
                  </a:lnTo>
                  <a:lnTo>
                    <a:pt x="723" y="651"/>
                  </a:lnTo>
                  <a:lnTo>
                    <a:pt x="718" y="645"/>
                  </a:lnTo>
                  <a:lnTo>
                    <a:pt x="714" y="645"/>
                  </a:lnTo>
                  <a:lnTo>
                    <a:pt x="712" y="647"/>
                  </a:lnTo>
                  <a:lnTo>
                    <a:pt x="710" y="649"/>
                  </a:lnTo>
                  <a:lnTo>
                    <a:pt x="702" y="649"/>
                  </a:lnTo>
                  <a:lnTo>
                    <a:pt x="700" y="643"/>
                  </a:lnTo>
                  <a:lnTo>
                    <a:pt x="702" y="640"/>
                  </a:lnTo>
                  <a:lnTo>
                    <a:pt x="700" y="638"/>
                  </a:lnTo>
                  <a:lnTo>
                    <a:pt x="696" y="642"/>
                  </a:lnTo>
                  <a:lnTo>
                    <a:pt x="695" y="642"/>
                  </a:lnTo>
                  <a:lnTo>
                    <a:pt x="696" y="647"/>
                  </a:lnTo>
                  <a:lnTo>
                    <a:pt x="693" y="651"/>
                  </a:lnTo>
                  <a:lnTo>
                    <a:pt x="693" y="659"/>
                  </a:lnTo>
                  <a:lnTo>
                    <a:pt x="693" y="663"/>
                  </a:lnTo>
                  <a:lnTo>
                    <a:pt x="683" y="665"/>
                  </a:lnTo>
                  <a:lnTo>
                    <a:pt x="679" y="670"/>
                  </a:lnTo>
                  <a:lnTo>
                    <a:pt x="677" y="670"/>
                  </a:lnTo>
                  <a:lnTo>
                    <a:pt x="677" y="680"/>
                  </a:lnTo>
                  <a:lnTo>
                    <a:pt x="672" y="684"/>
                  </a:lnTo>
                  <a:lnTo>
                    <a:pt x="666" y="686"/>
                  </a:lnTo>
                  <a:lnTo>
                    <a:pt x="664" y="684"/>
                  </a:lnTo>
                  <a:lnTo>
                    <a:pt x="654" y="690"/>
                  </a:lnTo>
                  <a:lnTo>
                    <a:pt x="652" y="686"/>
                  </a:lnTo>
                  <a:lnTo>
                    <a:pt x="648" y="684"/>
                  </a:lnTo>
                  <a:lnTo>
                    <a:pt x="647" y="686"/>
                  </a:lnTo>
                  <a:lnTo>
                    <a:pt x="650" y="688"/>
                  </a:lnTo>
                  <a:lnTo>
                    <a:pt x="648" y="693"/>
                  </a:lnTo>
                  <a:lnTo>
                    <a:pt x="645" y="693"/>
                  </a:lnTo>
                  <a:lnTo>
                    <a:pt x="647" y="695"/>
                  </a:lnTo>
                  <a:lnTo>
                    <a:pt x="645" y="699"/>
                  </a:lnTo>
                  <a:lnTo>
                    <a:pt x="641" y="695"/>
                  </a:lnTo>
                  <a:lnTo>
                    <a:pt x="633" y="695"/>
                  </a:lnTo>
                  <a:lnTo>
                    <a:pt x="631" y="691"/>
                  </a:lnTo>
                  <a:lnTo>
                    <a:pt x="633" y="690"/>
                  </a:lnTo>
                  <a:lnTo>
                    <a:pt x="631" y="688"/>
                  </a:lnTo>
                  <a:lnTo>
                    <a:pt x="625" y="682"/>
                  </a:lnTo>
                  <a:lnTo>
                    <a:pt x="622" y="682"/>
                  </a:lnTo>
                  <a:lnTo>
                    <a:pt x="624" y="674"/>
                  </a:lnTo>
                  <a:lnTo>
                    <a:pt x="627" y="670"/>
                  </a:lnTo>
                  <a:lnTo>
                    <a:pt x="635" y="674"/>
                  </a:lnTo>
                  <a:lnTo>
                    <a:pt x="645" y="670"/>
                  </a:lnTo>
                  <a:lnTo>
                    <a:pt x="647" y="676"/>
                  </a:lnTo>
                  <a:lnTo>
                    <a:pt x="648" y="676"/>
                  </a:lnTo>
                  <a:lnTo>
                    <a:pt x="652" y="672"/>
                  </a:lnTo>
                  <a:lnTo>
                    <a:pt x="654" y="672"/>
                  </a:lnTo>
                  <a:lnTo>
                    <a:pt x="656" y="668"/>
                  </a:lnTo>
                  <a:lnTo>
                    <a:pt x="662" y="667"/>
                  </a:lnTo>
                  <a:lnTo>
                    <a:pt x="662" y="663"/>
                  </a:lnTo>
                  <a:lnTo>
                    <a:pt x="658" y="663"/>
                  </a:lnTo>
                  <a:lnTo>
                    <a:pt x="654" y="657"/>
                  </a:lnTo>
                  <a:lnTo>
                    <a:pt x="656" y="649"/>
                  </a:lnTo>
                  <a:lnTo>
                    <a:pt x="662" y="647"/>
                  </a:lnTo>
                  <a:lnTo>
                    <a:pt x="660" y="645"/>
                  </a:lnTo>
                  <a:lnTo>
                    <a:pt x="660" y="640"/>
                  </a:lnTo>
                  <a:lnTo>
                    <a:pt x="656" y="640"/>
                  </a:lnTo>
                  <a:lnTo>
                    <a:pt x="652" y="636"/>
                  </a:lnTo>
                  <a:lnTo>
                    <a:pt x="652" y="630"/>
                  </a:lnTo>
                  <a:lnTo>
                    <a:pt x="654" y="628"/>
                  </a:lnTo>
                  <a:lnTo>
                    <a:pt x="654" y="626"/>
                  </a:lnTo>
                  <a:lnTo>
                    <a:pt x="658" y="620"/>
                  </a:lnTo>
                  <a:lnTo>
                    <a:pt x="660" y="622"/>
                  </a:lnTo>
                  <a:lnTo>
                    <a:pt x="660" y="626"/>
                  </a:lnTo>
                  <a:lnTo>
                    <a:pt x="662" y="628"/>
                  </a:lnTo>
                  <a:lnTo>
                    <a:pt x="672" y="622"/>
                  </a:lnTo>
                  <a:lnTo>
                    <a:pt x="672" y="620"/>
                  </a:lnTo>
                  <a:lnTo>
                    <a:pt x="670" y="617"/>
                  </a:lnTo>
                  <a:lnTo>
                    <a:pt x="673" y="617"/>
                  </a:lnTo>
                  <a:lnTo>
                    <a:pt x="672" y="613"/>
                  </a:lnTo>
                  <a:lnTo>
                    <a:pt x="672" y="611"/>
                  </a:lnTo>
                  <a:lnTo>
                    <a:pt x="668" y="609"/>
                  </a:lnTo>
                  <a:lnTo>
                    <a:pt x="668" y="607"/>
                  </a:lnTo>
                  <a:lnTo>
                    <a:pt x="666" y="607"/>
                  </a:lnTo>
                  <a:lnTo>
                    <a:pt x="664" y="609"/>
                  </a:lnTo>
                  <a:lnTo>
                    <a:pt x="664" y="607"/>
                  </a:lnTo>
                  <a:lnTo>
                    <a:pt x="666" y="603"/>
                  </a:lnTo>
                  <a:lnTo>
                    <a:pt x="666" y="601"/>
                  </a:lnTo>
                  <a:lnTo>
                    <a:pt x="664" y="599"/>
                  </a:lnTo>
                  <a:lnTo>
                    <a:pt x="664" y="594"/>
                  </a:lnTo>
                  <a:lnTo>
                    <a:pt x="660" y="590"/>
                  </a:lnTo>
                  <a:lnTo>
                    <a:pt x="656" y="590"/>
                  </a:lnTo>
                  <a:lnTo>
                    <a:pt x="648" y="594"/>
                  </a:lnTo>
                  <a:lnTo>
                    <a:pt x="647" y="597"/>
                  </a:lnTo>
                  <a:lnTo>
                    <a:pt x="641" y="597"/>
                  </a:lnTo>
                  <a:lnTo>
                    <a:pt x="637" y="594"/>
                  </a:lnTo>
                  <a:lnTo>
                    <a:pt x="633" y="595"/>
                  </a:lnTo>
                  <a:lnTo>
                    <a:pt x="624" y="597"/>
                  </a:lnTo>
                  <a:lnTo>
                    <a:pt x="614" y="595"/>
                  </a:lnTo>
                  <a:lnTo>
                    <a:pt x="612" y="595"/>
                  </a:lnTo>
                  <a:lnTo>
                    <a:pt x="608" y="594"/>
                  </a:lnTo>
                  <a:lnTo>
                    <a:pt x="604" y="594"/>
                  </a:lnTo>
                  <a:lnTo>
                    <a:pt x="599" y="594"/>
                  </a:lnTo>
                  <a:lnTo>
                    <a:pt x="595" y="590"/>
                  </a:lnTo>
                  <a:lnTo>
                    <a:pt x="597" y="588"/>
                  </a:lnTo>
                  <a:lnTo>
                    <a:pt x="599" y="584"/>
                  </a:lnTo>
                  <a:lnTo>
                    <a:pt x="602" y="582"/>
                  </a:lnTo>
                  <a:lnTo>
                    <a:pt x="599" y="576"/>
                  </a:lnTo>
                  <a:lnTo>
                    <a:pt x="599" y="574"/>
                  </a:lnTo>
                  <a:lnTo>
                    <a:pt x="601" y="576"/>
                  </a:lnTo>
                  <a:lnTo>
                    <a:pt x="602" y="576"/>
                  </a:lnTo>
                  <a:lnTo>
                    <a:pt x="601" y="580"/>
                  </a:lnTo>
                  <a:lnTo>
                    <a:pt x="606" y="580"/>
                  </a:lnTo>
                  <a:lnTo>
                    <a:pt x="608" y="584"/>
                  </a:lnTo>
                  <a:lnTo>
                    <a:pt x="610" y="582"/>
                  </a:lnTo>
                  <a:lnTo>
                    <a:pt x="618" y="580"/>
                  </a:lnTo>
                  <a:lnTo>
                    <a:pt x="622" y="578"/>
                  </a:lnTo>
                  <a:lnTo>
                    <a:pt x="622" y="576"/>
                  </a:lnTo>
                  <a:lnTo>
                    <a:pt x="616" y="578"/>
                  </a:lnTo>
                  <a:lnTo>
                    <a:pt x="612" y="576"/>
                  </a:lnTo>
                  <a:lnTo>
                    <a:pt x="610" y="578"/>
                  </a:lnTo>
                  <a:lnTo>
                    <a:pt x="604" y="576"/>
                  </a:lnTo>
                  <a:lnTo>
                    <a:pt x="604" y="572"/>
                  </a:lnTo>
                  <a:lnTo>
                    <a:pt x="608" y="572"/>
                  </a:lnTo>
                  <a:lnTo>
                    <a:pt x="604" y="569"/>
                  </a:lnTo>
                  <a:lnTo>
                    <a:pt x="606" y="567"/>
                  </a:lnTo>
                  <a:lnTo>
                    <a:pt x="610" y="574"/>
                  </a:lnTo>
                  <a:lnTo>
                    <a:pt x="612" y="569"/>
                  </a:lnTo>
                  <a:lnTo>
                    <a:pt x="610" y="563"/>
                  </a:lnTo>
                  <a:lnTo>
                    <a:pt x="614" y="561"/>
                  </a:lnTo>
                  <a:lnTo>
                    <a:pt x="614" y="559"/>
                  </a:lnTo>
                  <a:lnTo>
                    <a:pt x="602" y="561"/>
                  </a:lnTo>
                  <a:lnTo>
                    <a:pt x="599" y="559"/>
                  </a:lnTo>
                  <a:lnTo>
                    <a:pt x="599" y="561"/>
                  </a:lnTo>
                  <a:lnTo>
                    <a:pt x="595" y="559"/>
                  </a:lnTo>
                  <a:lnTo>
                    <a:pt x="595" y="565"/>
                  </a:lnTo>
                  <a:lnTo>
                    <a:pt x="589" y="567"/>
                  </a:lnTo>
                  <a:lnTo>
                    <a:pt x="589" y="569"/>
                  </a:lnTo>
                  <a:lnTo>
                    <a:pt x="589" y="576"/>
                  </a:lnTo>
                  <a:lnTo>
                    <a:pt x="583" y="576"/>
                  </a:lnTo>
                  <a:lnTo>
                    <a:pt x="581" y="580"/>
                  </a:lnTo>
                  <a:lnTo>
                    <a:pt x="576" y="578"/>
                  </a:lnTo>
                  <a:lnTo>
                    <a:pt x="570" y="578"/>
                  </a:lnTo>
                  <a:lnTo>
                    <a:pt x="572" y="576"/>
                  </a:lnTo>
                  <a:lnTo>
                    <a:pt x="566" y="574"/>
                  </a:lnTo>
                  <a:lnTo>
                    <a:pt x="566" y="570"/>
                  </a:lnTo>
                  <a:lnTo>
                    <a:pt x="564" y="570"/>
                  </a:lnTo>
                  <a:lnTo>
                    <a:pt x="562" y="570"/>
                  </a:lnTo>
                  <a:lnTo>
                    <a:pt x="560" y="567"/>
                  </a:lnTo>
                  <a:lnTo>
                    <a:pt x="558" y="567"/>
                  </a:lnTo>
                  <a:lnTo>
                    <a:pt x="558" y="572"/>
                  </a:lnTo>
                  <a:lnTo>
                    <a:pt x="560" y="580"/>
                  </a:lnTo>
                  <a:lnTo>
                    <a:pt x="560" y="584"/>
                  </a:lnTo>
                  <a:lnTo>
                    <a:pt x="558" y="586"/>
                  </a:lnTo>
                  <a:lnTo>
                    <a:pt x="560" y="586"/>
                  </a:lnTo>
                  <a:lnTo>
                    <a:pt x="562" y="584"/>
                  </a:lnTo>
                  <a:lnTo>
                    <a:pt x="566" y="588"/>
                  </a:lnTo>
                  <a:lnTo>
                    <a:pt x="576" y="586"/>
                  </a:lnTo>
                  <a:lnTo>
                    <a:pt x="577" y="590"/>
                  </a:lnTo>
                  <a:lnTo>
                    <a:pt x="577" y="592"/>
                  </a:lnTo>
                  <a:lnTo>
                    <a:pt x="576" y="592"/>
                  </a:lnTo>
                  <a:lnTo>
                    <a:pt x="576" y="595"/>
                  </a:lnTo>
                  <a:lnTo>
                    <a:pt x="572" y="597"/>
                  </a:lnTo>
                  <a:lnTo>
                    <a:pt x="570" y="601"/>
                  </a:lnTo>
                  <a:lnTo>
                    <a:pt x="564" y="601"/>
                  </a:lnTo>
                  <a:lnTo>
                    <a:pt x="560" y="595"/>
                  </a:lnTo>
                  <a:lnTo>
                    <a:pt x="560" y="597"/>
                  </a:lnTo>
                  <a:lnTo>
                    <a:pt x="560" y="595"/>
                  </a:lnTo>
                  <a:lnTo>
                    <a:pt x="556" y="586"/>
                  </a:lnTo>
                  <a:lnTo>
                    <a:pt x="554" y="586"/>
                  </a:lnTo>
                  <a:lnTo>
                    <a:pt x="554" y="590"/>
                  </a:lnTo>
                  <a:lnTo>
                    <a:pt x="553" y="592"/>
                  </a:lnTo>
                  <a:lnTo>
                    <a:pt x="553" y="597"/>
                  </a:lnTo>
                  <a:lnTo>
                    <a:pt x="556" y="597"/>
                  </a:lnTo>
                  <a:lnTo>
                    <a:pt x="556" y="599"/>
                  </a:lnTo>
                  <a:lnTo>
                    <a:pt x="553" y="603"/>
                  </a:lnTo>
                  <a:lnTo>
                    <a:pt x="553" y="607"/>
                  </a:lnTo>
                  <a:lnTo>
                    <a:pt x="549" y="607"/>
                  </a:lnTo>
                  <a:lnTo>
                    <a:pt x="549" y="613"/>
                  </a:lnTo>
                  <a:lnTo>
                    <a:pt x="543" y="617"/>
                  </a:lnTo>
                  <a:lnTo>
                    <a:pt x="551" y="620"/>
                  </a:lnTo>
                  <a:lnTo>
                    <a:pt x="554" y="618"/>
                  </a:lnTo>
                  <a:lnTo>
                    <a:pt x="554" y="622"/>
                  </a:lnTo>
                  <a:lnTo>
                    <a:pt x="560" y="620"/>
                  </a:lnTo>
                  <a:lnTo>
                    <a:pt x="556" y="628"/>
                  </a:lnTo>
                  <a:lnTo>
                    <a:pt x="554" y="628"/>
                  </a:lnTo>
                  <a:lnTo>
                    <a:pt x="551" y="632"/>
                  </a:lnTo>
                  <a:lnTo>
                    <a:pt x="551" y="638"/>
                  </a:lnTo>
                  <a:lnTo>
                    <a:pt x="547" y="642"/>
                  </a:lnTo>
                  <a:lnTo>
                    <a:pt x="549" y="643"/>
                  </a:lnTo>
                  <a:lnTo>
                    <a:pt x="560" y="643"/>
                  </a:lnTo>
                  <a:lnTo>
                    <a:pt x="562" y="643"/>
                  </a:lnTo>
                  <a:lnTo>
                    <a:pt x="564" y="647"/>
                  </a:lnTo>
                  <a:lnTo>
                    <a:pt x="560" y="649"/>
                  </a:lnTo>
                  <a:lnTo>
                    <a:pt x="562" y="653"/>
                  </a:lnTo>
                  <a:lnTo>
                    <a:pt x="566" y="655"/>
                  </a:lnTo>
                  <a:lnTo>
                    <a:pt x="566" y="659"/>
                  </a:lnTo>
                  <a:lnTo>
                    <a:pt x="568" y="661"/>
                  </a:lnTo>
                  <a:lnTo>
                    <a:pt x="572" y="668"/>
                  </a:lnTo>
                  <a:lnTo>
                    <a:pt x="570" y="674"/>
                  </a:lnTo>
                  <a:lnTo>
                    <a:pt x="564" y="680"/>
                  </a:lnTo>
                  <a:lnTo>
                    <a:pt x="562" y="688"/>
                  </a:lnTo>
                  <a:lnTo>
                    <a:pt x="562" y="693"/>
                  </a:lnTo>
                  <a:lnTo>
                    <a:pt x="564" y="695"/>
                  </a:lnTo>
                  <a:lnTo>
                    <a:pt x="566" y="697"/>
                  </a:lnTo>
                  <a:lnTo>
                    <a:pt x="564" y="701"/>
                  </a:lnTo>
                  <a:lnTo>
                    <a:pt x="562" y="707"/>
                  </a:lnTo>
                  <a:lnTo>
                    <a:pt x="564" y="713"/>
                  </a:lnTo>
                  <a:lnTo>
                    <a:pt x="558" y="715"/>
                  </a:lnTo>
                  <a:lnTo>
                    <a:pt x="554" y="720"/>
                  </a:lnTo>
                  <a:lnTo>
                    <a:pt x="549" y="724"/>
                  </a:lnTo>
                  <a:lnTo>
                    <a:pt x="549" y="722"/>
                  </a:lnTo>
                  <a:lnTo>
                    <a:pt x="547" y="722"/>
                  </a:lnTo>
                  <a:lnTo>
                    <a:pt x="543" y="726"/>
                  </a:lnTo>
                  <a:lnTo>
                    <a:pt x="539" y="726"/>
                  </a:lnTo>
                  <a:lnTo>
                    <a:pt x="533" y="732"/>
                  </a:lnTo>
                  <a:lnTo>
                    <a:pt x="529" y="732"/>
                  </a:lnTo>
                  <a:lnTo>
                    <a:pt x="528" y="734"/>
                  </a:lnTo>
                  <a:lnTo>
                    <a:pt x="524" y="736"/>
                  </a:lnTo>
                  <a:lnTo>
                    <a:pt x="524" y="739"/>
                  </a:lnTo>
                  <a:lnTo>
                    <a:pt x="522" y="741"/>
                  </a:lnTo>
                  <a:lnTo>
                    <a:pt x="520" y="745"/>
                  </a:lnTo>
                  <a:lnTo>
                    <a:pt x="518" y="745"/>
                  </a:lnTo>
                  <a:lnTo>
                    <a:pt x="522" y="751"/>
                  </a:lnTo>
                  <a:lnTo>
                    <a:pt x="524" y="749"/>
                  </a:lnTo>
                  <a:lnTo>
                    <a:pt x="531" y="753"/>
                  </a:lnTo>
                  <a:lnTo>
                    <a:pt x="537" y="751"/>
                  </a:lnTo>
                  <a:lnTo>
                    <a:pt x="539" y="755"/>
                  </a:lnTo>
                  <a:lnTo>
                    <a:pt x="537" y="757"/>
                  </a:lnTo>
                  <a:lnTo>
                    <a:pt x="541" y="757"/>
                  </a:lnTo>
                  <a:lnTo>
                    <a:pt x="543" y="759"/>
                  </a:lnTo>
                  <a:lnTo>
                    <a:pt x="539" y="761"/>
                  </a:lnTo>
                  <a:lnTo>
                    <a:pt x="533" y="759"/>
                  </a:lnTo>
                  <a:lnTo>
                    <a:pt x="528" y="766"/>
                  </a:lnTo>
                  <a:lnTo>
                    <a:pt x="520" y="766"/>
                  </a:lnTo>
                  <a:lnTo>
                    <a:pt x="520" y="770"/>
                  </a:lnTo>
                  <a:lnTo>
                    <a:pt x="516" y="772"/>
                  </a:lnTo>
                  <a:lnTo>
                    <a:pt x="510" y="772"/>
                  </a:lnTo>
                  <a:lnTo>
                    <a:pt x="505" y="768"/>
                  </a:lnTo>
                  <a:lnTo>
                    <a:pt x="497" y="774"/>
                  </a:lnTo>
                  <a:lnTo>
                    <a:pt x="491" y="770"/>
                  </a:lnTo>
                  <a:lnTo>
                    <a:pt x="493" y="768"/>
                  </a:lnTo>
                  <a:lnTo>
                    <a:pt x="489" y="763"/>
                  </a:lnTo>
                  <a:lnTo>
                    <a:pt x="487" y="759"/>
                  </a:lnTo>
                  <a:lnTo>
                    <a:pt x="483" y="759"/>
                  </a:lnTo>
                  <a:lnTo>
                    <a:pt x="482" y="764"/>
                  </a:lnTo>
                  <a:lnTo>
                    <a:pt x="478" y="764"/>
                  </a:lnTo>
                  <a:lnTo>
                    <a:pt x="476" y="761"/>
                  </a:lnTo>
                  <a:lnTo>
                    <a:pt x="478" y="753"/>
                  </a:lnTo>
                  <a:lnTo>
                    <a:pt x="472" y="749"/>
                  </a:lnTo>
                  <a:lnTo>
                    <a:pt x="468" y="749"/>
                  </a:lnTo>
                  <a:lnTo>
                    <a:pt x="468" y="747"/>
                  </a:lnTo>
                  <a:lnTo>
                    <a:pt x="466" y="747"/>
                  </a:lnTo>
                  <a:lnTo>
                    <a:pt x="466" y="745"/>
                  </a:lnTo>
                  <a:lnTo>
                    <a:pt x="462" y="745"/>
                  </a:lnTo>
                  <a:lnTo>
                    <a:pt x="460" y="739"/>
                  </a:lnTo>
                  <a:lnTo>
                    <a:pt x="457" y="741"/>
                  </a:lnTo>
                  <a:lnTo>
                    <a:pt x="457" y="743"/>
                  </a:lnTo>
                  <a:lnTo>
                    <a:pt x="451" y="745"/>
                  </a:lnTo>
                  <a:lnTo>
                    <a:pt x="451" y="741"/>
                  </a:lnTo>
                  <a:lnTo>
                    <a:pt x="449" y="738"/>
                  </a:lnTo>
                  <a:lnTo>
                    <a:pt x="445" y="732"/>
                  </a:lnTo>
                  <a:lnTo>
                    <a:pt x="439" y="734"/>
                  </a:lnTo>
                  <a:lnTo>
                    <a:pt x="437" y="732"/>
                  </a:lnTo>
                  <a:lnTo>
                    <a:pt x="434" y="736"/>
                  </a:lnTo>
                  <a:lnTo>
                    <a:pt x="432" y="732"/>
                  </a:lnTo>
                  <a:lnTo>
                    <a:pt x="426" y="734"/>
                  </a:lnTo>
                  <a:lnTo>
                    <a:pt x="424" y="732"/>
                  </a:lnTo>
                  <a:lnTo>
                    <a:pt x="428" y="726"/>
                  </a:lnTo>
                  <a:lnTo>
                    <a:pt x="424" y="724"/>
                  </a:lnTo>
                  <a:lnTo>
                    <a:pt x="426" y="720"/>
                  </a:lnTo>
                  <a:lnTo>
                    <a:pt x="428" y="713"/>
                  </a:lnTo>
                  <a:lnTo>
                    <a:pt x="424" y="711"/>
                  </a:lnTo>
                  <a:lnTo>
                    <a:pt x="418" y="711"/>
                  </a:lnTo>
                  <a:lnTo>
                    <a:pt x="412" y="715"/>
                  </a:lnTo>
                  <a:lnTo>
                    <a:pt x="410" y="713"/>
                  </a:lnTo>
                  <a:lnTo>
                    <a:pt x="412" y="711"/>
                  </a:lnTo>
                  <a:lnTo>
                    <a:pt x="412" y="705"/>
                  </a:lnTo>
                  <a:lnTo>
                    <a:pt x="409" y="705"/>
                  </a:lnTo>
                  <a:lnTo>
                    <a:pt x="407" y="699"/>
                  </a:lnTo>
                  <a:lnTo>
                    <a:pt x="403" y="697"/>
                  </a:lnTo>
                  <a:lnTo>
                    <a:pt x="401" y="695"/>
                  </a:lnTo>
                  <a:lnTo>
                    <a:pt x="399" y="697"/>
                  </a:lnTo>
                  <a:lnTo>
                    <a:pt x="397" y="695"/>
                  </a:lnTo>
                  <a:lnTo>
                    <a:pt x="397" y="691"/>
                  </a:lnTo>
                  <a:lnTo>
                    <a:pt x="397" y="688"/>
                  </a:lnTo>
                  <a:lnTo>
                    <a:pt x="399" y="682"/>
                  </a:lnTo>
                  <a:lnTo>
                    <a:pt x="405" y="680"/>
                  </a:lnTo>
                  <a:lnTo>
                    <a:pt x="403" y="674"/>
                  </a:lnTo>
                  <a:lnTo>
                    <a:pt x="403" y="667"/>
                  </a:lnTo>
                  <a:lnTo>
                    <a:pt x="399" y="663"/>
                  </a:lnTo>
                  <a:lnTo>
                    <a:pt x="399" y="659"/>
                  </a:lnTo>
                  <a:lnTo>
                    <a:pt x="395" y="661"/>
                  </a:lnTo>
                  <a:lnTo>
                    <a:pt x="393" y="667"/>
                  </a:lnTo>
                  <a:lnTo>
                    <a:pt x="389" y="668"/>
                  </a:lnTo>
                  <a:lnTo>
                    <a:pt x="389" y="672"/>
                  </a:lnTo>
                  <a:lnTo>
                    <a:pt x="386" y="672"/>
                  </a:lnTo>
                  <a:lnTo>
                    <a:pt x="380" y="668"/>
                  </a:lnTo>
                  <a:lnTo>
                    <a:pt x="382" y="665"/>
                  </a:lnTo>
                  <a:lnTo>
                    <a:pt x="374" y="659"/>
                  </a:lnTo>
                  <a:lnTo>
                    <a:pt x="368" y="651"/>
                  </a:lnTo>
                  <a:lnTo>
                    <a:pt x="370" y="645"/>
                  </a:lnTo>
                  <a:lnTo>
                    <a:pt x="374" y="642"/>
                  </a:lnTo>
                  <a:lnTo>
                    <a:pt x="374" y="640"/>
                  </a:lnTo>
                  <a:lnTo>
                    <a:pt x="378" y="640"/>
                  </a:lnTo>
                  <a:lnTo>
                    <a:pt x="380" y="636"/>
                  </a:lnTo>
                  <a:lnTo>
                    <a:pt x="382" y="636"/>
                  </a:lnTo>
                  <a:lnTo>
                    <a:pt x="384" y="632"/>
                  </a:lnTo>
                  <a:lnTo>
                    <a:pt x="382" y="632"/>
                  </a:lnTo>
                  <a:lnTo>
                    <a:pt x="378" y="634"/>
                  </a:lnTo>
                  <a:lnTo>
                    <a:pt x="370" y="630"/>
                  </a:lnTo>
                  <a:lnTo>
                    <a:pt x="372" y="626"/>
                  </a:lnTo>
                  <a:lnTo>
                    <a:pt x="370" y="618"/>
                  </a:lnTo>
                  <a:lnTo>
                    <a:pt x="364" y="622"/>
                  </a:lnTo>
                  <a:lnTo>
                    <a:pt x="363" y="622"/>
                  </a:lnTo>
                  <a:lnTo>
                    <a:pt x="363" y="620"/>
                  </a:lnTo>
                  <a:lnTo>
                    <a:pt x="361" y="620"/>
                  </a:lnTo>
                  <a:lnTo>
                    <a:pt x="359" y="622"/>
                  </a:lnTo>
                  <a:lnTo>
                    <a:pt x="361" y="624"/>
                  </a:lnTo>
                  <a:lnTo>
                    <a:pt x="359" y="626"/>
                  </a:lnTo>
                  <a:lnTo>
                    <a:pt x="357" y="630"/>
                  </a:lnTo>
                  <a:lnTo>
                    <a:pt x="359" y="632"/>
                  </a:lnTo>
                  <a:lnTo>
                    <a:pt x="351" y="636"/>
                  </a:lnTo>
                  <a:lnTo>
                    <a:pt x="345" y="632"/>
                  </a:lnTo>
                  <a:lnTo>
                    <a:pt x="339" y="634"/>
                  </a:lnTo>
                  <a:lnTo>
                    <a:pt x="332" y="634"/>
                  </a:lnTo>
                  <a:lnTo>
                    <a:pt x="328" y="628"/>
                  </a:lnTo>
                  <a:lnTo>
                    <a:pt x="328" y="622"/>
                  </a:lnTo>
                  <a:lnTo>
                    <a:pt x="324" y="622"/>
                  </a:lnTo>
                  <a:lnTo>
                    <a:pt x="316" y="620"/>
                  </a:lnTo>
                  <a:lnTo>
                    <a:pt x="313" y="617"/>
                  </a:lnTo>
                  <a:lnTo>
                    <a:pt x="309" y="620"/>
                  </a:lnTo>
                  <a:lnTo>
                    <a:pt x="309" y="622"/>
                  </a:lnTo>
                  <a:lnTo>
                    <a:pt x="307" y="622"/>
                  </a:lnTo>
                  <a:lnTo>
                    <a:pt x="309" y="628"/>
                  </a:lnTo>
                  <a:lnTo>
                    <a:pt x="305" y="628"/>
                  </a:lnTo>
                  <a:lnTo>
                    <a:pt x="301" y="622"/>
                  </a:lnTo>
                  <a:lnTo>
                    <a:pt x="301" y="617"/>
                  </a:lnTo>
                  <a:lnTo>
                    <a:pt x="295" y="618"/>
                  </a:lnTo>
                  <a:lnTo>
                    <a:pt x="291" y="611"/>
                  </a:lnTo>
                  <a:lnTo>
                    <a:pt x="290" y="613"/>
                  </a:lnTo>
                  <a:lnTo>
                    <a:pt x="286" y="613"/>
                  </a:lnTo>
                  <a:lnTo>
                    <a:pt x="282" y="609"/>
                  </a:lnTo>
                  <a:lnTo>
                    <a:pt x="286" y="607"/>
                  </a:lnTo>
                  <a:lnTo>
                    <a:pt x="291" y="607"/>
                  </a:lnTo>
                  <a:lnTo>
                    <a:pt x="293" y="605"/>
                  </a:lnTo>
                  <a:lnTo>
                    <a:pt x="291" y="603"/>
                  </a:lnTo>
                  <a:lnTo>
                    <a:pt x="290" y="605"/>
                  </a:lnTo>
                  <a:lnTo>
                    <a:pt x="282" y="605"/>
                  </a:lnTo>
                  <a:lnTo>
                    <a:pt x="280" y="603"/>
                  </a:lnTo>
                  <a:lnTo>
                    <a:pt x="276" y="607"/>
                  </a:lnTo>
                  <a:lnTo>
                    <a:pt x="272" y="605"/>
                  </a:lnTo>
                  <a:lnTo>
                    <a:pt x="270" y="603"/>
                  </a:lnTo>
                  <a:lnTo>
                    <a:pt x="268" y="603"/>
                  </a:lnTo>
                  <a:lnTo>
                    <a:pt x="265" y="601"/>
                  </a:lnTo>
                  <a:lnTo>
                    <a:pt x="265" y="597"/>
                  </a:lnTo>
                  <a:lnTo>
                    <a:pt x="263" y="595"/>
                  </a:lnTo>
                  <a:lnTo>
                    <a:pt x="255" y="597"/>
                  </a:lnTo>
                  <a:lnTo>
                    <a:pt x="255" y="601"/>
                  </a:lnTo>
                  <a:lnTo>
                    <a:pt x="249" y="603"/>
                  </a:lnTo>
                  <a:lnTo>
                    <a:pt x="247" y="601"/>
                  </a:lnTo>
                  <a:lnTo>
                    <a:pt x="247" y="599"/>
                  </a:lnTo>
                  <a:lnTo>
                    <a:pt x="242" y="599"/>
                  </a:lnTo>
                  <a:lnTo>
                    <a:pt x="240" y="607"/>
                  </a:lnTo>
                  <a:lnTo>
                    <a:pt x="236" y="605"/>
                  </a:lnTo>
                  <a:lnTo>
                    <a:pt x="234" y="599"/>
                  </a:lnTo>
                  <a:lnTo>
                    <a:pt x="224" y="601"/>
                  </a:lnTo>
                  <a:lnTo>
                    <a:pt x="219" y="603"/>
                  </a:lnTo>
                  <a:lnTo>
                    <a:pt x="213" y="599"/>
                  </a:lnTo>
                  <a:lnTo>
                    <a:pt x="205" y="597"/>
                  </a:lnTo>
                  <a:lnTo>
                    <a:pt x="201" y="599"/>
                  </a:lnTo>
                  <a:lnTo>
                    <a:pt x="194" y="603"/>
                  </a:lnTo>
                  <a:lnTo>
                    <a:pt x="190" y="605"/>
                  </a:lnTo>
                  <a:lnTo>
                    <a:pt x="188" y="603"/>
                  </a:lnTo>
                  <a:lnTo>
                    <a:pt x="186" y="601"/>
                  </a:lnTo>
                  <a:lnTo>
                    <a:pt x="180" y="605"/>
                  </a:lnTo>
                  <a:lnTo>
                    <a:pt x="176" y="605"/>
                  </a:lnTo>
                  <a:lnTo>
                    <a:pt x="172" y="603"/>
                  </a:lnTo>
                  <a:lnTo>
                    <a:pt x="167" y="601"/>
                  </a:lnTo>
                  <a:lnTo>
                    <a:pt x="161" y="597"/>
                  </a:lnTo>
                  <a:lnTo>
                    <a:pt x="157" y="594"/>
                  </a:lnTo>
                  <a:lnTo>
                    <a:pt x="153" y="588"/>
                  </a:lnTo>
                  <a:lnTo>
                    <a:pt x="153" y="584"/>
                  </a:lnTo>
                  <a:lnTo>
                    <a:pt x="151" y="580"/>
                  </a:lnTo>
                  <a:lnTo>
                    <a:pt x="146" y="574"/>
                  </a:lnTo>
                  <a:lnTo>
                    <a:pt x="144" y="570"/>
                  </a:lnTo>
                  <a:lnTo>
                    <a:pt x="142" y="565"/>
                  </a:lnTo>
                  <a:lnTo>
                    <a:pt x="142" y="559"/>
                  </a:lnTo>
                  <a:lnTo>
                    <a:pt x="140" y="555"/>
                  </a:lnTo>
                  <a:lnTo>
                    <a:pt x="140" y="549"/>
                  </a:lnTo>
                  <a:lnTo>
                    <a:pt x="140" y="547"/>
                  </a:lnTo>
                  <a:lnTo>
                    <a:pt x="132" y="540"/>
                  </a:lnTo>
                  <a:lnTo>
                    <a:pt x="126" y="534"/>
                  </a:lnTo>
                  <a:lnTo>
                    <a:pt x="125" y="528"/>
                  </a:lnTo>
                  <a:lnTo>
                    <a:pt x="119" y="522"/>
                  </a:lnTo>
                  <a:lnTo>
                    <a:pt x="117" y="521"/>
                  </a:lnTo>
                  <a:lnTo>
                    <a:pt x="119" y="519"/>
                  </a:lnTo>
                  <a:lnTo>
                    <a:pt x="119" y="513"/>
                  </a:lnTo>
                  <a:lnTo>
                    <a:pt x="119" y="507"/>
                  </a:lnTo>
                  <a:lnTo>
                    <a:pt x="119" y="497"/>
                  </a:lnTo>
                  <a:lnTo>
                    <a:pt x="121" y="492"/>
                  </a:lnTo>
                  <a:lnTo>
                    <a:pt x="119" y="488"/>
                  </a:lnTo>
                  <a:lnTo>
                    <a:pt x="113" y="486"/>
                  </a:lnTo>
                  <a:lnTo>
                    <a:pt x="105" y="490"/>
                  </a:lnTo>
                  <a:lnTo>
                    <a:pt x="96" y="490"/>
                  </a:lnTo>
                  <a:lnTo>
                    <a:pt x="90" y="492"/>
                  </a:lnTo>
                  <a:lnTo>
                    <a:pt x="88" y="490"/>
                  </a:lnTo>
                  <a:lnTo>
                    <a:pt x="78" y="488"/>
                  </a:lnTo>
                  <a:lnTo>
                    <a:pt x="75" y="480"/>
                  </a:lnTo>
                  <a:lnTo>
                    <a:pt x="67" y="474"/>
                  </a:lnTo>
                  <a:lnTo>
                    <a:pt x="65" y="469"/>
                  </a:lnTo>
                  <a:lnTo>
                    <a:pt x="61" y="463"/>
                  </a:lnTo>
                  <a:lnTo>
                    <a:pt x="59" y="461"/>
                  </a:lnTo>
                  <a:lnTo>
                    <a:pt x="59" y="453"/>
                  </a:lnTo>
                  <a:lnTo>
                    <a:pt x="59" y="448"/>
                  </a:lnTo>
                  <a:lnTo>
                    <a:pt x="65" y="442"/>
                  </a:lnTo>
                  <a:lnTo>
                    <a:pt x="67" y="438"/>
                  </a:lnTo>
                  <a:lnTo>
                    <a:pt x="69" y="432"/>
                  </a:lnTo>
                  <a:lnTo>
                    <a:pt x="71" y="428"/>
                  </a:lnTo>
                  <a:lnTo>
                    <a:pt x="69" y="423"/>
                  </a:lnTo>
                  <a:lnTo>
                    <a:pt x="73" y="413"/>
                  </a:lnTo>
                  <a:lnTo>
                    <a:pt x="71" y="409"/>
                  </a:lnTo>
                  <a:lnTo>
                    <a:pt x="73" y="401"/>
                  </a:lnTo>
                  <a:lnTo>
                    <a:pt x="71" y="396"/>
                  </a:lnTo>
                  <a:lnTo>
                    <a:pt x="67" y="392"/>
                  </a:lnTo>
                  <a:lnTo>
                    <a:pt x="59" y="390"/>
                  </a:lnTo>
                  <a:lnTo>
                    <a:pt x="50" y="392"/>
                  </a:lnTo>
                  <a:lnTo>
                    <a:pt x="42" y="392"/>
                  </a:lnTo>
                  <a:lnTo>
                    <a:pt x="32" y="390"/>
                  </a:lnTo>
                  <a:lnTo>
                    <a:pt x="25" y="384"/>
                  </a:lnTo>
                  <a:lnTo>
                    <a:pt x="17" y="380"/>
                  </a:lnTo>
                  <a:lnTo>
                    <a:pt x="7" y="376"/>
                  </a:lnTo>
                  <a:lnTo>
                    <a:pt x="2" y="375"/>
                  </a:lnTo>
                  <a:lnTo>
                    <a:pt x="0" y="365"/>
                  </a:lnTo>
                  <a:lnTo>
                    <a:pt x="2" y="357"/>
                  </a:lnTo>
                  <a:lnTo>
                    <a:pt x="4" y="348"/>
                  </a:lnTo>
                  <a:lnTo>
                    <a:pt x="6" y="344"/>
                  </a:lnTo>
                  <a:lnTo>
                    <a:pt x="7" y="338"/>
                  </a:lnTo>
                  <a:lnTo>
                    <a:pt x="11" y="334"/>
                  </a:lnTo>
                  <a:lnTo>
                    <a:pt x="13" y="327"/>
                  </a:lnTo>
                  <a:lnTo>
                    <a:pt x="19" y="323"/>
                  </a:lnTo>
                  <a:lnTo>
                    <a:pt x="23" y="319"/>
                  </a:lnTo>
                  <a:lnTo>
                    <a:pt x="27" y="315"/>
                  </a:lnTo>
                  <a:lnTo>
                    <a:pt x="32" y="313"/>
                  </a:lnTo>
                  <a:lnTo>
                    <a:pt x="36" y="309"/>
                  </a:lnTo>
                  <a:lnTo>
                    <a:pt x="44" y="303"/>
                  </a:lnTo>
                  <a:lnTo>
                    <a:pt x="48" y="300"/>
                  </a:lnTo>
                  <a:lnTo>
                    <a:pt x="52" y="292"/>
                  </a:lnTo>
                  <a:lnTo>
                    <a:pt x="61" y="286"/>
                  </a:lnTo>
                  <a:lnTo>
                    <a:pt x="75" y="259"/>
                  </a:lnTo>
                  <a:lnTo>
                    <a:pt x="82" y="252"/>
                  </a:lnTo>
                  <a:lnTo>
                    <a:pt x="86" y="250"/>
                  </a:lnTo>
                  <a:lnTo>
                    <a:pt x="92" y="246"/>
                  </a:lnTo>
                  <a:lnTo>
                    <a:pt x="98" y="240"/>
                  </a:lnTo>
                  <a:lnTo>
                    <a:pt x="101" y="238"/>
                  </a:lnTo>
                  <a:lnTo>
                    <a:pt x="103" y="236"/>
                  </a:lnTo>
                  <a:lnTo>
                    <a:pt x="109" y="236"/>
                  </a:lnTo>
                  <a:lnTo>
                    <a:pt x="115" y="234"/>
                  </a:lnTo>
                  <a:lnTo>
                    <a:pt x="125" y="236"/>
                  </a:lnTo>
                  <a:lnTo>
                    <a:pt x="125" y="240"/>
                  </a:lnTo>
                  <a:lnTo>
                    <a:pt x="128" y="242"/>
                  </a:lnTo>
                  <a:lnTo>
                    <a:pt x="132" y="246"/>
                  </a:lnTo>
                  <a:lnTo>
                    <a:pt x="132" y="248"/>
                  </a:lnTo>
                  <a:lnTo>
                    <a:pt x="132" y="257"/>
                  </a:lnTo>
                  <a:lnTo>
                    <a:pt x="136" y="263"/>
                  </a:lnTo>
                  <a:lnTo>
                    <a:pt x="138" y="267"/>
                  </a:lnTo>
                  <a:lnTo>
                    <a:pt x="140" y="269"/>
                  </a:lnTo>
                  <a:lnTo>
                    <a:pt x="149" y="269"/>
                  </a:lnTo>
                  <a:lnTo>
                    <a:pt x="151" y="271"/>
                  </a:lnTo>
                  <a:lnTo>
                    <a:pt x="161" y="267"/>
                  </a:lnTo>
                  <a:lnTo>
                    <a:pt x="169" y="265"/>
                  </a:lnTo>
                  <a:lnTo>
                    <a:pt x="172" y="263"/>
                  </a:lnTo>
                  <a:lnTo>
                    <a:pt x="176" y="259"/>
                  </a:lnTo>
                  <a:lnTo>
                    <a:pt x="182" y="259"/>
                  </a:lnTo>
                  <a:lnTo>
                    <a:pt x="190" y="255"/>
                  </a:lnTo>
                  <a:lnTo>
                    <a:pt x="197" y="254"/>
                  </a:lnTo>
                  <a:lnTo>
                    <a:pt x="207" y="252"/>
                  </a:lnTo>
                  <a:lnTo>
                    <a:pt x="215" y="252"/>
                  </a:lnTo>
                  <a:lnTo>
                    <a:pt x="219" y="252"/>
                  </a:lnTo>
                  <a:lnTo>
                    <a:pt x="224" y="252"/>
                  </a:lnTo>
                  <a:lnTo>
                    <a:pt x="230" y="252"/>
                  </a:lnTo>
                  <a:lnTo>
                    <a:pt x="238" y="252"/>
                  </a:lnTo>
                  <a:lnTo>
                    <a:pt x="244" y="250"/>
                  </a:lnTo>
                  <a:lnTo>
                    <a:pt x="249" y="246"/>
                  </a:lnTo>
                  <a:lnTo>
                    <a:pt x="255" y="244"/>
                  </a:lnTo>
                  <a:lnTo>
                    <a:pt x="261" y="242"/>
                  </a:lnTo>
                  <a:lnTo>
                    <a:pt x="263" y="242"/>
                  </a:lnTo>
                  <a:lnTo>
                    <a:pt x="263" y="240"/>
                  </a:lnTo>
                  <a:lnTo>
                    <a:pt x="265" y="236"/>
                  </a:lnTo>
                  <a:lnTo>
                    <a:pt x="267" y="225"/>
                  </a:lnTo>
                  <a:lnTo>
                    <a:pt x="276" y="215"/>
                  </a:lnTo>
                  <a:lnTo>
                    <a:pt x="282" y="211"/>
                  </a:lnTo>
                  <a:lnTo>
                    <a:pt x="288" y="206"/>
                  </a:lnTo>
                  <a:lnTo>
                    <a:pt x="290" y="204"/>
                  </a:lnTo>
                  <a:lnTo>
                    <a:pt x="291" y="202"/>
                  </a:lnTo>
                  <a:lnTo>
                    <a:pt x="297" y="196"/>
                  </a:lnTo>
                  <a:lnTo>
                    <a:pt x="299" y="190"/>
                  </a:lnTo>
                  <a:lnTo>
                    <a:pt x="301" y="184"/>
                  </a:lnTo>
                  <a:lnTo>
                    <a:pt x="301" y="182"/>
                  </a:lnTo>
                  <a:lnTo>
                    <a:pt x="303" y="179"/>
                  </a:lnTo>
                  <a:lnTo>
                    <a:pt x="307" y="173"/>
                  </a:lnTo>
                  <a:lnTo>
                    <a:pt x="309" y="165"/>
                  </a:lnTo>
                  <a:lnTo>
                    <a:pt x="311" y="163"/>
                  </a:lnTo>
                  <a:lnTo>
                    <a:pt x="315" y="159"/>
                  </a:lnTo>
                  <a:lnTo>
                    <a:pt x="318" y="154"/>
                  </a:lnTo>
                  <a:lnTo>
                    <a:pt x="320" y="154"/>
                  </a:lnTo>
                  <a:lnTo>
                    <a:pt x="326" y="152"/>
                  </a:lnTo>
                  <a:lnTo>
                    <a:pt x="332" y="148"/>
                  </a:lnTo>
                  <a:lnTo>
                    <a:pt x="336" y="146"/>
                  </a:lnTo>
                  <a:lnTo>
                    <a:pt x="341" y="142"/>
                  </a:lnTo>
                  <a:lnTo>
                    <a:pt x="347" y="140"/>
                  </a:lnTo>
                  <a:lnTo>
                    <a:pt x="351" y="138"/>
                  </a:lnTo>
                  <a:lnTo>
                    <a:pt x="355" y="136"/>
                  </a:lnTo>
                  <a:lnTo>
                    <a:pt x="357" y="134"/>
                  </a:lnTo>
                  <a:lnTo>
                    <a:pt x="359" y="134"/>
                  </a:lnTo>
                  <a:lnTo>
                    <a:pt x="368" y="131"/>
                  </a:lnTo>
                  <a:lnTo>
                    <a:pt x="378" y="127"/>
                  </a:lnTo>
                  <a:lnTo>
                    <a:pt x="380" y="127"/>
                  </a:lnTo>
                  <a:lnTo>
                    <a:pt x="382" y="121"/>
                  </a:lnTo>
                  <a:lnTo>
                    <a:pt x="384" y="119"/>
                  </a:lnTo>
                  <a:lnTo>
                    <a:pt x="386" y="113"/>
                  </a:lnTo>
                  <a:lnTo>
                    <a:pt x="387" y="111"/>
                  </a:lnTo>
                  <a:lnTo>
                    <a:pt x="395" y="104"/>
                  </a:lnTo>
                  <a:lnTo>
                    <a:pt x="395" y="102"/>
                  </a:lnTo>
                  <a:lnTo>
                    <a:pt x="397" y="100"/>
                  </a:lnTo>
                  <a:lnTo>
                    <a:pt x="403" y="92"/>
                  </a:lnTo>
                  <a:lnTo>
                    <a:pt x="405" y="88"/>
                  </a:lnTo>
                  <a:lnTo>
                    <a:pt x="409" y="83"/>
                  </a:lnTo>
                  <a:lnTo>
                    <a:pt x="409" y="81"/>
                  </a:lnTo>
                  <a:lnTo>
                    <a:pt x="412" y="77"/>
                  </a:lnTo>
                  <a:lnTo>
                    <a:pt x="416" y="69"/>
                  </a:lnTo>
                  <a:lnTo>
                    <a:pt x="418" y="67"/>
                  </a:lnTo>
                  <a:lnTo>
                    <a:pt x="420" y="60"/>
                  </a:lnTo>
                  <a:lnTo>
                    <a:pt x="422" y="56"/>
                  </a:lnTo>
                  <a:lnTo>
                    <a:pt x="424" y="50"/>
                  </a:lnTo>
                  <a:lnTo>
                    <a:pt x="426" y="42"/>
                  </a:lnTo>
                  <a:lnTo>
                    <a:pt x="430" y="31"/>
                  </a:lnTo>
                  <a:lnTo>
                    <a:pt x="432" y="29"/>
                  </a:lnTo>
                  <a:lnTo>
                    <a:pt x="432" y="27"/>
                  </a:lnTo>
                  <a:lnTo>
                    <a:pt x="434" y="25"/>
                  </a:lnTo>
                  <a:lnTo>
                    <a:pt x="437" y="25"/>
                  </a:lnTo>
                  <a:lnTo>
                    <a:pt x="447" y="21"/>
                  </a:lnTo>
                  <a:lnTo>
                    <a:pt x="449" y="21"/>
                  </a:lnTo>
                  <a:lnTo>
                    <a:pt x="451" y="19"/>
                  </a:lnTo>
                  <a:lnTo>
                    <a:pt x="457" y="17"/>
                  </a:lnTo>
                  <a:lnTo>
                    <a:pt x="466" y="15"/>
                  </a:lnTo>
                  <a:lnTo>
                    <a:pt x="476" y="13"/>
                  </a:lnTo>
                  <a:lnTo>
                    <a:pt x="478" y="11"/>
                  </a:lnTo>
                  <a:lnTo>
                    <a:pt x="483" y="8"/>
                  </a:lnTo>
                  <a:lnTo>
                    <a:pt x="487" y="4"/>
                  </a:lnTo>
                  <a:lnTo>
                    <a:pt x="493" y="0"/>
                  </a:lnTo>
                  <a:lnTo>
                    <a:pt x="493" y="8"/>
                  </a:lnTo>
                  <a:lnTo>
                    <a:pt x="485" y="15"/>
                  </a:lnTo>
                  <a:lnTo>
                    <a:pt x="483" y="19"/>
                  </a:lnTo>
                  <a:lnTo>
                    <a:pt x="483" y="23"/>
                  </a:lnTo>
                  <a:lnTo>
                    <a:pt x="495" y="23"/>
                  </a:lnTo>
                  <a:lnTo>
                    <a:pt x="495" y="25"/>
                  </a:lnTo>
                  <a:lnTo>
                    <a:pt x="505" y="25"/>
                  </a:lnTo>
                  <a:lnTo>
                    <a:pt x="512" y="25"/>
                  </a:lnTo>
                  <a:lnTo>
                    <a:pt x="518" y="25"/>
                  </a:lnTo>
                  <a:lnTo>
                    <a:pt x="526" y="25"/>
                  </a:lnTo>
                  <a:lnTo>
                    <a:pt x="537" y="27"/>
                  </a:lnTo>
                  <a:lnTo>
                    <a:pt x="543" y="27"/>
                  </a:lnTo>
                  <a:lnTo>
                    <a:pt x="551" y="2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2" name="Freeform 24">
              <a:extLst>
                <a:ext uri="{FF2B5EF4-FFF2-40B4-BE49-F238E27FC236}">
                  <a16:creationId xmlns:a16="http://schemas.microsoft.com/office/drawing/2014/main" id="{4F5E19B2-79B5-4CB0-B0EF-3B27DC94995D}"/>
                </a:ext>
              </a:extLst>
            </p:cNvPr>
            <p:cNvSpPr>
              <a:spLocks/>
            </p:cNvSpPr>
            <p:nvPr/>
          </p:nvSpPr>
          <p:spPr bwMode="gray">
            <a:xfrm>
              <a:off x="4460876" y="2963863"/>
              <a:ext cx="1500188" cy="1000125"/>
            </a:xfrm>
            <a:custGeom>
              <a:avLst/>
              <a:gdLst>
                <a:gd name="T0" fmla="*/ 851 w 945"/>
                <a:gd name="T1" fmla="*/ 327 h 630"/>
                <a:gd name="T2" fmla="*/ 818 w 945"/>
                <a:gd name="T3" fmla="*/ 348 h 630"/>
                <a:gd name="T4" fmla="*/ 860 w 945"/>
                <a:gd name="T5" fmla="*/ 378 h 630"/>
                <a:gd name="T6" fmla="*/ 826 w 945"/>
                <a:gd name="T7" fmla="*/ 450 h 630"/>
                <a:gd name="T8" fmla="*/ 785 w 945"/>
                <a:gd name="T9" fmla="*/ 473 h 630"/>
                <a:gd name="T10" fmla="*/ 745 w 945"/>
                <a:gd name="T11" fmla="*/ 523 h 630"/>
                <a:gd name="T12" fmla="*/ 714 w 945"/>
                <a:gd name="T13" fmla="*/ 578 h 630"/>
                <a:gd name="T14" fmla="*/ 668 w 945"/>
                <a:gd name="T15" fmla="*/ 574 h 630"/>
                <a:gd name="T16" fmla="*/ 582 w 945"/>
                <a:gd name="T17" fmla="*/ 571 h 630"/>
                <a:gd name="T18" fmla="*/ 522 w 945"/>
                <a:gd name="T19" fmla="*/ 584 h 630"/>
                <a:gd name="T20" fmla="*/ 449 w 945"/>
                <a:gd name="T21" fmla="*/ 574 h 630"/>
                <a:gd name="T22" fmla="*/ 375 w 945"/>
                <a:gd name="T23" fmla="*/ 597 h 630"/>
                <a:gd name="T24" fmla="*/ 340 w 945"/>
                <a:gd name="T25" fmla="*/ 561 h 630"/>
                <a:gd name="T26" fmla="*/ 286 w 945"/>
                <a:gd name="T27" fmla="*/ 592 h 630"/>
                <a:gd name="T28" fmla="*/ 221 w 945"/>
                <a:gd name="T29" fmla="*/ 622 h 630"/>
                <a:gd name="T30" fmla="*/ 139 w 945"/>
                <a:gd name="T31" fmla="*/ 594 h 630"/>
                <a:gd name="T32" fmla="*/ 48 w 945"/>
                <a:gd name="T33" fmla="*/ 559 h 630"/>
                <a:gd name="T34" fmla="*/ 10 w 945"/>
                <a:gd name="T35" fmla="*/ 505 h 630"/>
                <a:gd name="T36" fmla="*/ 8 w 945"/>
                <a:gd name="T37" fmla="*/ 482 h 630"/>
                <a:gd name="T38" fmla="*/ 46 w 945"/>
                <a:gd name="T39" fmla="*/ 442 h 630"/>
                <a:gd name="T40" fmla="*/ 75 w 945"/>
                <a:gd name="T41" fmla="*/ 390 h 630"/>
                <a:gd name="T42" fmla="*/ 104 w 945"/>
                <a:gd name="T43" fmla="*/ 336 h 630"/>
                <a:gd name="T44" fmla="*/ 92 w 945"/>
                <a:gd name="T45" fmla="*/ 261 h 630"/>
                <a:gd name="T46" fmla="*/ 114 w 945"/>
                <a:gd name="T47" fmla="*/ 231 h 630"/>
                <a:gd name="T48" fmla="*/ 127 w 945"/>
                <a:gd name="T49" fmla="*/ 215 h 630"/>
                <a:gd name="T50" fmla="*/ 160 w 945"/>
                <a:gd name="T51" fmla="*/ 217 h 630"/>
                <a:gd name="T52" fmla="*/ 179 w 945"/>
                <a:gd name="T53" fmla="*/ 236 h 630"/>
                <a:gd name="T54" fmla="*/ 198 w 945"/>
                <a:gd name="T55" fmla="*/ 261 h 630"/>
                <a:gd name="T56" fmla="*/ 165 w 945"/>
                <a:gd name="T57" fmla="*/ 309 h 630"/>
                <a:gd name="T58" fmla="*/ 215 w 945"/>
                <a:gd name="T59" fmla="*/ 309 h 630"/>
                <a:gd name="T60" fmla="*/ 273 w 945"/>
                <a:gd name="T61" fmla="*/ 294 h 630"/>
                <a:gd name="T62" fmla="*/ 311 w 945"/>
                <a:gd name="T63" fmla="*/ 282 h 630"/>
                <a:gd name="T64" fmla="*/ 307 w 945"/>
                <a:gd name="T65" fmla="*/ 221 h 630"/>
                <a:gd name="T66" fmla="*/ 369 w 945"/>
                <a:gd name="T67" fmla="*/ 190 h 630"/>
                <a:gd name="T68" fmla="*/ 321 w 945"/>
                <a:gd name="T69" fmla="*/ 169 h 630"/>
                <a:gd name="T70" fmla="*/ 286 w 945"/>
                <a:gd name="T71" fmla="*/ 108 h 630"/>
                <a:gd name="T72" fmla="*/ 390 w 945"/>
                <a:gd name="T73" fmla="*/ 50 h 630"/>
                <a:gd name="T74" fmla="*/ 459 w 945"/>
                <a:gd name="T75" fmla="*/ 4 h 630"/>
                <a:gd name="T76" fmla="*/ 542 w 945"/>
                <a:gd name="T77" fmla="*/ 23 h 630"/>
                <a:gd name="T78" fmla="*/ 557 w 945"/>
                <a:gd name="T79" fmla="*/ 60 h 630"/>
                <a:gd name="T80" fmla="*/ 528 w 945"/>
                <a:gd name="T81" fmla="*/ 117 h 630"/>
                <a:gd name="T82" fmla="*/ 482 w 945"/>
                <a:gd name="T83" fmla="*/ 152 h 630"/>
                <a:gd name="T84" fmla="*/ 471 w 945"/>
                <a:gd name="T85" fmla="*/ 202 h 630"/>
                <a:gd name="T86" fmla="*/ 478 w 945"/>
                <a:gd name="T87" fmla="*/ 277 h 630"/>
                <a:gd name="T88" fmla="*/ 536 w 945"/>
                <a:gd name="T89" fmla="*/ 273 h 630"/>
                <a:gd name="T90" fmla="*/ 509 w 945"/>
                <a:gd name="T91" fmla="*/ 215 h 630"/>
                <a:gd name="T92" fmla="*/ 492 w 945"/>
                <a:gd name="T93" fmla="*/ 163 h 630"/>
                <a:gd name="T94" fmla="*/ 515 w 945"/>
                <a:gd name="T95" fmla="*/ 150 h 630"/>
                <a:gd name="T96" fmla="*/ 530 w 945"/>
                <a:gd name="T97" fmla="*/ 161 h 630"/>
                <a:gd name="T98" fmla="*/ 528 w 945"/>
                <a:gd name="T99" fmla="*/ 183 h 630"/>
                <a:gd name="T100" fmla="*/ 559 w 945"/>
                <a:gd name="T101" fmla="*/ 188 h 630"/>
                <a:gd name="T102" fmla="*/ 578 w 945"/>
                <a:gd name="T103" fmla="*/ 171 h 630"/>
                <a:gd name="T104" fmla="*/ 597 w 945"/>
                <a:gd name="T105" fmla="*/ 192 h 630"/>
                <a:gd name="T106" fmla="*/ 657 w 945"/>
                <a:gd name="T107" fmla="*/ 165 h 630"/>
                <a:gd name="T108" fmla="*/ 686 w 945"/>
                <a:gd name="T109" fmla="*/ 200 h 630"/>
                <a:gd name="T110" fmla="*/ 712 w 945"/>
                <a:gd name="T111" fmla="*/ 196 h 630"/>
                <a:gd name="T112" fmla="*/ 745 w 945"/>
                <a:gd name="T113" fmla="*/ 184 h 630"/>
                <a:gd name="T114" fmla="*/ 781 w 945"/>
                <a:gd name="T115" fmla="*/ 196 h 630"/>
                <a:gd name="T116" fmla="*/ 816 w 945"/>
                <a:gd name="T117" fmla="*/ 184 h 630"/>
                <a:gd name="T118" fmla="*/ 872 w 945"/>
                <a:gd name="T119" fmla="*/ 227 h 630"/>
                <a:gd name="T120" fmla="*/ 891 w 945"/>
                <a:gd name="T121" fmla="*/ 238 h 630"/>
                <a:gd name="T122" fmla="*/ 937 w 945"/>
                <a:gd name="T123" fmla="*/ 257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5" h="630">
                  <a:moveTo>
                    <a:pt x="943" y="315"/>
                  </a:moveTo>
                  <a:lnTo>
                    <a:pt x="937" y="321"/>
                  </a:lnTo>
                  <a:lnTo>
                    <a:pt x="931" y="319"/>
                  </a:lnTo>
                  <a:lnTo>
                    <a:pt x="927" y="321"/>
                  </a:lnTo>
                  <a:lnTo>
                    <a:pt x="925" y="327"/>
                  </a:lnTo>
                  <a:lnTo>
                    <a:pt x="920" y="330"/>
                  </a:lnTo>
                  <a:lnTo>
                    <a:pt x="916" y="330"/>
                  </a:lnTo>
                  <a:lnTo>
                    <a:pt x="914" y="330"/>
                  </a:lnTo>
                  <a:lnTo>
                    <a:pt x="914" y="334"/>
                  </a:lnTo>
                  <a:lnTo>
                    <a:pt x="912" y="334"/>
                  </a:lnTo>
                  <a:lnTo>
                    <a:pt x="908" y="334"/>
                  </a:lnTo>
                  <a:lnTo>
                    <a:pt x="906" y="332"/>
                  </a:lnTo>
                  <a:lnTo>
                    <a:pt x="899" y="332"/>
                  </a:lnTo>
                  <a:lnTo>
                    <a:pt x="889" y="332"/>
                  </a:lnTo>
                  <a:lnTo>
                    <a:pt x="883" y="330"/>
                  </a:lnTo>
                  <a:lnTo>
                    <a:pt x="881" y="332"/>
                  </a:lnTo>
                  <a:lnTo>
                    <a:pt x="877" y="330"/>
                  </a:lnTo>
                  <a:lnTo>
                    <a:pt x="877" y="327"/>
                  </a:lnTo>
                  <a:lnTo>
                    <a:pt x="874" y="330"/>
                  </a:lnTo>
                  <a:lnTo>
                    <a:pt x="862" y="330"/>
                  </a:lnTo>
                  <a:lnTo>
                    <a:pt x="856" y="327"/>
                  </a:lnTo>
                  <a:lnTo>
                    <a:pt x="851" y="327"/>
                  </a:lnTo>
                  <a:lnTo>
                    <a:pt x="849" y="325"/>
                  </a:lnTo>
                  <a:lnTo>
                    <a:pt x="845" y="329"/>
                  </a:lnTo>
                  <a:lnTo>
                    <a:pt x="837" y="332"/>
                  </a:lnTo>
                  <a:lnTo>
                    <a:pt x="833" y="332"/>
                  </a:lnTo>
                  <a:lnTo>
                    <a:pt x="828" y="329"/>
                  </a:lnTo>
                  <a:lnTo>
                    <a:pt x="828" y="327"/>
                  </a:lnTo>
                  <a:lnTo>
                    <a:pt x="826" y="327"/>
                  </a:lnTo>
                  <a:lnTo>
                    <a:pt x="826" y="325"/>
                  </a:lnTo>
                  <a:lnTo>
                    <a:pt x="824" y="325"/>
                  </a:lnTo>
                  <a:lnTo>
                    <a:pt x="822" y="319"/>
                  </a:lnTo>
                  <a:lnTo>
                    <a:pt x="814" y="323"/>
                  </a:lnTo>
                  <a:lnTo>
                    <a:pt x="814" y="325"/>
                  </a:lnTo>
                  <a:lnTo>
                    <a:pt x="816" y="325"/>
                  </a:lnTo>
                  <a:lnTo>
                    <a:pt x="814" y="327"/>
                  </a:lnTo>
                  <a:lnTo>
                    <a:pt x="814" y="329"/>
                  </a:lnTo>
                  <a:lnTo>
                    <a:pt x="818" y="329"/>
                  </a:lnTo>
                  <a:lnTo>
                    <a:pt x="818" y="332"/>
                  </a:lnTo>
                  <a:lnTo>
                    <a:pt x="818" y="336"/>
                  </a:lnTo>
                  <a:lnTo>
                    <a:pt x="822" y="338"/>
                  </a:lnTo>
                  <a:lnTo>
                    <a:pt x="822" y="340"/>
                  </a:lnTo>
                  <a:lnTo>
                    <a:pt x="824" y="342"/>
                  </a:lnTo>
                  <a:lnTo>
                    <a:pt x="818" y="348"/>
                  </a:lnTo>
                  <a:lnTo>
                    <a:pt x="814" y="348"/>
                  </a:lnTo>
                  <a:lnTo>
                    <a:pt x="814" y="355"/>
                  </a:lnTo>
                  <a:lnTo>
                    <a:pt x="810" y="355"/>
                  </a:lnTo>
                  <a:lnTo>
                    <a:pt x="810" y="359"/>
                  </a:lnTo>
                  <a:lnTo>
                    <a:pt x="814" y="361"/>
                  </a:lnTo>
                  <a:lnTo>
                    <a:pt x="814" y="367"/>
                  </a:lnTo>
                  <a:lnTo>
                    <a:pt x="818" y="365"/>
                  </a:lnTo>
                  <a:lnTo>
                    <a:pt x="820" y="363"/>
                  </a:lnTo>
                  <a:lnTo>
                    <a:pt x="824" y="363"/>
                  </a:lnTo>
                  <a:lnTo>
                    <a:pt x="828" y="357"/>
                  </a:lnTo>
                  <a:lnTo>
                    <a:pt x="829" y="361"/>
                  </a:lnTo>
                  <a:lnTo>
                    <a:pt x="835" y="361"/>
                  </a:lnTo>
                  <a:lnTo>
                    <a:pt x="837" y="365"/>
                  </a:lnTo>
                  <a:lnTo>
                    <a:pt x="847" y="363"/>
                  </a:lnTo>
                  <a:lnTo>
                    <a:pt x="851" y="367"/>
                  </a:lnTo>
                  <a:lnTo>
                    <a:pt x="851" y="369"/>
                  </a:lnTo>
                  <a:lnTo>
                    <a:pt x="852" y="371"/>
                  </a:lnTo>
                  <a:lnTo>
                    <a:pt x="852" y="375"/>
                  </a:lnTo>
                  <a:lnTo>
                    <a:pt x="856" y="375"/>
                  </a:lnTo>
                  <a:lnTo>
                    <a:pt x="858" y="375"/>
                  </a:lnTo>
                  <a:lnTo>
                    <a:pt x="856" y="378"/>
                  </a:lnTo>
                  <a:lnTo>
                    <a:pt x="860" y="378"/>
                  </a:lnTo>
                  <a:lnTo>
                    <a:pt x="862" y="377"/>
                  </a:lnTo>
                  <a:lnTo>
                    <a:pt x="866" y="377"/>
                  </a:lnTo>
                  <a:lnTo>
                    <a:pt x="866" y="382"/>
                  </a:lnTo>
                  <a:lnTo>
                    <a:pt x="870" y="380"/>
                  </a:lnTo>
                  <a:lnTo>
                    <a:pt x="876" y="384"/>
                  </a:lnTo>
                  <a:lnTo>
                    <a:pt x="876" y="390"/>
                  </a:lnTo>
                  <a:lnTo>
                    <a:pt x="870" y="396"/>
                  </a:lnTo>
                  <a:lnTo>
                    <a:pt x="870" y="402"/>
                  </a:lnTo>
                  <a:lnTo>
                    <a:pt x="872" y="403"/>
                  </a:lnTo>
                  <a:lnTo>
                    <a:pt x="868" y="409"/>
                  </a:lnTo>
                  <a:lnTo>
                    <a:pt x="860" y="407"/>
                  </a:lnTo>
                  <a:lnTo>
                    <a:pt x="858" y="411"/>
                  </a:lnTo>
                  <a:lnTo>
                    <a:pt x="852" y="411"/>
                  </a:lnTo>
                  <a:lnTo>
                    <a:pt x="847" y="413"/>
                  </a:lnTo>
                  <a:lnTo>
                    <a:pt x="845" y="415"/>
                  </a:lnTo>
                  <a:lnTo>
                    <a:pt x="849" y="425"/>
                  </a:lnTo>
                  <a:lnTo>
                    <a:pt x="839" y="428"/>
                  </a:lnTo>
                  <a:lnTo>
                    <a:pt x="839" y="432"/>
                  </a:lnTo>
                  <a:lnTo>
                    <a:pt x="829" y="434"/>
                  </a:lnTo>
                  <a:lnTo>
                    <a:pt x="828" y="438"/>
                  </a:lnTo>
                  <a:lnTo>
                    <a:pt x="831" y="446"/>
                  </a:lnTo>
                  <a:lnTo>
                    <a:pt x="826" y="450"/>
                  </a:lnTo>
                  <a:lnTo>
                    <a:pt x="828" y="455"/>
                  </a:lnTo>
                  <a:lnTo>
                    <a:pt x="826" y="459"/>
                  </a:lnTo>
                  <a:lnTo>
                    <a:pt x="824" y="455"/>
                  </a:lnTo>
                  <a:lnTo>
                    <a:pt x="822" y="457"/>
                  </a:lnTo>
                  <a:lnTo>
                    <a:pt x="818" y="457"/>
                  </a:lnTo>
                  <a:lnTo>
                    <a:pt x="814" y="461"/>
                  </a:lnTo>
                  <a:lnTo>
                    <a:pt x="816" y="467"/>
                  </a:lnTo>
                  <a:lnTo>
                    <a:pt x="812" y="467"/>
                  </a:lnTo>
                  <a:lnTo>
                    <a:pt x="812" y="471"/>
                  </a:lnTo>
                  <a:lnTo>
                    <a:pt x="810" y="471"/>
                  </a:lnTo>
                  <a:lnTo>
                    <a:pt x="806" y="469"/>
                  </a:lnTo>
                  <a:lnTo>
                    <a:pt x="804" y="471"/>
                  </a:lnTo>
                  <a:lnTo>
                    <a:pt x="803" y="471"/>
                  </a:lnTo>
                  <a:lnTo>
                    <a:pt x="799" y="473"/>
                  </a:lnTo>
                  <a:lnTo>
                    <a:pt x="797" y="476"/>
                  </a:lnTo>
                  <a:lnTo>
                    <a:pt x="793" y="475"/>
                  </a:lnTo>
                  <a:lnTo>
                    <a:pt x="793" y="478"/>
                  </a:lnTo>
                  <a:lnTo>
                    <a:pt x="791" y="476"/>
                  </a:lnTo>
                  <a:lnTo>
                    <a:pt x="791" y="480"/>
                  </a:lnTo>
                  <a:lnTo>
                    <a:pt x="789" y="480"/>
                  </a:lnTo>
                  <a:lnTo>
                    <a:pt x="787" y="478"/>
                  </a:lnTo>
                  <a:lnTo>
                    <a:pt x="785" y="473"/>
                  </a:lnTo>
                  <a:lnTo>
                    <a:pt x="780" y="471"/>
                  </a:lnTo>
                  <a:lnTo>
                    <a:pt x="778" y="476"/>
                  </a:lnTo>
                  <a:lnTo>
                    <a:pt x="776" y="475"/>
                  </a:lnTo>
                  <a:lnTo>
                    <a:pt x="774" y="475"/>
                  </a:lnTo>
                  <a:lnTo>
                    <a:pt x="772" y="478"/>
                  </a:lnTo>
                  <a:lnTo>
                    <a:pt x="766" y="480"/>
                  </a:lnTo>
                  <a:lnTo>
                    <a:pt x="766" y="476"/>
                  </a:lnTo>
                  <a:lnTo>
                    <a:pt x="764" y="476"/>
                  </a:lnTo>
                  <a:lnTo>
                    <a:pt x="762" y="478"/>
                  </a:lnTo>
                  <a:lnTo>
                    <a:pt x="757" y="480"/>
                  </a:lnTo>
                  <a:lnTo>
                    <a:pt x="757" y="488"/>
                  </a:lnTo>
                  <a:lnTo>
                    <a:pt x="758" y="492"/>
                  </a:lnTo>
                  <a:lnTo>
                    <a:pt x="757" y="496"/>
                  </a:lnTo>
                  <a:lnTo>
                    <a:pt x="758" y="496"/>
                  </a:lnTo>
                  <a:lnTo>
                    <a:pt x="755" y="501"/>
                  </a:lnTo>
                  <a:lnTo>
                    <a:pt x="747" y="505"/>
                  </a:lnTo>
                  <a:lnTo>
                    <a:pt x="747" y="507"/>
                  </a:lnTo>
                  <a:lnTo>
                    <a:pt x="747" y="509"/>
                  </a:lnTo>
                  <a:lnTo>
                    <a:pt x="747" y="513"/>
                  </a:lnTo>
                  <a:lnTo>
                    <a:pt x="741" y="515"/>
                  </a:lnTo>
                  <a:lnTo>
                    <a:pt x="745" y="519"/>
                  </a:lnTo>
                  <a:lnTo>
                    <a:pt x="745" y="523"/>
                  </a:lnTo>
                  <a:lnTo>
                    <a:pt x="741" y="523"/>
                  </a:lnTo>
                  <a:lnTo>
                    <a:pt x="739" y="517"/>
                  </a:lnTo>
                  <a:lnTo>
                    <a:pt x="735" y="517"/>
                  </a:lnTo>
                  <a:lnTo>
                    <a:pt x="732" y="524"/>
                  </a:lnTo>
                  <a:lnTo>
                    <a:pt x="730" y="530"/>
                  </a:lnTo>
                  <a:lnTo>
                    <a:pt x="728" y="532"/>
                  </a:lnTo>
                  <a:lnTo>
                    <a:pt x="726" y="534"/>
                  </a:lnTo>
                  <a:lnTo>
                    <a:pt x="728" y="536"/>
                  </a:lnTo>
                  <a:lnTo>
                    <a:pt x="726" y="538"/>
                  </a:lnTo>
                  <a:lnTo>
                    <a:pt x="728" y="546"/>
                  </a:lnTo>
                  <a:lnTo>
                    <a:pt x="726" y="546"/>
                  </a:lnTo>
                  <a:lnTo>
                    <a:pt x="726" y="549"/>
                  </a:lnTo>
                  <a:lnTo>
                    <a:pt x="724" y="555"/>
                  </a:lnTo>
                  <a:lnTo>
                    <a:pt x="716" y="555"/>
                  </a:lnTo>
                  <a:lnTo>
                    <a:pt x="714" y="559"/>
                  </a:lnTo>
                  <a:lnTo>
                    <a:pt x="714" y="561"/>
                  </a:lnTo>
                  <a:lnTo>
                    <a:pt x="712" y="565"/>
                  </a:lnTo>
                  <a:lnTo>
                    <a:pt x="714" y="571"/>
                  </a:lnTo>
                  <a:lnTo>
                    <a:pt x="712" y="573"/>
                  </a:lnTo>
                  <a:lnTo>
                    <a:pt x="714" y="574"/>
                  </a:lnTo>
                  <a:lnTo>
                    <a:pt x="712" y="576"/>
                  </a:lnTo>
                  <a:lnTo>
                    <a:pt x="714" y="578"/>
                  </a:lnTo>
                  <a:lnTo>
                    <a:pt x="714" y="586"/>
                  </a:lnTo>
                  <a:lnTo>
                    <a:pt x="710" y="590"/>
                  </a:lnTo>
                  <a:lnTo>
                    <a:pt x="710" y="596"/>
                  </a:lnTo>
                  <a:lnTo>
                    <a:pt x="707" y="601"/>
                  </a:lnTo>
                  <a:lnTo>
                    <a:pt x="699" y="601"/>
                  </a:lnTo>
                  <a:lnTo>
                    <a:pt x="699" y="599"/>
                  </a:lnTo>
                  <a:lnTo>
                    <a:pt x="695" y="599"/>
                  </a:lnTo>
                  <a:lnTo>
                    <a:pt x="695" y="597"/>
                  </a:lnTo>
                  <a:lnTo>
                    <a:pt x="693" y="597"/>
                  </a:lnTo>
                  <a:lnTo>
                    <a:pt x="691" y="594"/>
                  </a:lnTo>
                  <a:lnTo>
                    <a:pt x="686" y="594"/>
                  </a:lnTo>
                  <a:lnTo>
                    <a:pt x="684" y="597"/>
                  </a:lnTo>
                  <a:lnTo>
                    <a:pt x="680" y="597"/>
                  </a:lnTo>
                  <a:lnTo>
                    <a:pt x="678" y="594"/>
                  </a:lnTo>
                  <a:lnTo>
                    <a:pt x="680" y="590"/>
                  </a:lnTo>
                  <a:lnTo>
                    <a:pt x="676" y="584"/>
                  </a:lnTo>
                  <a:lnTo>
                    <a:pt x="676" y="580"/>
                  </a:lnTo>
                  <a:lnTo>
                    <a:pt x="670" y="578"/>
                  </a:lnTo>
                  <a:lnTo>
                    <a:pt x="672" y="574"/>
                  </a:lnTo>
                  <a:lnTo>
                    <a:pt x="670" y="576"/>
                  </a:lnTo>
                  <a:lnTo>
                    <a:pt x="670" y="574"/>
                  </a:lnTo>
                  <a:lnTo>
                    <a:pt x="668" y="574"/>
                  </a:lnTo>
                  <a:lnTo>
                    <a:pt x="664" y="571"/>
                  </a:lnTo>
                  <a:lnTo>
                    <a:pt x="659" y="571"/>
                  </a:lnTo>
                  <a:lnTo>
                    <a:pt x="659" y="569"/>
                  </a:lnTo>
                  <a:lnTo>
                    <a:pt x="653" y="571"/>
                  </a:lnTo>
                  <a:lnTo>
                    <a:pt x="649" y="571"/>
                  </a:lnTo>
                  <a:lnTo>
                    <a:pt x="649" y="573"/>
                  </a:lnTo>
                  <a:lnTo>
                    <a:pt x="641" y="576"/>
                  </a:lnTo>
                  <a:lnTo>
                    <a:pt x="639" y="576"/>
                  </a:lnTo>
                  <a:lnTo>
                    <a:pt x="636" y="580"/>
                  </a:lnTo>
                  <a:lnTo>
                    <a:pt x="632" y="576"/>
                  </a:lnTo>
                  <a:lnTo>
                    <a:pt x="628" y="576"/>
                  </a:lnTo>
                  <a:lnTo>
                    <a:pt x="626" y="580"/>
                  </a:lnTo>
                  <a:lnTo>
                    <a:pt x="620" y="580"/>
                  </a:lnTo>
                  <a:lnTo>
                    <a:pt x="613" y="574"/>
                  </a:lnTo>
                  <a:lnTo>
                    <a:pt x="607" y="573"/>
                  </a:lnTo>
                  <a:lnTo>
                    <a:pt x="599" y="574"/>
                  </a:lnTo>
                  <a:lnTo>
                    <a:pt x="599" y="576"/>
                  </a:lnTo>
                  <a:lnTo>
                    <a:pt x="590" y="578"/>
                  </a:lnTo>
                  <a:lnTo>
                    <a:pt x="586" y="578"/>
                  </a:lnTo>
                  <a:lnTo>
                    <a:pt x="588" y="576"/>
                  </a:lnTo>
                  <a:lnTo>
                    <a:pt x="584" y="574"/>
                  </a:lnTo>
                  <a:lnTo>
                    <a:pt x="582" y="571"/>
                  </a:lnTo>
                  <a:lnTo>
                    <a:pt x="584" y="569"/>
                  </a:lnTo>
                  <a:lnTo>
                    <a:pt x="582" y="565"/>
                  </a:lnTo>
                  <a:lnTo>
                    <a:pt x="574" y="563"/>
                  </a:lnTo>
                  <a:lnTo>
                    <a:pt x="570" y="565"/>
                  </a:lnTo>
                  <a:lnTo>
                    <a:pt x="567" y="563"/>
                  </a:lnTo>
                  <a:lnTo>
                    <a:pt x="561" y="563"/>
                  </a:lnTo>
                  <a:lnTo>
                    <a:pt x="557" y="559"/>
                  </a:lnTo>
                  <a:lnTo>
                    <a:pt x="553" y="561"/>
                  </a:lnTo>
                  <a:lnTo>
                    <a:pt x="553" y="567"/>
                  </a:lnTo>
                  <a:lnTo>
                    <a:pt x="545" y="565"/>
                  </a:lnTo>
                  <a:lnTo>
                    <a:pt x="543" y="569"/>
                  </a:lnTo>
                  <a:lnTo>
                    <a:pt x="540" y="569"/>
                  </a:lnTo>
                  <a:lnTo>
                    <a:pt x="540" y="573"/>
                  </a:lnTo>
                  <a:lnTo>
                    <a:pt x="530" y="573"/>
                  </a:lnTo>
                  <a:lnTo>
                    <a:pt x="526" y="571"/>
                  </a:lnTo>
                  <a:lnTo>
                    <a:pt x="522" y="573"/>
                  </a:lnTo>
                  <a:lnTo>
                    <a:pt x="520" y="573"/>
                  </a:lnTo>
                  <a:lnTo>
                    <a:pt x="520" y="574"/>
                  </a:lnTo>
                  <a:lnTo>
                    <a:pt x="520" y="576"/>
                  </a:lnTo>
                  <a:lnTo>
                    <a:pt x="519" y="578"/>
                  </a:lnTo>
                  <a:lnTo>
                    <a:pt x="522" y="582"/>
                  </a:lnTo>
                  <a:lnTo>
                    <a:pt x="522" y="584"/>
                  </a:lnTo>
                  <a:lnTo>
                    <a:pt x="517" y="582"/>
                  </a:lnTo>
                  <a:lnTo>
                    <a:pt x="517" y="584"/>
                  </a:lnTo>
                  <a:lnTo>
                    <a:pt x="509" y="584"/>
                  </a:lnTo>
                  <a:lnTo>
                    <a:pt x="505" y="586"/>
                  </a:lnTo>
                  <a:lnTo>
                    <a:pt x="501" y="584"/>
                  </a:lnTo>
                  <a:lnTo>
                    <a:pt x="501" y="586"/>
                  </a:lnTo>
                  <a:lnTo>
                    <a:pt x="499" y="586"/>
                  </a:lnTo>
                  <a:lnTo>
                    <a:pt x="495" y="586"/>
                  </a:lnTo>
                  <a:lnTo>
                    <a:pt x="490" y="586"/>
                  </a:lnTo>
                  <a:lnTo>
                    <a:pt x="484" y="584"/>
                  </a:lnTo>
                  <a:lnTo>
                    <a:pt x="482" y="582"/>
                  </a:lnTo>
                  <a:lnTo>
                    <a:pt x="476" y="580"/>
                  </a:lnTo>
                  <a:lnTo>
                    <a:pt x="471" y="584"/>
                  </a:lnTo>
                  <a:lnTo>
                    <a:pt x="469" y="582"/>
                  </a:lnTo>
                  <a:lnTo>
                    <a:pt x="467" y="578"/>
                  </a:lnTo>
                  <a:lnTo>
                    <a:pt x="467" y="573"/>
                  </a:lnTo>
                  <a:lnTo>
                    <a:pt x="463" y="571"/>
                  </a:lnTo>
                  <a:lnTo>
                    <a:pt x="461" y="574"/>
                  </a:lnTo>
                  <a:lnTo>
                    <a:pt x="457" y="574"/>
                  </a:lnTo>
                  <a:lnTo>
                    <a:pt x="455" y="574"/>
                  </a:lnTo>
                  <a:lnTo>
                    <a:pt x="451" y="573"/>
                  </a:lnTo>
                  <a:lnTo>
                    <a:pt x="449" y="574"/>
                  </a:lnTo>
                  <a:lnTo>
                    <a:pt x="451" y="576"/>
                  </a:lnTo>
                  <a:lnTo>
                    <a:pt x="442" y="576"/>
                  </a:lnTo>
                  <a:lnTo>
                    <a:pt x="440" y="584"/>
                  </a:lnTo>
                  <a:lnTo>
                    <a:pt x="432" y="588"/>
                  </a:lnTo>
                  <a:lnTo>
                    <a:pt x="430" y="590"/>
                  </a:lnTo>
                  <a:lnTo>
                    <a:pt x="423" y="592"/>
                  </a:lnTo>
                  <a:lnTo>
                    <a:pt x="419" y="594"/>
                  </a:lnTo>
                  <a:lnTo>
                    <a:pt x="415" y="594"/>
                  </a:lnTo>
                  <a:lnTo>
                    <a:pt x="415" y="596"/>
                  </a:lnTo>
                  <a:lnTo>
                    <a:pt x="409" y="596"/>
                  </a:lnTo>
                  <a:lnTo>
                    <a:pt x="400" y="592"/>
                  </a:lnTo>
                  <a:lnTo>
                    <a:pt x="400" y="596"/>
                  </a:lnTo>
                  <a:lnTo>
                    <a:pt x="394" y="596"/>
                  </a:lnTo>
                  <a:lnTo>
                    <a:pt x="392" y="597"/>
                  </a:lnTo>
                  <a:lnTo>
                    <a:pt x="390" y="597"/>
                  </a:lnTo>
                  <a:lnTo>
                    <a:pt x="388" y="594"/>
                  </a:lnTo>
                  <a:lnTo>
                    <a:pt x="386" y="597"/>
                  </a:lnTo>
                  <a:lnTo>
                    <a:pt x="384" y="596"/>
                  </a:lnTo>
                  <a:lnTo>
                    <a:pt x="378" y="596"/>
                  </a:lnTo>
                  <a:lnTo>
                    <a:pt x="378" y="597"/>
                  </a:lnTo>
                  <a:lnTo>
                    <a:pt x="376" y="597"/>
                  </a:lnTo>
                  <a:lnTo>
                    <a:pt x="375" y="597"/>
                  </a:lnTo>
                  <a:lnTo>
                    <a:pt x="375" y="594"/>
                  </a:lnTo>
                  <a:lnTo>
                    <a:pt x="371" y="592"/>
                  </a:lnTo>
                  <a:lnTo>
                    <a:pt x="369" y="596"/>
                  </a:lnTo>
                  <a:lnTo>
                    <a:pt x="367" y="596"/>
                  </a:lnTo>
                  <a:lnTo>
                    <a:pt x="365" y="588"/>
                  </a:lnTo>
                  <a:lnTo>
                    <a:pt x="361" y="586"/>
                  </a:lnTo>
                  <a:lnTo>
                    <a:pt x="359" y="578"/>
                  </a:lnTo>
                  <a:lnTo>
                    <a:pt x="363" y="576"/>
                  </a:lnTo>
                  <a:lnTo>
                    <a:pt x="369" y="576"/>
                  </a:lnTo>
                  <a:lnTo>
                    <a:pt x="376" y="580"/>
                  </a:lnTo>
                  <a:lnTo>
                    <a:pt x="380" y="578"/>
                  </a:lnTo>
                  <a:lnTo>
                    <a:pt x="376" y="576"/>
                  </a:lnTo>
                  <a:lnTo>
                    <a:pt x="376" y="569"/>
                  </a:lnTo>
                  <a:lnTo>
                    <a:pt x="375" y="565"/>
                  </a:lnTo>
                  <a:lnTo>
                    <a:pt x="373" y="561"/>
                  </a:lnTo>
                  <a:lnTo>
                    <a:pt x="367" y="553"/>
                  </a:lnTo>
                  <a:lnTo>
                    <a:pt x="359" y="555"/>
                  </a:lnTo>
                  <a:lnTo>
                    <a:pt x="350" y="555"/>
                  </a:lnTo>
                  <a:lnTo>
                    <a:pt x="346" y="555"/>
                  </a:lnTo>
                  <a:lnTo>
                    <a:pt x="346" y="559"/>
                  </a:lnTo>
                  <a:lnTo>
                    <a:pt x="340" y="559"/>
                  </a:lnTo>
                  <a:lnTo>
                    <a:pt x="340" y="561"/>
                  </a:lnTo>
                  <a:lnTo>
                    <a:pt x="338" y="563"/>
                  </a:lnTo>
                  <a:lnTo>
                    <a:pt x="336" y="561"/>
                  </a:lnTo>
                  <a:lnTo>
                    <a:pt x="336" y="559"/>
                  </a:lnTo>
                  <a:lnTo>
                    <a:pt x="334" y="559"/>
                  </a:lnTo>
                  <a:lnTo>
                    <a:pt x="332" y="559"/>
                  </a:lnTo>
                  <a:lnTo>
                    <a:pt x="329" y="559"/>
                  </a:lnTo>
                  <a:lnTo>
                    <a:pt x="325" y="559"/>
                  </a:lnTo>
                  <a:lnTo>
                    <a:pt x="319" y="555"/>
                  </a:lnTo>
                  <a:lnTo>
                    <a:pt x="321" y="561"/>
                  </a:lnTo>
                  <a:lnTo>
                    <a:pt x="315" y="565"/>
                  </a:lnTo>
                  <a:lnTo>
                    <a:pt x="307" y="569"/>
                  </a:lnTo>
                  <a:lnTo>
                    <a:pt x="305" y="573"/>
                  </a:lnTo>
                  <a:lnTo>
                    <a:pt x="300" y="571"/>
                  </a:lnTo>
                  <a:lnTo>
                    <a:pt x="298" y="573"/>
                  </a:lnTo>
                  <a:lnTo>
                    <a:pt x="292" y="573"/>
                  </a:lnTo>
                  <a:lnTo>
                    <a:pt x="292" y="574"/>
                  </a:lnTo>
                  <a:lnTo>
                    <a:pt x="292" y="578"/>
                  </a:lnTo>
                  <a:lnTo>
                    <a:pt x="290" y="580"/>
                  </a:lnTo>
                  <a:lnTo>
                    <a:pt x="292" y="584"/>
                  </a:lnTo>
                  <a:lnTo>
                    <a:pt x="292" y="586"/>
                  </a:lnTo>
                  <a:lnTo>
                    <a:pt x="286" y="590"/>
                  </a:lnTo>
                  <a:lnTo>
                    <a:pt x="286" y="592"/>
                  </a:lnTo>
                  <a:lnTo>
                    <a:pt x="282" y="596"/>
                  </a:lnTo>
                  <a:lnTo>
                    <a:pt x="273" y="601"/>
                  </a:lnTo>
                  <a:lnTo>
                    <a:pt x="279" y="607"/>
                  </a:lnTo>
                  <a:lnTo>
                    <a:pt x="279" y="611"/>
                  </a:lnTo>
                  <a:lnTo>
                    <a:pt x="275" y="611"/>
                  </a:lnTo>
                  <a:lnTo>
                    <a:pt x="275" y="617"/>
                  </a:lnTo>
                  <a:lnTo>
                    <a:pt x="267" y="617"/>
                  </a:lnTo>
                  <a:lnTo>
                    <a:pt x="263" y="617"/>
                  </a:lnTo>
                  <a:lnTo>
                    <a:pt x="259" y="617"/>
                  </a:lnTo>
                  <a:lnTo>
                    <a:pt x="257" y="621"/>
                  </a:lnTo>
                  <a:lnTo>
                    <a:pt x="256" y="626"/>
                  </a:lnTo>
                  <a:lnTo>
                    <a:pt x="250" y="626"/>
                  </a:lnTo>
                  <a:lnTo>
                    <a:pt x="250" y="628"/>
                  </a:lnTo>
                  <a:lnTo>
                    <a:pt x="246" y="630"/>
                  </a:lnTo>
                  <a:lnTo>
                    <a:pt x="244" y="628"/>
                  </a:lnTo>
                  <a:lnTo>
                    <a:pt x="236" y="630"/>
                  </a:lnTo>
                  <a:lnTo>
                    <a:pt x="234" y="628"/>
                  </a:lnTo>
                  <a:lnTo>
                    <a:pt x="233" y="628"/>
                  </a:lnTo>
                  <a:lnTo>
                    <a:pt x="225" y="628"/>
                  </a:lnTo>
                  <a:lnTo>
                    <a:pt x="225" y="626"/>
                  </a:lnTo>
                  <a:lnTo>
                    <a:pt x="221" y="624"/>
                  </a:lnTo>
                  <a:lnTo>
                    <a:pt x="221" y="622"/>
                  </a:lnTo>
                  <a:lnTo>
                    <a:pt x="219" y="621"/>
                  </a:lnTo>
                  <a:lnTo>
                    <a:pt x="221" y="619"/>
                  </a:lnTo>
                  <a:lnTo>
                    <a:pt x="225" y="619"/>
                  </a:lnTo>
                  <a:lnTo>
                    <a:pt x="225" y="617"/>
                  </a:lnTo>
                  <a:lnTo>
                    <a:pt x="225" y="613"/>
                  </a:lnTo>
                  <a:lnTo>
                    <a:pt x="221" y="611"/>
                  </a:lnTo>
                  <a:lnTo>
                    <a:pt x="223" y="609"/>
                  </a:lnTo>
                  <a:lnTo>
                    <a:pt x="221" y="605"/>
                  </a:lnTo>
                  <a:lnTo>
                    <a:pt x="217" y="597"/>
                  </a:lnTo>
                  <a:lnTo>
                    <a:pt x="213" y="599"/>
                  </a:lnTo>
                  <a:lnTo>
                    <a:pt x="204" y="596"/>
                  </a:lnTo>
                  <a:lnTo>
                    <a:pt x="194" y="594"/>
                  </a:lnTo>
                  <a:lnTo>
                    <a:pt x="188" y="596"/>
                  </a:lnTo>
                  <a:lnTo>
                    <a:pt x="179" y="596"/>
                  </a:lnTo>
                  <a:lnTo>
                    <a:pt x="171" y="596"/>
                  </a:lnTo>
                  <a:lnTo>
                    <a:pt x="169" y="597"/>
                  </a:lnTo>
                  <a:lnTo>
                    <a:pt x="165" y="596"/>
                  </a:lnTo>
                  <a:lnTo>
                    <a:pt x="158" y="597"/>
                  </a:lnTo>
                  <a:lnTo>
                    <a:pt x="156" y="596"/>
                  </a:lnTo>
                  <a:lnTo>
                    <a:pt x="146" y="596"/>
                  </a:lnTo>
                  <a:lnTo>
                    <a:pt x="140" y="596"/>
                  </a:lnTo>
                  <a:lnTo>
                    <a:pt x="139" y="594"/>
                  </a:lnTo>
                  <a:lnTo>
                    <a:pt x="133" y="596"/>
                  </a:lnTo>
                  <a:lnTo>
                    <a:pt x="131" y="592"/>
                  </a:lnTo>
                  <a:lnTo>
                    <a:pt x="127" y="594"/>
                  </a:lnTo>
                  <a:lnTo>
                    <a:pt x="123" y="594"/>
                  </a:lnTo>
                  <a:lnTo>
                    <a:pt x="121" y="592"/>
                  </a:lnTo>
                  <a:lnTo>
                    <a:pt x="112" y="588"/>
                  </a:lnTo>
                  <a:lnTo>
                    <a:pt x="110" y="580"/>
                  </a:lnTo>
                  <a:lnTo>
                    <a:pt x="106" y="576"/>
                  </a:lnTo>
                  <a:lnTo>
                    <a:pt x="98" y="573"/>
                  </a:lnTo>
                  <a:lnTo>
                    <a:pt x="92" y="571"/>
                  </a:lnTo>
                  <a:lnTo>
                    <a:pt x="91" y="569"/>
                  </a:lnTo>
                  <a:lnTo>
                    <a:pt x="87" y="569"/>
                  </a:lnTo>
                  <a:lnTo>
                    <a:pt x="83" y="571"/>
                  </a:lnTo>
                  <a:lnTo>
                    <a:pt x="77" y="571"/>
                  </a:lnTo>
                  <a:lnTo>
                    <a:pt x="71" y="571"/>
                  </a:lnTo>
                  <a:lnTo>
                    <a:pt x="67" y="569"/>
                  </a:lnTo>
                  <a:lnTo>
                    <a:pt x="66" y="567"/>
                  </a:lnTo>
                  <a:lnTo>
                    <a:pt x="56" y="565"/>
                  </a:lnTo>
                  <a:lnTo>
                    <a:pt x="56" y="563"/>
                  </a:lnTo>
                  <a:lnTo>
                    <a:pt x="54" y="563"/>
                  </a:lnTo>
                  <a:lnTo>
                    <a:pt x="52" y="559"/>
                  </a:lnTo>
                  <a:lnTo>
                    <a:pt x="48" y="559"/>
                  </a:lnTo>
                  <a:lnTo>
                    <a:pt x="48" y="549"/>
                  </a:lnTo>
                  <a:lnTo>
                    <a:pt x="50" y="542"/>
                  </a:lnTo>
                  <a:lnTo>
                    <a:pt x="52" y="540"/>
                  </a:lnTo>
                  <a:lnTo>
                    <a:pt x="48" y="534"/>
                  </a:lnTo>
                  <a:lnTo>
                    <a:pt x="43" y="530"/>
                  </a:lnTo>
                  <a:lnTo>
                    <a:pt x="43" y="528"/>
                  </a:lnTo>
                  <a:lnTo>
                    <a:pt x="44" y="528"/>
                  </a:lnTo>
                  <a:lnTo>
                    <a:pt x="43" y="524"/>
                  </a:lnTo>
                  <a:lnTo>
                    <a:pt x="37" y="526"/>
                  </a:lnTo>
                  <a:lnTo>
                    <a:pt x="33" y="530"/>
                  </a:lnTo>
                  <a:lnTo>
                    <a:pt x="27" y="532"/>
                  </a:lnTo>
                  <a:lnTo>
                    <a:pt x="25" y="536"/>
                  </a:lnTo>
                  <a:lnTo>
                    <a:pt x="16" y="536"/>
                  </a:lnTo>
                  <a:lnTo>
                    <a:pt x="10" y="534"/>
                  </a:lnTo>
                  <a:lnTo>
                    <a:pt x="12" y="530"/>
                  </a:lnTo>
                  <a:lnTo>
                    <a:pt x="6" y="528"/>
                  </a:lnTo>
                  <a:lnTo>
                    <a:pt x="6" y="526"/>
                  </a:lnTo>
                  <a:lnTo>
                    <a:pt x="12" y="523"/>
                  </a:lnTo>
                  <a:lnTo>
                    <a:pt x="16" y="519"/>
                  </a:lnTo>
                  <a:lnTo>
                    <a:pt x="10" y="519"/>
                  </a:lnTo>
                  <a:lnTo>
                    <a:pt x="10" y="511"/>
                  </a:lnTo>
                  <a:lnTo>
                    <a:pt x="10" y="505"/>
                  </a:lnTo>
                  <a:lnTo>
                    <a:pt x="4" y="505"/>
                  </a:lnTo>
                  <a:lnTo>
                    <a:pt x="6" y="501"/>
                  </a:lnTo>
                  <a:lnTo>
                    <a:pt x="2" y="496"/>
                  </a:lnTo>
                  <a:lnTo>
                    <a:pt x="4" y="490"/>
                  </a:lnTo>
                  <a:lnTo>
                    <a:pt x="8" y="488"/>
                  </a:lnTo>
                  <a:lnTo>
                    <a:pt x="10" y="492"/>
                  </a:lnTo>
                  <a:lnTo>
                    <a:pt x="18" y="494"/>
                  </a:lnTo>
                  <a:lnTo>
                    <a:pt x="20" y="488"/>
                  </a:lnTo>
                  <a:lnTo>
                    <a:pt x="21" y="490"/>
                  </a:lnTo>
                  <a:lnTo>
                    <a:pt x="21" y="488"/>
                  </a:lnTo>
                  <a:lnTo>
                    <a:pt x="23" y="488"/>
                  </a:lnTo>
                  <a:lnTo>
                    <a:pt x="25" y="486"/>
                  </a:lnTo>
                  <a:lnTo>
                    <a:pt x="29" y="486"/>
                  </a:lnTo>
                  <a:lnTo>
                    <a:pt x="23" y="482"/>
                  </a:lnTo>
                  <a:lnTo>
                    <a:pt x="20" y="480"/>
                  </a:lnTo>
                  <a:lnTo>
                    <a:pt x="18" y="476"/>
                  </a:lnTo>
                  <a:lnTo>
                    <a:pt x="18" y="480"/>
                  </a:lnTo>
                  <a:lnTo>
                    <a:pt x="14" y="482"/>
                  </a:lnTo>
                  <a:lnTo>
                    <a:pt x="14" y="478"/>
                  </a:lnTo>
                  <a:lnTo>
                    <a:pt x="12" y="478"/>
                  </a:lnTo>
                  <a:lnTo>
                    <a:pt x="10" y="482"/>
                  </a:lnTo>
                  <a:lnTo>
                    <a:pt x="8" y="482"/>
                  </a:lnTo>
                  <a:lnTo>
                    <a:pt x="8" y="478"/>
                  </a:lnTo>
                  <a:lnTo>
                    <a:pt x="6" y="478"/>
                  </a:lnTo>
                  <a:lnTo>
                    <a:pt x="6" y="476"/>
                  </a:lnTo>
                  <a:lnTo>
                    <a:pt x="6" y="473"/>
                  </a:lnTo>
                  <a:lnTo>
                    <a:pt x="4" y="473"/>
                  </a:lnTo>
                  <a:lnTo>
                    <a:pt x="2" y="475"/>
                  </a:lnTo>
                  <a:lnTo>
                    <a:pt x="0" y="473"/>
                  </a:lnTo>
                  <a:lnTo>
                    <a:pt x="2" y="471"/>
                  </a:lnTo>
                  <a:lnTo>
                    <a:pt x="6" y="469"/>
                  </a:lnTo>
                  <a:lnTo>
                    <a:pt x="14" y="473"/>
                  </a:lnTo>
                  <a:lnTo>
                    <a:pt x="16" y="471"/>
                  </a:lnTo>
                  <a:lnTo>
                    <a:pt x="18" y="469"/>
                  </a:lnTo>
                  <a:lnTo>
                    <a:pt x="18" y="467"/>
                  </a:lnTo>
                  <a:lnTo>
                    <a:pt x="20" y="467"/>
                  </a:lnTo>
                  <a:lnTo>
                    <a:pt x="25" y="459"/>
                  </a:lnTo>
                  <a:lnTo>
                    <a:pt x="29" y="459"/>
                  </a:lnTo>
                  <a:lnTo>
                    <a:pt x="37" y="459"/>
                  </a:lnTo>
                  <a:lnTo>
                    <a:pt x="39" y="459"/>
                  </a:lnTo>
                  <a:lnTo>
                    <a:pt x="39" y="455"/>
                  </a:lnTo>
                  <a:lnTo>
                    <a:pt x="41" y="450"/>
                  </a:lnTo>
                  <a:lnTo>
                    <a:pt x="44" y="444"/>
                  </a:lnTo>
                  <a:lnTo>
                    <a:pt x="46" y="442"/>
                  </a:lnTo>
                  <a:lnTo>
                    <a:pt x="48" y="440"/>
                  </a:lnTo>
                  <a:lnTo>
                    <a:pt x="50" y="436"/>
                  </a:lnTo>
                  <a:lnTo>
                    <a:pt x="46" y="428"/>
                  </a:lnTo>
                  <a:lnTo>
                    <a:pt x="43" y="430"/>
                  </a:lnTo>
                  <a:lnTo>
                    <a:pt x="39" y="427"/>
                  </a:lnTo>
                  <a:lnTo>
                    <a:pt x="35" y="425"/>
                  </a:lnTo>
                  <a:lnTo>
                    <a:pt x="39" y="423"/>
                  </a:lnTo>
                  <a:lnTo>
                    <a:pt x="37" y="417"/>
                  </a:lnTo>
                  <a:lnTo>
                    <a:pt x="35" y="413"/>
                  </a:lnTo>
                  <a:lnTo>
                    <a:pt x="43" y="407"/>
                  </a:lnTo>
                  <a:lnTo>
                    <a:pt x="48" y="411"/>
                  </a:lnTo>
                  <a:lnTo>
                    <a:pt x="54" y="411"/>
                  </a:lnTo>
                  <a:lnTo>
                    <a:pt x="58" y="409"/>
                  </a:lnTo>
                  <a:lnTo>
                    <a:pt x="58" y="405"/>
                  </a:lnTo>
                  <a:lnTo>
                    <a:pt x="66" y="405"/>
                  </a:lnTo>
                  <a:lnTo>
                    <a:pt x="71" y="398"/>
                  </a:lnTo>
                  <a:lnTo>
                    <a:pt x="77" y="400"/>
                  </a:lnTo>
                  <a:lnTo>
                    <a:pt x="81" y="398"/>
                  </a:lnTo>
                  <a:lnTo>
                    <a:pt x="79" y="396"/>
                  </a:lnTo>
                  <a:lnTo>
                    <a:pt x="75" y="396"/>
                  </a:lnTo>
                  <a:lnTo>
                    <a:pt x="77" y="394"/>
                  </a:lnTo>
                  <a:lnTo>
                    <a:pt x="75" y="390"/>
                  </a:lnTo>
                  <a:lnTo>
                    <a:pt x="69" y="392"/>
                  </a:lnTo>
                  <a:lnTo>
                    <a:pt x="62" y="388"/>
                  </a:lnTo>
                  <a:lnTo>
                    <a:pt x="60" y="390"/>
                  </a:lnTo>
                  <a:lnTo>
                    <a:pt x="56" y="384"/>
                  </a:lnTo>
                  <a:lnTo>
                    <a:pt x="58" y="384"/>
                  </a:lnTo>
                  <a:lnTo>
                    <a:pt x="60" y="380"/>
                  </a:lnTo>
                  <a:lnTo>
                    <a:pt x="62" y="378"/>
                  </a:lnTo>
                  <a:lnTo>
                    <a:pt x="62" y="375"/>
                  </a:lnTo>
                  <a:lnTo>
                    <a:pt x="66" y="373"/>
                  </a:lnTo>
                  <a:lnTo>
                    <a:pt x="67" y="371"/>
                  </a:lnTo>
                  <a:lnTo>
                    <a:pt x="71" y="371"/>
                  </a:lnTo>
                  <a:lnTo>
                    <a:pt x="77" y="365"/>
                  </a:lnTo>
                  <a:lnTo>
                    <a:pt x="81" y="365"/>
                  </a:lnTo>
                  <a:lnTo>
                    <a:pt x="85" y="361"/>
                  </a:lnTo>
                  <a:lnTo>
                    <a:pt x="87" y="361"/>
                  </a:lnTo>
                  <a:lnTo>
                    <a:pt x="87" y="363"/>
                  </a:lnTo>
                  <a:lnTo>
                    <a:pt x="92" y="359"/>
                  </a:lnTo>
                  <a:lnTo>
                    <a:pt x="96" y="354"/>
                  </a:lnTo>
                  <a:lnTo>
                    <a:pt x="102" y="352"/>
                  </a:lnTo>
                  <a:lnTo>
                    <a:pt x="100" y="346"/>
                  </a:lnTo>
                  <a:lnTo>
                    <a:pt x="102" y="340"/>
                  </a:lnTo>
                  <a:lnTo>
                    <a:pt x="104" y="336"/>
                  </a:lnTo>
                  <a:lnTo>
                    <a:pt x="102" y="334"/>
                  </a:lnTo>
                  <a:lnTo>
                    <a:pt x="100" y="332"/>
                  </a:lnTo>
                  <a:lnTo>
                    <a:pt x="100" y="327"/>
                  </a:lnTo>
                  <a:lnTo>
                    <a:pt x="102" y="319"/>
                  </a:lnTo>
                  <a:lnTo>
                    <a:pt x="108" y="313"/>
                  </a:lnTo>
                  <a:lnTo>
                    <a:pt x="110" y="307"/>
                  </a:lnTo>
                  <a:lnTo>
                    <a:pt x="106" y="300"/>
                  </a:lnTo>
                  <a:lnTo>
                    <a:pt x="104" y="298"/>
                  </a:lnTo>
                  <a:lnTo>
                    <a:pt x="104" y="294"/>
                  </a:lnTo>
                  <a:lnTo>
                    <a:pt x="100" y="292"/>
                  </a:lnTo>
                  <a:lnTo>
                    <a:pt x="98" y="288"/>
                  </a:lnTo>
                  <a:lnTo>
                    <a:pt x="102" y="286"/>
                  </a:lnTo>
                  <a:lnTo>
                    <a:pt x="100" y="282"/>
                  </a:lnTo>
                  <a:lnTo>
                    <a:pt x="98" y="282"/>
                  </a:lnTo>
                  <a:lnTo>
                    <a:pt x="87" y="282"/>
                  </a:lnTo>
                  <a:lnTo>
                    <a:pt x="85" y="281"/>
                  </a:lnTo>
                  <a:lnTo>
                    <a:pt x="89" y="277"/>
                  </a:lnTo>
                  <a:lnTo>
                    <a:pt x="89" y="271"/>
                  </a:lnTo>
                  <a:lnTo>
                    <a:pt x="92" y="267"/>
                  </a:lnTo>
                  <a:lnTo>
                    <a:pt x="94" y="267"/>
                  </a:lnTo>
                  <a:lnTo>
                    <a:pt x="98" y="259"/>
                  </a:lnTo>
                  <a:lnTo>
                    <a:pt x="92" y="261"/>
                  </a:lnTo>
                  <a:lnTo>
                    <a:pt x="92" y="257"/>
                  </a:lnTo>
                  <a:lnTo>
                    <a:pt x="89" y="259"/>
                  </a:lnTo>
                  <a:lnTo>
                    <a:pt x="81" y="256"/>
                  </a:lnTo>
                  <a:lnTo>
                    <a:pt x="87" y="252"/>
                  </a:lnTo>
                  <a:lnTo>
                    <a:pt x="87" y="246"/>
                  </a:lnTo>
                  <a:lnTo>
                    <a:pt x="91" y="246"/>
                  </a:lnTo>
                  <a:lnTo>
                    <a:pt x="91" y="242"/>
                  </a:lnTo>
                  <a:lnTo>
                    <a:pt x="94" y="238"/>
                  </a:lnTo>
                  <a:lnTo>
                    <a:pt x="94" y="236"/>
                  </a:lnTo>
                  <a:lnTo>
                    <a:pt x="91" y="236"/>
                  </a:lnTo>
                  <a:lnTo>
                    <a:pt x="91" y="231"/>
                  </a:lnTo>
                  <a:lnTo>
                    <a:pt x="92" y="229"/>
                  </a:lnTo>
                  <a:lnTo>
                    <a:pt x="92" y="225"/>
                  </a:lnTo>
                  <a:lnTo>
                    <a:pt x="94" y="225"/>
                  </a:lnTo>
                  <a:lnTo>
                    <a:pt x="98" y="234"/>
                  </a:lnTo>
                  <a:lnTo>
                    <a:pt x="98" y="236"/>
                  </a:lnTo>
                  <a:lnTo>
                    <a:pt x="98" y="234"/>
                  </a:lnTo>
                  <a:lnTo>
                    <a:pt x="102" y="240"/>
                  </a:lnTo>
                  <a:lnTo>
                    <a:pt x="108" y="240"/>
                  </a:lnTo>
                  <a:lnTo>
                    <a:pt x="110" y="236"/>
                  </a:lnTo>
                  <a:lnTo>
                    <a:pt x="114" y="234"/>
                  </a:lnTo>
                  <a:lnTo>
                    <a:pt x="114" y="231"/>
                  </a:lnTo>
                  <a:lnTo>
                    <a:pt x="115" y="231"/>
                  </a:lnTo>
                  <a:lnTo>
                    <a:pt x="115" y="229"/>
                  </a:lnTo>
                  <a:lnTo>
                    <a:pt x="114" y="225"/>
                  </a:lnTo>
                  <a:lnTo>
                    <a:pt x="104" y="227"/>
                  </a:lnTo>
                  <a:lnTo>
                    <a:pt x="100" y="223"/>
                  </a:lnTo>
                  <a:lnTo>
                    <a:pt x="98" y="225"/>
                  </a:lnTo>
                  <a:lnTo>
                    <a:pt x="96" y="225"/>
                  </a:lnTo>
                  <a:lnTo>
                    <a:pt x="98" y="223"/>
                  </a:lnTo>
                  <a:lnTo>
                    <a:pt x="98" y="219"/>
                  </a:lnTo>
                  <a:lnTo>
                    <a:pt x="96" y="211"/>
                  </a:lnTo>
                  <a:lnTo>
                    <a:pt x="96" y="206"/>
                  </a:lnTo>
                  <a:lnTo>
                    <a:pt x="98" y="206"/>
                  </a:lnTo>
                  <a:lnTo>
                    <a:pt x="100" y="209"/>
                  </a:lnTo>
                  <a:lnTo>
                    <a:pt x="102" y="209"/>
                  </a:lnTo>
                  <a:lnTo>
                    <a:pt x="104" y="209"/>
                  </a:lnTo>
                  <a:lnTo>
                    <a:pt x="104" y="213"/>
                  </a:lnTo>
                  <a:lnTo>
                    <a:pt x="110" y="215"/>
                  </a:lnTo>
                  <a:lnTo>
                    <a:pt x="108" y="217"/>
                  </a:lnTo>
                  <a:lnTo>
                    <a:pt x="114" y="217"/>
                  </a:lnTo>
                  <a:lnTo>
                    <a:pt x="119" y="219"/>
                  </a:lnTo>
                  <a:lnTo>
                    <a:pt x="121" y="215"/>
                  </a:lnTo>
                  <a:lnTo>
                    <a:pt x="127" y="215"/>
                  </a:lnTo>
                  <a:lnTo>
                    <a:pt x="127" y="208"/>
                  </a:lnTo>
                  <a:lnTo>
                    <a:pt x="127" y="206"/>
                  </a:lnTo>
                  <a:lnTo>
                    <a:pt x="133" y="204"/>
                  </a:lnTo>
                  <a:lnTo>
                    <a:pt x="133" y="198"/>
                  </a:lnTo>
                  <a:lnTo>
                    <a:pt x="137" y="200"/>
                  </a:lnTo>
                  <a:lnTo>
                    <a:pt x="137" y="198"/>
                  </a:lnTo>
                  <a:lnTo>
                    <a:pt x="140" y="200"/>
                  </a:lnTo>
                  <a:lnTo>
                    <a:pt x="152" y="198"/>
                  </a:lnTo>
                  <a:lnTo>
                    <a:pt x="152" y="200"/>
                  </a:lnTo>
                  <a:lnTo>
                    <a:pt x="148" y="202"/>
                  </a:lnTo>
                  <a:lnTo>
                    <a:pt x="150" y="208"/>
                  </a:lnTo>
                  <a:lnTo>
                    <a:pt x="148" y="213"/>
                  </a:lnTo>
                  <a:lnTo>
                    <a:pt x="144" y="206"/>
                  </a:lnTo>
                  <a:lnTo>
                    <a:pt x="142" y="208"/>
                  </a:lnTo>
                  <a:lnTo>
                    <a:pt x="146" y="211"/>
                  </a:lnTo>
                  <a:lnTo>
                    <a:pt x="142" y="211"/>
                  </a:lnTo>
                  <a:lnTo>
                    <a:pt x="142" y="215"/>
                  </a:lnTo>
                  <a:lnTo>
                    <a:pt x="148" y="217"/>
                  </a:lnTo>
                  <a:lnTo>
                    <a:pt x="150" y="215"/>
                  </a:lnTo>
                  <a:lnTo>
                    <a:pt x="154" y="217"/>
                  </a:lnTo>
                  <a:lnTo>
                    <a:pt x="160" y="215"/>
                  </a:lnTo>
                  <a:lnTo>
                    <a:pt x="160" y="217"/>
                  </a:lnTo>
                  <a:lnTo>
                    <a:pt x="156" y="219"/>
                  </a:lnTo>
                  <a:lnTo>
                    <a:pt x="148" y="221"/>
                  </a:lnTo>
                  <a:lnTo>
                    <a:pt x="146" y="223"/>
                  </a:lnTo>
                  <a:lnTo>
                    <a:pt x="144" y="219"/>
                  </a:lnTo>
                  <a:lnTo>
                    <a:pt x="139" y="219"/>
                  </a:lnTo>
                  <a:lnTo>
                    <a:pt x="140" y="215"/>
                  </a:lnTo>
                  <a:lnTo>
                    <a:pt x="139" y="215"/>
                  </a:lnTo>
                  <a:lnTo>
                    <a:pt x="137" y="213"/>
                  </a:lnTo>
                  <a:lnTo>
                    <a:pt x="137" y="215"/>
                  </a:lnTo>
                  <a:lnTo>
                    <a:pt x="140" y="221"/>
                  </a:lnTo>
                  <a:lnTo>
                    <a:pt x="137" y="223"/>
                  </a:lnTo>
                  <a:lnTo>
                    <a:pt x="135" y="227"/>
                  </a:lnTo>
                  <a:lnTo>
                    <a:pt x="133" y="229"/>
                  </a:lnTo>
                  <a:lnTo>
                    <a:pt x="137" y="233"/>
                  </a:lnTo>
                  <a:lnTo>
                    <a:pt x="142" y="233"/>
                  </a:lnTo>
                  <a:lnTo>
                    <a:pt x="146" y="233"/>
                  </a:lnTo>
                  <a:lnTo>
                    <a:pt x="150" y="234"/>
                  </a:lnTo>
                  <a:lnTo>
                    <a:pt x="152" y="234"/>
                  </a:lnTo>
                  <a:lnTo>
                    <a:pt x="162" y="236"/>
                  </a:lnTo>
                  <a:lnTo>
                    <a:pt x="171" y="234"/>
                  </a:lnTo>
                  <a:lnTo>
                    <a:pt x="175" y="233"/>
                  </a:lnTo>
                  <a:lnTo>
                    <a:pt x="179" y="236"/>
                  </a:lnTo>
                  <a:lnTo>
                    <a:pt x="185" y="236"/>
                  </a:lnTo>
                  <a:lnTo>
                    <a:pt x="186" y="233"/>
                  </a:lnTo>
                  <a:lnTo>
                    <a:pt x="194" y="229"/>
                  </a:lnTo>
                  <a:lnTo>
                    <a:pt x="198" y="229"/>
                  </a:lnTo>
                  <a:lnTo>
                    <a:pt x="202" y="233"/>
                  </a:lnTo>
                  <a:lnTo>
                    <a:pt x="202" y="238"/>
                  </a:lnTo>
                  <a:lnTo>
                    <a:pt x="204" y="240"/>
                  </a:lnTo>
                  <a:lnTo>
                    <a:pt x="204" y="242"/>
                  </a:lnTo>
                  <a:lnTo>
                    <a:pt x="202" y="246"/>
                  </a:lnTo>
                  <a:lnTo>
                    <a:pt x="202" y="248"/>
                  </a:lnTo>
                  <a:lnTo>
                    <a:pt x="204" y="246"/>
                  </a:lnTo>
                  <a:lnTo>
                    <a:pt x="206" y="246"/>
                  </a:lnTo>
                  <a:lnTo>
                    <a:pt x="206" y="248"/>
                  </a:lnTo>
                  <a:lnTo>
                    <a:pt x="210" y="250"/>
                  </a:lnTo>
                  <a:lnTo>
                    <a:pt x="210" y="252"/>
                  </a:lnTo>
                  <a:lnTo>
                    <a:pt x="211" y="256"/>
                  </a:lnTo>
                  <a:lnTo>
                    <a:pt x="208" y="256"/>
                  </a:lnTo>
                  <a:lnTo>
                    <a:pt x="210" y="259"/>
                  </a:lnTo>
                  <a:lnTo>
                    <a:pt x="210" y="261"/>
                  </a:lnTo>
                  <a:lnTo>
                    <a:pt x="200" y="267"/>
                  </a:lnTo>
                  <a:lnTo>
                    <a:pt x="198" y="265"/>
                  </a:lnTo>
                  <a:lnTo>
                    <a:pt x="198" y="261"/>
                  </a:lnTo>
                  <a:lnTo>
                    <a:pt x="196" y="259"/>
                  </a:lnTo>
                  <a:lnTo>
                    <a:pt x="192" y="265"/>
                  </a:lnTo>
                  <a:lnTo>
                    <a:pt x="192" y="267"/>
                  </a:lnTo>
                  <a:lnTo>
                    <a:pt x="190" y="269"/>
                  </a:lnTo>
                  <a:lnTo>
                    <a:pt x="190" y="275"/>
                  </a:lnTo>
                  <a:lnTo>
                    <a:pt x="194" y="279"/>
                  </a:lnTo>
                  <a:lnTo>
                    <a:pt x="198" y="279"/>
                  </a:lnTo>
                  <a:lnTo>
                    <a:pt x="198" y="284"/>
                  </a:lnTo>
                  <a:lnTo>
                    <a:pt x="200" y="286"/>
                  </a:lnTo>
                  <a:lnTo>
                    <a:pt x="194" y="288"/>
                  </a:lnTo>
                  <a:lnTo>
                    <a:pt x="192" y="296"/>
                  </a:lnTo>
                  <a:lnTo>
                    <a:pt x="196" y="302"/>
                  </a:lnTo>
                  <a:lnTo>
                    <a:pt x="200" y="302"/>
                  </a:lnTo>
                  <a:lnTo>
                    <a:pt x="200" y="306"/>
                  </a:lnTo>
                  <a:lnTo>
                    <a:pt x="194" y="307"/>
                  </a:lnTo>
                  <a:lnTo>
                    <a:pt x="192" y="311"/>
                  </a:lnTo>
                  <a:lnTo>
                    <a:pt x="190" y="311"/>
                  </a:lnTo>
                  <a:lnTo>
                    <a:pt x="186" y="315"/>
                  </a:lnTo>
                  <a:lnTo>
                    <a:pt x="185" y="315"/>
                  </a:lnTo>
                  <a:lnTo>
                    <a:pt x="183" y="309"/>
                  </a:lnTo>
                  <a:lnTo>
                    <a:pt x="173" y="313"/>
                  </a:lnTo>
                  <a:lnTo>
                    <a:pt x="165" y="309"/>
                  </a:lnTo>
                  <a:lnTo>
                    <a:pt x="162" y="313"/>
                  </a:lnTo>
                  <a:lnTo>
                    <a:pt x="160" y="321"/>
                  </a:lnTo>
                  <a:lnTo>
                    <a:pt x="163" y="321"/>
                  </a:lnTo>
                  <a:lnTo>
                    <a:pt x="169" y="327"/>
                  </a:lnTo>
                  <a:lnTo>
                    <a:pt x="171" y="329"/>
                  </a:lnTo>
                  <a:lnTo>
                    <a:pt x="169" y="330"/>
                  </a:lnTo>
                  <a:lnTo>
                    <a:pt x="171" y="334"/>
                  </a:lnTo>
                  <a:lnTo>
                    <a:pt x="179" y="334"/>
                  </a:lnTo>
                  <a:lnTo>
                    <a:pt x="183" y="338"/>
                  </a:lnTo>
                  <a:lnTo>
                    <a:pt x="185" y="334"/>
                  </a:lnTo>
                  <a:lnTo>
                    <a:pt x="183" y="332"/>
                  </a:lnTo>
                  <a:lnTo>
                    <a:pt x="186" y="332"/>
                  </a:lnTo>
                  <a:lnTo>
                    <a:pt x="188" y="327"/>
                  </a:lnTo>
                  <a:lnTo>
                    <a:pt x="185" y="325"/>
                  </a:lnTo>
                  <a:lnTo>
                    <a:pt x="186" y="323"/>
                  </a:lnTo>
                  <a:lnTo>
                    <a:pt x="190" y="325"/>
                  </a:lnTo>
                  <a:lnTo>
                    <a:pt x="192" y="329"/>
                  </a:lnTo>
                  <a:lnTo>
                    <a:pt x="202" y="323"/>
                  </a:lnTo>
                  <a:lnTo>
                    <a:pt x="204" y="325"/>
                  </a:lnTo>
                  <a:lnTo>
                    <a:pt x="210" y="323"/>
                  </a:lnTo>
                  <a:lnTo>
                    <a:pt x="215" y="319"/>
                  </a:lnTo>
                  <a:lnTo>
                    <a:pt x="215" y="309"/>
                  </a:lnTo>
                  <a:lnTo>
                    <a:pt x="217" y="309"/>
                  </a:lnTo>
                  <a:lnTo>
                    <a:pt x="221" y="304"/>
                  </a:lnTo>
                  <a:lnTo>
                    <a:pt x="231" y="302"/>
                  </a:lnTo>
                  <a:lnTo>
                    <a:pt x="231" y="298"/>
                  </a:lnTo>
                  <a:lnTo>
                    <a:pt x="231" y="290"/>
                  </a:lnTo>
                  <a:lnTo>
                    <a:pt x="234" y="286"/>
                  </a:lnTo>
                  <a:lnTo>
                    <a:pt x="233" y="281"/>
                  </a:lnTo>
                  <a:lnTo>
                    <a:pt x="234" y="281"/>
                  </a:lnTo>
                  <a:lnTo>
                    <a:pt x="238" y="277"/>
                  </a:lnTo>
                  <a:lnTo>
                    <a:pt x="240" y="279"/>
                  </a:lnTo>
                  <a:lnTo>
                    <a:pt x="238" y="282"/>
                  </a:lnTo>
                  <a:lnTo>
                    <a:pt x="240" y="288"/>
                  </a:lnTo>
                  <a:lnTo>
                    <a:pt x="248" y="288"/>
                  </a:lnTo>
                  <a:lnTo>
                    <a:pt x="250" y="286"/>
                  </a:lnTo>
                  <a:lnTo>
                    <a:pt x="252" y="284"/>
                  </a:lnTo>
                  <a:lnTo>
                    <a:pt x="256" y="284"/>
                  </a:lnTo>
                  <a:lnTo>
                    <a:pt x="261" y="290"/>
                  </a:lnTo>
                  <a:lnTo>
                    <a:pt x="263" y="288"/>
                  </a:lnTo>
                  <a:lnTo>
                    <a:pt x="265" y="288"/>
                  </a:lnTo>
                  <a:lnTo>
                    <a:pt x="267" y="286"/>
                  </a:lnTo>
                  <a:lnTo>
                    <a:pt x="271" y="288"/>
                  </a:lnTo>
                  <a:lnTo>
                    <a:pt x="273" y="294"/>
                  </a:lnTo>
                  <a:lnTo>
                    <a:pt x="275" y="294"/>
                  </a:lnTo>
                  <a:lnTo>
                    <a:pt x="279" y="292"/>
                  </a:lnTo>
                  <a:lnTo>
                    <a:pt x="279" y="290"/>
                  </a:lnTo>
                  <a:lnTo>
                    <a:pt x="281" y="288"/>
                  </a:lnTo>
                  <a:lnTo>
                    <a:pt x="281" y="284"/>
                  </a:lnTo>
                  <a:lnTo>
                    <a:pt x="282" y="286"/>
                  </a:lnTo>
                  <a:lnTo>
                    <a:pt x="284" y="282"/>
                  </a:lnTo>
                  <a:lnTo>
                    <a:pt x="288" y="282"/>
                  </a:lnTo>
                  <a:lnTo>
                    <a:pt x="292" y="281"/>
                  </a:lnTo>
                  <a:lnTo>
                    <a:pt x="292" y="284"/>
                  </a:lnTo>
                  <a:lnTo>
                    <a:pt x="290" y="290"/>
                  </a:lnTo>
                  <a:lnTo>
                    <a:pt x="292" y="294"/>
                  </a:lnTo>
                  <a:lnTo>
                    <a:pt x="294" y="294"/>
                  </a:lnTo>
                  <a:lnTo>
                    <a:pt x="300" y="294"/>
                  </a:lnTo>
                  <a:lnTo>
                    <a:pt x="304" y="298"/>
                  </a:lnTo>
                  <a:lnTo>
                    <a:pt x="309" y="296"/>
                  </a:lnTo>
                  <a:lnTo>
                    <a:pt x="313" y="298"/>
                  </a:lnTo>
                  <a:lnTo>
                    <a:pt x="315" y="290"/>
                  </a:lnTo>
                  <a:lnTo>
                    <a:pt x="317" y="292"/>
                  </a:lnTo>
                  <a:lnTo>
                    <a:pt x="319" y="290"/>
                  </a:lnTo>
                  <a:lnTo>
                    <a:pt x="317" y="288"/>
                  </a:lnTo>
                  <a:lnTo>
                    <a:pt x="311" y="282"/>
                  </a:lnTo>
                  <a:lnTo>
                    <a:pt x="307" y="275"/>
                  </a:lnTo>
                  <a:lnTo>
                    <a:pt x="309" y="269"/>
                  </a:lnTo>
                  <a:lnTo>
                    <a:pt x="307" y="267"/>
                  </a:lnTo>
                  <a:lnTo>
                    <a:pt x="309" y="261"/>
                  </a:lnTo>
                  <a:lnTo>
                    <a:pt x="305" y="254"/>
                  </a:lnTo>
                  <a:lnTo>
                    <a:pt x="311" y="252"/>
                  </a:lnTo>
                  <a:lnTo>
                    <a:pt x="313" y="256"/>
                  </a:lnTo>
                  <a:lnTo>
                    <a:pt x="317" y="252"/>
                  </a:lnTo>
                  <a:lnTo>
                    <a:pt x="317" y="259"/>
                  </a:lnTo>
                  <a:lnTo>
                    <a:pt x="323" y="261"/>
                  </a:lnTo>
                  <a:lnTo>
                    <a:pt x="329" y="257"/>
                  </a:lnTo>
                  <a:lnTo>
                    <a:pt x="334" y="250"/>
                  </a:lnTo>
                  <a:lnTo>
                    <a:pt x="332" y="242"/>
                  </a:lnTo>
                  <a:lnTo>
                    <a:pt x="330" y="234"/>
                  </a:lnTo>
                  <a:lnTo>
                    <a:pt x="327" y="234"/>
                  </a:lnTo>
                  <a:lnTo>
                    <a:pt x="321" y="229"/>
                  </a:lnTo>
                  <a:lnTo>
                    <a:pt x="317" y="233"/>
                  </a:lnTo>
                  <a:lnTo>
                    <a:pt x="315" y="231"/>
                  </a:lnTo>
                  <a:lnTo>
                    <a:pt x="311" y="231"/>
                  </a:lnTo>
                  <a:lnTo>
                    <a:pt x="311" y="229"/>
                  </a:lnTo>
                  <a:lnTo>
                    <a:pt x="305" y="223"/>
                  </a:lnTo>
                  <a:lnTo>
                    <a:pt x="307" y="221"/>
                  </a:lnTo>
                  <a:lnTo>
                    <a:pt x="317" y="221"/>
                  </a:lnTo>
                  <a:lnTo>
                    <a:pt x="321" y="217"/>
                  </a:lnTo>
                  <a:lnTo>
                    <a:pt x="317" y="215"/>
                  </a:lnTo>
                  <a:lnTo>
                    <a:pt x="319" y="211"/>
                  </a:lnTo>
                  <a:lnTo>
                    <a:pt x="315" y="211"/>
                  </a:lnTo>
                  <a:lnTo>
                    <a:pt x="313" y="208"/>
                  </a:lnTo>
                  <a:lnTo>
                    <a:pt x="313" y="202"/>
                  </a:lnTo>
                  <a:lnTo>
                    <a:pt x="315" y="202"/>
                  </a:lnTo>
                  <a:lnTo>
                    <a:pt x="315" y="198"/>
                  </a:lnTo>
                  <a:lnTo>
                    <a:pt x="325" y="198"/>
                  </a:lnTo>
                  <a:lnTo>
                    <a:pt x="327" y="194"/>
                  </a:lnTo>
                  <a:lnTo>
                    <a:pt x="336" y="196"/>
                  </a:lnTo>
                  <a:lnTo>
                    <a:pt x="340" y="196"/>
                  </a:lnTo>
                  <a:lnTo>
                    <a:pt x="344" y="192"/>
                  </a:lnTo>
                  <a:lnTo>
                    <a:pt x="346" y="194"/>
                  </a:lnTo>
                  <a:lnTo>
                    <a:pt x="346" y="190"/>
                  </a:lnTo>
                  <a:lnTo>
                    <a:pt x="357" y="190"/>
                  </a:lnTo>
                  <a:lnTo>
                    <a:pt x="361" y="194"/>
                  </a:lnTo>
                  <a:lnTo>
                    <a:pt x="367" y="192"/>
                  </a:lnTo>
                  <a:lnTo>
                    <a:pt x="369" y="190"/>
                  </a:lnTo>
                  <a:lnTo>
                    <a:pt x="371" y="190"/>
                  </a:lnTo>
                  <a:lnTo>
                    <a:pt x="369" y="190"/>
                  </a:lnTo>
                  <a:lnTo>
                    <a:pt x="371" y="183"/>
                  </a:lnTo>
                  <a:lnTo>
                    <a:pt x="373" y="183"/>
                  </a:lnTo>
                  <a:lnTo>
                    <a:pt x="373" y="179"/>
                  </a:lnTo>
                  <a:lnTo>
                    <a:pt x="367" y="175"/>
                  </a:lnTo>
                  <a:lnTo>
                    <a:pt x="369" y="171"/>
                  </a:lnTo>
                  <a:lnTo>
                    <a:pt x="369" y="167"/>
                  </a:lnTo>
                  <a:lnTo>
                    <a:pt x="367" y="167"/>
                  </a:lnTo>
                  <a:lnTo>
                    <a:pt x="369" y="158"/>
                  </a:lnTo>
                  <a:lnTo>
                    <a:pt x="363" y="156"/>
                  </a:lnTo>
                  <a:lnTo>
                    <a:pt x="361" y="158"/>
                  </a:lnTo>
                  <a:lnTo>
                    <a:pt x="353" y="161"/>
                  </a:lnTo>
                  <a:lnTo>
                    <a:pt x="353" y="167"/>
                  </a:lnTo>
                  <a:lnTo>
                    <a:pt x="352" y="167"/>
                  </a:lnTo>
                  <a:lnTo>
                    <a:pt x="352" y="169"/>
                  </a:lnTo>
                  <a:lnTo>
                    <a:pt x="346" y="169"/>
                  </a:lnTo>
                  <a:lnTo>
                    <a:pt x="338" y="165"/>
                  </a:lnTo>
                  <a:lnTo>
                    <a:pt x="336" y="169"/>
                  </a:lnTo>
                  <a:lnTo>
                    <a:pt x="334" y="167"/>
                  </a:lnTo>
                  <a:lnTo>
                    <a:pt x="332" y="171"/>
                  </a:lnTo>
                  <a:lnTo>
                    <a:pt x="325" y="171"/>
                  </a:lnTo>
                  <a:lnTo>
                    <a:pt x="323" y="173"/>
                  </a:lnTo>
                  <a:lnTo>
                    <a:pt x="321" y="169"/>
                  </a:lnTo>
                  <a:lnTo>
                    <a:pt x="315" y="165"/>
                  </a:lnTo>
                  <a:lnTo>
                    <a:pt x="311" y="167"/>
                  </a:lnTo>
                  <a:lnTo>
                    <a:pt x="305" y="169"/>
                  </a:lnTo>
                  <a:lnTo>
                    <a:pt x="300" y="167"/>
                  </a:lnTo>
                  <a:lnTo>
                    <a:pt x="298" y="165"/>
                  </a:lnTo>
                  <a:lnTo>
                    <a:pt x="294" y="165"/>
                  </a:lnTo>
                  <a:lnTo>
                    <a:pt x="290" y="161"/>
                  </a:lnTo>
                  <a:lnTo>
                    <a:pt x="288" y="161"/>
                  </a:lnTo>
                  <a:lnTo>
                    <a:pt x="284" y="156"/>
                  </a:lnTo>
                  <a:lnTo>
                    <a:pt x="282" y="154"/>
                  </a:lnTo>
                  <a:lnTo>
                    <a:pt x="282" y="150"/>
                  </a:lnTo>
                  <a:lnTo>
                    <a:pt x="279" y="146"/>
                  </a:lnTo>
                  <a:lnTo>
                    <a:pt x="277" y="140"/>
                  </a:lnTo>
                  <a:lnTo>
                    <a:pt x="279" y="136"/>
                  </a:lnTo>
                  <a:lnTo>
                    <a:pt x="277" y="133"/>
                  </a:lnTo>
                  <a:lnTo>
                    <a:pt x="277" y="129"/>
                  </a:lnTo>
                  <a:lnTo>
                    <a:pt x="275" y="129"/>
                  </a:lnTo>
                  <a:lnTo>
                    <a:pt x="275" y="125"/>
                  </a:lnTo>
                  <a:lnTo>
                    <a:pt x="281" y="123"/>
                  </a:lnTo>
                  <a:lnTo>
                    <a:pt x="281" y="117"/>
                  </a:lnTo>
                  <a:lnTo>
                    <a:pt x="282" y="113"/>
                  </a:lnTo>
                  <a:lnTo>
                    <a:pt x="286" y="108"/>
                  </a:lnTo>
                  <a:lnTo>
                    <a:pt x="290" y="108"/>
                  </a:lnTo>
                  <a:lnTo>
                    <a:pt x="292" y="104"/>
                  </a:lnTo>
                  <a:lnTo>
                    <a:pt x="302" y="106"/>
                  </a:lnTo>
                  <a:lnTo>
                    <a:pt x="305" y="104"/>
                  </a:lnTo>
                  <a:lnTo>
                    <a:pt x="305" y="100"/>
                  </a:lnTo>
                  <a:lnTo>
                    <a:pt x="309" y="100"/>
                  </a:lnTo>
                  <a:lnTo>
                    <a:pt x="311" y="98"/>
                  </a:lnTo>
                  <a:lnTo>
                    <a:pt x="311" y="96"/>
                  </a:lnTo>
                  <a:lnTo>
                    <a:pt x="315" y="90"/>
                  </a:lnTo>
                  <a:lnTo>
                    <a:pt x="321" y="88"/>
                  </a:lnTo>
                  <a:lnTo>
                    <a:pt x="323" y="85"/>
                  </a:lnTo>
                  <a:lnTo>
                    <a:pt x="332" y="81"/>
                  </a:lnTo>
                  <a:lnTo>
                    <a:pt x="336" y="75"/>
                  </a:lnTo>
                  <a:lnTo>
                    <a:pt x="344" y="75"/>
                  </a:lnTo>
                  <a:lnTo>
                    <a:pt x="348" y="69"/>
                  </a:lnTo>
                  <a:lnTo>
                    <a:pt x="355" y="69"/>
                  </a:lnTo>
                  <a:lnTo>
                    <a:pt x="363" y="63"/>
                  </a:lnTo>
                  <a:lnTo>
                    <a:pt x="367" y="58"/>
                  </a:lnTo>
                  <a:lnTo>
                    <a:pt x="373" y="54"/>
                  </a:lnTo>
                  <a:lnTo>
                    <a:pt x="380" y="54"/>
                  </a:lnTo>
                  <a:lnTo>
                    <a:pt x="380" y="50"/>
                  </a:lnTo>
                  <a:lnTo>
                    <a:pt x="390" y="50"/>
                  </a:lnTo>
                  <a:lnTo>
                    <a:pt x="392" y="46"/>
                  </a:lnTo>
                  <a:lnTo>
                    <a:pt x="400" y="44"/>
                  </a:lnTo>
                  <a:lnTo>
                    <a:pt x="405" y="40"/>
                  </a:lnTo>
                  <a:lnTo>
                    <a:pt x="411" y="40"/>
                  </a:lnTo>
                  <a:lnTo>
                    <a:pt x="413" y="37"/>
                  </a:lnTo>
                  <a:lnTo>
                    <a:pt x="421" y="35"/>
                  </a:lnTo>
                  <a:lnTo>
                    <a:pt x="423" y="33"/>
                  </a:lnTo>
                  <a:lnTo>
                    <a:pt x="423" y="29"/>
                  </a:lnTo>
                  <a:lnTo>
                    <a:pt x="424" y="27"/>
                  </a:lnTo>
                  <a:lnTo>
                    <a:pt x="428" y="27"/>
                  </a:lnTo>
                  <a:lnTo>
                    <a:pt x="430" y="23"/>
                  </a:lnTo>
                  <a:lnTo>
                    <a:pt x="438" y="21"/>
                  </a:lnTo>
                  <a:lnTo>
                    <a:pt x="440" y="19"/>
                  </a:lnTo>
                  <a:lnTo>
                    <a:pt x="448" y="21"/>
                  </a:lnTo>
                  <a:lnTo>
                    <a:pt x="451" y="21"/>
                  </a:lnTo>
                  <a:lnTo>
                    <a:pt x="451" y="15"/>
                  </a:lnTo>
                  <a:lnTo>
                    <a:pt x="453" y="14"/>
                  </a:lnTo>
                  <a:lnTo>
                    <a:pt x="451" y="12"/>
                  </a:lnTo>
                  <a:lnTo>
                    <a:pt x="451" y="8"/>
                  </a:lnTo>
                  <a:lnTo>
                    <a:pt x="453" y="8"/>
                  </a:lnTo>
                  <a:lnTo>
                    <a:pt x="461" y="10"/>
                  </a:lnTo>
                  <a:lnTo>
                    <a:pt x="459" y="4"/>
                  </a:lnTo>
                  <a:lnTo>
                    <a:pt x="465" y="4"/>
                  </a:lnTo>
                  <a:lnTo>
                    <a:pt x="469" y="6"/>
                  </a:lnTo>
                  <a:lnTo>
                    <a:pt x="471" y="2"/>
                  </a:lnTo>
                  <a:lnTo>
                    <a:pt x="480" y="0"/>
                  </a:lnTo>
                  <a:lnTo>
                    <a:pt x="484" y="6"/>
                  </a:lnTo>
                  <a:lnTo>
                    <a:pt x="488" y="4"/>
                  </a:lnTo>
                  <a:lnTo>
                    <a:pt x="490" y="8"/>
                  </a:lnTo>
                  <a:lnTo>
                    <a:pt x="495" y="10"/>
                  </a:lnTo>
                  <a:lnTo>
                    <a:pt x="501" y="14"/>
                  </a:lnTo>
                  <a:lnTo>
                    <a:pt x="505" y="14"/>
                  </a:lnTo>
                  <a:lnTo>
                    <a:pt x="507" y="10"/>
                  </a:lnTo>
                  <a:lnTo>
                    <a:pt x="513" y="12"/>
                  </a:lnTo>
                  <a:lnTo>
                    <a:pt x="515" y="8"/>
                  </a:lnTo>
                  <a:lnTo>
                    <a:pt x="519" y="8"/>
                  </a:lnTo>
                  <a:lnTo>
                    <a:pt x="519" y="10"/>
                  </a:lnTo>
                  <a:lnTo>
                    <a:pt x="520" y="8"/>
                  </a:lnTo>
                  <a:lnTo>
                    <a:pt x="522" y="12"/>
                  </a:lnTo>
                  <a:lnTo>
                    <a:pt x="528" y="12"/>
                  </a:lnTo>
                  <a:lnTo>
                    <a:pt x="532" y="19"/>
                  </a:lnTo>
                  <a:lnTo>
                    <a:pt x="538" y="17"/>
                  </a:lnTo>
                  <a:lnTo>
                    <a:pt x="542" y="19"/>
                  </a:lnTo>
                  <a:lnTo>
                    <a:pt x="542" y="23"/>
                  </a:lnTo>
                  <a:lnTo>
                    <a:pt x="545" y="21"/>
                  </a:lnTo>
                  <a:lnTo>
                    <a:pt x="547" y="21"/>
                  </a:lnTo>
                  <a:lnTo>
                    <a:pt x="545" y="25"/>
                  </a:lnTo>
                  <a:lnTo>
                    <a:pt x="547" y="29"/>
                  </a:lnTo>
                  <a:lnTo>
                    <a:pt x="545" y="31"/>
                  </a:lnTo>
                  <a:lnTo>
                    <a:pt x="545" y="33"/>
                  </a:lnTo>
                  <a:lnTo>
                    <a:pt x="547" y="33"/>
                  </a:lnTo>
                  <a:lnTo>
                    <a:pt x="547" y="35"/>
                  </a:lnTo>
                  <a:lnTo>
                    <a:pt x="549" y="35"/>
                  </a:lnTo>
                  <a:lnTo>
                    <a:pt x="551" y="39"/>
                  </a:lnTo>
                  <a:lnTo>
                    <a:pt x="553" y="40"/>
                  </a:lnTo>
                  <a:lnTo>
                    <a:pt x="551" y="46"/>
                  </a:lnTo>
                  <a:lnTo>
                    <a:pt x="555" y="46"/>
                  </a:lnTo>
                  <a:lnTo>
                    <a:pt x="557" y="44"/>
                  </a:lnTo>
                  <a:lnTo>
                    <a:pt x="565" y="48"/>
                  </a:lnTo>
                  <a:lnTo>
                    <a:pt x="563" y="48"/>
                  </a:lnTo>
                  <a:lnTo>
                    <a:pt x="563" y="52"/>
                  </a:lnTo>
                  <a:lnTo>
                    <a:pt x="565" y="52"/>
                  </a:lnTo>
                  <a:lnTo>
                    <a:pt x="559" y="58"/>
                  </a:lnTo>
                  <a:lnTo>
                    <a:pt x="559" y="60"/>
                  </a:lnTo>
                  <a:lnTo>
                    <a:pt x="557" y="62"/>
                  </a:lnTo>
                  <a:lnTo>
                    <a:pt x="557" y="60"/>
                  </a:lnTo>
                  <a:lnTo>
                    <a:pt x="555" y="63"/>
                  </a:lnTo>
                  <a:lnTo>
                    <a:pt x="553" y="71"/>
                  </a:lnTo>
                  <a:lnTo>
                    <a:pt x="545" y="67"/>
                  </a:lnTo>
                  <a:lnTo>
                    <a:pt x="547" y="71"/>
                  </a:lnTo>
                  <a:lnTo>
                    <a:pt x="543" y="73"/>
                  </a:lnTo>
                  <a:lnTo>
                    <a:pt x="545" y="77"/>
                  </a:lnTo>
                  <a:lnTo>
                    <a:pt x="542" y="77"/>
                  </a:lnTo>
                  <a:lnTo>
                    <a:pt x="540" y="81"/>
                  </a:lnTo>
                  <a:lnTo>
                    <a:pt x="545" y="85"/>
                  </a:lnTo>
                  <a:lnTo>
                    <a:pt x="543" y="88"/>
                  </a:lnTo>
                  <a:lnTo>
                    <a:pt x="540" y="90"/>
                  </a:lnTo>
                  <a:lnTo>
                    <a:pt x="540" y="94"/>
                  </a:lnTo>
                  <a:lnTo>
                    <a:pt x="538" y="96"/>
                  </a:lnTo>
                  <a:lnTo>
                    <a:pt x="538" y="98"/>
                  </a:lnTo>
                  <a:lnTo>
                    <a:pt x="532" y="104"/>
                  </a:lnTo>
                  <a:lnTo>
                    <a:pt x="532" y="108"/>
                  </a:lnTo>
                  <a:lnTo>
                    <a:pt x="530" y="108"/>
                  </a:lnTo>
                  <a:lnTo>
                    <a:pt x="528" y="110"/>
                  </a:lnTo>
                  <a:lnTo>
                    <a:pt x="528" y="111"/>
                  </a:lnTo>
                  <a:lnTo>
                    <a:pt x="530" y="111"/>
                  </a:lnTo>
                  <a:lnTo>
                    <a:pt x="530" y="115"/>
                  </a:lnTo>
                  <a:lnTo>
                    <a:pt x="528" y="117"/>
                  </a:lnTo>
                  <a:lnTo>
                    <a:pt x="526" y="113"/>
                  </a:lnTo>
                  <a:lnTo>
                    <a:pt x="524" y="113"/>
                  </a:lnTo>
                  <a:lnTo>
                    <a:pt x="522" y="115"/>
                  </a:lnTo>
                  <a:lnTo>
                    <a:pt x="524" y="115"/>
                  </a:lnTo>
                  <a:lnTo>
                    <a:pt x="522" y="115"/>
                  </a:lnTo>
                  <a:lnTo>
                    <a:pt x="520" y="121"/>
                  </a:lnTo>
                  <a:lnTo>
                    <a:pt x="517" y="121"/>
                  </a:lnTo>
                  <a:lnTo>
                    <a:pt x="517" y="125"/>
                  </a:lnTo>
                  <a:lnTo>
                    <a:pt x="522" y="127"/>
                  </a:lnTo>
                  <a:lnTo>
                    <a:pt x="522" y="129"/>
                  </a:lnTo>
                  <a:lnTo>
                    <a:pt x="522" y="136"/>
                  </a:lnTo>
                  <a:lnTo>
                    <a:pt x="515" y="138"/>
                  </a:lnTo>
                  <a:lnTo>
                    <a:pt x="513" y="136"/>
                  </a:lnTo>
                  <a:lnTo>
                    <a:pt x="505" y="142"/>
                  </a:lnTo>
                  <a:lnTo>
                    <a:pt x="503" y="140"/>
                  </a:lnTo>
                  <a:lnTo>
                    <a:pt x="501" y="140"/>
                  </a:lnTo>
                  <a:lnTo>
                    <a:pt x="499" y="142"/>
                  </a:lnTo>
                  <a:lnTo>
                    <a:pt x="488" y="140"/>
                  </a:lnTo>
                  <a:lnTo>
                    <a:pt x="486" y="144"/>
                  </a:lnTo>
                  <a:lnTo>
                    <a:pt x="484" y="142"/>
                  </a:lnTo>
                  <a:lnTo>
                    <a:pt x="480" y="144"/>
                  </a:lnTo>
                  <a:lnTo>
                    <a:pt x="482" y="152"/>
                  </a:lnTo>
                  <a:lnTo>
                    <a:pt x="480" y="152"/>
                  </a:lnTo>
                  <a:lnTo>
                    <a:pt x="476" y="156"/>
                  </a:lnTo>
                  <a:lnTo>
                    <a:pt x="474" y="154"/>
                  </a:lnTo>
                  <a:lnTo>
                    <a:pt x="471" y="160"/>
                  </a:lnTo>
                  <a:lnTo>
                    <a:pt x="469" y="161"/>
                  </a:lnTo>
                  <a:lnTo>
                    <a:pt x="467" y="163"/>
                  </a:lnTo>
                  <a:lnTo>
                    <a:pt x="471" y="165"/>
                  </a:lnTo>
                  <a:lnTo>
                    <a:pt x="471" y="167"/>
                  </a:lnTo>
                  <a:lnTo>
                    <a:pt x="469" y="169"/>
                  </a:lnTo>
                  <a:lnTo>
                    <a:pt x="472" y="171"/>
                  </a:lnTo>
                  <a:lnTo>
                    <a:pt x="472" y="173"/>
                  </a:lnTo>
                  <a:lnTo>
                    <a:pt x="474" y="175"/>
                  </a:lnTo>
                  <a:lnTo>
                    <a:pt x="472" y="177"/>
                  </a:lnTo>
                  <a:lnTo>
                    <a:pt x="478" y="179"/>
                  </a:lnTo>
                  <a:lnTo>
                    <a:pt x="476" y="183"/>
                  </a:lnTo>
                  <a:lnTo>
                    <a:pt x="484" y="184"/>
                  </a:lnTo>
                  <a:lnTo>
                    <a:pt x="480" y="186"/>
                  </a:lnTo>
                  <a:lnTo>
                    <a:pt x="482" y="190"/>
                  </a:lnTo>
                  <a:lnTo>
                    <a:pt x="478" y="188"/>
                  </a:lnTo>
                  <a:lnTo>
                    <a:pt x="474" y="192"/>
                  </a:lnTo>
                  <a:lnTo>
                    <a:pt x="471" y="194"/>
                  </a:lnTo>
                  <a:lnTo>
                    <a:pt x="471" y="202"/>
                  </a:lnTo>
                  <a:lnTo>
                    <a:pt x="463" y="209"/>
                  </a:lnTo>
                  <a:lnTo>
                    <a:pt x="457" y="211"/>
                  </a:lnTo>
                  <a:lnTo>
                    <a:pt x="451" y="217"/>
                  </a:lnTo>
                  <a:lnTo>
                    <a:pt x="457" y="225"/>
                  </a:lnTo>
                  <a:lnTo>
                    <a:pt x="457" y="231"/>
                  </a:lnTo>
                  <a:lnTo>
                    <a:pt x="461" y="236"/>
                  </a:lnTo>
                  <a:lnTo>
                    <a:pt x="463" y="238"/>
                  </a:lnTo>
                  <a:lnTo>
                    <a:pt x="461" y="242"/>
                  </a:lnTo>
                  <a:lnTo>
                    <a:pt x="463" y="244"/>
                  </a:lnTo>
                  <a:lnTo>
                    <a:pt x="461" y="250"/>
                  </a:lnTo>
                  <a:lnTo>
                    <a:pt x="455" y="254"/>
                  </a:lnTo>
                  <a:lnTo>
                    <a:pt x="459" y="256"/>
                  </a:lnTo>
                  <a:lnTo>
                    <a:pt x="459" y="259"/>
                  </a:lnTo>
                  <a:lnTo>
                    <a:pt x="461" y="259"/>
                  </a:lnTo>
                  <a:lnTo>
                    <a:pt x="461" y="263"/>
                  </a:lnTo>
                  <a:lnTo>
                    <a:pt x="469" y="267"/>
                  </a:lnTo>
                  <a:lnTo>
                    <a:pt x="469" y="269"/>
                  </a:lnTo>
                  <a:lnTo>
                    <a:pt x="471" y="269"/>
                  </a:lnTo>
                  <a:lnTo>
                    <a:pt x="467" y="275"/>
                  </a:lnTo>
                  <a:lnTo>
                    <a:pt x="472" y="282"/>
                  </a:lnTo>
                  <a:lnTo>
                    <a:pt x="476" y="281"/>
                  </a:lnTo>
                  <a:lnTo>
                    <a:pt x="478" y="277"/>
                  </a:lnTo>
                  <a:lnTo>
                    <a:pt x="482" y="275"/>
                  </a:lnTo>
                  <a:lnTo>
                    <a:pt x="482" y="273"/>
                  </a:lnTo>
                  <a:lnTo>
                    <a:pt x="486" y="269"/>
                  </a:lnTo>
                  <a:lnTo>
                    <a:pt x="494" y="273"/>
                  </a:lnTo>
                  <a:lnTo>
                    <a:pt x="497" y="279"/>
                  </a:lnTo>
                  <a:lnTo>
                    <a:pt x="497" y="281"/>
                  </a:lnTo>
                  <a:lnTo>
                    <a:pt x="499" y="281"/>
                  </a:lnTo>
                  <a:lnTo>
                    <a:pt x="503" y="286"/>
                  </a:lnTo>
                  <a:lnTo>
                    <a:pt x="507" y="286"/>
                  </a:lnTo>
                  <a:lnTo>
                    <a:pt x="509" y="284"/>
                  </a:lnTo>
                  <a:lnTo>
                    <a:pt x="511" y="286"/>
                  </a:lnTo>
                  <a:lnTo>
                    <a:pt x="513" y="282"/>
                  </a:lnTo>
                  <a:lnTo>
                    <a:pt x="515" y="290"/>
                  </a:lnTo>
                  <a:lnTo>
                    <a:pt x="517" y="292"/>
                  </a:lnTo>
                  <a:lnTo>
                    <a:pt x="519" y="288"/>
                  </a:lnTo>
                  <a:lnTo>
                    <a:pt x="519" y="290"/>
                  </a:lnTo>
                  <a:lnTo>
                    <a:pt x="520" y="288"/>
                  </a:lnTo>
                  <a:lnTo>
                    <a:pt x="524" y="288"/>
                  </a:lnTo>
                  <a:lnTo>
                    <a:pt x="524" y="284"/>
                  </a:lnTo>
                  <a:lnTo>
                    <a:pt x="528" y="282"/>
                  </a:lnTo>
                  <a:lnTo>
                    <a:pt x="528" y="279"/>
                  </a:lnTo>
                  <a:lnTo>
                    <a:pt x="536" y="273"/>
                  </a:lnTo>
                  <a:lnTo>
                    <a:pt x="538" y="265"/>
                  </a:lnTo>
                  <a:lnTo>
                    <a:pt x="536" y="263"/>
                  </a:lnTo>
                  <a:lnTo>
                    <a:pt x="532" y="263"/>
                  </a:lnTo>
                  <a:lnTo>
                    <a:pt x="530" y="261"/>
                  </a:lnTo>
                  <a:lnTo>
                    <a:pt x="530" y="257"/>
                  </a:lnTo>
                  <a:lnTo>
                    <a:pt x="532" y="259"/>
                  </a:lnTo>
                  <a:lnTo>
                    <a:pt x="536" y="257"/>
                  </a:lnTo>
                  <a:lnTo>
                    <a:pt x="534" y="257"/>
                  </a:lnTo>
                  <a:lnTo>
                    <a:pt x="534" y="252"/>
                  </a:lnTo>
                  <a:lnTo>
                    <a:pt x="532" y="250"/>
                  </a:lnTo>
                  <a:lnTo>
                    <a:pt x="528" y="244"/>
                  </a:lnTo>
                  <a:lnTo>
                    <a:pt x="526" y="242"/>
                  </a:lnTo>
                  <a:lnTo>
                    <a:pt x="524" y="244"/>
                  </a:lnTo>
                  <a:lnTo>
                    <a:pt x="522" y="244"/>
                  </a:lnTo>
                  <a:lnTo>
                    <a:pt x="517" y="248"/>
                  </a:lnTo>
                  <a:lnTo>
                    <a:pt x="513" y="246"/>
                  </a:lnTo>
                  <a:lnTo>
                    <a:pt x="513" y="240"/>
                  </a:lnTo>
                  <a:lnTo>
                    <a:pt x="517" y="234"/>
                  </a:lnTo>
                  <a:lnTo>
                    <a:pt x="515" y="227"/>
                  </a:lnTo>
                  <a:lnTo>
                    <a:pt x="517" y="223"/>
                  </a:lnTo>
                  <a:lnTo>
                    <a:pt x="515" y="219"/>
                  </a:lnTo>
                  <a:lnTo>
                    <a:pt x="509" y="215"/>
                  </a:lnTo>
                  <a:lnTo>
                    <a:pt x="505" y="213"/>
                  </a:lnTo>
                  <a:lnTo>
                    <a:pt x="505" y="209"/>
                  </a:lnTo>
                  <a:lnTo>
                    <a:pt x="501" y="208"/>
                  </a:lnTo>
                  <a:lnTo>
                    <a:pt x="501" y="206"/>
                  </a:lnTo>
                  <a:lnTo>
                    <a:pt x="503" y="198"/>
                  </a:lnTo>
                  <a:lnTo>
                    <a:pt x="501" y="194"/>
                  </a:lnTo>
                  <a:lnTo>
                    <a:pt x="497" y="192"/>
                  </a:lnTo>
                  <a:lnTo>
                    <a:pt x="499" y="186"/>
                  </a:lnTo>
                  <a:lnTo>
                    <a:pt x="495" y="181"/>
                  </a:lnTo>
                  <a:lnTo>
                    <a:pt x="495" y="175"/>
                  </a:lnTo>
                  <a:lnTo>
                    <a:pt x="492" y="173"/>
                  </a:lnTo>
                  <a:lnTo>
                    <a:pt x="492" y="171"/>
                  </a:lnTo>
                  <a:lnTo>
                    <a:pt x="488" y="171"/>
                  </a:lnTo>
                  <a:lnTo>
                    <a:pt x="482" y="175"/>
                  </a:lnTo>
                  <a:lnTo>
                    <a:pt x="482" y="171"/>
                  </a:lnTo>
                  <a:lnTo>
                    <a:pt x="482" y="169"/>
                  </a:lnTo>
                  <a:lnTo>
                    <a:pt x="486" y="171"/>
                  </a:lnTo>
                  <a:lnTo>
                    <a:pt x="488" y="167"/>
                  </a:lnTo>
                  <a:lnTo>
                    <a:pt x="490" y="171"/>
                  </a:lnTo>
                  <a:lnTo>
                    <a:pt x="492" y="171"/>
                  </a:lnTo>
                  <a:lnTo>
                    <a:pt x="494" y="167"/>
                  </a:lnTo>
                  <a:lnTo>
                    <a:pt x="492" y="163"/>
                  </a:lnTo>
                  <a:lnTo>
                    <a:pt x="497" y="165"/>
                  </a:lnTo>
                  <a:lnTo>
                    <a:pt x="497" y="163"/>
                  </a:lnTo>
                  <a:lnTo>
                    <a:pt x="495" y="161"/>
                  </a:lnTo>
                  <a:lnTo>
                    <a:pt x="495" y="160"/>
                  </a:lnTo>
                  <a:lnTo>
                    <a:pt x="499" y="161"/>
                  </a:lnTo>
                  <a:lnTo>
                    <a:pt x="501" y="158"/>
                  </a:lnTo>
                  <a:lnTo>
                    <a:pt x="503" y="160"/>
                  </a:lnTo>
                  <a:lnTo>
                    <a:pt x="503" y="156"/>
                  </a:lnTo>
                  <a:lnTo>
                    <a:pt x="505" y="156"/>
                  </a:lnTo>
                  <a:lnTo>
                    <a:pt x="511" y="156"/>
                  </a:lnTo>
                  <a:lnTo>
                    <a:pt x="507" y="160"/>
                  </a:lnTo>
                  <a:lnTo>
                    <a:pt x="511" y="163"/>
                  </a:lnTo>
                  <a:lnTo>
                    <a:pt x="511" y="165"/>
                  </a:lnTo>
                  <a:lnTo>
                    <a:pt x="517" y="165"/>
                  </a:lnTo>
                  <a:lnTo>
                    <a:pt x="517" y="160"/>
                  </a:lnTo>
                  <a:lnTo>
                    <a:pt x="515" y="160"/>
                  </a:lnTo>
                  <a:lnTo>
                    <a:pt x="515" y="158"/>
                  </a:lnTo>
                  <a:lnTo>
                    <a:pt x="522" y="158"/>
                  </a:lnTo>
                  <a:lnTo>
                    <a:pt x="520" y="156"/>
                  </a:lnTo>
                  <a:lnTo>
                    <a:pt x="517" y="156"/>
                  </a:lnTo>
                  <a:lnTo>
                    <a:pt x="513" y="152"/>
                  </a:lnTo>
                  <a:lnTo>
                    <a:pt x="515" y="150"/>
                  </a:lnTo>
                  <a:lnTo>
                    <a:pt x="517" y="152"/>
                  </a:lnTo>
                  <a:lnTo>
                    <a:pt x="520" y="150"/>
                  </a:lnTo>
                  <a:lnTo>
                    <a:pt x="522" y="152"/>
                  </a:lnTo>
                  <a:lnTo>
                    <a:pt x="526" y="154"/>
                  </a:lnTo>
                  <a:lnTo>
                    <a:pt x="522" y="154"/>
                  </a:lnTo>
                  <a:lnTo>
                    <a:pt x="522" y="156"/>
                  </a:lnTo>
                  <a:lnTo>
                    <a:pt x="526" y="156"/>
                  </a:lnTo>
                  <a:lnTo>
                    <a:pt x="528" y="154"/>
                  </a:lnTo>
                  <a:lnTo>
                    <a:pt x="524" y="148"/>
                  </a:lnTo>
                  <a:lnTo>
                    <a:pt x="530" y="146"/>
                  </a:lnTo>
                  <a:lnTo>
                    <a:pt x="530" y="142"/>
                  </a:lnTo>
                  <a:lnTo>
                    <a:pt x="534" y="144"/>
                  </a:lnTo>
                  <a:lnTo>
                    <a:pt x="536" y="142"/>
                  </a:lnTo>
                  <a:lnTo>
                    <a:pt x="538" y="144"/>
                  </a:lnTo>
                  <a:lnTo>
                    <a:pt x="534" y="146"/>
                  </a:lnTo>
                  <a:lnTo>
                    <a:pt x="536" y="150"/>
                  </a:lnTo>
                  <a:lnTo>
                    <a:pt x="532" y="154"/>
                  </a:lnTo>
                  <a:lnTo>
                    <a:pt x="536" y="156"/>
                  </a:lnTo>
                  <a:lnTo>
                    <a:pt x="538" y="156"/>
                  </a:lnTo>
                  <a:lnTo>
                    <a:pt x="540" y="161"/>
                  </a:lnTo>
                  <a:lnTo>
                    <a:pt x="536" y="165"/>
                  </a:lnTo>
                  <a:lnTo>
                    <a:pt x="530" y="161"/>
                  </a:lnTo>
                  <a:lnTo>
                    <a:pt x="536" y="161"/>
                  </a:lnTo>
                  <a:lnTo>
                    <a:pt x="538" y="160"/>
                  </a:lnTo>
                  <a:lnTo>
                    <a:pt x="530" y="161"/>
                  </a:lnTo>
                  <a:lnTo>
                    <a:pt x="524" y="169"/>
                  </a:lnTo>
                  <a:lnTo>
                    <a:pt x="520" y="169"/>
                  </a:lnTo>
                  <a:lnTo>
                    <a:pt x="519" y="171"/>
                  </a:lnTo>
                  <a:lnTo>
                    <a:pt x="522" y="169"/>
                  </a:lnTo>
                  <a:lnTo>
                    <a:pt x="520" y="173"/>
                  </a:lnTo>
                  <a:lnTo>
                    <a:pt x="524" y="179"/>
                  </a:lnTo>
                  <a:lnTo>
                    <a:pt x="528" y="173"/>
                  </a:lnTo>
                  <a:lnTo>
                    <a:pt x="526" y="169"/>
                  </a:lnTo>
                  <a:lnTo>
                    <a:pt x="528" y="165"/>
                  </a:lnTo>
                  <a:lnTo>
                    <a:pt x="536" y="167"/>
                  </a:lnTo>
                  <a:lnTo>
                    <a:pt x="538" y="173"/>
                  </a:lnTo>
                  <a:lnTo>
                    <a:pt x="536" y="173"/>
                  </a:lnTo>
                  <a:lnTo>
                    <a:pt x="536" y="175"/>
                  </a:lnTo>
                  <a:lnTo>
                    <a:pt x="532" y="173"/>
                  </a:lnTo>
                  <a:lnTo>
                    <a:pt x="530" y="177"/>
                  </a:lnTo>
                  <a:lnTo>
                    <a:pt x="528" y="175"/>
                  </a:lnTo>
                  <a:lnTo>
                    <a:pt x="528" y="179"/>
                  </a:lnTo>
                  <a:lnTo>
                    <a:pt x="530" y="179"/>
                  </a:lnTo>
                  <a:lnTo>
                    <a:pt x="528" y="183"/>
                  </a:lnTo>
                  <a:lnTo>
                    <a:pt x="528" y="184"/>
                  </a:lnTo>
                  <a:lnTo>
                    <a:pt x="530" y="184"/>
                  </a:lnTo>
                  <a:lnTo>
                    <a:pt x="534" y="179"/>
                  </a:lnTo>
                  <a:lnTo>
                    <a:pt x="538" y="179"/>
                  </a:lnTo>
                  <a:lnTo>
                    <a:pt x="542" y="183"/>
                  </a:lnTo>
                  <a:lnTo>
                    <a:pt x="542" y="179"/>
                  </a:lnTo>
                  <a:lnTo>
                    <a:pt x="540" y="177"/>
                  </a:lnTo>
                  <a:lnTo>
                    <a:pt x="540" y="173"/>
                  </a:lnTo>
                  <a:lnTo>
                    <a:pt x="542" y="173"/>
                  </a:lnTo>
                  <a:lnTo>
                    <a:pt x="543" y="177"/>
                  </a:lnTo>
                  <a:lnTo>
                    <a:pt x="547" y="179"/>
                  </a:lnTo>
                  <a:lnTo>
                    <a:pt x="547" y="183"/>
                  </a:lnTo>
                  <a:lnTo>
                    <a:pt x="545" y="181"/>
                  </a:lnTo>
                  <a:lnTo>
                    <a:pt x="543" y="183"/>
                  </a:lnTo>
                  <a:lnTo>
                    <a:pt x="543" y="188"/>
                  </a:lnTo>
                  <a:lnTo>
                    <a:pt x="545" y="188"/>
                  </a:lnTo>
                  <a:lnTo>
                    <a:pt x="551" y="183"/>
                  </a:lnTo>
                  <a:lnTo>
                    <a:pt x="555" y="186"/>
                  </a:lnTo>
                  <a:lnTo>
                    <a:pt x="553" y="188"/>
                  </a:lnTo>
                  <a:lnTo>
                    <a:pt x="555" y="190"/>
                  </a:lnTo>
                  <a:lnTo>
                    <a:pt x="561" y="190"/>
                  </a:lnTo>
                  <a:lnTo>
                    <a:pt x="559" y="188"/>
                  </a:lnTo>
                  <a:lnTo>
                    <a:pt x="561" y="186"/>
                  </a:lnTo>
                  <a:lnTo>
                    <a:pt x="563" y="190"/>
                  </a:lnTo>
                  <a:lnTo>
                    <a:pt x="567" y="190"/>
                  </a:lnTo>
                  <a:lnTo>
                    <a:pt x="567" y="188"/>
                  </a:lnTo>
                  <a:lnTo>
                    <a:pt x="565" y="186"/>
                  </a:lnTo>
                  <a:lnTo>
                    <a:pt x="567" y="186"/>
                  </a:lnTo>
                  <a:lnTo>
                    <a:pt x="568" y="186"/>
                  </a:lnTo>
                  <a:lnTo>
                    <a:pt x="568" y="190"/>
                  </a:lnTo>
                  <a:lnTo>
                    <a:pt x="574" y="188"/>
                  </a:lnTo>
                  <a:lnTo>
                    <a:pt x="576" y="186"/>
                  </a:lnTo>
                  <a:lnTo>
                    <a:pt x="570" y="183"/>
                  </a:lnTo>
                  <a:lnTo>
                    <a:pt x="572" y="177"/>
                  </a:lnTo>
                  <a:lnTo>
                    <a:pt x="578" y="181"/>
                  </a:lnTo>
                  <a:lnTo>
                    <a:pt x="578" y="175"/>
                  </a:lnTo>
                  <a:lnTo>
                    <a:pt x="574" y="175"/>
                  </a:lnTo>
                  <a:lnTo>
                    <a:pt x="572" y="173"/>
                  </a:lnTo>
                  <a:lnTo>
                    <a:pt x="570" y="175"/>
                  </a:lnTo>
                  <a:lnTo>
                    <a:pt x="568" y="173"/>
                  </a:lnTo>
                  <a:lnTo>
                    <a:pt x="570" y="169"/>
                  </a:lnTo>
                  <a:lnTo>
                    <a:pt x="574" y="167"/>
                  </a:lnTo>
                  <a:lnTo>
                    <a:pt x="578" y="167"/>
                  </a:lnTo>
                  <a:lnTo>
                    <a:pt x="578" y="171"/>
                  </a:lnTo>
                  <a:lnTo>
                    <a:pt x="580" y="175"/>
                  </a:lnTo>
                  <a:lnTo>
                    <a:pt x="582" y="173"/>
                  </a:lnTo>
                  <a:lnTo>
                    <a:pt x="582" y="171"/>
                  </a:lnTo>
                  <a:lnTo>
                    <a:pt x="586" y="175"/>
                  </a:lnTo>
                  <a:lnTo>
                    <a:pt x="588" y="175"/>
                  </a:lnTo>
                  <a:lnTo>
                    <a:pt x="591" y="173"/>
                  </a:lnTo>
                  <a:lnTo>
                    <a:pt x="593" y="173"/>
                  </a:lnTo>
                  <a:lnTo>
                    <a:pt x="591" y="175"/>
                  </a:lnTo>
                  <a:lnTo>
                    <a:pt x="588" y="179"/>
                  </a:lnTo>
                  <a:lnTo>
                    <a:pt x="588" y="181"/>
                  </a:lnTo>
                  <a:lnTo>
                    <a:pt x="586" y="181"/>
                  </a:lnTo>
                  <a:lnTo>
                    <a:pt x="582" y="184"/>
                  </a:lnTo>
                  <a:lnTo>
                    <a:pt x="582" y="186"/>
                  </a:lnTo>
                  <a:lnTo>
                    <a:pt x="584" y="190"/>
                  </a:lnTo>
                  <a:lnTo>
                    <a:pt x="586" y="190"/>
                  </a:lnTo>
                  <a:lnTo>
                    <a:pt x="586" y="188"/>
                  </a:lnTo>
                  <a:lnTo>
                    <a:pt x="588" y="188"/>
                  </a:lnTo>
                  <a:lnTo>
                    <a:pt x="588" y="192"/>
                  </a:lnTo>
                  <a:lnTo>
                    <a:pt x="591" y="188"/>
                  </a:lnTo>
                  <a:lnTo>
                    <a:pt x="590" y="194"/>
                  </a:lnTo>
                  <a:lnTo>
                    <a:pt x="593" y="194"/>
                  </a:lnTo>
                  <a:lnTo>
                    <a:pt x="597" y="192"/>
                  </a:lnTo>
                  <a:lnTo>
                    <a:pt x="597" y="188"/>
                  </a:lnTo>
                  <a:lnTo>
                    <a:pt x="601" y="184"/>
                  </a:lnTo>
                  <a:lnTo>
                    <a:pt x="605" y="186"/>
                  </a:lnTo>
                  <a:lnTo>
                    <a:pt x="605" y="188"/>
                  </a:lnTo>
                  <a:lnTo>
                    <a:pt x="607" y="188"/>
                  </a:lnTo>
                  <a:lnTo>
                    <a:pt x="613" y="190"/>
                  </a:lnTo>
                  <a:lnTo>
                    <a:pt x="620" y="188"/>
                  </a:lnTo>
                  <a:lnTo>
                    <a:pt x="628" y="192"/>
                  </a:lnTo>
                  <a:lnTo>
                    <a:pt x="632" y="192"/>
                  </a:lnTo>
                  <a:lnTo>
                    <a:pt x="632" y="190"/>
                  </a:lnTo>
                  <a:lnTo>
                    <a:pt x="634" y="186"/>
                  </a:lnTo>
                  <a:lnTo>
                    <a:pt x="632" y="181"/>
                  </a:lnTo>
                  <a:lnTo>
                    <a:pt x="634" y="179"/>
                  </a:lnTo>
                  <a:lnTo>
                    <a:pt x="632" y="177"/>
                  </a:lnTo>
                  <a:lnTo>
                    <a:pt x="638" y="175"/>
                  </a:lnTo>
                  <a:lnTo>
                    <a:pt x="639" y="179"/>
                  </a:lnTo>
                  <a:lnTo>
                    <a:pt x="641" y="173"/>
                  </a:lnTo>
                  <a:lnTo>
                    <a:pt x="647" y="173"/>
                  </a:lnTo>
                  <a:lnTo>
                    <a:pt x="647" y="171"/>
                  </a:lnTo>
                  <a:lnTo>
                    <a:pt x="649" y="169"/>
                  </a:lnTo>
                  <a:lnTo>
                    <a:pt x="651" y="165"/>
                  </a:lnTo>
                  <a:lnTo>
                    <a:pt x="657" y="165"/>
                  </a:lnTo>
                  <a:lnTo>
                    <a:pt x="657" y="163"/>
                  </a:lnTo>
                  <a:lnTo>
                    <a:pt x="662" y="165"/>
                  </a:lnTo>
                  <a:lnTo>
                    <a:pt x="666" y="161"/>
                  </a:lnTo>
                  <a:lnTo>
                    <a:pt x="668" y="161"/>
                  </a:lnTo>
                  <a:lnTo>
                    <a:pt x="670" y="158"/>
                  </a:lnTo>
                  <a:lnTo>
                    <a:pt x="672" y="160"/>
                  </a:lnTo>
                  <a:lnTo>
                    <a:pt x="676" y="160"/>
                  </a:lnTo>
                  <a:lnTo>
                    <a:pt x="676" y="158"/>
                  </a:lnTo>
                  <a:lnTo>
                    <a:pt x="682" y="161"/>
                  </a:lnTo>
                  <a:lnTo>
                    <a:pt x="682" y="165"/>
                  </a:lnTo>
                  <a:lnTo>
                    <a:pt x="682" y="167"/>
                  </a:lnTo>
                  <a:lnTo>
                    <a:pt x="682" y="171"/>
                  </a:lnTo>
                  <a:lnTo>
                    <a:pt x="686" y="173"/>
                  </a:lnTo>
                  <a:lnTo>
                    <a:pt x="687" y="177"/>
                  </a:lnTo>
                  <a:lnTo>
                    <a:pt x="689" y="177"/>
                  </a:lnTo>
                  <a:lnTo>
                    <a:pt x="693" y="184"/>
                  </a:lnTo>
                  <a:lnTo>
                    <a:pt x="686" y="186"/>
                  </a:lnTo>
                  <a:lnTo>
                    <a:pt x="682" y="194"/>
                  </a:lnTo>
                  <a:lnTo>
                    <a:pt x="678" y="196"/>
                  </a:lnTo>
                  <a:lnTo>
                    <a:pt x="676" y="200"/>
                  </a:lnTo>
                  <a:lnTo>
                    <a:pt x="682" y="204"/>
                  </a:lnTo>
                  <a:lnTo>
                    <a:pt x="686" y="200"/>
                  </a:lnTo>
                  <a:lnTo>
                    <a:pt x="687" y="202"/>
                  </a:lnTo>
                  <a:lnTo>
                    <a:pt x="689" y="202"/>
                  </a:lnTo>
                  <a:lnTo>
                    <a:pt x="687" y="200"/>
                  </a:lnTo>
                  <a:lnTo>
                    <a:pt x="687" y="198"/>
                  </a:lnTo>
                  <a:lnTo>
                    <a:pt x="693" y="194"/>
                  </a:lnTo>
                  <a:lnTo>
                    <a:pt x="697" y="198"/>
                  </a:lnTo>
                  <a:lnTo>
                    <a:pt x="701" y="198"/>
                  </a:lnTo>
                  <a:lnTo>
                    <a:pt x="695" y="198"/>
                  </a:lnTo>
                  <a:lnTo>
                    <a:pt x="693" y="200"/>
                  </a:lnTo>
                  <a:lnTo>
                    <a:pt x="695" y="202"/>
                  </a:lnTo>
                  <a:lnTo>
                    <a:pt x="695" y="206"/>
                  </a:lnTo>
                  <a:lnTo>
                    <a:pt x="697" y="206"/>
                  </a:lnTo>
                  <a:lnTo>
                    <a:pt x="697" y="202"/>
                  </a:lnTo>
                  <a:lnTo>
                    <a:pt x="705" y="202"/>
                  </a:lnTo>
                  <a:lnTo>
                    <a:pt x="705" y="200"/>
                  </a:lnTo>
                  <a:lnTo>
                    <a:pt x="701" y="198"/>
                  </a:lnTo>
                  <a:lnTo>
                    <a:pt x="701" y="194"/>
                  </a:lnTo>
                  <a:lnTo>
                    <a:pt x="699" y="192"/>
                  </a:lnTo>
                  <a:lnTo>
                    <a:pt x="703" y="192"/>
                  </a:lnTo>
                  <a:lnTo>
                    <a:pt x="705" y="196"/>
                  </a:lnTo>
                  <a:lnTo>
                    <a:pt x="709" y="194"/>
                  </a:lnTo>
                  <a:lnTo>
                    <a:pt x="712" y="196"/>
                  </a:lnTo>
                  <a:lnTo>
                    <a:pt x="710" y="192"/>
                  </a:lnTo>
                  <a:lnTo>
                    <a:pt x="712" y="186"/>
                  </a:lnTo>
                  <a:lnTo>
                    <a:pt x="712" y="188"/>
                  </a:lnTo>
                  <a:lnTo>
                    <a:pt x="714" y="190"/>
                  </a:lnTo>
                  <a:lnTo>
                    <a:pt x="712" y="192"/>
                  </a:lnTo>
                  <a:lnTo>
                    <a:pt x="716" y="194"/>
                  </a:lnTo>
                  <a:lnTo>
                    <a:pt x="716" y="196"/>
                  </a:lnTo>
                  <a:lnTo>
                    <a:pt x="720" y="194"/>
                  </a:lnTo>
                  <a:lnTo>
                    <a:pt x="718" y="198"/>
                  </a:lnTo>
                  <a:lnTo>
                    <a:pt x="726" y="196"/>
                  </a:lnTo>
                  <a:lnTo>
                    <a:pt x="730" y="196"/>
                  </a:lnTo>
                  <a:lnTo>
                    <a:pt x="730" y="194"/>
                  </a:lnTo>
                  <a:lnTo>
                    <a:pt x="724" y="192"/>
                  </a:lnTo>
                  <a:lnTo>
                    <a:pt x="726" y="190"/>
                  </a:lnTo>
                  <a:lnTo>
                    <a:pt x="722" y="188"/>
                  </a:lnTo>
                  <a:lnTo>
                    <a:pt x="724" y="186"/>
                  </a:lnTo>
                  <a:lnTo>
                    <a:pt x="726" y="188"/>
                  </a:lnTo>
                  <a:lnTo>
                    <a:pt x="733" y="186"/>
                  </a:lnTo>
                  <a:lnTo>
                    <a:pt x="735" y="190"/>
                  </a:lnTo>
                  <a:lnTo>
                    <a:pt x="737" y="183"/>
                  </a:lnTo>
                  <a:lnTo>
                    <a:pt x="741" y="183"/>
                  </a:lnTo>
                  <a:lnTo>
                    <a:pt x="745" y="184"/>
                  </a:lnTo>
                  <a:lnTo>
                    <a:pt x="739" y="190"/>
                  </a:lnTo>
                  <a:lnTo>
                    <a:pt x="741" y="196"/>
                  </a:lnTo>
                  <a:lnTo>
                    <a:pt x="735" y="200"/>
                  </a:lnTo>
                  <a:lnTo>
                    <a:pt x="737" y="204"/>
                  </a:lnTo>
                  <a:lnTo>
                    <a:pt x="735" y="206"/>
                  </a:lnTo>
                  <a:lnTo>
                    <a:pt x="732" y="206"/>
                  </a:lnTo>
                  <a:lnTo>
                    <a:pt x="732" y="209"/>
                  </a:lnTo>
                  <a:lnTo>
                    <a:pt x="743" y="209"/>
                  </a:lnTo>
                  <a:lnTo>
                    <a:pt x="743" y="208"/>
                  </a:lnTo>
                  <a:lnTo>
                    <a:pt x="747" y="206"/>
                  </a:lnTo>
                  <a:lnTo>
                    <a:pt x="749" y="211"/>
                  </a:lnTo>
                  <a:lnTo>
                    <a:pt x="751" y="209"/>
                  </a:lnTo>
                  <a:lnTo>
                    <a:pt x="755" y="211"/>
                  </a:lnTo>
                  <a:lnTo>
                    <a:pt x="755" y="208"/>
                  </a:lnTo>
                  <a:lnTo>
                    <a:pt x="762" y="208"/>
                  </a:lnTo>
                  <a:lnTo>
                    <a:pt x="768" y="215"/>
                  </a:lnTo>
                  <a:lnTo>
                    <a:pt x="770" y="208"/>
                  </a:lnTo>
                  <a:lnTo>
                    <a:pt x="774" y="209"/>
                  </a:lnTo>
                  <a:lnTo>
                    <a:pt x="774" y="211"/>
                  </a:lnTo>
                  <a:lnTo>
                    <a:pt x="776" y="209"/>
                  </a:lnTo>
                  <a:lnTo>
                    <a:pt x="776" y="204"/>
                  </a:lnTo>
                  <a:lnTo>
                    <a:pt x="781" y="196"/>
                  </a:lnTo>
                  <a:lnTo>
                    <a:pt x="780" y="192"/>
                  </a:lnTo>
                  <a:lnTo>
                    <a:pt x="783" y="184"/>
                  </a:lnTo>
                  <a:lnTo>
                    <a:pt x="787" y="184"/>
                  </a:lnTo>
                  <a:lnTo>
                    <a:pt x="787" y="190"/>
                  </a:lnTo>
                  <a:lnTo>
                    <a:pt x="787" y="186"/>
                  </a:lnTo>
                  <a:lnTo>
                    <a:pt x="789" y="184"/>
                  </a:lnTo>
                  <a:lnTo>
                    <a:pt x="797" y="190"/>
                  </a:lnTo>
                  <a:lnTo>
                    <a:pt x="801" y="188"/>
                  </a:lnTo>
                  <a:lnTo>
                    <a:pt x="801" y="190"/>
                  </a:lnTo>
                  <a:lnTo>
                    <a:pt x="799" y="192"/>
                  </a:lnTo>
                  <a:lnTo>
                    <a:pt x="806" y="194"/>
                  </a:lnTo>
                  <a:lnTo>
                    <a:pt x="808" y="192"/>
                  </a:lnTo>
                  <a:lnTo>
                    <a:pt x="806" y="190"/>
                  </a:lnTo>
                  <a:lnTo>
                    <a:pt x="804" y="188"/>
                  </a:lnTo>
                  <a:lnTo>
                    <a:pt x="806" y="188"/>
                  </a:lnTo>
                  <a:lnTo>
                    <a:pt x="806" y="186"/>
                  </a:lnTo>
                  <a:lnTo>
                    <a:pt x="810" y="188"/>
                  </a:lnTo>
                  <a:lnTo>
                    <a:pt x="810" y="186"/>
                  </a:lnTo>
                  <a:lnTo>
                    <a:pt x="808" y="183"/>
                  </a:lnTo>
                  <a:lnTo>
                    <a:pt x="816" y="183"/>
                  </a:lnTo>
                  <a:lnTo>
                    <a:pt x="818" y="183"/>
                  </a:lnTo>
                  <a:lnTo>
                    <a:pt x="816" y="184"/>
                  </a:lnTo>
                  <a:lnTo>
                    <a:pt x="820" y="186"/>
                  </a:lnTo>
                  <a:lnTo>
                    <a:pt x="818" y="188"/>
                  </a:lnTo>
                  <a:lnTo>
                    <a:pt x="818" y="192"/>
                  </a:lnTo>
                  <a:lnTo>
                    <a:pt x="822" y="190"/>
                  </a:lnTo>
                  <a:lnTo>
                    <a:pt x="822" y="192"/>
                  </a:lnTo>
                  <a:lnTo>
                    <a:pt x="818" y="194"/>
                  </a:lnTo>
                  <a:lnTo>
                    <a:pt x="818" y="196"/>
                  </a:lnTo>
                  <a:lnTo>
                    <a:pt x="824" y="194"/>
                  </a:lnTo>
                  <a:lnTo>
                    <a:pt x="826" y="198"/>
                  </a:lnTo>
                  <a:lnTo>
                    <a:pt x="833" y="200"/>
                  </a:lnTo>
                  <a:lnTo>
                    <a:pt x="839" y="202"/>
                  </a:lnTo>
                  <a:lnTo>
                    <a:pt x="843" y="202"/>
                  </a:lnTo>
                  <a:lnTo>
                    <a:pt x="847" y="204"/>
                  </a:lnTo>
                  <a:lnTo>
                    <a:pt x="849" y="206"/>
                  </a:lnTo>
                  <a:lnTo>
                    <a:pt x="851" y="211"/>
                  </a:lnTo>
                  <a:lnTo>
                    <a:pt x="849" y="215"/>
                  </a:lnTo>
                  <a:lnTo>
                    <a:pt x="852" y="217"/>
                  </a:lnTo>
                  <a:lnTo>
                    <a:pt x="852" y="219"/>
                  </a:lnTo>
                  <a:lnTo>
                    <a:pt x="856" y="221"/>
                  </a:lnTo>
                  <a:lnTo>
                    <a:pt x="860" y="219"/>
                  </a:lnTo>
                  <a:lnTo>
                    <a:pt x="868" y="223"/>
                  </a:lnTo>
                  <a:lnTo>
                    <a:pt x="872" y="227"/>
                  </a:lnTo>
                  <a:lnTo>
                    <a:pt x="874" y="225"/>
                  </a:lnTo>
                  <a:lnTo>
                    <a:pt x="877" y="227"/>
                  </a:lnTo>
                  <a:lnTo>
                    <a:pt x="877" y="223"/>
                  </a:lnTo>
                  <a:lnTo>
                    <a:pt x="879" y="223"/>
                  </a:lnTo>
                  <a:lnTo>
                    <a:pt x="877" y="225"/>
                  </a:lnTo>
                  <a:lnTo>
                    <a:pt x="881" y="225"/>
                  </a:lnTo>
                  <a:lnTo>
                    <a:pt x="881" y="227"/>
                  </a:lnTo>
                  <a:lnTo>
                    <a:pt x="879" y="227"/>
                  </a:lnTo>
                  <a:lnTo>
                    <a:pt x="881" y="229"/>
                  </a:lnTo>
                  <a:lnTo>
                    <a:pt x="877" y="233"/>
                  </a:lnTo>
                  <a:lnTo>
                    <a:pt x="881" y="233"/>
                  </a:lnTo>
                  <a:lnTo>
                    <a:pt x="881" y="231"/>
                  </a:lnTo>
                  <a:lnTo>
                    <a:pt x="883" y="231"/>
                  </a:lnTo>
                  <a:lnTo>
                    <a:pt x="883" y="229"/>
                  </a:lnTo>
                  <a:lnTo>
                    <a:pt x="885" y="231"/>
                  </a:lnTo>
                  <a:lnTo>
                    <a:pt x="885" y="229"/>
                  </a:lnTo>
                  <a:lnTo>
                    <a:pt x="885" y="236"/>
                  </a:lnTo>
                  <a:lnTo>
                    <a:pt x="883" y="238"/>
                  </a:lnTo>
                  <a:lnTo>
                    <a:pt x="883" y="240"/>
                  </a:lnTo>
                  <a:lnTo>
                    <a:pt x="887" y="240"/>
                  </a:lnTo>
                  <a:lnTo>
                    <a:pt x="887" y="236"/>
                  </a:lnTo>
                  <a:lnTo>
                    <a:pt x="891" y="238"/>
                  </a:lnTo>
                  <a:lnTo>
                    <a:pt x="891" y="246"/>
                  </a:lnTo>
                  <a:lnTo>
                    <a:pt x="895" y="244"/>
                  </a:lnTo>
                  <a:lnTo>
                    <a:pt x="897" y="246"/>
                  </a:lnTo>
                  <a:lnTo>
                    <a:pt x="902" y="248"/>
                  </a:lnTo>
                  <a:lnTo>
                    <a:pt x="902" y="238"/>
                  </a:lnTo>
                  <a:lnTo>
                    <a:pt x="904" y="234"/>
                  </a:lnTo>
                  <a:lnTo>
                    <a:pt x="906" y="238"/>
                  </a:lnTo>
                  <a:lnTo>
                    <a:pt x="914" y="238"/>
                  </a:lnTo>
                  <a:lnTo>
                    <a:pt x="916" y="240"/>
                  </a:lnTo>
                  <a:lnTo>
                    <a:pt x="920" y="240"/>
                  </a:lnTo>
                  <a:lnTo>
                    <a:pt x="929" y="236"/>
                  </a:lnTo>
                  <a:lnTo>
                    <a:pt x="933" y="238"/>
                  </a:lnTo>
                  <a:lnTo>
                    <a:pt x="933" y="242"/>
                  </a:lnTo>
                  <a:lnTo>
                    <a:pt x="941" y="242"/>
                  </a:lnTo>
                  <a:lnTo>
                    <a:pt x="941" y="246"/>
                  </a:lnTo>
                  <a:lnTo>
                    <a:pt x="943" y="246"/>
                  </a:lnTo>
                  <a:lnTo>
                    <a:pt x="945" y="252"/>
                  </a:lnTo>
                  <a:lnTo>
                    <a:pt x="939" y="254"/>
                  </a:lnTo>
                  <a:lnTo>
                    <a:pt x="937" y="252"/>
                  </a:lnTo>
                  <a:lnTo>
                    <a:pt x="935" y="252"/>
                  </a:lnTo>
                  <a:lnTo>
                    <a:pt x="935" y="256"/>
                  </a:lnTo>
                  <a:lnTo>
                    <a:pt x="937" y="257"/>
                  </a:lnTo>
                  <a:lnTo>
                    <a:pt x="935" y="259"/>
                  </a:lnTo>
                  <a:lnTo>
                    <a:pt x="937" y="265"/>
                  </a:lnTo>
                  <a:lnTo>
                    <a:pt x="933" y="269"/>
                  </a:lnTo>
                  <a:lnTo>
                    <a:pt x="939" y="271"/>
                  </a:lnTo>
                  <a:lnTo>
                    <a:pt x="939" y="277"/>
                  </a:lnTo>
                  <a:lnTo>
                    <a:pt x="941" y="279"/>
                  </a:lnTo>
                  <a:lnTo>
                    <a:pt x="937" y="286"/>
                  </a:lnTo>
                  <a:lnTo>
                    <a:pt x="935" y="288"/>
                  </a:lnTo>
                  <a:lnTo>
                    <a:pt x="937" y="294"/>
                  </a:lnTo>
                  <a:lnTo>
                    <a:pt x="935" y="296"/>
                  </a:lnTo>
                  <a:lnTo>
                    <a:pt x="929" y="294"/>
                  </a:lnTo>
                  <a:lnTo>
                    <a:pt x="927" y="298"/>
                  </a:lnTo>
                  <a:lnTo>
                    <a:pt x="933" y="304"/>
                  </a:lnTo>
                  <a:lnTo>
                    <a:pt x="939" y="304"/>
                  </a:lnTo>
                  <a:lnTo>
                    <a:pt x="937" y="309"/>
                  </a:lnTo>
                  <a:lnTo>
                    <a:pt x="943" y="311"/>
                  </a:lnTo>
                  <a:lnTo>
                    <a:pt x="943" y="31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3" name="Freeform 25">
              <a:extLst>
                <a:ext uri="{FF2B5EF4-FFF2-40B4-BE49-F238E27FC236}">
                  <a16:creationId xmlns:a16="http://schemas.microsoft.com/office/drawing/2014/main" id="{726E57D6-124B-4B62-B575-83A0D8C292EF}"/>
                </a:ext>
              </a:extLst>
            </p:cNvPr>
            <p:cNvSpPr>
              <a:spLocks/>
            </p:cNvSpPr>
            <p:nvPr/>
          </p:nvSpPr>
          <p:spPr bwMode="gray">
            <a:xfrm>
              <a:off x="6045201" y="3217863"/>
              <a:ext cx="788988" cy="590550"/>
            </a:xfrm>
            <a:custGeom>
              <a:avLst/>
              <a:gdLst>
                <a:gd name="T0" fmla="*/ 492 w 497"/>
                <a:gd name="T1" fmla="*/ 48 h 372"/>
                <a:gd name="T2" fmla="*/ 482 w 497"/>
                <a:gd name="T3" fmla="*/ 69 h 372"/>
                <a:gd name="T4" fmla="*/ 490 w 497"/>
                <a:gd name="T5" fmla="*/ 82 h 372"/>
                <a:gd name="T6" fmla="*/ 478 w 497"/>
                <a:gd name="T7" fmla="*/ 92 h 372"/>
                <a:gd name="T8" fmla="*/ 478 w 497"/>
                <a:gd name="T9" fmla="*/ 107 h 372"/>
                <a:gd name="T10" fmla="*/ 459 w 497"/>
                <a:gd name="T11" fmla="*/ 128 h 372"/>
                <a:gd name="T12" fmla="*/ 453 w 497"/>
                <a:gd name="T13" fmla="*/ 142 h 372"/>
                <a:gd name="T14" fmla="*/ 438 w 497"/>
                <a:gd name="T15" fmla="*/ 149 h 372"/>
                <a:gd name="T16" fmla="*/ 421 w 497"/>
                <a:gd name="T17" fmla="*/ 151 h 372"/>
                <a:gd name="T18" fmla="*/ 417 w 497"/>
                <a:gd name="T19" fmla="*/ 167 h 372"/>
                <a:gd name="T20" fmla="*/ 396 w 497"/>
                <a:gd name="T21" fmla="*/ 169 h 372"/>
                <a:gd name="T22" fmla="*/ 377 w 497"/>
                <a:gd name="T23" fmla="*/ 170 h 372"/>
                <a:gd name="T24" fmla="*/ 359 w 497"/>
                <a:gd name="T25" fmla="*/ 184 h 372"/>
                <a:gd name="T26" fmla="*/ 323 w 497"/>
                <a:gd name="T27" fmla="*/ 207 h 372"/>
                <a:gd name="T28" fmla="*/ 309 w 497"/>
                <a:gd name="T29" fmla="*/ 215 h 372"/>
                <a:gd name="T30" fmla="*/ 292 w 497"/>
                <a:gd name="T31" fmla="*/ 197 h 372"/>
                <a:gd name="T32" fmla="*/ 269 w 497"/>
                <a:gd name="T33" fmla="*/ 213 h 372"/>
                <a:gd name="T34" fmla="*/ 265 w 497"/>
                <a:gd name="T35" fmla="*/ 236 h 372"/>
                <a:gd name="T36" fmla="*/ 300 w 497"/>
                <a:gd name="T37" fmla="*/ 255 h 372"/>
                <a:gd name="T38" fmla="*/ 334 w 497"/>
                <a:gd name="T39" fmla="*/ 261 h 372"/>
                <a:gd name="T40" fmla="*/ 329 w 497"/>
                <a:gd name="T41" fmla="*/ 282 h 372"/>
                <a:gd name="T42" fmla="*/ 357 w 497"/>
                <a:gd name="T43" fmla="*/ 305 h 372"/>
                <a:gd name="T44" fmla="*/ 377 w 497"/>
                <a:gd name="T45" fmla="*/ 336 h 372"/>
                <a:gd name="T46" fmla="*/ 344 w 497"/>
                <a:gd name="T47" fmla="*/ 338 h 372"/>
                <a:gd name="T48" fmla="*/ 315 w 497"/>
                <a:gd name="T49" fmla="*/ 328 h 372"/>
                <a:gd name="T50" fmla="*/ 277 w 497"/>
                <a:gd name="T51" fmla="*/ 316 h 372"/>
                <a:gd name="T52" fmla="*/ 284 w 497"/>
                <a:gd name="T53" fmla="*/ 347 h 372"/>
                <a:gd name="T54" fmla="*/ 256 w 497"/>
                <a:gd name="T55" fmla="*/ 368 h 372"/>
                <a:gd name="T56" fmla="*/ 242 w 497"/>
                <a:gd name="T57" fmla="*/ 359 h 372"/>
                <a:gd name="T58" fmla="*/ 204 w 497"/>
                <a:gd name="T59" fmla="*/ 359 h 372"/>
                <a:gd name="T60" fmla="*/ 173 w 497"/>
                <a:gd name="T61" fmla="*/ 361 h 372"/>
                <a:gd name="T62" fmla="*/ 185 w 497"/>
                <a:gd name="T63" fmla="*/ 334 h 372"/>
                <a:gd name="T64" fmla="*/ 162 w 497"/>
                <a:gd name="T65" fmla="*/ 320 h 372"/>
                <a:gd name="T66" fmla="*/ 119 w 497"/>
                <a:gd name="T67" fmla="*/ 324 h 372"/>
                <a:gd name="T68" fmla="*/ 89 w 497"/>
                <a:gd name="T69" fmla="*/ 328 h 372"/>
                <a:gd name="T70" fmla="*/ 77 w 497"/>
                <a:gd name="T71" fmla="*/ 299 h 372"/>
                <a:gd name="T72" fmla="*/ 110 w 497"/>
                <a:gd name="T73" fmla="*/ 268 h 372"/>
                <a:gd name="T74" fmla="*/ 91 w 497"/>
                <a:gd name="T75" fmla="*/ 257 h 372"/>
                <a:gd name="T76" fmla="*/ 75 w 497"/>
                <a:gd name="T77" fmla="*/ 238 h 372"/>
                <a:gd name="T78" fmla="*/ 73 w 497"/>
                <a:gd name="T79" fmla="*/ 205 h 372"/>
                <a:gd name="T80" fmla="*/ 46 w 497"/>
                <a:gd name="T81" fmla="*/ 194 h 372"/>
                <a:gd name="T82" fmla="*/ 25 w 497"/>
                <a:gd name="T83" fmla="*/ 167 h 372"/>
                <a:gd name="T84" fmla="*/ 6 w 497"/>
                <a:gd name="T85" fmla="*/ 142 h 372"/>
                <a:gd name="T86" fmla="*/ 12 w 497"/>
                <a:gd name="T87" fmla="*/ 109 h 372"/>
                <a:gd name="T88" fmla="*/ 41 w 497"/>
                <a:gd name="T89" fmla="*/ 97 h 372"/>
                <a:gd name="T90" fmla="*/ 79 w 497"/>
                <a:gd name="T91" fmla="*/ 88 h 372"/>
                <a:gd name="T92" fmla="*/ 92 w 497"/>
                <a:gd name="T93" fmla="*/ 96 h 372"/>
                <a:gd name="T94" fmla="*/ 104 w 497"/>
                <a:gd name="T95" fmla="*/ 101 h 372"/>
                <a:gd name="T96" fmla="*/ 125 w 497"/>
                <a:gd name="T97" fmla="*/ 117 h 372"/>
                <a:gd name="T98" fmla="*/ 146 w 497"/>
                <a:gd name="T99" fmla="*/ 101 h 372"/>
                <a:gd name="T100" fmla="*/ 179 w 497"/>
                <a:gd name="T101" fmla="*/ 107 h 372"/>
                <a:gd name="T102" fmla="*/ 204 w 497"/>
                <a:gd name="T103" fmla="*/ 99 h 372"/>
                <a:gd name="T104" fmla="*/ 236 w 497"/>
                <a:gd name="T105" fmla="*/ 96 h 372"/>
                <a:gd name="T106" fmla="*/ 254 w 497"/>
                <a:gd name="T107" fmla="*/ 74 h 372"/>
                <a:gd name="T108" fmla="*/ 292 w 497"/>
                <a:gd name="T109" fmla="*/ 67 h 372"/>
                <a:gd name="T110" fmla="*/ 309 w 497"/>
                <a:gd name="T111" fmla="*/ 84 h 372"/>
                <a:gd name="T112" fmla="*/ 334 w 497"/>
                <a:gd name="T113" fmla="*/ 111 h 372"/>
                <a:gd name="T114" fmla="*/ 355 w 497"/>
                <a:gd name="T115" fmla="*/ 90 h 372"/>
                <a:gd name="T116" fmla="*/ 380 w 497"/>
                <a:gd name="T117" fmla="*/ 90 h 372"/>
                <a:gd name="T118" fmla="*/ 400 w 497"/>
                <a:gd name="T119" fmla="*/ 78 h 372"/>
                <a:gd name="T120" fmla="*/ 409 w 497"/>
                <a:gd name="T121" fmla="*/ 40 h 372"/>
                <a:gd name="T122" fmla="*/ 428 w 497"/>
                <a:gd name="T123" fmla="*/ 19 h 372"/>
                <a:gd name="T124" fmla="*/ 449 w 497"/>
                <a:gd name="T125" fmla="*/ 5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 h="372">
                  <a:moveTo>
                    <a:pt x="478" y="15"/>
                  </a:moveTo>
                  <a:lnTo>
                    <a:pt x="478" y="17"/>
                  </a:lnTo>
                  <a:lnTo>
                    <a:pt x="478" y="24"/>
                  </a:lnTo>
                  <a:lnTo>
                    <a:pt x="476" y="30"/>
                  </a:lnTo>
                  <a:lnTo>
                    <a:pt x="476" y="34"/>
                  </a:lnTo>
                  <a:lnTo>
                    <a:pt x="478" y="36"/>
                  </a:lnTo>
                  <a:lnTo>
                    <a:pt x="482" y="36"/>
                  </a:lnTo>
                  <a:lnTo>
                    <a:pt x="486" y="40"/>
                  </a:lnTo>
                  <a:lnTo>
                    <a:pt x="492" y="48"/>
                  </a:lnTo>
                  <a:lnTo>
                    <a:pt x="497" y="49"/>
                  </a:lnTo>
                  <a:lnTo>
                    <a:pt x="497" y="51"/>
                  </a:lnTo>
                  <a:lnTo>
                    <a:pt x="496" y="57"/>
                  </a:lnTo>
                  <a:lnTo>
                    <a:pt x="490" y="59"/>
                  </a:lnTo>
                  <a:lnTo>
                    <a:pt x="488" y="63"/>
                  </a:lnTo>
                  <a:lnTo>
                    <a:pt x="486" y="61"/>
                  </a:lnTo>
                  <a:lnTo>
                    <a:pt x="486" y="65"/>
                  </a:lnTo>
                  <a:lnTo>
                    <a:pt x="486" y="67"/>
                  </a:lnTo>
                  <a:lnTo>
                    <a:pt x="482" y="69"/>
                  </a:lnTo>
                  <a:lnTo>
                    <a:pt x="482" y="65"/>
                  </a:lnTo>
                  <a:lnTo>
                    <a:pt x="480" y="69"/>
                  </a:lnTo>
                  <a:lnTo>
                    <a:pt x="482" y="71"/>
                  </a:lnTo>
                  <a:lnTo>
                    <a:pt x="486" y="73"/>
                  </a:lnTo>
                  <a:lnTo>
                    <a:pt x="488" y="71"/>
                  </a:lnTo>
                  <a:lnTo>
                    <a:pt x="490" y="73"/>
                  </a:lnTo>
                  <a:lnTo>
                    <a:pt x="488" y="78"/>
                  </a:lnTo>
                  <a:lnTo>
                    <a:pt x="490" y="80"/>
                  </a:lnTo>
                  <a:lnTo>
                    <a:pt x="490" y="82"/>
                  </a:lnTo>
                  <a:lnTo>
                    <a:pt x="488" y="82"/>
                  </a:lnTo>
                  <a:lnTo>
                    <a:pt x="490" y="84"/>
                  </a:lnTo>
                  <a:lnTo>
                    <a:pt x="486" y="84"/>
                  </a:lnTo>
                  <a:lnTo>
                    <a:pt x="490" y="86"/>
                  </a:lnTo>
                  <a:lnTo>
                    <a:pt x="486" y="90"/>
                  </a:lnTo>
                  <a:lnTo>
                    <a:pt x="484" y="92"/>
                  </a:lnTo>
                  <a:lnTo>
                    <a:pt x="478" y="88"/>
                  </a:lnTo>
                  <a:lnTo>
                    <a:pt x="474" y="88"/>
                  </a:lnTo>
                  <a:lnTo>
                    <a:pt x="478" y="92"/>
                  </a:lnTo>
                  <a:lnTo>
                    <a:pt x="476" y="97"/>
                  </a:lnTo>
                  <a:lnTo>
                    <a:pt x="478" y="96"/>
                  </a:lnTo>
                  <a:lnTo>
                    <a:pt x="478" y="97"/>
                  </a:lnTo>
                  <a:lnTo>
                    <a:pt x="480" y="97"/>
                  </a:lnTo>
                  <a:lnTo>
                    <a:pt x="478" y="99"/>
                  </a:lnTo>
                  <a:lnTo>
                    <a:pt x="480" y="101"/>
                  </a:lnTo>
                  <a:lnTo>
                    <a:pt x="476" y="103"/>
                  </a:lnTo>
                  <a:lnTo>
                    <a:pt x="476" y="105"/>
                  </a:lnTo>
                  <a:lnTo>
                    <a:pt x="478" y="107"/>
                  </a:lnTo>
                  <a:lnTo>
                    <a:pt x="476" y="107"/>
                  </a:lnTo>
                  <a:lnTo>
                    <a:pt x="478" y="109"/>
                  </a:lnTo>
                  <a:lnTo>
                    <a:pt x="472" y="119"/>
                  </a:lnTo>
                  <a:lnTo>
                    <a:pt x="471" y="121"/>
                  </a:lnTo>
                  <a:lnTo>
                    <a:pt x="469" y="119"/>
                  </a:lnTo>
                  <a:lnTo>
                    <a:pt x="467" y="122"/>
                  </a:lnTo>
                  <a:lnTo>
                    <a:pt x="463" y="126"/>
                  </a:lnTo>
                  <a:lnTo>
                    <a:pt x="459" y="124"/>
                  </a:lnTo>
                  <a:lnTo>
                    <a:pt x="459" y="128"/>
                  </a:lnTo>
                  <a:lnTo>
                    <a:pt x="463" y="128"/>
                  </a:lnTo>
                  <a:lnTo>
                    <a:pt x="467" y="132"/>
                  </a:lnTo>
                  <a:lnTo>
                    <a:pt x="465" y="134"/>
                  </a:lnTo>
                  <a:lnTo>
                    <a:pt x="459" y="134"/>
                  </a:lnTo>
                  <a:lnTo>
                    <a:pt x="453" y="134"/>
                  </a:lnTo>
                  <a:lnTo>
                    <a:pt x="457" y="138"/>
                  </a:lnTo>
                  <a:lnTo>
                    <a:pt x="453" y="138"/>
                  </a:lnTo>
                  <a:lnTo>
                    <a:pt x="451" y="140"/>
                  </a:lnTo>
                  <a:lnTo>
                    <a:pt x="453" y="142"/>
                  </a:lnTo>
                  <a:lnTo>
                    <a:pt x="451" y="142"/>
                  </a:lnTo>
                  <a:lnTo>
                    <a:pt x="449" y="142"/>
                  </a:lnTo>
                  <a:lnTo>
                    <a:pt x="448" y="140"/>
                  </a:lnTo>
                  <a:lnTo>
                    <a:pt x="446" y="140"/>
                  </a:lnTo>
                  <a:lnTo>
                    <a:pt x="446" y="142"/>
                  </a:lnTo>
                  <a:lnTo>
                    <a:pt x="444" y="144"/>
                  </a:lnTo>
                  <a:lnTo>
                    <a:pt x="446" y="147"/>
                  </a:lnTo>
                  <a:lnTo>
                    <a:pt x="446" y="149"/>
                  </a:lnTo>
                  <a:lnTo>
                    <a:pt x="438" y="149"/>
                  </a:lnTo>
                  <a:lnTo>
                    <a:pt x="440" y="151"/>
                  </a:lnTo>
                  <a:lnTo>
                    <a:pt x="440" y="153"/>
                  </a:lnTo>
                  <a:lnTo>
                    <a:pt x="432" y="151"/>
                  </a:lnTo>
                  <a:lnTo>
                    <a:pt x="426" y="151"/>
                  </a:lnTo>
                  <a:lnTo>
                    <a:pt x="426" y="147"/>
                  </a:lnTo>
                  <a:lnTo>
                    <a:pt x="421" y="147"/>
                  </a:lnTo>
                  <a:lnTo>
                    <a:pt x="417" y="147"/>
                  </a:lnTo>
                  <a:lnTo>
                    <a:pt x="419" y="151"/>
                  </a:lnTo>
                  <a:lnTo>
                    <a:pt x="421" y="151"/>
                  </a:lnTo>
                  <a:lnTo>
                    <a:pt x="419" y="155"/>
                  </a:lnTo>
                  <a:lnTo>
                    <a:pt x="423" y="157"/>
                  </a:lnTo>
                  <a:lnTo>
                    <a:pt x="423" y="163"/>
                  </a:lnTo>
                  <a:lnTo>
                    <a:pt x="421" y="165"/>
                  </a:lnTo>
                  <a:lnTo>
                    <a:pt x="419" y="161"/>
                  </a:lnTo>
                  <a:lnTo>
                    <a:pt x="417" y="163"/>
                  </a:lnTo>
                  <a:lnTo>
                    <a:pt x="417" y="170"/>
                  </a:lnTo>
                  <a:lnTo>
                    <a:pt x="415" y="169"/>
                  </a:lnTo>
                  <a:lnTo>
                    <a:pt x="417" y="167"/>
                  </a:lnTo>
                  <a:lnTo>
                    <a:pt x="411" y="169"/>
                  </a:lnTo>
                  <a:lnTo>
                    <a:pt x="411" y="167"/>
                  </a:lnTo>
                  <a:lnTo>
                    <a:pt x="405" y="165"/>
                  </a:lnTo>
                  <a:lnTo>
                    <a:pt x="405" y="167"/>
                  </a:lnTo>
                  <a:lnTo>
                    <a:pt x="409" y="170"/>
                  </a:lnTo>
                  <a:lnTo>
                    <a:pt x="407" y="174"/>
                  </a:lnTo>
                  <a:lnTo>
                    <a:pt x="403" y="174"/>
                  </a:lnTo>
                  <a:lnTo>
                    <a:pt x="398" y="172"/>
                  </a:lnTo>
                  <a:lnTo>
                    <a:pt x="396" y="169"/>
                  </a:lnTo>
                  <a:lnTo>
                    <a:pt x="388" y="165"/>
                  </a:lnTo>
                  <a:lnTo>
                    <a:pt x="386" y="169"/>
                  </a:lnTo>
                  <a:lnTo>
                    <a:pt x="382" y="165"/>
                  </a:lnTo>
                  <a:lnTo>
                    <a:pt x="380" y="165"/>
                  </a:lnTo>
                  <a:lnTo>
                    <a:pt x="378" y="167"/>
                  </a:lnTo>
                  <a:lnTo>
                    <a:pt x="380" y="170"/>
                  </a:lnTo>
                  <a:lnTo>
                    <a:pt x="377" y="169"/>
                  </a:lnTo>
                  <a:lnTo>
                    <a:pt x="375" y="170"/>
                  </a:lnTo>
                  <a:lnTo>
                    <a:pt x="377" y="170"/>
                  </a:lnTo>
                  <a:lnTo>
                    <a:pt x="375" y="170"/>
                  </a:lnTo>
                  <a:lnTo>
                    <a:pt x="375" y="172"/>
                  </a:lnTo>
                  <a:lnTo>
                    <a:pt x="371" y="174"/>
                  </a:lnTo>
                  <a:lnTo>
                    <a:pt x="373" y="178"/>
                  </a:lnTo>
                  <a:lnTo>
                    <a:pt x="371" y="178"/>
                  </a:lnTo>
                  <a:lnTo>
                    <a:pt x="369" y="184"/>
                  </a:lnTo>
                  <a:lnTo>
                    <a:pt x="371" y="186"/>
                  </a:lnTo>
                  <a:lnTo>
                    <a:pt x="365" y="186"/>
                  </a:lnTo>
                  <a:lnTo>
                    <a:pt x="359" y="184"/>
                  </a:lnTo>
                  <a:lnTo>
                    <a:pt x="350" y="188"/>
                  </a:lnTo>
                  <a:lnTo>
                    <a:pt x="340" y="192"/>
                  </a:lnTo>
                  <a:lnTo>
                    <a:pt x="332" y="192"/>
                  </a:lnTo>
                  <a:lnTo>
                    <a:pt x="327" y="195"/>
                  </a:lnTo>
                  <a:lnTo>
                    <a:pt x="325" y="195"/>
                  </a:lnTo>
                  <a:lnTo>
                    <a:pt x="323" y="201"/>
                  </a:lnTo>
                  <a:lnTo>
                    <a:pt x="323" y="203"/>
                  </a:lnTo>
                  <a:lnTo>
                    <a:pt x="321" y="205"/>
                  </a:lnTo>
                  <a:lnTo>
                    <a:pt x="323" y="207"/>
                  </a:lnTo>
                  <a:lnTo>
                    <a:pt x="321" y="207"/>
                  </a:lnTo>
                  <a:lnTo>
                    <a:pt x="319" y="211"/>
                  </a:lnTo>
                  <a:lnTo>
                    <a:pt x="315" y="211"/>
                  </a:lnTo>
                  <a:lnTo>
                    <a:pt x="317" y="213"/>
                  </a:lnTo>
                  <a:lnTo>
                    <a:pt x="313" y="213"/>
                  </a:lnTo>
                  <a:lnTo>
                    <a:pt x="313" y="211"/>
                  </a:lnTo>
                  <a:lnTo>
                    <a:pt x="309" y="213"/>
                  </a:lnTo>
                  <a:lnTo>
                    <a:pt x="311" y="215"/>
                  </a:lnTo>
                  <a:lnTo>
                    <a:pt x="309" y="215"/>
                  </a:lnTo>
                  <a:lnTo>
                    <a:pt x="307" y="213"/>
                  </a:lnTo>
                  <a:lnTo>
                    <a:pt x="309" y="209"/>
                  </a:lnTo>
                  <a:lnTo>
                    <a:pt x="307" y="211"/>
                  </a:lnTo>
                  <a:lnTo>
                    <a:pt x="302" y="207"/>
                  </a:lnTo>
                  <a:lnTo>
                    <a:pt x="300" y="209"/>
                  </a:lnTo>
                  <a:lnTo>
                    <a:pt x="300" y="205"/>
                  </a:lnTo>
                  <a:lnTo>
                    <a:pt x="300" y="203"/>
                  </a:lnTo>
                  <a:lnTo>
                    <a:pt x="300" y="197"/>
                  </a:lnTo>
                  <a:lnTo>
                    <a:pt x="292" y="197"/>
                  </a:lnTo>
                  <a:lnTo>
                    <a:pt x="288" y="195"/>
                  </a:lnTo>
                  <a:lnTo>
                    <a:pt x="286" y="201"/>
                  </a:lnTo>
                  <a:lnTo>
                    <a:pt x="288" y="205"/>
                  </a:lnTo>
                  <a:lnTo>
                    <a:pt x="290" y="207"/>
                  </a:lnTo>
                  <a:lnTo>
                    <a:pt x="282" y="209"/>
                  </a:lnTo>
                  <a:lnTo>
                    <a:pt x="279" y="211"/>
                  </a:lnTo>
                  <a:lnTo>
                    <a:pt x="271" y="209"/>
                  </a:lnTo>
                  <a:lnTo>
                    <a:pt x="269" y="211"/>
                  </a:lnTo>
                  <a:lnTo>
                    <a:pt x="269" y="213"/>
                  </a:lnTo>
                  <a:lnTo>
                    <a:pt x="271" y="213"/>
                  </a:lnTo>
                  <a:lnTo>
                    <a:pt x="271" y="217"/>
                  </a:lnTo>
                  <a:lnTo>
                    <a:pt x="273" y="217"/>
                  </a:lnTo>
                  <a:lnTo>
                    <a:pt x="269" y="218"/>
                  </a:lnTo>
                  <a:lnTo>
                    <a:pt x="271" y="222"/>
                  </a:lnTo>
                  <a:lnTo>
                    <a:pt x="265" y="226"/>
                  </a:lnTo>
                  <a:lnTo>
                    <a:pt x="263" y="232"/>
                  </a:lnTo>
                  <a:lnTo>
                    <a:pt x="265" y="234"/>
                  </a:lnTo>
                  <a:lnTo>
                    <a:pt x="265" y="236"/>
                  </a:lnTo>
                  <a:lnTo>
                    <a:pt x="269" y="236"/>
                  </a:lnTo>
                  <a:lnTo>
                    <a:pt x="271" y="238"/>
                  </a:lnTo>
                  <a:lnTo>
                    <a:pt x="271" y="242"/>
                  </a:lnTo>
                  <a:lnTo>
                    <a:pt x="275" y="245"/>
                  </a:lnTo>
                  <a:lnTo>
                    <a:pt x="284" y="243"/>
                  </a:lnTo>
                  <a:lnTo>
                    <a:pt x="288" y="243"/>
                  </a:lnTo>
                  <a:lnTo>
                    <a:pt x="288" y="247"/>
                  </a:lnTo>
                  <a:lnTo>
                    <a:pt x="298" y="251"/>
                  </a:lnTo>
                  <a:lnTo>
                    <a:pt x="300" y="255"/>
                  </a:lnTo>
                  <a:lnTo>
                    <a:pt x="302" y="259"/>
                  </a:lnTo>
                  <a:lnTo>
                    <a:pt x="304" y="257"/>
                  </a:lnTo>
                  <a:lnTo>
                    <a:pt x="306" y="261"/>
                  </a:lnTo>
                  <a:lnTo>
                    <a:pt x="315" y="259"/>
                  </a:lnTo>
                  <a:lnTo>
                    <a:pt x="319" y="261"/>
                  </a:lnTo>
                  <a:lnTo>
                    <a:pt x="323" y="261"/>
                  </a:lnTo>
                  <a:lnTo>
                    <a:pt x="325" y="263"/>
                  </a:lnTo>
                  <a:lnTo>
                    <a:pt x="329" y="261"/>
                  </a:lnTo>
                  <a:lnTo>
                    <a:pt x="334" y="261"/>
                  </a:lnTo>
                  <a:lnTo>
                    <a:pt x="338" y="263"/>
                  </a:lnTo>
                  <a:lnTo>
                    <a:pt x="340" y="261"/>
                  </a:lnTo>
                  <a:lnTo>
                    <a:pt x="338" y="268"/>
                  </a:lnTo>
                  <a:lnTo>
                    <a:pt x="332" y="265"/>
                  </a:lnTo>
                  <a:lnTo>
                    <a:pt x="329" y="268"/>
                  </a:lnTo>
                  <a:lnTo>
                    <a:pt x="332" y="270"/>
                  </a:lnTo>
                  <a:lnTo>
                    <a:pt x="329" y="274"/>
                  </a:lnTo>
                  <a:lnTo>
                    <a:pt x="327" y="278"/>
                  </a:lnTo>
                  <a:lnTo>
                    <a:pt x="329" y="282"/>
                  </a:lnTo>
                  <a:lnTo>
                    <a:pt x="332" y="286"/>
                  </a:lnTo>
                  <a:lnTo>
                    <a:pt x="336" y="293"/>
                  </a:lnTo>
                  <a:lnTo>
                    <a:pt x="340" y="293"/>
                  </a:lnTo>
                  <a:lnTo>
                    <a:pt x="342" y="291"/>
                  </a:lnTo>
                  <a:lnTo>
                    <a:pt x="350" y="295"/>
                  </a:lnTo>
                  <a:lnTo>
                    <a:pt x="350" y="297"/>
                  </a:lnTo>
                  <a:lnTo>
                    <a:pt x="350" y="303"/>
                  </a:lnTo>
                  <a:lnTo>
                    <a:pt x="352" y="305"/>
                  </a:lnTo>
                  <a:lnTo>
                    <a:pt x="357" y="305"/>
                  </a:lnTo>
                  <a:lnTo>
                    <a:pt x="363" y="305"/>
                  </a:lnTo>
                  <a:lnTo>
                    <a:pt x="365" y="307"/>
                  </a:lnTo>
                  <a:lnTo>
                    <a:pt x="369" y="313"/>
                  </a:lnTo>
                  <a:lnTo>
                    <a:pt x="361" y="318"/>
                  </a:lnTo>
                  <a:lnTo>
                    <a:pt x="363" y="322"/>
                  </a:lnTo>
                  <a:lnTo>
                    <a:pt x="369" y="324"/>
                  </a:lnTo>
                  <a:lnTo>
                    <a:pt x="371" y="326"/>
                  </a:lnTo>
                  <a:lnTo>
                    <a:pt x="369" y="334"/>
                  </a:lnTo>
                  <a:lnTo>
                    <a:pt x="377" y="336"/>
                  </a:lnTo>
                  <a:lnTo>
                    <a:pt x="375" y="340"/>
                  </a:lnTo>
                  <a:lnTo>
                    <a:pt x="367" y="341"/>
                  </a:lnTo>
                  <a:lnTo>
                    <a:pt x="367" y="345"/>
                  </a:lnTo>
                  <a:lnTo>
                    <a:pt x="367" y="347"/>
                  </a:lnTo>
                  <a:lnTo>
                    <a:pt x="361" y="343"/>
                  </a:lnTo>
                  <a:lnTo>
                    <a:pt x="357" y="345"/>
                  </a:lnTo>
                  <a:lnTo>
                    <a:pt x="350" y="343"/>
                  </a:lnTo>
                  <a:lnTo>
                    <a:pt x="350" y="340"/>
                  </a:lnTo>
                  <a:lnTo>
                    <a:pt x="344" y="338"/>
                  </a:lnTo>
                  <a:lnTo>
                    <a:pt x="344" y="336"/>
                  </a:lnTo>
                  <a:lnTo>
                    <a:pt x="338" y="336"/>
                  </a:lnTo>
                  <a:lnTo>
                    <a:pt x="338" y="334"/>
                  </a:lnTo>
                  <a:lnTo>
                    <a:pt x="334" y="330"/>
                  </a:lnTo>
                  <a:lnTo>
                    <a:pt x="329" y="334"/>
                  </a:lnTo>
                  <a:lnTo>
                    <a:pt x="329" y="336"/>
                  </a:lnTo>
                  <a:lnTo>
                    <a:pt x="327" y="336"/>
                  </a:lnTo>
                  <a:lnTo>
                    <a:pt x="321" y="332"/>
                  </a:lnTo>
                  <a:lnTo>
                    <a:pt x="315" y="328"/>
                  </a:lnTo>
                  <a:lnTo>
                    <a:pt x="311" y="320"/>
                  </a:lnTo>
                  <a:lnTo>
                    <a:pt x="306" y="318"/>
                  </a:lnTo>
                  <a:lnTo>
                    <a:pt x="300" y="316"/>
                  </a:lnTo>
                  <a:lnTo>
                    <a:pt x="292" y="316"/>
                  </a:lnTo>
                  <a:lnTo>
                    <a:pt x="290" y="311"/>
                  </a:lnTo>
                  <a:lnTo>
                    <a:pt x="286" y="307"/>
                  </a:lnTo>
                  <a:lnTo>
                    <a:pt x="284" y="311"/>
                  </a:lnTo>
                  <a:lnTo>
                    <a:pt x="277" y="315"/>
                  </a:lnTo>
                  <a:lnTo>
                    <a:pt x="277" y="316"/>
                  </a:lnTo>
                  <a:lnTo>
                    <a:pt x="277" y="320"/>
                  </a:lnTo>
                  <a:lnTo>
                    <a:pt x="282" y="322"/>
                  </a:lnTo>
                  <a:lnTo>
                    <a:pt x="284" y="328"/>
                  </a:lnTo>
                  <a:lnTo>
                    <a:pt x="281" y="332"/>
                  </a:lnTo>
                  <a:lnTo>
                    <a:pt x="282" y="332"/>
                  </a:lnTo>
                  <a:lnTo>
                    <a:pt x="282" y="334"/>
                  </a:lnTo>
                  <a:lnTo>
                    <a:pt x="282" y="336"/>
                  </a:lnTo>
                  <a:lnTo>
                    <a:pt x="279" y="341"/>
                  </a:lnTo>
                  <a:lnTo>
                    <a:pt x="284" y="347"/>
                  </a:lnTo>
                  <a:lnTo>
                    <a:pt x="281" y="353"/>
                  </a:lnTo>
                  <a:lnTo>
                    <a:pt x="281" y="357"/>
                  </a:lnTo>
                  <a:lnTo>
                    <a:pt x="279" y="359"/>
                  </a:lnTo>
                  <a:lnTo>
                    <a:pt x="275" y="366"/>
                  </a:lnTo>
                  <a:lnTo>
                    <a:pt x="271" y="368"/>
                  </a:lnTo>
                  <a:lnTo>
                    <a:pt x="269" y="372"/>
                  </a:lnTo>
                  <a:lnTo>
                    <a:pt x="269" y="370"/>
                  </a:lnTo>
                  <a:lnTo>
                    <a:pt x="261" y="372"/>
                  </a:lnTo>
                  <a:lnTo>
                    <a:pt x="256" y="368"/>
                  </a:lnTo>
                  <a:lnTo>
                    <a:pt x="254" y="368"/>
                  </a:lnTo>
                  <a:lnTo>
                    <a:pt x="258" y="364"/>
                  </a:lnTo>
                  <a:lnTo>
                    <a:pt x="256" y="363"/>
                  </a:lnTo>
                  <a:lnTo>
                    <a:pt x="258" y="361"/>
                  </a:lnTo>
                  <a:lnTo>
                    <a:pt x="263" y="361"/>
                  </a:lnTo>
                  <a:lnTo>
                    <a:pt x="259" y="357"/>
                  </a:lnTo>
                  <a:lnTo>
                    <a:pt x="254" y="361"/>
                  </a:lnTo>
                  <a:lnTo>
                    <a:pt x="246" y="363"/>
                  </a:lnTo>
                  <a:lnTo>
                    <a:pt x="242" y="359"/>
                  </a:lnTo>
                  <a:lnTo>
                    <a:pt x="238" y="361"/>
                  </a:lnTo>
                  <a:lnTo>
                    <a:pt x="233" y="359"/>
                  </a:lnTo>
                  <a:lnTo>
                    <a:pt x="229" y="357"/>
                  </a:lnTo>
                  <a:lnTo>
                    <a:pt x="221" y="353"/>
                  </a:lnTo>
                  <a:lnTo>
                    <a:pt x="215" y="351"/>
                  </a:lnTo>
                  <a:lnTo>
                    <a:pt x="213" y="351"/>
                  </a:lnTo>
                  <a:lnTo>
                    <a:pt x="213" y="355"/>
                  </a:lnTo>
                  <a:lnTo>
                    <a:pt x="208" y="355"/>
                  </a:lnTo>
                  <a:lnTo>
                    <a:pt x="204" y="359"/>
                  </a:lnTo>
                  <a:lnTo>
                    <a:pt x="198" y="368"/>
                  </a:lnTo>
                  <a:lnTo>
                    <a:pt x="196" y="363"/>
                  </a:lnTo>
                  <a:lnTo>
                    <a:pt x="192" y="361"/>
                  </a:lnTo>
                  <a:lnTo>
                    <a:pt x="192" y="363"/>
                  </a:lnTo>
                  <a:lnTo>
                    <a:pt x="190" y="361"/>
                  </a:lnTo>
                  <a:lnTo>
                    <a:pt x="187" y="361"/>
                  </a:lnTo>
                  <a:lnTo>
                    <a:pt x="185" y="357"/>
                  </a:lnTo>
                  <a:lnTo>
                    <a:pt x="179" y="357"/>
                  </a:lnTo>
                  <a:lnTo>
                    <a:pt x="173" y="361"/>
                  </a:lnTo>
                  <a:lnTo>
                    <a:pt x="171" y="359"/>
                  </a:lnTo>
                  <a:lnTo>
                    <a:pt x="177" y="355"/>
                  </a:lnTo>
                  <a:lnTo>
                    <a:pt x="177" y="351"/>
                  </a:lnTo>
                  <a:lnTo>
                    <a:pt x="179" y="349"/>
                  </a:lnTo>
                  <a:lnTo>
                    <a:pt x="183" y="341"/>
                  </a:lnTo>
                  <a:lnTo>
                    <a:pt x="181" y="340"/>
                  </a:lnTo>
                  <a:lnTo>
                    <a:pt x="187" y="338"/>
                  </a:lnTo>
                  <a:lnTo>
                    <a:pt x="187" y="334"/>
                  </a:lnTo>
                  <a:lnTo>
                    <a:pt x="185" y="334"/>
                  </a:lnTo>
                  <a:lnTo>
                    <a:pt x="185" y="332"/>
                  </a:lnTo>
                  <a:lnTo>
                    <a:pt x="183" y="330"/>
                  </a:lnTo>
                  <a:lnTo>
                    <a:pt x="183" y="326"/>
                  </a:lnTo>
                  <a:lnTo>
                    <a:pt x="181" y="320"/>
                  </a:lnTo>
                  <a:lnTo>
                    <a:pt x="183" y="316"/>
                  </a:lnTo>
                  <a:lnTo>
                    <a:pt x="179" y="316"/>
                  </a:lnTo>
                  <a:lnTo>
                    <a:pt x="171" y="318"/>
                  </a:lnTo>
                  <a:lnTo>
                    <a:pt x="162" y="322"/>
                  </a:lnTo>
                  <a:lnTo>
                    <a:pt x="162" y="320"/>
                  </a:lnTo>
                  <a:lnTo>
                    <a:pt x="158" y="322"/>
                  </a:lnTo>
                  <a:lnTo>
                    <a:pt x="154" y="320"/>
                  </a:lnTo>
                  <a:lnTo>
                    <a:pt x="148" y="320"/>
                  </a:lnTo>
                  <a:lnTo>
                    <a:pt x="148" y="322"/>
                  </a:lnTo>
                  <a:lnTo>
                    <a:pt x="139" y="322"/>
                  </a:lnTo>
                  <a:lnTo>
                    <a:pt x="135" y="322"/>
                  </a:lnTo>
                  <a:lnTo>
                    <a:pt x="125" y="322"/>
                  </a:lnTo>
                  <a:lnTo>
                    <a:pt x="123" y="322"/>
                  </a:lnTo>
                  <a:lnTo>
                    <a:pt x="119" y="324"/>
                  </a:lnTo>
                  <a:lnTo>
                    <a:pt x="119" y="326"/>
                  </a:lnTo>
                  <a:lnTo>
                    <a:pt x="116" y="328"/>
                  </a:lnTo>
                  <a:lnTo>
                    <a:pt x="114" y="330"/>
                  </a:lnTo>
                  <a:lnTo>
                    <a:pt x="112" y="330"/>
                  </a:lnTo>
                  <a:lnTo>
                    <a:pt x="106" y="332"/>
                  </a:lnTo>
                  <a:lnTo>
                    <a:pt x="104" y="330"/>
                  </a:lnTo>
                  <a:lnTo>
                    <a:pt x="98" y="332"/>
                  </a:lnTo>
                  <a:lnTo>
                    <a:pt x="94" y="328"/>
                  </a:lnTo>
                  <a:lnTo>
                    <a:pt x="89" y="328"/>
                  </a:lnTo>
                  <a:lnTo>
                    <a:pt x="85" y="324"/>
                  </a:lnTo>
                  <a:lnTo>
                    <a:pt x="83" y="322"/>
                  </a:lnTo>
                  <a:lnTo>
                    <a:pt x="83" y="316"/>
                  </a:lnTo>
                  <a:lnTo>
                    <a:pt x="79" y="316"/>
                  </a:lnTo>
                  <a:lnTo>
                    <a:pt x="75" y="313"/>
                  </a:lnTo>
                  <a:lnTo>
                    <a:pt x="68" y="311"/>
                  </a:lnTo>
                  <a:lnTo>
                    <a:pt x="69" y="307"/>
                  </a:lnTo>
                  <a:lnTo>
                    <a:pt x="75" y="301"/>
                  </a:lnTo>
                  <a:lnTo>
                    <a:pt x="77" y="299"/>
                  </a:lnTo>
                  <a:lnTo>
                    <a:pt x="83" y="299"/>
                  </a:lnTo>
                  <a:lnTo>
                    <a:pt x="92" y="295"/>
                  </a:lnTo>
                  <a:lnTo>
                    <a:pt x="92" y="288"/>
                  </a:lnTo>
                  <a:lnTo>
                    <a:pt x="100" y="284"/>
                  </a:lnTo>
                  <a:lnTo>
                    <a:pt x="104" y="280"/>
                  </a:lnTo>
                  <a:lnTo>
                    <a:pt x="104" y="274"/>
                  </a:lnTo>
                  <a:lnTo>
                    <a:pt x="108" y="274"/>
                  </a:lnTo>
                  <a:lnTo>
                    <a:pt x="108" y="270"/>
                  </a:lnTo>
                  <a:lnTo>
                    <a:pt x="110" y="268"/>
                  </a:lnTo>
                  <a:lnTo>
                    <a:pt x="112" y="267"/>
                  </a:lnTo>
                  <a:lnTo>
                    <a:pt x="106" y="263"/>
                  </a:lnTo>
                  <a:lnTo>
                    <a:pt x="98" y="265"/>
                  </a:lnTo>
                  <a:lnTo>
                    <a:pt x="98" y="261"/>
                  </a:lnTo>
                  <a:lnTo>
                    <a:pt x="96" y="263"/>
                  </a:lnTo>
                  <a:lnTo>
                    <a:pt x="91" y="263"/>
                  </a:lnTo>
                  <a:lnTo>
                    <a:pt x="92" y="263"/>
                  </a:lnTo>
                  <a:lnTo>
                    <a:pt x="91" y="259"/>
                  </a:lnTo>
                  <a:lnTo>
                    <a:pt x="91" y="257"/>
                  </a:lnTo>
                  <a:lnTo>
                    <a:pt x="89" y="257"/>
                  </a:lnTo>
                  <a:lnTo>
                    <a:pt x="87" y="263"/>
                  </a:lnTo>
                  <a:lnTo>
                    <a:pt x="83" y="263"/>
                  </a:lnTo>
                  <a:lnTo>
                    <a:pt x="83" y="259"/>
                  </a:lnTo>
                  <a:lnTo>
                    <a:pt x="83" y="251"/>
                  </a:lnTo>
                  <a:lnTo>
                    <a:pt x="79" y="249"/>
                  </a:lnTo>
                  <a:lnTo>
                    <a:pt x="73" y="245"/>
                  </a:lnTo>
                  <a:lnTo>
                    <a:pt x="73" y="243"/>
                  </a:lnTo>
                  <a:lnTo>
                    <a:pt x="75" y="238"/>
                  </a:lnTo>
                  <a:lnTo>
                    <a:pt x="75" y="234"/>
                  </a:lnTo>
                  <a:lnTo>
                    <a:pt x="77" y="226"/>
                  </a:lnTo>
                  <a:lnTo>
                    <a:pt x="77" y="224"/>
                  </a:lnTo>
                  <a:lnTo>
                    <a:pt x="73" y="218"/>
                  </a:lnTo>
                  <a:lnTo>
                    <a:pt x="71" y="222"/>
                  </a:lnTo>
                  <a:lnTo>
                    <a:pt x="66" y="218"/>
                  </a:lnTo>
                  <a:lnTo>
                    <a:pt x="68" y="215"/>
                  </a:lnTo>
                  <a:lnTo>
                    <a:pt x="68" y="211"/>
                  </a:lnTo>
                  <a:lnTo>
                    <a:pt x="73" y="205"/>
                  </a:lnTo>
                  <a:lnTo>
                    <a:pt x="71" y="203"/>
                  </a:lnTo>
                  <a:lnTo>
                    <a:pt x="73" y="201"/>
                  </a:lnTo>
                  <a:lnTo>
                    <a:pt x="73" y="194"/>
                  </a:lnTo>
                  <a:lnTo>
                    <a:pt x="71" y="192"/>
                  </a:lnTo>
                  <a:lnTo>
                    <a:pt x="64" y="192"/>
                  </a:lnTo>
                  <a:lnTo>
                    <a:pt x="64" y="197"/>
                  </a:lnTo>
                  <a:lnTo>
                    <a:pt x="58" y="197"/>
                  </a:lnTo>
                  <a:lnTo>
                    <a:pt x="52" y="195"/>
                  </a:lnTo>
                  <a:lnTo>
                    <a:pt x="46" y="194"/>
                  </a:lnTo>
                  <a:lnTo>
                    <a:pt x="44" y="190"/>
                  </a:lnTo>
                  <a:lnTo>
                    <a:pt x="41" y="186"/>
                  </a:lnTo>
                  <a:lnTo>
                    <a:pt x="44" y="182"/>
                  </a:lnTo>
                  <a:lnTo>
                    <a:pt x="43" y="178"/>
                  </a:lnTo>
                  <a:lnTo>
                    <a:pt x="39" y="172"/>
                  </a:lnTo>
                  <a:lnTo>
                    <a:pt x="39" y="170"/>
                  </a:lnTo>
                  <a:lnTo>
                    <a:pt x="35" y="170"/>
                  </a:lnTo>
                  <a:lnTo>
                    <a:pt x="35" y="169"/>
                  </a:lnTo>
                  <a:lnTo>
                    <a:pt x="25" y="167"/>
                  </a:lnTo>
                  <a:lnTo>
                    <a:pt x="27" y="163"/>
                  </a:lnTo>
                  <a:lnTo>
                    <a:pt x="23" y="163"/>
                  </a:lnTo>
                  <a:lnTo>
                    <a:pt x="23" y="159"/>
                  </a:lnTo>
                  <a:lnTo>
                    <a:pt x="20" y="153"/>
                  </a:lnTo>
                  <a:lnTo>
                    <a:pt x="20" y="149"/>
                  </a:lnTo>
                  <a:lnTo>
                    <a:pt x="14" y="147"/>
                  </a:lnTo>
                  <a:lnTo>
                    <a:pt x="12" y="142"/>
                  </a:lnTo>
                  <a:lnTo>
                    <a:pt x="8" y="142"/>
                  </a:lnTo>
                  <a:lnTo>
                    <a:pt x="6" y="142"/>
                  </a:lnTo>
                  <a:lnTo>
                    <a:pt x="0" y="140"/>
                  </a:lnTo>
                  <a:lnTo>
                    <a:pt x="2" y="138"/>
                  </a:lnTo>
                  <a:lnTo>
                    <a:pt x="6" y="130"/>
                  </a:lnTo>
                  <a:lnTo>
                    <a:pt x="6" y="126"/>
                  </a:lnTo>
                  <a:lnTo>
                    <a:pt x="10" y="122"/>
                  </a:lnTo>
                  <a:lnTo>
                    <a:pt x="6" y="119"/>
                  </a:lnTo>
                  <a:lnTo>
                    <a:pt x="8" y="117"/>
                  </a:lnTo>
                  <a:lnTo>
                    <a:pt x="14" y="113"/>
                  </a:lnTo>
                  <a:lnTo>
                    <a:pt x="12" y="109"/>
                  </a:lnTo>
                  <a:lnTo>
                    <a:pt x="10" y="107"/>
                  </a:lnTo>
                  <a:lnTo>
                    <a:pt x="8" y="103"/>
                  </a:lnTo>
                  <a:lnTo>
                    <a:pt x="8" y="97"/>
                  </a:lnTo>
                  <a:lnTo>
                    <a:pt x="10" y="96"/>
                  </a:lnTo>
                  <a:lnTo>
                    <a:pt x="16" y="96"/>
                  </a:lnTo>
                  <a:lnTo>
                    <a:pt x="21" y="94"/>
                  </a:lnTo>
                  <a:lnTo>
                    <a:pt x="25" y="94"/>
                  </a:lnTo>
                  <a:lnTo>
                    <a:pt x="31" y="96"/>
                  </a:lnTo>
                  <a:lnTo>
                    <a:pt x="41" y="97"/>
                  </a:lnTo>
                  <a:lnTo>
                    <a:pt x="46" y="97"/>
                  </a:lnTo>
                  <a:lnTo>
                    <a:pt x="54" y="94"/>
                  </a:lnTo>
                  <a:lnTo>
                    <a:pt x="56" y="94"/>
                  </a:lnTo>
                  <a:lnTo>
                    <a:pt x="66" y="92"/>
                  </a:lnTo>
                  <a:lnTo>
                    <a:pt x="69" y="92"/>
                  </a:lnTo>
                  <a:lnTo>
                    <a:pt x="73" y="84"/>
                  </a:lnTo>
                  <a:lnTo>
                    <a:pt x="75" y="82"/>
                  </a:lnTo>
                  <a:lnTo>
                    <a:pt x="79" y="84"/>
                  </a:lnTo>
                  <a:lnTo>
                    <a:pt x="79" y="88"/>
                  </a:lnTo>
                  <a:lnTo>
                    <a:pt x="81" y="90"/>
                  </a:lnTo>
                  <a:lnTo>
                    <a:pt x="83" y="97"/>
                  </a:lnTo>
                  <a:lnTo>
                    <a:pt x="85" y="99"/>
                  </a:lnTo>
                  <a:lnTo>
                    <a:pt x="87" y="99"/>
                  </a:lnTo>
                  <a:lnTo>
                    <a:pt x="89" y="94"/>
                  </a:lnTo>
                  <a:lnTo>
                    <a:pt x="91" y="94"/>
                  </a:lnTo>
                  <a:lnTo>
                    <a:pt x="91" y="96"/>
                  </a:lnTo>
                  <a:lnTo>
                    <a:pt x="91" y="97"/>
                  </a:lnTo>
                  <a:lnTo>
                    <a:pt x="92" y="96"/>
                  </a:lnTo>
                  <a:lnTo>
                    <a:pt x="92" y="94"/>
                  </a:lnTo>
                  <a:lnTo>
                    <a:pt x="94" y="92"/>
                  </a:lnTo>
                  <a:lnTo>
                    <a:pt x="96" y="94"/>
                  </a:lnTo>
                  <a:lnTo>
                    <a:pt x="98" y="92"/>
                  </a:lnTo>
                  <a:lnTo>
                    <a:pt x="100" y="94"/>
                  </a:lnTo>
                  <a:lnTo>
                    <a:pt x="102" y="92"/>
                  </a:lnTo>
                  <a:lnTo>
                    <a:pt x="106" y="92"/>
                  </a:lnTo>
                  <a:lnTo>
                    <a:pt x="108" y="99"/>
                  </a:lnTo>
                  <a:lnTo>
                    <a:pt x="104" y="101"/>
                  </a:lnTo>
                  <a:lnTo>
                    <a:pt x="104" y="103"/>
                  </a:lnTo>
                  <a:lnTo>
                    <a:pt x="108" y="103"/>
                  </a:lnTo>
                  <a:lnTo>
                    <a:pt x="108" y="105"/>
                  </a:lnTo>
                  <a:lnTo>
                    <a:pt x="110" y="109"/>
                  </a:lnTo>
                  <a:lnTo>
                    <a:pt x="119" y="113"/>
                  </a:lnTo>
                  <a:lnTo>
                    <a:pt x="117" y="115"/>
                  </a:lnTo>
                  <a:lnTo>
                    <a:pt x="121" y="115"/>
                  </a:lnTo>
                  <a:lnTo>
                    <a:pt x="123" y="117"/>
                  </a:lnTo>
                  <a:lnTo>
                    <a:pt x="125" y="117"/>
                  </a:lnTo>
                  <a:lnTo>
                    <a:pt x="125" y="122"/>
                  </a:lnTo>
                  <a:lnTo>
                    <a:pt x="127" y="121"/>
                  </a:lnTo>
                  <a:lnTo>
                    <a:pt x="127" y="117"/>
                  </a:lnTo>
                  <a:lnTo>
                    <a:pt x="129" y="115"/>
                  </a:lnTo>
                  <a:lnTo>
                    <a:pt x="129" y="111"/>
                  </a:lnTo>
                  <a:lnTo>
                    <a:pt x="131" y="111"/>
                  </a:lnTo>
                  <a:lnTo>
                    <a:pt x="135" y="107"/>
                  </a:lnTo>
                  <a:lnTo>
                    <a:pt x="144" y="109"/>
                  </a:lnTo>
                  <a:lnTo>
                    <a:pt x="146" y="101"/>
                  </a:lnTo>
                  <a:lnTo>
                    <a:pt x="150" y="101"/>
                  </a:lnTo>
                  <a:lnTo>
                    <a:pt x="158" y="96"/>
                  </a:lnTo>
                  <a:lnTo>
                    <a:pt x="162" y="96"/>
                  </a:lnTo>
                  <a:lnTo>
                    <a:pt x="163" y="96"/>
                  </a:lnTo>
                  <a:lnTo>
                    <a:pt x="162" y="101"/>
                  </a:lnTo>
                  <a:lnTo>
                    <a:pt x="167" y="101"/>
                  </a:lnTo>
                  <a:lnTo>
                    <a:pt x="169" y="111"/>
                  </a:lnTo>
                  <a:lnTo>
                    <a:pt x="175" y="111"/>
                  </a:lnTo>
                  <a:lnTo>
                    <a:pt x="179" y="107"/>
                  </a:lnTo>
                  <a:lnTo>
                    <a:pt x="183" y="105"/>
                  </a:lnTo>
                  <a:lnTo>
                    <a:pt x="187" y="105"/>
                  </a:lnTo>
                  <a:lnTo>
                    <a:pt x="188" y="103"/>
                  </a:lnTo>
                  <a:lnTo>
                    <a:pt x="187" y="109"/>
                  </a:lnTo>
                  <a:lnTo>
                    <a:pt x="188" y="111"/>
                  </a:lnTo>
                  <a:lnTo>
                    <a:pt x="192" y="107"/>
                  </a:lnTo>
                  <a:lnTo>
                    <a:pt x="198" y="105"/>
                  </a:lnTo>
                  <a:lnTo>
                    <a:pt x="196" y="101"/>
                  </a:lnTo>
                  <a:lnTo>
                    <a:pt x="204" y="99"/>
                  </a:lnTo>
                  <a:lnTo>
                    <a:pt x="208" y="97"/>
                  </a:lnTo>
                  <a:lnTo>
                    <a:pt x="210" y="97"/>
                  </a:lnTo>
                  <a:lnTo>
                    <a:pt x="210" y="94"/>
                  </a:lnTo>
                  <a:lnTo>
                    <a:pt x="213" y="94"/>
                  </a:lnTo>
                  <a:lnTo>
                    <a:pt x="221" y="94"/>
                  </a:lnTo>
                  <a:lnTo>
                    <a:pt x="223" y="92"/>
                  </a:lnTo>
                  <a:lnTo>
                    <a:pt x="227" y="94"/>
                  </a:lnTo>
                  <a:lnTo>
                    <a:pt x="233" y="92"/>
                  </a:lnTo>
                  <a:lnTo>
                    <a:pt x="236" y="96"/>
                  </a:lnTo>
                  <a:lnTo>
                    <a:pt x="236" y="94"/>
                  </a:lnTo>
                  <a:lnTo>
                    <a:pt x="236" y="90"/>
                  </a:lnTo>
                  <a:lnTo>
                    <a:pt x="240" y="90"/>
                  </a:lnTo>
                  <a:lnTo>
                    <a:pt x="240" y="86"/>
                  </a:lnTo>
                  <a:lnTo>
                    <a:pt x="242" y="86"/>
                  </a:lnTo>
                  <a:lnTo>
                    <a:pt x="250" y="88"/>
                  </a:lnTo>
                  <a:lnTo>
                    <a:pt x="252" y="84"/>
                  </a:lnTo>
                  <a:lnTo>
                    <a:pt x="250" y="78"/>
                  </a:lnTo>
                  <a:lnTo>
                    <a:pt x="254" y="74"/>
                  </a:lnTo>
                  <a:lnTo>
                    <a:pt x="256" y="67"/>
                  </a:lnTo>
                  <a:lnTo>
                    <a:pt x="259" y="63"/>
                  </a:lnTo>
                  <a:lnTo>
                    <a:pt x="263" y="65"/>
                  </a:lnTo>
                  <a:lnTo>
                    <a:pt x="271" y="63"/>
                  </a:lnTo>
                  <a:lnTo>
                    <a:pt x="275" y="65"/>
                  </a:lnTo>
                  <a:lnTo>
                    <a:pt x="277" y="71"/>
                  </a:lnTo>
                  <a:lnTo>
                    <a:pt x="282" y="73"/>
                  </a:lnTo>
                  <a:lnTo>
                    <a:pt x="284" y="71"/>
                  </a:lnTo>
                  <a:lnTo>
                    <a:pt x="292" y="67"/>
                  </a:lnTo>
                  <a:lnTo>
                    <a:pt x="292" y="69"/>
                  </a:lnTo>
                  <a:lnTo>
                    <a:pt x="290" y="71"/>
                  </a:lnTo>
                  <a:lnTo>
                    <a:pt x="296" y="71"/>
                  </a:lnTo>
                  <a:lnTo>
                    <a:pt x="302" y="76"/>
                  </a:lnTo>
                  <a:lnTo>
                    <a:pt x="300" y="82"/>
                  </a:lnTo>
                  <a:lnTo>
                    <a:pt x="300" y="86"/>
                  </a:lnTo>
                  <a:lnTo>
                    <a:pt x="304" y="88"/>
                  </a:lnTo>
                  <a:lnTo>
                    <a:pt x="309" y="88"/>
                  </a:lnTo>
                  <a:lnTo>
                    <a:pt x="309" y="84"/>
                  </a:lnTo>
                  <a:lnTo>
                    <a:pt x="315" y="88"/>
                  </a:lnTo>
                  <a:lnTo>
                    <a:pt x="321" y="88"/>
                  </a:lnTo>
                  <a:lnTo>
                    <a:pt x="317" y="94"/>
                  </a:lnTo>
                  <a:lnTo>
                    <a:pt x="319" y="96"/>
                  </a:lnTo>
                  <a:lnTo>
                    <a:pt x="315" y="101"/>
                  </a:lnTo>
                  <a:lnTo>
                    <a:pt x="321" y="103"/>
                  </a:lnTo>
                  <a:lnTo>
                    <a:pt x="323" y="103"/>
                  </a:lnTo>
                  <a:lnTo>
                    <a:pt x="329" y="111"/>
                  </a:lnTo>
                  <a:lnTo>
                    <a:pt x="334" y="111"/>
                  </a:lnTo>
                  <a:lnTo>
                    <a:pt x="336" y="109"/>
                  </a:lnTo>
                  <a:lnTo>
                    <a:pt x="336" y="105"/>
                  </a:lnTo>
                  <a:lnTo>
                    <a:pt x="338" y="105"/>
                  </a:lnTo>
                  <a:lnTo>
                    <a:pt x="338" y="101"/>
                  </a:lnTo>
                  <a:lnTo>
                    <a:pt x="340" y="96"/>
                  </a:lnTo>
                  <a:lnTo>
                    <a:pt x="344" y="94"/>
                  </a:lnTo>
                  <a:lnTo>
                    <a:pt x="346" y="90"/>
                  </a:lnTo>
                  <a:lnTo>
                    <a:pt x="352" y="86"/>
                  </a:lnTo>
                  <a:lnTo>
                    <a:pt x="355" y="90"/>
                  </a:lnTo>
                  <a:lnTo>
                    <a:pt x="357" y="90"/>
                  </a:lnTo>
                  <a:lnTo>
                    <a:pt x="365" y="88"/>
                  </a:lnTo>
                  <a:lnTo>
                    <a:pt x="367" y="84"/>
                  </a:lnTo>
                  <a:lnTo>
                    <a:pt x="369" y="84"/>
                  </a:lnTo>
                  <a:lnTo>
                    <a:pt x="373" y="86"/>
                  </a:lnTo>
                  <a:lnTo>
                    <a:pt x="371" y="90"/>
                  </a:lnTo>
                  <a:lnTo>
                    <a:pt x="377" y="90"/>
                  </a:lnTo>
                  <a:lnTo>
                    <a:pt x="377" y="92"/>
                  </a:lnTo>
                  <a:lnTo>
                    <a:pt x="380" y="90"/>
                  </a:lnTo>
                  <a:lnTo>
                    <a:pt x="384" y="94"/>
                  </a:lnTo>
                  <a:lnTo>
                    <a:pt x="382" y="88"/>
                  </a:lnTo>
                  <a:lnTo>
                    <a:pt x="386" y="82"/>
                  </a:lnTo>
                  <a:lnTo>
                    <a:pt x="388" y="80"/>
                  </a:lnTo>
                  <a:lnTo>
                    <a:pt x="388" y="82"/>
                  </a:lnTo>
                  <a:lnTo>
                    <a:pt x="394" y="84"/>
                  </a:lnTo>
                  <a:lnTo>
                    <a:pt x="398" y="86"/>
                  </a:lnTo>
                  <a:lnTo>
                    <a:pt x="398" y="82"/>
                  </a:lnTo>
                  <a:lnTo>
                    <a:pt x="400" y="78"/>
                  </a:lnTo>
                  <a:lnTo>
                    <a:pt x="401" y="73"/>
                  </a:lnTo>
                  <a:lnTo>
                    <a:pt x="401" y="71"/>
                  </a:lnTo>
                  <a:lnTo>
                    <a:pt x="403" y="65"/>
                  </a:lnTo>
                  <a:lnTo>
                    <a:pt x="401" y="63"/>
                  </a:lnTo>
                  <a:lnTo>
                    <a:pt x="405" y="59"/>
                  </a:lnTo>
                  <a:lnTo>
                    <a:pt x="409" y="57"/>
                  </a:lnTo>
                  <a:lnTo>
                    <a:pt x="409" y="51"/>
                  </a:lnTo>
                  <a:lnTo>
                    <a:pt x="411" y="44"/>
                  </a:lnTo>
                  <a:lnTo>
                    <a:pt x="409" y="40"/>
                  </a:lnTo>
                  <a:lnTo>
                    <a:pt x="413" y="36"/>
                  </a:lnTo>
                  <a:lnTo>
                    <a:pt x="417" y="34"/>
                  </a:lnTo>
                  <a:lnTo>
                    <a:pt x="417" y="32"/>
                  </a:lnTo>
                  <a:lnTo>
                    <a:pt x="419" y="34"/>
                  </a:lnTo>
                  <a:lnTo>
                    <a:pt x="421" y="30"/>
                  </a:lnTo>
                  <a:lnTo>
                    <a:pt x="425" y="32"/>
                  </a:lnTo>
                  <a:lnTo>
                    <a:pt x="426" y="28"/>
                  </a:lnTo>
                  <a:lnTo>
                    <a:pt x="428" y="24"/>
                  </a:lnTo>
                  <a:lnTo>
                    <a:pt x="428" y="19"/>
                  </a:lnTo>
                  <a:lnTo>
                    <a:pt x="434" y="21"/>
                  </a:lnTo>
                  <a:lnTo>
                    <a:pt x="436" y="19"/>
                  </a:lnTo>
                  <a:lnTo>
                    <a:pt x="444" y="23"/>
                  </a:lnTo>
                  <a:lnTo>
                    <a:pt x="444" y="17"/>
                  </a:lnTo>
                  <a:lnTo>
                    <a:pt x="448" y="15"/>
                  </a:lnTo>
                  <a:lnTo>
                    <a:pt x="448" y="9"/>
                  </a:lnTo>
                  <a:lnTo>
                    <a:pt x="451" y="13"/>
                  </a:lnTo>
                  <a:lnTo>
                    <a:pt x="453" y="7"/>
                  </a:lnTo>
                  <a:lnTo>
                    <a:pt x="449" y="5"/>
                  </a:lnTo>
                  <a:lnTo>
                    <a:pt x="449" y="0"/>
                  </a:lnTo>
                  <a:lnTo>
                    <a:pt x="455" y="1"/>
                  </a:lnTo>
                  <a:lnTo>
                    <a:pt x="459" y="7"/>
                  </a:lnTo>
                  <a:lnTo>
                    <a:pt x="465" y="11"/>
                  </a:lnTo>
                  <a:lnTo>
                    <a:pt x="472" y="11"/>
                  </a:lnTo>
                  <a:lnTo>
                    <a:pt x="478" y="1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4" name="Freeform 26">
              <a:extLst>
                <a:ext uri="{FF2B5EF4-FFF2-40B4-BE49-F238E27FC236}">
                  <a16:creationId xmlns:a16="http://schemas.microsoft.com/office/drawing/2014/main" id="{6C6C8BE7-CC03-41A7-B293-5056290A7B7F}"/>
                </a:ext>
              </a:extLst>
            </p:cNvPr>
            <p:cNvSpPr>
              <a:spLocks/>
            </p:cNvSpPr>
            <p:nvPr/>
          </p:nvSpPr>
          <p:spPr bwMode="gray">
            <a:xfrm>
              <a:off x="6048376" y="2854325"/>
              <a:ext cx="844551" cy="557213"/>
            </a:xfrm>
            <a:custGeom>
              <a:avLst/>
              <a:gdLst>
                <a:gd name="T0" fmla="*/ 522 w 532"/>
                <a:gd name="T1" fmla="*/ 111 h 351"/>
                <a:gd name="T2" fmla="*/ 524 w 532"/>
                <a:gd name="T3" fmla="*/ 132 h 351"/>
                <a:gd name="T4" fmla="*/ 497 w 532"/>
                <a:gd name="T5" fmla="*/ 148 h 351"/>
                <a:gd name="T6" fmla="*/ 484 w 532"/>
                <a:gd name="T7" fmla="*/ 157 h 351"/>
                <a:gd name="T8" fmla="*/ 490 w 532"/>
                <a:gd name="T9" fmla="*/ 184 h 351"/>
                <a:gd name="T10" fmla="*/ 503 w 532"/>
                <a:gd name="T11" fmla="*/ 207 h 351"/>
                <a:gd name="T12" fmla="*/ 492 w 532"/>
                <a:gd name="T13" fmla="*/ 213 h 351"/>
                <a:gd name="T14" fmla="*/ 472 w 532"/>
                <a:gd name="T15" fmla="*/ 232 h 351"/>
                <a:gd name="T16" fmla="*/ 447 w 532"/>
                <a:gd name="T17" fmla="*/ 229 h 351"/>
                <a:gd name="T18" fmla="*/ 432 w 532"/>
                <a:gd name="T19" fmla="*/ 250 h 351"/>
                <a:gd name="T20" fmla="*/ 411 w 532"/>
                <a:gd name="T21" fmla="*/ 265 h 351"/>
                <a:gd name="T22" fmla="*/ 399 w 532"/>
                <a:gd name="T23" fmla="*/ 302 h 351"/>
                <a:gd name="T24" fmla="*/ 382 w 532"/>
                <a:gd name="T25" fmla="*/ 323 h 351"/>
                <a:gd name="T26" fmla="*/ 355 w 532"/>
                <a:gd name="T27" fmla="*/ 319 h 351"/>
                <a:gd name="T28" fmla="*/ 334 w 532"/>
                <a:gd name="T29" fmla="*/ 338 h 351"/>
                <a:gd name="T30" fmla="*/ 313 w 532"/>
                <a:gd name="T31" fmla="*/ 317 h 351"/>
                <a:gd name="T32" fmla="*/ 290 w 532"/>
                <a:gd name="T33" fmla="*/ 298 h 351"/>
                <a:gd name="T34" fmla="*/ 254 w 532"/>
                <a:gd name="T35" fmla="*/ 296 h 351"/>
                <a:gd name="T36" fmla="*/ 234 w 532"/>
                <a:gd name="T37" fmla="*/ 323 h 351"/>
                <a:gd name="T38" fmla="*/ 206 w 532"/>
                <a:gd name="T39" fmla="*/ 326 h 351"/>
                <a:gd name="T40" fmla="*/ 181 w 532"/>
                <a:gd name="T41" fmla="*/ 334 h 351"/>
                <a:gd name="T42" fmla="*/ 148 w 532"/>
                <a:gd name="T43" fmla="*/ 330 h 351"/>
                <a:gd name="T44" fmla="*/ 123 w 532"/>
                <a:gd name="T45" fmla="*/ 351 h 351"/>
                <a:gd name="T46" fmla="*/ 102 w 532"/>
                <a:gd name="T47" fmla="*/ 332 h 351"/>
                <a:gd name="T48" fmla="*/ 90 w 532"/>
                <a:gd name="T49" fmla="*/ 323 h 351"/>
                <a:gd name="T50" fmla="*/ 79 w 532"/>
                <a:gd name="T51" fmla="*/ 319 h 351"/>
                <a:gd name="T52" fmla="*/ 44 w 532"/>
                <a:gd name="T53" fmla="*/ 326 h 351"/>
                <a:gd name="T54" fmla="*/ 19 w 532"/>
                <a:gd name="T55" fmla="*/ 305 h 351"/>
                <a:gd name="T56" fmla="*/ 2 w 532"/>
                <a:gd name="T57" fmla="*/ 277 h 351"/>
                <a:gd name="T58" fmla="*/ 14 w 532"/>
                <a:gd name="T59" fmla="*/ 244 h 351"/>
                <a:gd name="T60" fmla="*/ 37 w 532"/>
                <a:gd name="T61" fmla="*/ 232 h 351"/>
                <a:gd name="T62" fmla="*/ 52 w 532"/>
                <a:gd name="T63" fmla="*/ 227 h 351"/>
                <a:gd name="T64" fmla="*/ 66 w 532"/>
                <a:gd name="T65" fmla="*/ 211 h 351"/>
                <a:gd name="T66" fmla="*/ 100 w 532"/>
                <a:gd name="T67" fmla="*/ 196 h 351"/>
                <a:gd name="T68" fmla="*/ 140 w 532"/>
                <a:gd name="T69" fmla="*/ 194 h 351"/>
                <a:gd name="T70" fmla="*/ 119 w 532"/>
                <a:gd name="T71" fmla="*/ 171 h 351"/>
                <a:gd name="T72" fmla="*/ 79 w 532"/>
                <a:gd name="T73" fmla="*/ 148 h 351"/>
                <a:gd name="T74" fmla="*/ 92 w 532"/>
                <a:gd name="T75" fmla="*/ 134 h 351"/>
                <a:gd name="T76" fmla="*/ 75 w 532"/>
                <a:gd name="T77" fmla="*/ 117 h 351"/>
                <a:gd name="T78" fmla="*/ 94 w 532"/>
                <a:gd name="T79" fmla="*/ 94 h 351"/>
                <a:gd name="T80" fmla="*/ 104 w 532"/>
                <a:gd name="T81" fmla="*/ 84 h 351"/>
                <a:gd name="T82" fmla="*/ 92 w 532"/>
                <a:gd name="T83" fmla="*/ 67 h 351"/>
                <a:gd name="T84" fmla="*/ 83 w 532"/>
                <a:gd name="T85" fmla="*/ 54 h 351"/>
                <a:gd name="T86" fmla="*/ 69 w 532"/>
                <a:gd name="T87" fmla="*/ 27 h 351"/>
                <a:gd name="T88" fmla="*/ 89 w 532"/>
                <a:gd name="T89" fmla="*/ 4 h 351"/>
                <a:gd name="T90" fmla="*/ 133 w 532"/>
                <a:gd name="T91" fmla="*/ 15 h 351"/>
                <a:gd name="T92" fmla="*/ 148 w 532"/>
                <a:gd name="T93" fmla="*/ 48 h 351"/>
                <a:gd name="T94" fmla="*/ 186 w 532"/>
                <a:gd name="T95" fmla="*/ 71 h 351"/>
                <a:gd name="T96" fmla="*/ 219 w 532"/>
                <a:gd name="T97" fmla="*/ 84 h 351"/>
                <a:gd name="T98" fmla="*/ 259 w 532"/>
                <a:gd name="T99" fmla="*/ 88 h 351"/>
                <a:gd name="T100" fmla="*/ 292 w 532"/>
                <a:gd name="T101" fmla="*/ 90 h 351"/>
                <a:gd name="T102" fmla="*/ 315 w 532"/>
                <a:gd name="T103" fmla="*/ 96 h 351"/>
                <a:gd name="T104" fmla="*/ 355 w 532"/>
                <a:gd name="T105" fmla="*/ 113 h 351"/>
                <a:gd name="T106" fmla="*/ 399 w 532"/>
                <a:gd name="T107" fmla="*/ 102 h 351"/>
                <a:gd name="T108" fmla="*/ 417 w 532"/>
                <a:gd name="T109" fmla="*/ 123 h 351"/>
                <a:gd name="T110" fmla="*/ 453 w 532"/>
                <a:gd name="T111" fmla="*/ 119 h 351"/>
                <a:gd name="T112" fmla="*/ 484 w 532"/>
                <a:gd name="T113" fmla="*/ 106 h 351"/>
                <a:gd name="T114" fmla="*/ 501 w 532"/>
                <a:gd name="T115" fmla="*/ 12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2" h="351">
                  <a:moveTo>
                    <a:pt x="511" y="104"/>
                  </a:moveTo>
                  <a:lnTo>
                    <a:pt x="517" y="108"/>
                  </a:lnTo>
                  <a:lnTo>
                    <a:pt x="520" y="106"/>
                  </a:lnTo>
                  <a:lnTo>
                    <a:pt x="524" y="106"/>
                  </a:lnTo>
                  <a:lnTo>
                    <a:pt x="524" y="102"/>
                  </a:lnTo>
                  <a:lnTo>
                    <a:pt x="526" y="104"/>
                  </a:lnTo>
                  <a:lnTo>
                    <a:pt x="526" y="106"/>
                  </a:lnTo>
                  <a:lnTo>
                    <a:pt x="520" y="109"/>
                  </a:lnTo>
                  <a:lnTo>
                    <a:pt x="522" y="111"/>
                  </a:lnTo>
                  <a:lnTo>
                    <a:pt x="526" y="111"/>
                  </a:lnTo>
                  <a:lnTo>
                    <a:pt x="524" y="113"/>
                  </a:lnTo>
                  <a:lnTo>
                    <a:pt x="530" y="117"/>
                  </a:lnTo>
                  <a:lnTo>
                    <a:pt x="526" y="121"/>
                  </a:lnTo>
                  <a:lnTo>
                    <a:pt x="526" y="123"/>
                  </a:lnTo>
                  <a:lnTo>
                    <a:pt x="530" y="123"/>
                  </a:lnTo>
                  <a:lnTo>
                    <a:pt x="532" y="125"/>
                  </a:lnTo>
                  <a:lnTo>
                    <a:pt x="524" y="131"/>
                  </a:lnTo>
                  <a:lnTo>
                    <a:pt x="524" y="132"/>
                  </a:lnTo>
                  <a:lnTo>
                    <a:pt x="517" y="134"/>
                  </a:lnTo>
                  <a:lnTo>
                    <a:pt x="515" y="138"/>
                  </a:lnTo>
                  <a:lnTo>
                    <a:pt x="513" y="138"/>
                  </a:lnTo>
                  <a:lnTo>
                    <a:pt x="509" y="144"/>
                  </a:lnTo>
                  <a:lnTo>
                    <a:pt x="505" y="144"/>
                  </a:lnTo>
                  <a:lnTo>
                    <a:pt x="501" y="146"/>
                  </a:lnTo>
                  <a:lnTo>
                    <a:pt x="503" y="148"/>
                  </a:lnTo>
                  <a:lnTo>
                    <a:pt x="497" y="146"/>
                  </a:lnTo>
                  <a:lnTo>
                    <a:pt x="497" y="148"/>
                  </a:lnTo>
                  <a:lnTo>
                    <a:pt x="495" y="150"/>
                  </a:lnTo>
                  <a:lnTo>
                    <a:pt x="497" y="150"/>
                  </a:lnTo>
                  <a:lnTo>
                    <a:pt x="495" y="152"/>
                  </a:lnTo>
                  <a:lnTo>
                    <a:pt x="497" y="154"/>
                  </a:lnTo>
                  <a:lnTo>
                    <a:pt x="494" y="154"/>
                  </a:lnTo>
                  <a:lnTo>
                    <a:pt x="494" y="156"/>
                  </a:lnTo>
                  <a:lnTo>
                    <a:pt x="492" y="154"/>
                  </a:lnTo>
                  <a:lnTo>
                    <a:pt x="490" y="154"/>
                  </a:lnTo>
                  <a:lnTo>
                    <a:pt x="484" y="157"/>
                  </a:lnTo>
                  <a:lnTo>
                    <a:pt x="482" y="163"/>
                  </a:lnTo>
                  <a:lnTo>
                    <a:pt x="482" y="171"/>
                  </a:lnTo>
                  <a:lnTo>
                    <a:pt x="480" y="169"/>
                  </a:lnTo>
                  <a:lnTo>
                    <a:pt x="480" y="173"/>
                  </a:lnTo>
                  <a:lnTo>
                    <a:pt x="482" y="177"/>
                  </a:lnTo>
                  <a:lnTo>
                    <a:pt x="490" y="179"/>
                  </a:lnTo>
                  <a:lnTo>
                    <a:pt x="488" y="182"/>
                  </a:lnTo>
                  <a:lnTo>
                    <a:pt x="490" y="182"/>
                  </a:lnTo>
                  <a:lnTo>
                    <a:pt x="490" y="184"/>
                  </a:lnTo>
                  <a:lnTo>
                    <a:pt x="490" y="188"/>
                  </a:lnTo>
                  <a:lnTo>
                    <a:pt x="494" y="188"/>
                  </a:lnTo>
                  <a:lnTo>
                    <a:pt x="497" y="194"/>
                  </a:lnTo>
                  <a:lnTo>
                    <a:pt x="499" y="194"/>
                  </a:lnTo>
                  <a:lnTo>
                    <a:pt x="501" y="196"/>
                  </a:lnTo>
                  <a:lnTo>
                    <a:pt x="505" y="196"/>
                  </a:lnTo>
                  <a:lnTo>
                    <a:pt x="503" y="205"/>
                  </a:lnTo>
                  <a:lnTo>
                    <a:pt x="501" y="205"/>
                  </a:lnTo>
                  <a:lnTo>
                    <a:pt x="503" y="207"/>
                  </a:lnTo>
                  <a:lnTo>
                    <a:pt x="503" y="211"/>
                  </a:lnTo>
                  <a:lnTo>
                    <a:pt x="507" y="217"/>
                  </a:lnTo>
                  <a:lnTo>
                    <a:pt x="507" y="219"/>
                  </a:lnTo>
                  <a:lnTo>
                    <a:pt x="505" y="219"/>
                  </a:lnTo>
                  <a:lnTo>
                    <a:pt x="499" y="217"/>
                  </a:lnTo>
                  <a:lnTo>
                    <a:pt x="499" y="219"/>
                  </a:lnTo>
                  <a:lnTo>
                    <a:pt x="497" y="217"/>
                  </a:lnTo>
                  <a:lnTo>
                    <a:pt x="497" y="215"/>
                  </a:lnTo>
                  <a:lnTo>
                    <a:pt x="492" y="213"/>
                  </a:lnTo>
                  <a:lnTo>
                    <a:pt x="488" y="217"/>
                  </a:lnTo>
                  <a:lnTo>
                    <a:pt x="486" y="215"/>
                  </a:lnTo>
                  <a:lnTo>
                    <a:pt x="484" y="221"/>
                  </a:lnTo>
                  <a:lnTo>
                    <a:pt x="482" y="221"/>
                  </a:lnTo>
                  <a:lnTo>
                    <a:pt x="480" y="225"/>
                  </a:lnTo>
                  <a:lnTo>
                    <a:pt x="476" y="223"/>
                  </a:lnTo>
                  <a:lnTo>
                    <a:pt x="474" y="225"/>
                  </a:lnTo>
                  <a:lnTo>
                    <a:pt x="472" y="229"/>
                  </a:lnTo>
                  <a:lnTo>
                    <a:pt x="472" y="232"/>
                  </a:lnTo>
                  <a:lnTo>
                    <a:pt x="476" y="236"/>
                  </a:lnTo>
                  <a:lnTo>
                    <a:pt x="482" y="242"/>
                  </a:lnTo>
                  <a:lnTo>
                    <a:pt x="482" y="244"/>
                  </a:lnTo>
                  <a:lnTo>
                    <a:pt x="476" y="244"/>
                  </a:lnTo>
                  <a:lnTo>
                    <a:pt x="470" y="240"/>
                  </a:lnTo>
                  <a:lnTo>
                    <a:pt x="463" y="240"/>
                  </a:lnTo>
                  <a:lnTo>
                    <a:pt x="457" y="236"/>
                  </a:lnTo>
                  <a:lnTo>
                    <a:pt x="453" y="230"/>
                  </a:lnTo>
                  <a:lnTo>
                    <a:pt x="447" y="229"/>
                  </a:lnTo>
                  <a:lnTo>
                    <a:pt x="447" y="234"/>
                  </a:lnTo>
                  <a:lnTo>
                    <a:pt x="451" y="236"/>
                  </a:lnTo>
                  <a:lnTo>
                    <a:pt x="449" y="242"/>
                  </a:lnTo>
                  <a:lnTo>
                    <a:pt x="446" y="238"/>
                  </a:lnTo>
                  <a:lnTo>
                    <a:pt x="446" y="244"/>
                  </a:lnTo>
                  <a:lnTo>
                    <a:pt x="442" y="246"/>
                  </a:lnTo>
                  <a:lnTo>
                    <a:pt x="442" y="252"/>
                  </a:lnTo>
                  <a:lnTo>
                    <a:pt x="434" y="248"/>
                  </a:lnTo>
                  <a:lnTo>
                    <a:pt x="432" y="250"/>
                  </a:lnTo>
                  <a:lnTo>
                    <a:pt x="426" y="248"/>
                  </a:lnTo>
                  <a:lnTo>
                    <a:pt x="426" y="253"/>
                  </a:lnTo>
                  <a:lnTo>
                    <a:pt x="424" y="257"/>
                  </a:lnTo>
                  <a:lnTo>
                    <a:pt x="423" y="261"/>
                  </a:lnTo>
                  <a:lnTo>
                    <a:pt x="419" y="259"/>
                  </a:lnTo>
                  <a:lnTo>
                    <a:pt x="417" y="263"/>
                  </a:lnTo>
                  <a:lnTo>
                    <a:pt x="415" y="261"/>
                  </a:lnTo>
                  <a:lnTo>
                    <a:pt x="415" y="263"/>
                  </a:lnTo>
                  <a:lnTo>
                    <a:pt x="411" y="265"/>
                  </a:lnTo>
                  <a:lnTo>
                    <a:pt x="407" y="269"/>
                  </a:lnTo>
                  <a:lnTo>
                    <a:pt x="409" y="273"/>
                  </a:lnTo>
                  <a:lnTo>
                    <a:pt x="407" y="280"/>
                  </a:lnTo>
                  <a:lnTo>
                    <a:pt x="407" y="286"/>
                  </a:lnTo>
                  <a:lnTo>
                    <a:pt x="403" y="288"/>
                  </a:lnTo>
                  <a:lnTo>
                    <a:pt x="399" y="292"/>
                  </a:lnTo>
                  <a:lnTo>
                    <a:pt x="401" y="294"/>
                  </a:lnTo>
                  <a:lnTo>
                    <a:pt x="399" y="300"/>
                  </a:lnTo>
                  <a:lnTo>
                    <a:pt x="399" y="302"/>
                  </a:lnTo>
                  <a:lnTo>
                    <a:pt x="398" y="307"/>
                  </a:lnTo>
                  <a:lnTo>
                    <a:pt x="396" y="311"/>
                  </a:lnTo>
                  <a:lnTo>
                    <a:pt x="396" y="315"/>
                  </a:lnTo>
                  <a:lnTo>
                    <a:pt x="392" y="313"/>
                  </a:lnTo>
                  <a:lnTo>
                    <a:pt x="386" y="311"/>
                  </a:lnTo>
                  <a:lnTo>
                    <a:pt x="386" y="309"/>
                  </a:lnTo>
                  <a:lnTo>
                    <a:pt x="384" y="311"/>
                  </a:lnTo>
                  <a:lnTo>
                    <a:pt x="380" y="317"/>
                  </a:lnTo>
                  <a:lnTo>
                    <a:pt x="382" y="323"/>
                  </a:lnTo>
                  <a:lnTo>
                    <a:pt x="378" y="319"/>
                  </a:lnTo>
                  <a:lnTo>
                    <a:pt x="375" y="321"/>
                  </a:lnTo>
                  <a:lnTo>
                    <a:pt x="375" y="319"/>
                  </a:lnTo>
                  <a:lnTo>
                    <a:pt x="369" y="319"/>
                  </a:lnTo>
                  <a:lnTo>
                    <a:pt x="371" y="315"/>
                  </a:lnTo>
                  <a:lnTo>
                    <a:pt x="367" y="313"/>
                  </a:lnTo>
                  <a:lnTo>
                    <a:pt x="365" y="313"/>
                  </a:lnTo>
                  <a:lnTo>
                    <a:pt x="363" y="317"/>
                  </a:lnTo>
                  <a:lnTo>
                    <a:pt x="355" y="319"/>
                  </a:lnTo>
                  <a:lnTo>
                    <a:pt x="353" y="319"/>
                  </a:lnTo>
                  <a:lnTo>
                    <a:pt x="350" y="315"/>
                  </a:lnTo>
                  <a:lnTo>
                    <a:pt x="344" y="319"/>
                  </a:lnTo>
                  <a:lnTo>
                    <a:pt x="342" y="323"/>
                  </a:lnTo>
                  <a:lnTo>
                    <a:pt x="338" y="325"/>
                  </a:lnTo>
                  <a:lnTo>
                    <a:pt x="336" y="330"/>
                  </a:lnTo>
                  <a:lnTo>
                    <a:pt x="336" y="334"/>
                  </a:lnTo>
                  <a:lnTo>
                    <a:pt x="334" y="334"/>
                  </a:lnTo>
                  <a:lnTo>
                    <a:pt x="334" y="338"/>
                  </a:lnTo>
                  <a:lnTo>
                    <a:pt x="332" y="340"/>
                  </a:lnTo>
                  <a:lnTo>
                    <a:pt x="327" y="340"/>
                  </a:lnTo>
                  <a:lnTo>
                    <a:pt x="321" y="332"/>
                  </a:lnTo>
                  <a:lnTo>
                    <a:pt x="319" y="332"/>
                  </a:lnTo>
                  <a:lnTo>
                    <a:pt x="313" y="330"/>
                  </a:lnTo>
                  <a:lnTo>
                    <a:pt x="317" y="325"/>
                  </a:lnTo>
                  <a:lnTo>
                    <a:pt x="315" y="323"/>
                  </a:lnTo>
                  <a:lnTo>
                    <a:pt x="319" y="317"/>
                  </a:lnTo>
                  <a:lnTo>
                    <a:pt x="313" y="317"/>
                  </a:lnTo>
                  <a:lnTo>
                    <a:pt x="307" y="313"/>
                  </a:lnTo>
                  <a:lnTo>
                    <a:pt x="307" y="317"/>
                  </a:lnTo>
                  <a:lnTo>
                    <a:pt x="302" y="317"/>
                  </a:lnTo>
                  <a:lnTo>
                    <a:pt x="298" y="315"/>
                  </a:lnTo>
                  <a:lnTo>
                    <a:pt x="298" y="311"/>
                  </a:lnTo>
                  <a:lnTo>
                    <a:pt x="300" y="305"/>
                  </a:lnTo>
                  <a:lnTo>
                    <a:pt x="294" y="300"/>
                  </a:lnTo>
                  <a:lnTo>
                    <a:pt x="288" y="300"/>
                  </a:lnTo>
                  <a:lnTo>
                    <a:pt x="290" y="298"/>
                  </a:lnTo>
                  <a:lnTo>
                    <a:pt x="290" y="296"/>
                  </a:lnTo>
                  <a:lnTo>
                    <a:pt x="282" y="300"/>
                  </a:lnTo>
                  <a:lnTo>
                    <a:pt x="280" y="302"/>
                  </a:lnTo>
                  <a:lnTo>
                    <a:pt x="275" y="300"/>
                  </a:lnTo>
                  <a:lnTo>
                    <a:pt x="273" y="294"/>
                  </a:lnTo>
                  <a:lnTo>
                    <a:pt x="269" y="292"/>
                  </a:lnTo>
                  <a:lnTo>
                    <a:pt x="261" y="294"/>
                  </a:lnTo>
                  <a:lnTo>
                    <a:pt x="257" y="292"/>
                  </a:lnTo>
                  <a:lnTo>
                    <a:pt x="254" y="296"/>
                  </a:lnTo>
                  <a:lnTo>
                    <a:pt x="252" y="303"/>
                  </a:lnTo>
                  <a:lnTo>
                    <a:pt x="248" y="307"/>
                  </a:lnTo>
                  <a:lnTo>
                    <a:pt x="250" y="313"/>
                  </a:lnTo>
                  <a:lnTo>
                    <a:pt x="248" y="317"/>
                  </a:lnTo>
                  <a:lnTo>
                    <a:pt x="240" y="315"/>
                  </a:lnTo>
                  <a:lnTo>
                    <a:pt x="238" y="315"/>
                  </a:lnTo>
                  <a:lnTo>
                    <a:pt x="238" y="319"/>
                  </a:lnTo>
                  <a:lnTo>
                    <a:pt x="234" y="319"/>
                  </a:lnTo>
                  <a:lnTo>
                    <a:pt x="234" y="323"/>
                  </a:lnTo>
                  <a:lnTo>
                    <a:pt x="234" y="325"/>
                  </a:lnTo>
                  <a:lnTo>
                    <a:pt x="231" y="321"/>
                  </a:lnTo>
                  <a:lnTo>
                    <a:pt x="225" y="323"/>
                  </a:lnTo>
                  <a:lnTo>
                    <a:pt x="221" y="321"/>
                  </a:lnTo>
                  <a:lnTo>
                    <a:pt x="219" y="323"/>
                  </a:lnTo>
                  <a:lnTo>
                    <a:pt x="211" y="323"/>
                  </a:lnTo>
                  <a:lnTo>
                    <a:pt x="208" y="323"/>
                  </a:lnTo>
                  <a:lnTo>
                    <a:pt x="208" y="326"/>
                  </a:lnTo>
                  <a:lnTo>
                    <a:pt x="206" y="326"/>
                  </a:lnTo>
                  <a:lnTo>
                    <a:pt x="202" y="328"/>
                  </a:lnTo>
                  <a:lnTo>
                    <a:pt x="194" y="330"/>
                  </a:lnTo>
                  <a:lnTo>
                    <a:pt x="196" y="334"/>
                  </a:lnTo>
                  <a:lnTo>
                    <a:pt x="190" y="336"/>
                  </a:lnTo>
                  <a:lnTo>
                    <a:pt x="186" y="340"/>
                  </a:lnTo>
                  <a:lnTo>
                    <a:pt x="185" y="338"/>
                  </a:lnTo>
                  <a:lnTo>
                    <a:pt x="186" y="332"/>
                  </a:lnTo>
                  <a:lnTo>
                    <a:pt x="185" y="334"/>
                  </a:lnTo>
                  <a:lnTo>
                    <a:pt x="181" y="334"/>
                  </a:lnTo>
                  <a:lnTo>
                    <a:pt x="177" y="336"/>
                  </a:lnTo>
                  <a:lnTo>
                    <a:pt x="173" y="340"/>
                  </a:lnTo>
                  <a:lnTo>
                    <a:pt x="167" y="340"/>
                  </a:lnTo>
                  <a:lnTo>
                    <a:pt x="165" y="330"/>
                  </a:lnTo>
                  <a:lnTo>
                    <a:pt x="160" y="330"/>
                  </a:lnTo>
                  <a:lnTo>
                    <a:pt x="161" y="325"/>
                  </a:lnTo>
                  <a:lnTo>
                    <a:pt x="160" y="325"/>
                  </a:lnTo>
                  <a:lnTo>
                    <a:pt x="156" y="325"/>
                  </a:lnTo>
                  <a:lnTo>
                    <a:pt x="148" y="330"/>
                  </a:lnTo>
                  <a:lnTo>
                    <a:pt x="144" y="330"/>
                  </a:lnTo>
                  <a:lnTo>
                    <a:pt x="142" y="338"/>
                  </a:lnTo>
                  <a:lnTo>
                    <a:pt x="133" y="336"/>
                  </a:lnTo>
                  <a:lnTo>
                    <a:pt x="129" y="340"/>
                  </a:lnTo>
                  <a:lnTo>
                    <a:pt x="127" y="340"/>
                  </a:lnTo>
                  <a:lnTo>
                    <a:pt x="127" y="344"/>
                  </a:lnTo>
                  <a:lnTo>
                    <a:pt x="125" y="346"/>
                  </a:lnTo>
                  <a:lnTo>
                    <a:pt x="125" y="350"/>
                  </a:lnTo>
                  <a:lnTo>
                    <a:pt x="123" y="351"/>
                  </a:lnTo>
                  <a:lnTo>
                    <a:pt x="123" y="346"/>
                  </a:lnTo>
                  <a:lnTo>
                    <a:pt x="121" y="346"/>
                  </a:lnTo>
                  <a:lnTo>
                    <a:pt x="119" y="344"/>
                  </a:lnTo>
                  <a:lnTo>
                    <a:pt x="115" y="344"/>
                  </a:lnTo>
                  <a:lnTo>
                    <a:pt x="117" y="342"/>
                  </a:lnTo>
                  <a:lnTo>
                    <a:pt x="108" y="338"/>
                  </a:lnTo>
                  <a:lnTo>
                    <a:pt x="106" y="334"/>
                  </a:lnTo>
                  <a:lnTo>
                    <a:pt x="106" y="332"/>
                  </a:lnTo>
                  <a:lnTo>
                    <a:pt x="102" y="332"/>
                  </a:lnTo>
                  <a:lnTo>
                    <a:pt x="102" y="330"/>
                  </a:lnTo>
                  <a:lnTo>
                    <a:pt x="106" y="328"/>
                  </a:lnTo>
                  <a:lnTo>
                    <a:pt x="104" y="321"/>
                  </a:lnTo>
                  <a:lnTo>
                    <a:pt x="100" y="321"/>
                  </a:lnTo>
                  <a:lnTo>
                    <a:pt x="98" y="323"/>
                  </a:lnTo>
                  <a:lnTo>
                    <a:pt x="96" y="321"/>
                  </a:lnTo>
                  <a:lnTo>
                    <a:pt x="94" y="323"/>
                  </a:lnTo>
                  <a:lnTo>
                    <a:pt x="92" y="321"/>
                  </a:lnTo>
                  <a:lnTo>
                    <a:pt x="90" y="323"/>
                  </a:lnTo>
                  <a:lnTo>
                    <a:pt x="90" y="325"/>
                  </a:lnTo>
                  <a:lnTo>
                    <a:pt x="89" y="326"/>
                  </a:lnTo>
                  <a:lnTo>
                    <a:pt x="89" y="325"/>
                  </a:lnTo>
                  <a:lnTo>
                    <a:pt x="89" y="323"/>
                  </a:lnTo>
                  <a:lnTo>
                    <a:pt x="87" y="323"/>
                  </a:lnTo>
                  <a:lnTo>
                    <a:pt x="85" y="328"/>
                  </a:lnTo>
                  <a:lnTo>
                    <a:pt x="83" y="328"/>
                  </a:lnTo>
                  <a:lnTo>
                    <a:pt x="81" y="326"/>
                  </a:lnTo>
                  <a:lnTo>
                    <a:pt x="79" y="319"/>
                  </a:lnTo>
                  <a:lnTo>
                    <a:pt x="77" y="317"/>
                  </a:lnTo>
                  <a:lnTo>
                    <a:pt x="77" y="313"/>
                  </a:lnTo>
                  <a:lnTo>
                    <a:pt x="73" y="311"/>
                  </a:lnTo>
                  <a:lnTo>
                    <a:pt x="71" y="313"/>
                  </a:lnTo>
                  <a:lnTo>
                    <a:pt x="67" y="321"/>
                  </a:lnTo>
                  <a:lnTo>
                    <a:pt x="64" y="321"/>
                  </a:lnTo>
                  <a:lnTo>
                    <a:pt x="54" y="323"/>
                  </a:lnTo>
                  <a:lnTo>
                    <a:pt x="52" y="323"/>
                  </a:lnTo>
                  <a:lnTo>
                    <a:pt x="44" y="326"/>
                  </a:lnTo>
                  <a:lnTo>
                    <a:pt x="39" y="326"/>
                  </a:lnTo>
                  <a:lnTo>
                    <a:pt x="29" y="325"/>
                  </a:lnTo>
                  <a:lnTo>
                    <a:pt x="23" y="323"/>
                  </a:lnTo>
                  <a:lnTo>
                    <a:pt x="19" y="323"/>
                  </a:lnTo>
                  <a:lnTo>
                    <a:pt x="21" y="319"/>
                  </a:lnTo>
                  <a:lnTo>
                    <a:pt x="21" y="315"/>
                  </a:lnTo>
                  <a:lnTo>
                    <a:pt x="23" y="313"/>
                  </a:lnTo>
                  <a:lnTo>
                    <a:pt x="18" y="309"/>
                  </a:lnTo>
                  <a:lnTo>
                    <a:pt x="19" y="305"/>
                  </a:lnTo>
                  <a:lnTo>
                    <a:pt x="14" y="300"/>
                  </a:lnTo>
                  <a:lnTo>
                    <a:pt x="10" y="298"/>
                  </a:lnTo>
                  <a:lnTo>
                    <a:pt x="8" y="296"/>
                  </a:lnTo>
                  <a:lnTo>
                    <a:pt x="8" y="290"/>
                  </a:lnTo>
                  <a:lnTo>
                    <a:pt x="4" y="286"/>
                  </a:lnTo>
                  <a:lnTo>
                    <a:pt x="4" y="284"/>
                  </a:lnTo>
                  <a:lnTo>
                    <a:pt x="4" y="282"/>
                  </a:lnTo>
                  <a:lnTo>
                    <a:pt x="4" y="277"/>
                  </a:lnTo>
                  <a:lnTo>
                    <a:pt x="2" y="277"/>
                  </a:lnTo>
                  <a:lnTo>
                    <a:pt x="4" y="271"/>
                  </a:lnTo>
                  <a:lnTo>
                    <a:pt x="0" y="269"/>
                  </a:lnTo>
                  <a:lnTo>
                    <a:pt x="4" y="259"/>
                  </a:lnTo>
                  <a:lnTo>
                    <a:pt x="6" y="259"/>
                  </a:lnTo>
                  <a:lnTo>
                    <a:pt x="4" y="250"/>
                  </a:lnTo>
                  <a:lnTo>
                    <a:pt x="8" y="250"/>
                  </a:lnTo>
                  <a:lnTo>
                    <a:pt x="10" y="246"/>
                  </a:lnTo>
                  <a:lnTo>
                    <a:pt x="14" y="246"/>
                  </a:lnTo>
                  <a:lnTo>
                    <a:pt x="14" y="244"/>
                  </a:lnTo>
                  <a:lnTo>
                    <a:pt x="16" y="244"/>
                  </a:lnTo>
                  <a:lnTo>
                    <a:pt x="18" y="242"/>
                  </a:lnTo>
                  <a:lnTo>
                    <a:pt x="21" y="240"/>
                  </a:lnTo>
                  <a:lnTo>
                    <a:pt x="21" y="238"/>
                  </a:lnTo>
                  <a:lnTo>
                    <a:pt x="25" y="238"/>
                  </a:lnTo>
                  <a:lnTo>
                    <a:pt x="27" y="238"/>
                  </a:lnTo>
                  <a:lnTo>
                    <a:pt x="31" y="236"/>
                  </a:lnTo>
                  <a:lnTo>
                    <a:pt x="37" y="234"/>
                  </a:lnTo>
                  <a:lnTo>
                    <a:pt x="37" y="232"/>
                  </a:lnTo>
                  <a:lnTo>
                    <a:pt x="41" y="232"/>
                  </a:lnTo>
                  <a:lnTo>
                    <a:pt x="39" y="230"/>
                  </a:lnTo>
                  <a:lnTo>
                    <a:pt x="41" y="229"/>
                  </a:lnTo>
                  <a:lnTo>
                    <a:pt x="42" y="230"/>
                  </a:lnTo>
                  <a:lnTo>
                    <a:pt x="46" y="227"/>
                  </a:lnTo>
                  <a:lnTo>
                    <a:pt x="48" y="229"/>
                  </a:lnTo>
                  <a:lnTo>
                    <a:pt x="46" y="229"/>
                  </a:lnTo>
                  <a:lnTo>
                    <a:pt x="48" y="230"/>
                  </a:lnTo>
                  <a:lnTo>
                    <a:pt x="52" y="227"/>
                  </a:lnTo>
                  <a:lnTo>
                    <a:pt x="52" y="225"/>
                  </a:lnTo>
                  <a:lnTo>
                    <a:pt x="56" y="225"/>
                  </a:lnTo>
                  <a:lnTo>
                    <a:pt x="56" y="223"/>
                  </a:lnTo>
                  <a:lnTo>
                    <a:pt x="54" y="223"/>
                  </a:lnTo>
                  <a:lnTo>
                    <a:pt x="54" y="221"/>
                  </a:lnTo>
                  <a:lnTo>
                    <a:pt x="58" y="221"/>
                  </a:lnTo>
                  <a:lnTo>
                    <a:pt x="60" y="215"/>
                  </a:lnTo>
                  <a:lnTo>
                    <a:pt x="64" y="215"/>
                  </a:lnTo>
                  <a:lnTo>
                    <a:pt x="66" y="211"/>
                  </a:lnTo>
                  <a:lnTo>
                    <a:pt x="69" y="209"/>
                  </a:lnTo>
                  <a:lnTo>
                    <a:pt x="75" y="205"/>
                  </a:lnTo>
                  <a:lnTo>
                    <a:pt x="81" y="204"/>
                  </a:lnTo>
                  <a:lnTo>
                    <a:pt x="83" y="202"/>
                  </a:lnTo>
                  <a:lnTo>
                    <a:pt x="83" y="198"/>
                  </a:lnTo>
                  <a:lnTo>
                    <a:pt x="85" y="194"/>
                  </a:lnTo>
                  <a:lnTo>
                    <a:pt x="89" y="192"/>
                  </a:lnTo>
                  <a:lnTo>
                    <a:pt x="94" y="196"/>
                  </a:lnTo>
                  <a:lnTo>
                    <a:pt x="100" y="196"/>
                  </a:lnTo>
                  <a:lnTo>
                    <a:pt x="110" y="194"/>
                  </a:lnTo>
                  <a:lnTo>
                    <a:pt x="112" y="192"/>
                  </a:lnTo>
                  <a:lnTo>
                    <a:pt x="115" y="192"/>
                  </a:lnTo>
                  <a:lnTo>
                    <a:pt x="117" y="194"/>
                  </a:lnTo>
                  <a:lnTo>
                    <a:pt x="121" y="198"/>
                  </a:lnTo>
                  <a:lnTo>
                    <a:pt x="125" y="202"/>
                  </a:lnTo>
                  <a:lnTo>
                    <a:pt x="133" y="200"/>
                  </a:lnTo>
                  <a:lnTo>
                    <a:pt x="135" y="198"/>
                  </a:lnTo>
                  <a:lnTo>
                    <a:pt x="140" y="194"/>
                  </a:lnTo>
                  <a:lnTo>
                    <a:pt x="142" y="192"/>
                  </a:lnTo>
                  <a:lnTo>
                    <a:pt x="146" y="192"/>
                  </a:lnTo>
                  <a:lnTo>
                    <a:pt x="142" y="188"/>
                  </a:lnTo>
                  <a:lnTo>
                    <a:pt x="138" y="184"/>
                  </a:lnTo>
                  <a:lnTo>
                    <a:pt x="135" y="182"/>
                  </a:lnTo>
                  <a:lnTo>
                    <a:pt x="133" y="179"/>
                  </a:lnTo>
                  <a:lnTo>
                    <a:pt x="125" y="177"/>
                  </a:lnTo>
                  <a:lnTo>
                    <a:pt x="123" y="173"/>
                  </a:lnTo>
                  <a:lnTo>
                    <a:pt x="119" y="171"/>
                  </a:lnTo>
                  <a:lnTo>
                    <a:pt x="115" y="169"/>
                  </a:lnTo>
                  <a:lnTo>
                    <a:pt x="114" y="169"/>
                  </a:lnTo>
                  <a:lnTo>
                    <a:pt x="112" y="169"/>
                  </a:lnTo>
                  <a:lnTo>
                    <a:pt x="102" y="167"/>
                  </a:lnTo>
                  <a:lnTo>
                    <a:pt x="96" y="165"/>
                  </a:lnTo>
                  <a:lnTo>
                    <a:pt x="94" y="163"/>
                  </a:lnTo>
                  <a:lnTo>
                    <a:pt x="89" y="156"/>
                  </a:lnTo>
                  <a:lnTo>
                    <a:pt x="81" y="152"/>
                  </a:lnTo>
                  <a:lnTo>
                    <a:pt x="79" y="148"/>
                  </a:lnTo>
                  <a:lnTo>
                    <a:pt x="79" y="146"/>
                  </a:lnTo>
                  <a:lnTo>
                    <a:pt x="77" y="144"/>
                  </a:lnTo>
                  <a:lnTo>
                    <a:pt x="79" y="142"/>
                  </a:lnTo>
                  <a:lnTo>
                    <a:pt x="77" y="138"/>
                  </a:lnTo>
                  <a:lnTo>
                    <a:pt x="77" y="136"/>
                  </a:lnTo>
                  <a:lnTo>
                    <a:pt x="83" y="140"/>
                  </a:lnTo>
                  <a:lnTo>
                    <a:pt x="89" y="136"/>
                  </a:lnTo>
                  <a:lnTo>
                    <a:pt x="94" y="136"/>
                  </a:lnTo>
                  <a:lnTo>
                    <a:pt x="92" y="134"/>
                  </a:lnTo>
                  <a:lnTo>
                    <a:pt x="94" y="134"/>
                  </a:lnTo>
                  <a:lnTo>
                    <a:pt x="96" y="129"/>
                  </a:lnTo>
                  <a:lnTo>
                    <a:pt x="94" y="127"/>
                  </a:lnTo>
                  <a:lnTo>
                    <a:pt x="96" y="123"/>
                  </a:lnTo>
                  <a:lnTo>
                    <a:pt x="90" y="121"/>
                  </a:lnTo>
                  <a:lnTo>
                    <a:pt x="85" y="121"/>
                  </a:lnTo>
                  <a:lnTo>
                    <a:pt x="81" y="119"/>
                  </a:lnTo>
                  <a:lnTo>
                    <a:pt x="79" y="115"/>
                  </a:lnTo>
                  <a:lnTo>
                    <a:pt x="75" y="117"/>
                  </a:lnTo>
                  <a:lnTo>
                    <a:pt x="67" y="115"/>
                  </a:lnTo>
                  <a:lnTo>
                    <a:pt x="67" y="108"/>
                  </a:lnTo>
                  <a:lnTo>
                    <a:pt x="69" y="106"/>
                  </a:lnTo>
                  <a:lnTo>
                    <a:pt x="73" y="108"/>
                  </a:lnTo>
                  <a:lnTo>
                    <a:pt x="75" y="106"/>
                  </a:lnTo>
                  <a:lnTo>
                    <a:pt x="81" y="106"/>
                  </a:lnTo>
                  <a:lnTo>
                    <a:pt x="87" y="98"/>
                  </a:lnTo>
                  <a:lnTo>
                    <a:pt x="87" y="94"/>
                  </a:lnTo>
                  <a:lnTo>
                    <a:pt x="94" y="94"/>
                  </a:lnTo>
                  <a:lnTo>
                    <a:pt x="94" y="96"/>
                  </a:lnTo>
                  <a:lnTo>
                    <a:pt x="98" y="96"/>
                  </a:lnTo>
                  <a:lnTo>
                    <a:pt x="106" y="98"/>
                  </a:lnTo>
                  <a:lnTo>
                    <a:pt x="110" y="96"/>
                  </a:lnTo>
                  <a:lnTo>
                    <a:pt x="119" y="96"/>
                  </a:lnTo>
                  <a:lnTo>
                    <a:pt x="117" y="92"/>
                  </a:lnTo>
                  <a:lnTo>
                    <a:pt x="110" y="86"/>
                  </a:lnTo>
                  <a:lnTo>
                    <a:pt x="110" y="83"/>
                  </a:lnTo>
                  <a:lnTo>
                    <a:pt x="104" y="84"/>
                  </a:lnTo>
                  <a:lnTo>
                    <a:pt x="102" y="83"/>
                  </a:lnTo>
                  <a:lnTo>
                    <a:pt x="102" y="81"/>
                  </a:lnTo>
                  <a:lnTo>
                    <a:pt x="106" y="73"/>
                  </a:lnTo>
                  <a:lnTo>
                    <a:pt x="106" y="69"/>
                  </a:lnTo>
                  <a:lnTo>
                    <a:pt x="100" y="69"/>
                  </a:lnTo>
                  <a:lnTo>
                    <a:pt x="98" y="71"/>
                  </a:lnTo>
                  <a:lnTo>
                    <a:pt x="96" y="73"/>
                  </a:lnTo>
                  <a:lnTo>
                    <a:pt x="92" y="71"/>
                  </a:lnTo>
                  <a:lnTo>
                    <a:pt x="92" y="67"/>
                  </a:lnTo>
                  <a:lnTo>
                    <a:pt x="89" y="65"/>
                  </a:lnTo>
                  <a:lnTo>
                    <a:pt x="89" y="67"/>
                  </a:lnTo>
                  <a:lnTo>
                    <a:pt x="85" y="67"/>
                  </a:lnTo>
                  <a:lnTo>
                    <a:pt x="85" y="63"/>
                  </a:lnTo>
                  <a:lnTo>
                    <a:pt x="81" y="61"/>
                  </a:lnTo>
                  <a:lnTo>
                    <a:pt x="83" y="59"/>
                  </a:lnTo>
                  <a:lnTo>
                    <a:pt x="83" y="58"/>
                  </a:lnTo>
                  <a:lnTo>
                    <a:pt x="85" y="56"/>
                  </a:lnTo>
                  <a:lnTo>
                    <a:pt x="83" y="54"/>
                  </a:lnTo>
                  <a:lnTo>
                    <a:pt x="83" y="50"/>
                  </a:lnTo>
                  <a:lnTo>
                    <a:pt x="79" y="48"/>
                  </a:lnTo>
                  <a:lnTo>
                    <a:pt x="81" y="46"/>
                  </a:lnTo>
                  <a:lnTo>
                    <a:pt x="81" y="44"/>
                  </a:lnTo>
                  <a:lnTo>
                    <a:pt x="73" y="44"/>
                  </a:lnTo>
                  <a:lnTo>
                    <a:pt x="73" y="42"/>
                  </a:lnTo>
                  <a:lnTo>
                    <a:pt x="77" y="35"/>
                  </a:lnTo>
                  <a:lnTo>
                    <a:pt x="75" y="29"/>
                  </a:lnTo>
                  <a:lnTo>
                    <a:pt x="69" y="27"/>
                  </a:lnTo>
                  <a:lnTo>
                    <a:pt x="69" y="25"/>
                  </a:lnTo>
                  <a:lnTo>
                    <a:pt x="71" y="21"/>
                  </a:lnTo>
                  <a:lnTo>
                    <a:pt x="69" y="19"/>
                  </a:lnTo>
                  <a:lnTo>
                    <a:pt x="67" y="13"/>
                  </a:lnTo>
                  <a:lnTo>
                    <a:pt x="66" y="8"/>
                  </a:lnTo>
                  <a:lnTo>
                    <a:pt x="73" y="6"/>
                  </a:lnTo>
                  <a:lnTo>
                    <a:pt x="79" y="4"/>
                  </a:lnTo>
                  <a:lnTo>
                    <a:pt x="85" y="4"/>
                  </a:lnTo>
                  <a:lnTo>
                    <a:pt x="89" y="4"/>
                  </a:lnTo>
                  <a:lnTo>
                    <a:pt x="92" y="0"/>
                  </a:lnTo>
                  <a:lnTo>
                    <a:pt x="96" y="2"/>
                  </a:lnTo>
                  <a:lnTo>
                    <a:pt x="102" y="4"/>
                  </a:lnTo>
                  <a:lnTo>
                    <a:pt x="108" y="8"/>
                  </a:lnTo>
                  <a:lnTo>
                    <a:pt x="112" y="11"/>
                  </a:lnTo>
                  <a:lnTo>
                    <a:pt x="114" y="13"/>
                  </a:lnTo>
                  <a:lnTo>
                    <a:pt x="121" y="15"/>
                  </a:lnTo>
                  <a:lnTo>
                    <a:pt x="127" y="13"/>
                  </a:lnTo>
                  <a:lnTo>
                    <a:pt x="133" y="15"/>
                  </a:lnTo>
                  <a:lnTo>
                    <a:pt x="138" y="17"/>
                  </a:lnTo>
                  <a:lnTo>
                    <a:pt x="142" y="17"/>
                  </a:lnTo>
                  <a:lnTo>
                    <a:pt x="144" y="17"/>
                  </a:lnTo>
                  <a:lnTo>
                    <a:pt x="148" y="23"/>
                  </a:lnTo>
                  <a:lnTo>
                    <a:pt x="152" y="31"/>
                  </a:lnTo>
                  <a:lnTo>
                    <a:pt x="152" y="33"/>
                  </a:lnTo>
                  <a:lnTo>
                    <a:pt x="150" y="36"/>
                  </a:lnTo>
                  <a:lnTo>
                    <a:pt x="152" y="40"/>
                  </a:lnTo>
                  <a:lnTo>
                    <a:pt x="148" y="48"/>
                  </a:lnTo>
                  <a:lnTo>
                    <a:pt x="150" y="52"/>
                  </a:lnTo>
                  <a:lnTo>
                    <a:pt x="156" y="54"/>
                  </a:lnTo>
                  <a:lnTo>
                    <a:pt x="161" y="56"/>
                  </a:lnTo>
                  <a:lnTo>
                    <a:pt x="167" y="56"/>
                  </a:lnTo>
                  <a:lnTo>
                    <a:pt x="171" y="59"/>
                  </a:lnTo>
                  <a:lnTo>
                    <a:pt x="181" y="61"/>
                  </a:lnTo>
                  <a:lnTo>
                    <a:pt x="181" y="65"/>
                  </a:lnTo>
                  <a:lnTo>
                    <a:pt x="186" y="69"/>
                  </a:lnTo>
                  <a:lnTo>
                    <a:pt x="186" y="71"/>
                  </a:lnTo>
                  <a:lnTo>
                    <a:pt x="190" y="73"/>
                  </a:lnTo>
                  <a:lnTo>
                    <a:pt x="196" y="71"/>
                  </a:lnTo>
                  <a:lnTo>
                    <a:pt x="204" y="71"/>
                  </a:lnTo>
                  <a:lnTo>
                    <a:pt x="204" y="73"/>
                  </a:lnTo>
                  <a:lnTo>
                    <a:pt x="202" y="75"/>
                  </a:lnTo>
                  <a:lnTo>
                    <a:pt x="204" y="79"/>
                  </a:lnTo>
                  <a:lnTo>
                    <a:pt x="206" y="83"/>
                  </a:lnTo>
                  <a:lnTo>
                    <a:pt x="211" y="83"/>
                  </a:lnTo>
                  <a:lnTo>
                    <a:pt x="219" y="84"/>
                  </a:lnTo>
                  <a:lnTo>
                    <a:pt x="227" y="79"/>
                  </a:lnTo>
                  <a:lnTo>
                    <a:pt x="229" y="77"/>
                  </a:lnTo>
                  <a:lnTo>
                    <a:pt x="233" y="79"/>
                  </a:lnTo>
                  <a:lnTo>
                    <a:pt x="242" y="73"/>
                  </a:lnTo>
                  <a:lnTo>
                    <a:pt x="250" y="69"/>
                  </a:lnTo>
                  <a:lnTo>
                    <a:pt x="257" y="73"/>
                  </a:lnTo>
                  <a:lnTo>
                    <a:pt x="261" y="77"/>
                  </a:lnTo>
                  <a:lnTo>
                    <a:pt x="261" y="79"/>
                  </a:lnTo>
                  <a:lnTo>
                    <a:pt x="259" y="88"/>
                  </a:lnTo>
                  <a:lnTo>
                    <a:pt x="261" y="92"/>
                  </a:lnTo>
                  <a:lnTo>
                    <a:pt x="269" y="98"/>
                  </a:lnTo>
                  <a:lnTo>
                    <a:pt x="273" y="98"/>
                  </a:lnTo>
                  <a:lnTo>
                    <a:pt x="273" y="102"/>
                  </a:lnTo>
                  <a:lnTo>
                    <a:pt x="277" y="98"/>
                  </a:lnTo>
                  <a:lnTo>
                    <a:pt x="284" y="96"/>
                  </a:lnTo>
                  <a:lnTo>
                    <a:pt x="284" y="92"/>
                  </a:lnTo>
                  <a:lnTo>
                    <a:pt x="290" y="92"/>
                  </a:lnTo>
                  <a:lnTo>
                    <a:pt x="292" y="90"/>
                  </a:lnTo>
                  <a:lnTo>
                    <a:pt x="298" y="92"/>
                  </a:lnTo>
                  <a:lnTo>
                    <a:pt x="302" y="96"/>
                  </a:lnTo>
                  <a:lnTo>
                    <a:pt x="305" y="96"/>
                  </a:lnTo>
                  <a:lnTo>
                    <a:pt x="305" y="98"/>
                  </a:lnTo>
                  <a:lnTo>
                    <a:pt x="305" y="96"/>
                  </a:lnTo>
                  <a:lnTo>
                    <a:pt x="309" y="98"/>
                  </a:lnTo>
                  <a:lnTo>
                    <a:pt x="309" y="100"/>
                  </a:lnTo>
                  <a:lnTo>
                    <a:pt x="311" y="100"/>
                  </a:lnTo>
                  <a:lnTo>
                    <a:pt x="315" y="96"/>
                  </a:lnTo>
                  <a:lnTo>
                    <a:pt x="319" y="96"/>
                  </a:lnTo>
                  <a:lnTo>
                    <a:pt x="327" y="98"/>
                  </a:lnTo>
                  <a:lnTo>
                    <a:pt x="334" y="100"/>
                  </a:lnTo>
                  <a:lnTo>
                    <a:pt x="336" y="100"/>
                  </a:lnTo>
                  <a:lnTo>
                    <a:pt x="342" y="104"/>
                  </a:lnTo>
                  <a:lnTo>
                    <a:pt x="348" y="106"/>
                  </a:lnTo>
                  <a:lnTo>
                    <a:pt x="350" y="109"/>
                  </a:lnTo>
                  <a:lnTo>
                    <a:pt x="353" y="109"/>
                  </a:lnTo>
                  <a:lnTo>
                    <a:pt x="355" y="113"/>
                  </a:lnTo>
                  <a:lnTo>
                    <a:pt x="361" y="113"/>
                  </a:lnTo>
                  <a:lnTo>
                    <a:pt x="367" y="119"/>
                  </a:lnTo>
                  <a:lnTo>
                    <a:pt x="371" y="113"/>
                  </a:lnTo>
                  <a:lnTo>
                    <a:pt x="375" y="113"/>
                  </a:lnTo>
                  <a:lnTo>
                    <a:pt x="382" y="106"/>
                  </a:lnTo>
                  <a:lnTo>
                    <a:pt x="392" y="104"/>
                  </a:lnTo>
                  <a:lnTo>
                    <a:pt x="394" y="100"/>
                  </a:lnTo>
                  <a:lnTo>
                    <a:pt x="401" y="98"/>
                  </a:lnTo>
                  <a:lnTo>
                    <a:pt x="399" y="102"/>
                  </a:lnTo>
                  <a:lnTo>
                    <a:pt x="401" y="108"/>
                  </a:lnTo>
                  <a:lnTo>
                    <a:pt x="401" y="113"/>
                  </a:lnTo>
                  <a:lnTo>
                    <a:pt x="403" y="113"/>
                  </a:lnTo>
                  <a:lnTo>
                    <a:pt x="401" y="123"/>
                  </a:lnTo>
                  <a:lnTo>
                    <a:pt x="407" y="125"/>
                  </a:lnTo>
                  <a:lnTo>
                    <a:pt x="417" y="125"/>
                  </a:lnTo>
                  <a:lnTo>
                    <a:pt x="413" y="121"/>
                  </a:lnTo>
                  <a:lnTo>
                    <a:pt x="417" y="119"/>
                  </a:lnTo>
                  <a:lnTo>
                    <a:pt x="417" y="123"/>
                  </a:lnTo>
                  <a:lnTo>
                    <a:pt x="421" y="121"/>
                  </a:lnTo>
                  <a:lnTo>
                    <a:pt x="421" y="117"/>
                  </a:lnTo>
                  <a:lnTo>
                    <a:pt x="428" y="119"/>
                  </a:lnTo>
                  <a:lnTo>
                    <a:pt x="428" y="123"/>
                  </a:lnTo>
                  <a:lnTo>
                    <a:pt x="436" y="117"/>
                  </a:lnTo>
                  <a:lnTo>
                    <a:pt x="440" y="117"/>
                  </a:lnTo>
                  <a:lnTo>
                    <a:pt x="444" y="115"/>
                  </a:lnTo>
                  <a:lnTo>
                    <a:pt x="453" y="117"/>
                  </a:lnTo>
                  <a:lnTo>
                    <a:pt x="453" y="119"/>
                  </a:lnTo>
                  <a:lnTo>
                    <a:pt x="457" y="121"/>
                  </a:lnTo>
                  <a:lnTo>
                    <a:pt x="465" y="113"/>
                  </a:lnTo>
                  <a:lnTo>
                    <a:pt x="472" y="111"/>
                  </a:lnTo>
                  <a:lnTo>
                    <a:pt x="476" y="111"/>
                  </a:lnTo>
                  <a:lnTo>
                    <a:pt x="474" y="109"/>
                  </a:lnTo>
                  <a:lnTo>
                    <a:pt x="474" y="108"/>
                  </a:lnTo>
                  <a:lnTo>
                    <a:pt x="480" y="111"/>
                  </a:lnTo>
                  <a:lnTo>
                    <a:pt x="478" y="115"/>
                  </a:lnTo>
                  <a:lnTo>
                    <a:pt x="484" y="106"/>
                  </a:lnTo>
                  <a:lnTo>
                    <a:pt x="486" y="108"/>
                  </a:lnTo>
                  <a:lnTo>
                    <a:pt x="484" y="109"/>
                  </a:lnTo>
                  <a:lnTo>
                    <a:pt x="486" y="113"/>
                  </a:lnTo>
                  <a:lnTo>
                    <a:pt x="490" y="111"/>
                  </a:lnTo>
                  <a:lnTo>
                    <a:pt x="492" y="113"/>
                  </a:lnTo>
                  <a:lnTo>
                    <a:pt x="490" y="115"/>
                  </a:lnTo>
                  <a:lnTo>
                    <a:pt x="494" y="115"/>
                  </a:lnTo>
                  <a:lnTo>
                    <a:pt x="494" y="117"/>
                  </a:lnTo>
                  <a:lnTo>
                    <a:pt x="501" y="121"/>
                  </a:lnTo>
                  <a:lnTo>
                    <a:pt x="507" y="113"/>
                  </a:lnTo>
                  <a:lnTo>
                    <a:pt x="509" y="111"/>
                  </a:lnTo>
                  <a:lnTo>
                    <a:pt x="511" y="111"/>
                  </a:lnTo>
                  <a:lnTo>
                    <a:pt x="511" y="10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5" name="Freeform 27">
              <a:extLst>
                <a:ext uri="{FF2B5EF4-FFF2-40B4-BE49-F238E27FC236}">
                  <a16:creationId xmlns:a16="http://schemas.microsoft.com/office/drawing/2014/main" id="{5D4BA653-2B55-445F-9023-1C748341A46E}"/>
                </a:ext>
              </a:extLst>
            </p:cNvPr>
            <p:cNvSpPr>
              <a:spLocks/>
            </p:cNvSpPr>
            <p:nvPr/>
          </p:nvSpPr>
          <p:spPr bwMode="gray">
            <a:xfrm>
              <a:off x="6850063" y="2747964"/>
              <a:ext cx="152400" cy="179387"/>
            </a:xfrm>
            <a:custGeom>
              <a:avLst/>
              <a:gdLst>
                <a:gd name="T0" fmla="*/ 75 w 96"/>
                <a:gd name="T1" fmla="*/ 107 h 113"/>
                <a:gd name="T2" fmla="*/ 67 w 96"/>
                <a:gd name="T3" fmla="*/ 103 h 113"/>
                <a:gd name="T4" fmla="*/ 54 w 96"/>
                <a:gd name="T5" fmla="*/ 103 h 113"/>
                <a:gd name="T6" fmla="*/ 48 w 96"/>
                <a:gd name="T7" fmla="*/ 109 h 113"/>
                <a:gd name="T8" fmla="*/ 42 w 96"/>
                <a:gd name="T9" fmla="*/ 113 h 113"/>
                <a:gd name="T10" fmla="*/ 31 w 96"/>
                <a:gd name="T11" fmla="*/ 111 h 113"/>
                <a:gd name="T12" fmla="*/ 23 w 96"/>
                <a:gd name="T13" fmla="*/ 109 h 113"/>
                <a:gd name="T14" fmla="*/ 13 w 96"/>
                <a:gd name="T15" fmla="*/ 109 h 113"/>
                <a:gd name="T16" fmla="*/ 4 w 96"/>
                <a:gd name="T17" fmla="*/ 98 h 113"/>
                <a:gd name="T18" fmla="*/ 2 w 96"/>
                <a:gd name="T19" fmla="*/ 88 h 113"/>
                <a:gd name="T20" fmla="*/ 2 w 96"/>
                <a:gd name="T21" fmla="*/ 82 h 113"/>
                <a:gd name="T22" fmla="*/ 2 w 96"/>
                <a:gd name="T23" fmla="*/ 69 h 113"/>
                <a:gd name="T24" fmla="*/ 8 w 96"/>
                <a:gd name="T25" fmla="*/ 57 h 113"/>
                <a:gd name="T26" fmla="*/ 12 w 96"/>
                <a:gd name="T27" fmla="*/ 52 h 113"/>
                <a:gd name="T28" fmla="*/ 15 w 96"/>
                <a:gd name="T29" fmla="*/ 42 h 113"/>
                <a:gd name="T30" fmla="*/ 19 w 96"/>
                <a:gd name="T31" fmla="*/ 36 h 113"/>
                <a:gd name="T32" fmla="*/ 21 w 96"/>
                <a:gd name="T33" fmla="*/ 30 h 113"/>
                <a:gd name="T34" fmla="*/ 12 w 96"/>
                <a:gd name="T35" fmla="*/ 23 h 113"/>
                <a:gd name="T36" fmla="*/ 15 w 96"/>
                <a:gd name="T37" fmla="*/ 17 h 113"/>
                <a:gd name="T38" fmla="*/ 21 w 96"/>
                <a:gd name="T39" fmla="*/ 17 h 113"/>
                <a:gd name="T40" fmla="*/ 27 w 96"/>
                <a:gd name="T41" fmla="*/ 19 h 113"/>
                <a:gd name="T42" fmla="*/ 37 w 96"/>
                <a:gd name="T43" fmla="*/ 15 h 113"/>
                <a:gd name="T44" fmla="*/ 44 w 96"/>
                <a:gd name="T45" fmla="*/ 13 h 113"/>
                <a:gd name="T46" fmla="*/ 50 w 96"/>
                <a:gd name="T47" fmla="*/ 7 h 113"/>
                <a:gd name="T48" fmla="*/ 58 w 96"/>
                <a:gd name="T49" fmla="*/ 4 h 113"/>
                <a:gd name="T50" fmla="*/ 67 w 96"/>
                <a:gd name="T51" fmla="*/ 0 h 113"/>
                <a:gd name="T52" fmla="*/ 79 w 96"/>
                <a:gd name="T53" fmla="*/ 4 h 113"/>
                <a:gd name="T54" fmla="*/ 88 w 96"/>
                <a:gd name="T55" fmla="*/ 11 h 113"/>
                <a:gd name="T56" fmla="*/ 92 w 96"/>
                <a:gd name="T57" fmla="*/ 23 h 113"/>
                <a:gd name="T58" fmla="*/ 90 w 96"/>
                <a:gd name="T59" fmla="*/ 32 h 113"/>
                <a:gd name="T60" fmla="*/ 88 w 96"/>
                <a:gd name="T61" fmla="*/ 44 h 113"/>
                <a:gd name="T62" fmla="*/ 84 w 96"/>
                <a:gd name="T63" fmla="*/ 52 h 113"/>
                <a:gd name="T64" fmla="*/ 79 w 96"/>
                <a:gd name="T65" fmla="*/ 59 h 113"/>
                <a:gd name="T66" fmla="*/ 81 w 96"/>
                <a:gd name="T67" fmla="*/ 71 h 113"/>
                <a:gd name="T68" fmla="*/ 86 w 96"/>
                <a:gd name="T69" fmla="*/ 80 h 113"/>
                <a:gd name="T70" fmla="*/ 92 w 96"/>
                <a:gd name="T71" fmla="*/ 84 h 113"/>
                <a:gd name="T72" fmla="*/ 92 w 96"/>
                <a:gd name="T73" fmla="*/ 92 h 113"/>
                <a:gd name="T74" fmla="*/ 83 w 96"/>
                <a:gd name="T75" fmla="*/ 94 h 113"/>
                <a:gd name="T76" fmla="*/ 79 w 96"/>
                <a:gd name="T77" fmla="*/ 10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113">
                  <a:moveTo>
                    <a:pt x="77" y="105"/>
                  </a:moveTo>
                  <a:lnTo>
                    <a:pt x="75" y="107"/>
                  </a:lnTo>
                  <a:lnTo>
                    <a:pt x="69" y="102"/>
                  </a:lnTo>
                  <a:lnTo>
                    <a:pt x="67" y="103"/>
                  </a:lnTo>
                  <a:lnTo>
                    <a:pt x="60" y="102"/>
                  </a:lnTo>
                  <a:lnTo>
                    <a:pt x="54" y="103"/>
                  </a:lnTo>
                  <a:lnTo>
                    <a:pt x="54" y="105"/>
                  </a:lnTo>
                  <a:lnTo>
                    <a:pt x="48" y="109"/>
                  </a:lnTo>
                  <a:lnTo>
                    <a:pt x="46" y="111"/>
                  </a:lnTo>
                  <a:lnTo>
                    <a:pt x="42" y="113"/>
                  </a:lnTo>
                  <a:lnTo>
                    <a:pt x="33" y="109"/>
                  </a:lnTo>
                  <a:lnTo>
                    <a:pt x="31" y="111"/>
                  </a:lnTo>
                  <a:lnTo>
                    <a:pt x="29" y="107"/>
                  </a:lnTo>
                  <a:lnTo>
                    <a:pt x="23" y="109"/>
                  </a:lnTo>
                  <a:lnTo>
                    <a:pt x="17" y="107"/>
                  </a:lnTo>
                  <a:lnTo>
                    <a:pt x="13" y="109"/>
                  </a:lnTo>
                  <a:lnTo>
                    <a:pt x="8" y="107"/>
                  </a:lnTo>
                  <a:lnTo>
                    <a:pt x="4" y="98"/>
                  </a:lnTo>
                  <a:lnTo>
                    <a:pt x="0" y="98"/>
                  </a:lnTo>
                  <a:lnTo>
                    <a:pt x="2" y="88"/>
                  </a:lnTo>
                  <a:lnTo>
                    <a:pt x="4" y="84"/>
                  </a:lnTo>
                  <a:lnTo>
                    <a:pt x="2" y="82"/>
                  </a:lnTo>
                  <a:lnTo>
                    <a:pt x="6" y="75"/>
                  </a:lnTo>
                  <a:lnTo>
                    <a:pt x="2" y="69"/>
                  </a:lnTo>
                  <a:lnTo>
                    <a:pt x="4" y="63"/>
                  </a:lnTo>
                  <a:lnTo>
                    <a:pt x="8" y="57"/>
                  </a:lnTo>
                  <a:lnTo>
                    <a:pt x="10" y="55"/>
                  </a:lnTo>
                  <a:lnTo>
                    <a:pt x="12" y="52"/>
                  </a:lnTo>
                  <a:lnTo>
                    <a:pt x="13" y="50"/>
                  </a:lnTo>
                  <a:lnTo>
                    <a:pt x="15" y="42"/>
                  </a:lnTo>
                  <a:lnTo>
                    <a:pt x="17" y="40"/>
                  </a:lnTo>
                  <a:lnTo>
                    <a:pt x="19" y="36"/>
                  </a:lnTo>
                  <a:lnTo>
                    <a:pt x="17" y="32"/>
                  </a:lnTo>
                  <a:lnTo>
                    <a:pt x="21" y="30"/>
                  </a:lnTo>
                  <a:lnTo>
                    <a:pt x="13" y="27"/>
                  </a:lnTo>
                  <a:lnTo>
                    <a:pt x="12" y="23"/>
                  </a:lnTo>
                  <a:lnTo>
                    <a:pt x="13" y="19"/>
                  </a:lnTo>
                  <a:lnTo>
                    <a:pt x="15" y="17"/>
                  </a:lnTo>
                  <a:lnTo>
                    <a:pt x="21" y="19"/>
                  </a:lnTo>
                  <a:lnTo>
                    <a:pt x="21" y="17"/>
                  </a:lnTo>
                  <a:lnTo>
                    <a:pt x="25" y="17"/>
                  </a:lnTo>
                  <a:lnTo>
                    <a:pt x="27" y="19"/>
                  </a:lnTo>
                  <a:lnTo>
                    <a:pt x="27" y="17"/>
                  </a:lnTo>
                  <a:lnTo>
                    <a:pt x="37" y="15"/>
                  </a:lnTo>
                  <a:lnTo>
                    <a:pt x="42" y="15"/>
                  </a:lnTo>
                  <a:lnTo>
                    <a:pt x="44" y="13"/>
                  </a:lnTo>
                  <a:lnTo>
                    <a:pt x="50" y="11"/>
                  </a:lnTo>
                  <a:lnTo>
                    <a:pt x="50" y="7"/>
                  </a:lnTo>
                  <a:lnTo>
                    <a:pt x="58" y="9"/>
                  </a:lnTo>
                  <a:lnTo>
                    <a:pt x="58" y="4"/>
                  </a:lnTo>
                  <a:lnTo>
                    <a:pt x="63" y="4"/>
                  </a:lnTo>
                  <a:lnTo>
                    <a:pt x="67" y="0"/>
                  </a:lnTo>
                  <a:lnTo>
                    <a:pt x="71" y="5"/>
                  </a:lnTo>
                  <a:lnTo>
                    <a:pt x="79" y="4"/>
                  </a:lnTo>
                  <a:lnTo>
                    <a:pt x="84" y="9"/>
                  </a:lnTo>
                  <a:lnTo>
                    <a:pt x="88" y="11"/>
                  </a:lnTo>
                  <a:lnTo>
                    <a:pt x="88" y="21"/>
                  </a:lnTo>
                  <a:lnTo>
                    <a:pt x="92" y="23"/>
                  </a:lnTo>
                  <a:lnTo>
                    <a:pt x="92" y="29"/>
                  </a:lnTo>
                  <a:lnTo>
                    <a:pt x="90" y="32"/>
                  </a:lnTo>
                  <a:lnTo>
                    <a:pt x="90" y="40"/>
                  </a:lnTo>
                  <a:lnTo>
                    <a:pt x="88" y="44"/>
                  </a:lnTo>
                  <a:lnTo>
                    <a:pt x="88" y="50"/>
                  </a:lnTo>
                  <a:lnTo>
                    <a:pt x="84" y="52"/>
                  </a:lnTo>
                  <a:lnTo>
                    <a:pt x="83" y="59"/>
                  </a:lnTo>
                  <a:lnTo>
                    <a:pt x="79" y="59"/>
                  </a:lnTo>
                  <a:lnTo>
                    <a:pt x="83" y="65"/>
                  </a:lnTo>
                  <a:lnTo>
                    <a:pt x="81" y="71"/>
                  </a:lnTo>
                  <a:lnTo>
                    <a:pt x="84" y="77"/>
                  </a:lnTo>
                  <a:lnTo>
                    <a:pt x="86" y="80"/>
                  </a:lnTo>
                  <a:lnTo>
                    <a:pt x="90" y="80"/>
                  </a:lnTo>
                  <a:lnTo>
                    <a:pt x="92" y="84"/>
                  </a:lnTo>
                  <a:lnTo>
                    <a:pt x="96" y="86"/>
                  </a:lnTo>
                  <a:lnTo>
                    <a:pt x="92" y="92"/>
                  </a:lnTo>
                  <a:lnTo>
                    <a:pt x="84" y="94"/>
                  </a:lnTo>
                  <a:lnTo>
                    <a:pt x="83" y="94"/>
                  </a:lnTo>
                  <a:lnTo>
                    <a:pt x="83" y="102"/>
                  </a:lnTo>
                  <a:lnTo>
                    <a:pt x="79" y="102"/>
                  </a:lnTo>
                  <a:lnTo>
                    <a:pt x="77" y="10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6" name="Freeform 28">
              <a:extLst>
                <a:ext uri="{FF2B5EF4-FFF2-40B4-BE49-F238E27FC236}">
                  <a16:creationId xmlns:a16="http://schemas.microsoft.com/office/drawing/2014/main" id="{D47C92EA-4B6F-47E0-9C96-10ACDEB7DA92}"/>
                </a:ext>
              </a:extLst>
            </p:cNvPr>
            <p:cNvSpPr>
              <a:spLocks/>
            </p:cNvSpPr>
            <p:nvPr/>
          </p:nvSpPr>
          <p:spPr bwMode="gray">
            <a:xfrm>
              <a:off x="5027614" y="2354263"/>
              <a:ext cx="1252538" cy="1125539"/>
            </a:xfrm>
            <a:custGeom>
              <a:avLst/>
              <a:gdLst>
                <a:gd name="T0" fmla="*/ 365 w 789"/>
                <a:gd name="T1" fmla="*/ 190 h 709"/>
                <a:gd name="T2" fmla="*/ 400 w 789"/>
                <a:gd name="T3" fmla="*/ 211 h 709"/>
                <a:gd name="T4" fmla="*/ 440 w 789"/>
                <a:gd name="T5" fmla="*/ 246 h 709"/>
                <a:gd name="T6" fmla="*/ 536 w 789"/>
                <a:gd name="T7" fmla="*/ 280 h 709"/>
                <a:gd name="T8" fmla="*/ 622 w 789"/>
                <a:gd name="T9" fmla="*/ 321 h 709"/>
                <a:gd name="T10" fmla="*/ 697 w 789"/>
                <a:gd name="T11" fmla="*/ 326 h 709"/>
                <a:gd name="T12" fmla="*/ 726 w 789"/>
                <a:gd name="T13" fmla="*/ 373 h 709"/>
                <a:gd name="T14" fmla="*/ 760 w 789"/>
                <a:gd name="T15" fmla="*/ 407 h 709"/>
                <a:gd name="T16" fmla="*/ 733 w 789"/>
                <a:gd name="T17" fmla="*/ 436 h 709"/>
                <a:gd name="T18" fmla="*/ 745 w 789"/>
                <a:gd name="T19" fmla="*/ 482 h 709"/>
                <a:gd name="T20" fmla="*/ 758 w 789"/>
                <a:gd name="T21" fmla="*/ 507 h 709"/>
                <a:gd name="T22" fmla="*/ 699 w 789"/>
                <a:gd name="T23" fmla="*/ 540 h 709"/>
                <a:gd name="T24" fmla="*/ 659 w 789"/>
                <a:gd name="T25" fmla="*/ 559 h 709"/>
                <a:gd name="T26" fmla="*/ 662 w 789"/>
                <a:gd name="T27" fmla="*/ 620 h 709"/>
                <a:gd name="T28" fmla="*/ 641 w 789"/>
                <a:gd name="T29" fmla="*/ 684 h 709"/>
                <a:gd name="T30" fmla="*/ 572 w 789"/>
                <a:gd name="T31" fmla="*/ 678 h 709"/>
                <a:gd name="T32" fmla="*/ 584 w 789"/>
                <a:gd name="T33" fmla="*/ 626 h 709"/>
                <a:gd name="T34" fmla="*/ 528 w 789"/>
                <a:gd name="T35" fmla="*/ 620 h 709"/>
                <a:gd name="T36" fmla="*/ 503 w 789"/>
                <a:gd name="T37" fmla="*/ 603 h 709"/>
                <a:gd name="T38" fmla="*/ 463 w 789"/>
                <a:gd name="T39" fmla="*/ 570 h 709"/>
                <a:gd name="T40" fmla="*/ 430 w 789"/>
                <a:gd name="T41" fmla="*/ 574 h 709"/>
                <a:gd name="T42" fmla="*/ 375 w 789"/>
                <a:gd name="T43" fmla="*/ 593 h 709"/>
                <a:gd name="T44" fmla="*/ 369 w 789"/>
                <a:gd name="T45" fmla="*/ 580 h 709"/>
                <a:gd name="T46" fmla="*/ 340 w 789"/>
                <a:gd name="T47" fmla="*/ 586 h 709"/>
                <a:gd name="T48" fmla="*/ 336 w 789"/>
                <a:gd name="T49" fmla="*/ 568 h 709"/>
                <a:gd name="T50" fmla="*/ 290 w 789"/>
                <a:gd name="T51" fmla="*/ 555 h 709"/>
                <a:gd name="T52" fmla="*/ 240 w 789"/>
                <a:gd name="T53" fmla="*/ 576 h 709"/>
                <a:gd name="T54" fmla="*/ 225 w 789"/>
                <a:gd name="T55" fmla="*/ 555 h 709"/>
                <a:gd name="T56" fmla="*/ 210 w 789"/>
                <a:gd name="T57" fmla="*/ 570 h 709"/>
                <a:gd name="T58" fmla="*/ 185 w 789"/>
                <a:gd name="T59" fmla="*/ 557 h 709"/>
                <a:gd name="T60" fmla="*/ 171 w 789"/>
                <a:gd name="T61" fmla="*/ 549 h 709"/>
                <a:gd name="T62" fmla="*/ 177 w 789"/>
                <a:gd name="T63" fmla="*/ 530 h 709"/>
                <a:gd name="T64" fmla="*/ 165 w 789"/>
                <a:gd name="T65" fmla="*/ 542 h 709"/>
                <a:gd name="T66" fmla="*/ 137 w 789"/>
                <a:gd name="T67" fmla="*/ 551 h 709"/>
                <a:gd name="T68" fmla="*/ 148 w 789"/>
                <a:gd name="T69" fmla="*/ 593 h 709"/>
                <a:gd name="T70" fmla="*/ 173 w 789"/>
                <a:gd name="T71" fmla="*/ 641 h 709"/>
                <a:gd name="T72" fmla="*/ 146 w 789"/>
                <a:gd name="T73" fmla="*/ 670 h 709"/>
                <a:gd name="T74" fmla="*/ 98 w 789"/>
                <a:gd name="T75" fmla="*/ 638 h 709"/>
                <a:gd name="T76" fmla="*/ 121 w 789"/>
                <a:gd name="T77" fmla="*/ 563 h 709"/>
                <a:gd name="T78" fmla="*/ 142 w 789"/>
                <a:gd name="T79" fmla="*/ 526 h 709"/>
                <a:gd name="T80" fmla="*/ 173 w 789"/>
                <a:gd name="T81" fmla="*/ 495 h 709"/>
                <a:gd name="T82" fmla="*/ 198 w 789"/>
                <a:gd name="T83" fmla="*/ 447 h 709"/>
                <a:gd name="T84" fmla="*/ 190 w 789"/>
                <a:gd name="T85" fmla="*/ 413 h 709"/>
                <a:gd name="T86" fmla="*/ 133 w 789"/>
                <a:gd name="T87" fmla="*/ 392 h 709"/>
                <a:gd name="T88" fmla="*/ 87 w 789"/>
                <a:gd name="T89" fmla="*/ 386 h 709"/>
                <a:gd name="T90" fmla="*/ 29 w 789"/>
                <a:gd name="T91" fmla="*/ 398 h 709"/>
                <a:gd name="T92" fmla="*/ 50 w 789"/>
                <a:gd name="T93" fmla="*/ 367 h 709"/>
                <a:gd name="T94" fmla="*/ 46 w 789"/>
                <a:gd name="T95" fmla="*/ 336 h 709"/>
                <a:gd name="T96" fmla="*/ 14 w 789"/>
                <a:gd name="T97" fmla="*/ 280 h 709"/>
                <a:gd name="T98" fmla="*/ 37 w 789"/>
                <a:gd name="T99" fmla="*/ 253 h 709"/>
                <a:gd name="T100" fmla="*/ 37 w 789"/>
                <a:gd name="T101" fmla="*/ 219 h 709"/>
                <a:gd name="T102" fmla="*/ 8 w 789"/>
                <a:gd name="T103" fmla="*/ 177 h 709"/>
                <a:gd name="T104" fmla="*/ 6 w 789"/>
                <a:gd name="T105" fmla="*/ 119 h 709"/>
                <a:gd name="T106" fmla="*/ 10 w 789"/>
                <a:gd name="T107" fmla="*/ 56 h 709"/>
                <a:gd name="T108" fmla="*/ 64 w 789"/>
                <a:gd name="T109" fmla="*/ 0 h 709"/>
                <a:gd name="T110" fmla="*/ 67 w 789"/>
                <a:gd name="T111" fmla="*/ 58 h 709"/>
                <a:gd name="T112" fmla="*/ 106 w 789"/>
                <a:gd name="T113" fmla="*/ 88 h 709"/>
                <a:gd name="T114" fmla="*/ 194 w 789"/>
                <a:gd name="T115" fmla="*/ 104 h 709"/>
                <a:gd name="T116" fmla="*/ 206 w 789"/>
                <a:gd name="T117" fmla="*/ 134 h 709"/>
                <a:gd name="T118" fmla="*/ 257 w 789"/>
                <a:gd name="T119" fmla="*/ 169 h 709"/>
                <a:gd name="T120" fmla="*/ 311 w 789"/>
                <a:gd name="T121" fmla="*/ 171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9" h="709">
                  <a:moveTo>
                    <a:pt x="311" y="171"/>
                  </a:moveTo>
                  <a:lnTo>
                    <a:pt x="315" y="171"/>
                  </a:lnTo>
                  <a:lnTo>
                    <a:pt x="317" y="179"/>
                  </a:lnTo>
                  <a:lnTo>
                    <a:pt x="321" y="180"/>
                  </a:lnTo>
                  <a:lnTo>
                    <a:pt x="323" y="182"/>
                  </a:lnTo>
                  <a:lnTo>
                    <a:pt x="327" y="186"/>
                  </a:lnTo>
                  <a:lnTo>
                    <a:pt x="334" y="186"/>
                  </a:lnTo>
                  <a:lnTo>
                    <a:pt x="332" y="192"/>
                  </a:lnTo>
                  <a:lnTo>
                    <a:pt x="340" y="188"/>
                  </a:lnTo>
                  <a:lnTo>
                    <a:pt x="344" y="192"/>
                  </a:lnTo>
                  <a:lnTo>
                    <a:pt x="348" y="194"/>
                  </a:lnTo>
                  <a:lnTo>
                    <a:pt x="350" y="186"/>
                  </a:lnTo>
                  <a:lnTo>
                    <a:pt x="352" y="184"/>
                  </a:lnTo>
                  <a:lnTo>
                    <a:pt x="355" y="184"/>
                  </a:lnTo>
                  <a:lnTo>
                    <a:pt x="363" y="186"/>
                  </a:lnTo>
                  <a:lnTo>
                    <a:pt x="365" y="186"/>
                  </a:lnTo>
                  <a:lnTo>
                    <a:pt x="367" y="188"/>
                  </a:lnTo>
                  <a:lnTo>
                    <a:pt x="365" y="188"/>
                  </a:lnTo>
                  <a:lnTo>
                    <a:pt x="365" y="190"/>
                  </a:lnTo>
                  <a:lnTo>
                    <a:pt x="369" y="192"/>
                  </a:lnTo>
                  <a:lnTo>
                    <a:pt x="375" y="192"/>
                  </a:lnTo>
                  <a:lnTo>
                    <a:pt x="375" y="194"/>
                  </a:lnTo>
                  <a:lnTo>
                    <a:pt x="375" y="196"/>
                  </a:lnTo>
                  <a:lnTo>
                    <a:pt x="376" y="196"/>
                  </a:lnTo>
                  <a:lnTo>
                    <a:pt x="378" y="200"/>
                  </a:lnTo>
                  <a:lnTo>
                    <a:pt x="380" y="200"/>
                  </a:lnTo>
                  <a:lnTo>
                    <a:pt x="380" y="198"/>
                  </a:lnTo>
                  <a:lnTo>
                    <a:pt x="384" y="198"/>
                  </a:lnTo>
                  <a:lnTo>
                    <a:pt x="384" y="200"/>
                  </a:lnTo>
                  <a:lnTo>
                    <a:pt x="386" y="200"/>
                  </a:lnTo>
                  <a:lnTo>
                    <a:pt x="386" y="204"/>
                  </a:lnTo>
                  <a:lnTo>
                    <a:pt x="390" y="204"/>
                  </a:lnTo>
                  <a:lnTo>
                    <a:pt x="390" y="205"/>
                  </a:lnTo>
                  <a:lnTo>
                    <a:pt x="392" y="205"/>
                  </a:lnTo>
                  <a:lnTo>
                    <a:pt x="392" y="207"/>
                  </a:lnTo>
                  <a:lnTo>
                    <a:pt x="396" y="205"/>
                  </a:lnTo>
                  <a:lnTo>
                    <a:pt x="400" y="207"/>
                  </a:lnTo>
                  <a:lnTo>
                    <a:pt x="400" y="211"/>
                  </a:lnTo>
                  <a:lnTo>
                    <a:pt x="401" y="211"/>
                  </a:lnTo>
                  <a:lnTo>
                    <a:pt x="403" y="213"/>
                  </a:lnTo>
                  <a:lnTo>
                    <a:pt x="405" y="211"/>
                  </a:lnTo>
                  <a:lnTo>
                    <a:pt x="405" y="213"/>
                  </a:lnTo>
                  <a:lnTo>
                    <a:pt x="409" y="211"/>
                  </a:lnTo>
                  <a:lnTo>
                    <a:pt x="411" y="215"/>
                  </a:lnTo>
                  <a:lnTo>
                    <a:pt x="413" y="215"/>
                  </a:lnTo>
                  <a:lnTo>
                    <a:pt x="411" y="217"/>
                  </a:lnTo>
                  <a:lnTo>
                    <a:pt x="419" y="219"/>
                  </a:lnTo>
                  <a:lnTo>
                    <a:pt x="424" y="221"/>
                  </a:lnTo>
                  <a:lnTo>
                    <a:pt x="430" y="223"/>
                  </a:lnTo>
                  <a:lnTo>
                    <a:pt x="432" y="227"/>
                  </a:lnTo>
                  <a:lnTo>
                    <a:pt x="432" y="230"/>
                  </a:lnTo>
                  <a:lnTo>
                    <a:pt x="436" y="234"/>
                  </a:lnTo>
                  <a:lnTo>
                    <a:pt x="442" y="240"/>
                  </a:lnTo>
                  <a:lnTo>
                    <a:pt x="442" y="242"/>
                  </a:lnTo>
                  <a:lnTo>
                    <a:pt x="440" y="244"/>
                  </a:lnTo>
                  <a:lnTo>
                    <a:pt x="442" y="246"/>
                  </a:lnTo>
                  <a:lnTo>
                    <a:pt x="440" y="246"/>
                  </a:lnTo>
                  <a:lnTo>
                    <a:pt x="446" y="246"/>
                  </a:lnTo>
                  <a:lnTo>
                    <a:pt x="447" y="242"/>
                  </a:lnTo>
                  <a:lnTo>
                    <a:pt x="453" y="244"/>
                  </a:lnTo>
                  <a:lnTo>
                    <a:pt x="459" y="248"/>
                  </a:lnTo>
                  <a:lnTo>
                    <a:pt x="457" y="252"/>
                  </a:lnTo>
                  <a:lnTo>
                    <a:pt x="465" y="255"/>
                  </a:lnTo>
                  <a:lnTo>
                    <a:pt x="472" y="261"/>
                  </a:lnTo>
                  <a:lnTo>
                    <a:pt x="480" y="263"/>
                  </a:lnTo>
                  <a:lnTo>
                    <a:pt x="482" y="263"/>
                  </a:lnTo>
                  <a:lnTo>
                    <a:pt x="484" y="265"/>
                  </a:lnTo>
                  <a:lnTo>
                    <a:pt x="492" y="271"/>
                  </a:lnTo>
                  <a:lnTo>
                    <a:pt x="499" y="277"/>
                  </a:lnTo>
                  <a:lnTo>
                    <a:pt x="503" y="277"/>
                  </a:lnTo>
                  <a:lnTo>
                    <a:pt x="509" y="269"/>
                  </a:lnTo>
                  <a:lnTo>
                    <a:pt x="519" y="269"/>
                  </a:lnTo>
                  <a:lnTo>
                    <a:pt x="524" y="277"/>
                  </a:lnTo>
                  <a:lnTo>
                    <a:pt x="534" y="278"/>
                  </a:lnTo>
                  <a:lnTo>
                    <a:pt x="534" y="280"/>
                  </a:lnTo>
                  <a:lnTo>
                    <a:pt x="536" y="280"/>
                  </a:lnTo>
                  <a:lnTo>
                    <a:pt x="540" y="282"/>
                  </a:lnTo>
                  <a:lnTo>
                    <a:pt x="547" y="288"/>
                  </a:lnTo>
                  <a:lnTo>
                    <a:pt x="549" y="288"/>
                  </a:lnTo>
                  <a:lnTo>
                    <a:pt x="555" y="294"/>
                  </a:lnTo>
                  <a:lnTo>
                    <a:pt x="559" y="296"/>
                  </a:lnTo>
                  <a:lnTo>
                    <a:pt x="565" y="296"/>
                  </a:lnTo>
                  <a:lnTo>
                    <a:pt x="572" y="294"/>
                  </a:lnTo>
                  <a:lnTo>
                    <a:pt x="578" y="292"/>
                  </a:lnTo>
                  <a:lnTo>
                    <a:pt x="580" y="294"/>
                  </a:lnTo>
                  <a:lnTo>
                    <a:pt x="576" y="301"/>
                  </a:lnTo>
                  <a:lnTo>
                    <a:pt x="576" y="305"/>
                  </a:lnTo>
                  <a:lnTo>
                    <a:pt x="580" y="311"/>
                  </a:lnTo>
                  <a:lnTo>
                    <a:pt x="584" y="315"/>
                  </a:lnTo>
                  <a:lnTo>
                    <a:pt x="595" y="313"/>
                  </a:lnTo>
                  <a:lnTo>
                    <a:pt x="599" y="315"/>
                  </a:lnTo>
                  <a:lnTo>
                    <a:pt x="605" y="319"/>
                  </a:lnTo>
                  <a:lnTo>
                    <a:pt x="611" y="319"/>
                  </a:lnTo>
                  <a:lnTo>
                    <a:pt x="618" y="321"/>
                  </a:lnTo>
                  <a:lnTo>
                    <a:pt x="622" y="321"/>
                  </a:lnTo>
                  <a:lnTo>
                    <a:pt x="628" y="321"/>
                  </a:lnTo>
                  <a:lnTo>
                    <a:pt x="636" y="328"/>
                  </a:lnTo>
                  <a:lnTo>
                    <a:pt x="639" y="334"/>
                  </a:lnTo>
                  <a:lnTo>
                    <a:pt x="645" y="334"/>
                  </a:lnTo>
                  <a:lnTo>
                    <a:pt x="653" y="334"/>
                  </a:lnTo>
                  <a:lnTo>
                    <a:pt x="657" y="328"/>
                  </a:lnTo>
                  <a:lnTo>
                    <a:pt x="657" y="326"/>
                  </a:lnTo>
                  <a:lnTo>
                    <a:pt x="661" y="325"/>
                  </a:lnTo>
                  <a:lnTo>
                    <a:pt x="657" y="323"/>
                  </a:lnTo>
                  <a:lnTo>
                    <a:pt x="659" y="321"/>
                  </a:lnTo>
                  <a:lnTo>
                    <a:pt x="657" y="317"/>
                  </a:lnTo>
                  <a:lnTo>
                    <a:pt x="662" y="317"/>
                  </a:lnTo>
                  <a:lnTo>
                    <a:pt x="664" y="317"/>
                  </a:lnTo>
                  <a:lnTo>
                    <a:pt x="670" y="317"/>
                  </a:lnTo>
                  <a:lnTo>
                    <a:pt x="676" y="317"/>
                  </a:lnTo>
                  <a:lnTo>
                    <a:pt x="682" y="319"/>
                  </a:lnTo>
                  <a:lnTo>
                    <a:pt x="689" y="323"/>
                  </a:lnTo>
                  <a:lnTo>
                    <a:pt x="693" y="325"/>
                  </a:lnTo>
                  <a:lnTo>
                    <a:pt x="697" y="326"/>
                  </a:lnTo>
                  <a:lnTo>
                    <a:pt x="703" y="328"/>
                  </a:lnTo>
                  <a:lnTo>
                    <a:pt x="707" y="332"/>
                  </a:lnTo>
                  <a:lnTo>
                    <a:pt x="707" y="330"/>
                  </a:lnTo>
                  <a:lnTo>
                    <a:pt x="710" y="328"/>
                  </a:lnTo>
                  <a:lnTo>
                    <a:pt x="712" y="334"/>
                  </a:lnTo>
                  <a:lnTo>
                    <a:pt x="714" y="336"/>
                  </a:lnTo>
                  <a:lnTo>
                    <a:pt x="712" y="340"/>
                  </a:lnTo>
                  <a:lnTo>
                    <a:pt x="712" y="342"/>
                  </a:lnTo>
                  <a:lnTo>
                    <a:pt x="718" y="344"/>
                  </a:lnTo>
                  <a:lnTo>
                    <a:pt x="720" y="350"/>
                  </a:lnTo>
                  <a:lnTo>
                    <a:pt x="716" y="357"/>
                  </a:lnTo>
                  <a:lnTo>
                    <a:pt x="716" y="359"/>
                  </a:lnTo>
                  <a:lnTo>
                    <a:pt x="724" y="359"/>
                  </a:lnTo>
                  <a:lnTo>
                    <a:pt x="724" y="361"/>
                  </a:lnTo>
                  <a:lnTo>
                    <a:pt x="722" y="363"/>
                  </a:lnTo>
                  <a:lnTo>
                    <a:pt x="726" y="365"/>
                  </a:lnTo>
                  <a:lnTo>
                    <a:pt x="726" y="369"/>
                  </a:lnTo>
                  <a:lnTo>
                    <a:pt x="728" y="371"/>
                  </a:lnTo>
                  <a:lnTo>
                    <a:pt x="726" y="373"/>
                  </a:lnTo>
                  <a:lnTo>
                    <a:pt x="726" y="374"/>
                  </a:lnTo>
                  <a:lnTo>
                    <a:pt x="724" y="376"/>
                  </a:lnTo>
                  <a:lnTo>
                    <a:pt x="728" y="378"/>
                  </a:lnTo>
                  <a:lnTo>
                    <a:pt x="728" y="382"/>
                  </a:lnTo>
                  <a:lnTo>
                    <a:pt x="732" y="382"/>
                  </a:lnTo>
                  <a:lnTo>
                    <a:pt x="732" y="380"/>
                  </a:lnTo>
                  <a:lnTo>
                    <a:pt x="735" y="382"/>
                  </a:lnTo>
                  <a:lnTo>
                    <a:pt x="735" y="386"/>
                  </a:lnTo>
                  <a:lnTo>
                    <a:pt x="739" y="388"/>
                  </a:lnTo>
                  <a:lnTo>
                    <a:pt x="741" y="386"/>
                  </a:lnTo>
                  <a:lnTo>
                    <a:pt x="743" y="384"/>
                  </a:lnTo>
                  <a:lnTo>
                    <a:pt x="749" y="384"/>
                  </a:lnTo>
                  <a:lnTo>
                    <a:pt x="749" y="388"/>
                  </a:lnTo>
                  <a:lnTo>
                    <a:pt x="745" y="396"/>
                  </a:lnTo>
                  <a:lnTo>
                    <a:pt x="745" y="398"/>
                  </a:lnTo>
                  <a:lnTo>
                    <a:pt x="747" y="399"/>
                  </a:lnTo>
                  <a:lnTo>
                    <a:pt x="753" y="398"/>
                  </a:lnTo>
                  <a:lnTo>
                    <a:pt x="753" y="401"/>
                  </a:lnTo>
                  <a:lnTo>
                    <a:pt x="760" y="407"/>
                  </a:lnTo>
                  <a:lnTo>
                    <a:pt x="762" y="411"/>
                  </a:lnTo>
                  <a:lnTo>
                    <a:pt x="753" y="411"/>
                  </a:lnTo>
                  <a:lnTo>
                    <a:pt x="749" y="413"/>
                  </a:lnTo>
                  <a:lnTo>
                    <a:pt x="741" y="411"/>
                  </a:lnTo>
                  <a:lnTo>
                    <a:pt x="737" y="411"/>
                  </a:lnTo>
                  <a:lnTo>
                    <a:pt x="737" y="409"/>
                  </a:lnTo>
                  <a:lnTo>
                    <a:pt x="730" y="409"/>
                  </a:lnTo>
                  <a:lnTo>
                    <a:pt x="730" y="413"/>
                  </a:lnTo>
                  <a:lnTo>
                    <a:pt x="724" y="421"/>
                  </a:lnTo>
                  <a:lnTo>
                    <a:pt x="718" y="421"/>
                  </a:lnTo>
                  <a:lnTo>
                    <a:pt x="716" y="423"/>
                  </a:lnTo>
                  <a:lnTo>
                    <a:pt x="712" y="421"/>
                  </a:lnTo>
                  <a:lnTo>
                    <a:pt x="710" y="423"/>
                  </a:lnTo>
                  <a:lnTo>
                    <a:pt x="710" y="430"/>
                  </a:lnTo>
                  <a:lnTo>
                    <a:pt x="718" y="432"/>
                  </a:lnTo>
                  <a:lnTo>
                    <a:pt x="722" y="430"/>
                  </a:lnTo>
                  <a:lnTo>
                    <a:pt x="724" y="434"/>
                  </a:lnTo>
                  <a:lnTo>
                    <a:pt x="728" y="436"/>
                  </a:lnTo>
                  <a:lnTo>
                    <a:pt x="733" y="436"/>
                  </a:lnTo>
                  <a:lnTo>
                    <a:pt x="739" y="438"/>
                  </a:lnTo>
                  <a:lnTo>
                    <a:pt x="737" y="442"/>
                  </a:lnTo>
                  <a:lnTo>
                    <a:pt x="739" y="444"/>
                  </a:lnTo>
                  <a:lnTo>
                    <a:pt x="737" y="449"/>
                  </a:lnTo>
                  <a:lnTo>
                    <a:pt x="735" y="449"/>
                  </a:lnTo>
                  <a:lnTo>
                    <a:pt x="737" y="451"/>
                  </a:lnTo>
                  <a:lnTo>
                    <a:pt x="732" y="451"/>
                  </a:lnTo>
                  <a:lnTo>
                    <a:pt x="726" y="455"/>
                  </a:lnTo>
                  <a:lnTo>
                    <a:pt x="720" y="451"/>
                  </a:lnTo>
                  <a:lnTo>
                    <a:pt x="720" y="453"/>
                  </a:lnTo>
                  <a:lnTo>
                    <a:pt x="722" y="457"/>
                  </a:lnTo>
                  <a:lnTo>
                    <a:pt x="720" y="459"/>
                  </a:lnTo>
                  <a:lnTo>
                    <a:pt x="722" y="461"/>
                  </a:lnTo>
                  <a:lnTo>
                    <a:pt x="722" y="463"/>
                  </a:lnTo>
                  <a:lnTo>
                    <a:pt x="724" y="467"/>
                  </a:lnTo>
                  <a:lnTo>
                    <a:pt x="732" y="471"/>
                  </a:lnTo>
                  <a:lnTo>
                    <a:pt x="737" y="478"/>
                  </a:lnTo>
                  <a:lnTo>
                    <a:pt x="739" y="480"/>
                  </a:lnTo>
                  <a:lnTo>
                    <a:pt x="745" y="482"/>
                  </a:lnTo>
                  <a:lnTo>
                    <a:pt x="755" y="484"/>
                  </a:lnTo>
                  <a:lnTo>
                    <a:pt x="757" y="484"/>
                  </a:lnTo>
                  <a:lnTo>
                    <a:pt x="758" y="484"/>
                  </a:lnTo>
                  <a:lnTo>
                    <a:pt x="762" y="486"/>
                  </a:lnTo>
                  <a:lnTo>
                    <a:pt x="766" y="488"/>
                  </a:lnTo>
                  <a:lnTo>
                    <a:pt x="768" y="492"/>
                  </a:lnTo>
                  <a:lnTo>
                    <a:pt x="776" y="494"/>
                  </a:lnTo>
                  <a:lnTo>
                    <a:pt x="778" y="497"/>
                  </a:lnTo>
                  <a:lnTo>
                    <a:pt x="781" y="499"/>
                  </a:lnTo>
                  <a:lnTo>
                    <a:pt x="785" y="503"/>
                  </a:lnTo>
                  <a:lnTo>
                    <a:pt x="789" y="507"/>
                  </a:lnTo>
                  <a:lnTo>
                    <a:pt x="785" y="507"/>
                  </a:lnTo>
                  <a:lnTo>
                    <a:pt x="783" y="509"/>
                  </a:lnTo>
                  <a:lnTo>
                    <a:pt x="778" y="513"/>
                  </a:lnTo>
                  <a:lnTo>
                    <a:pt x="776" y="515"/>
                  </a:lnTo>
                  <a:lnTo>
                    <a:pt x="768" y="517"/>
                  </a:lnTo>
                  <a:lnTo>
                    <a:pt x="764" y="513"/>
                  </a:lnTo>
                  <a:lnTo>
                    <a:pt x="760" y="509"/>
                  </a:lnTo>
                  <a:lnTo>
                    <a:pt x="758" y="507"/>
                  </a:lnTo>
                  <a:lnTo>
                    <a:pt x="755" y="507"/>
                  </a:lnTo>
                  <a:lnTo>
                    <a:pt x="753" y="509"/>
                  </a:lnTo>
                  <a:lnTo>
                    <a:pt x="743" y="511"/>
                  </a:lnTo>
                  <a:lnTo>
                    <a:pt x="737" y="511"/>
                  </a:lnTo>
                  <a:lnTo>
                    <a:pt x="732" y="507"/>
                  </a:lnTo>
                  <a:lnTo>
                    <a:pt x="728" y="509"/>
                  </a:lnTo>
                  <a:lnTo>
                    <a:pt x="726" y="513"/>
                  </a:lnTo>
                  <a:lnTo>
                    <a:pt x="726" y="517"/>
                  </a:lnTo>
                  <a:lnTo>
                    <a:pt x="724" y="519"/>
                  </a:lnTo>
                  <a:lnTo>
                    <a:pt x="718" y="520"/>
                  </a:lnTo>
                  <a:lnTo>
                    <a:pt x="712" y="524"/>
                  </a:lnTo>
                  <a:lnTo>
                    <a:pt x="709" y="526"/>
                  </a:lnTo>
                  <a:lnTo>
                    <a:pt x="707" y="530"/>
                  </a:lnTo>
                  <a:lnTo>
                    <a:pt x="703" y="530"/>
                  </a:lnTo>
                  <a:lnTo>
                    <a:pt x="701" y="536"/>
                  </a:lnTo>
                  <a:lnTo>
                    <a:pt x="697" y="536"/>
                  </a:lnTo>
                  <a:lnTo>
                    <a:pt x="697" y="538"/>
                  </a:lnTo>
                  <a:lnTo>
                    <a:pt x="699" y="538"/>
                  </a:lnTo>
                  <a:lnTo>
                    <a:pt x="699" y="540"/>
                  </a:lnTo>
                  <a:lnTo>
                    <a:pt x="695" y="540"/>
                  </a:lnTo>
                  <a:lnTo>
                    <a:pt x="695" y="542"/>
                  </a:lnTo>
                  <a:lnTo>
                    <a:pt x="691" y="545"/>
                  </a:lnTo>
                  <a:lnTo>
                    <a:pt x="689" y="544"/>
                  </a:lnTo>
                  <a:lnTo>
                    <a:pt x="691" y="544"/>
                  </a:lnTo>
                  <a:lnTo>
                    <a:pt x="689" y="542"/>
                  </a:lnTo>
                  <a:lnTo>
                    <a:pt x="685" y="545"/>
                  </a:lnTo>
                  <a:lnTo>
                    <a:pt x="684" y="544"/>
                  </a:lnTo>
                  <a:lnTo>
                    <a:pt x="682" y="545"/>
                  </a:lnTo>
                  <a:lnTo>
                    <a:pt x="684" y="547"/>
                  </a:lnTo>
                  <a:lnTo>
                    <a:pt x="680" y="547"/>
                  </a:lnTo>
                  <a:lnTo>
                    <a:pt x="680" y="549"/>
                  </a:lnTo>
                  <a:lnTo>
                    <a:pt x="674" y="551"/>
                  </a:lnTo>
                  <a:lnTo>
                    <a:pt x="670" y="553"/>
                  </a:lnTo>
                  <a:lnTo>
                    <a:pt x="668" y="553"/>
                  </a:lnTo>
                  <a:lnTo>
                    <a:pt x="664" y="553"/>
                  </a:lnTo>
                  <a:lnTo>
                    <a:pt x="664" y="555"/>
                  </a:lnTo>
                  <a:lnTo>
                    <a:pt x="661" y="557"/>
                  </a:lnTo>
                  <a:lnTo>
                    <a:pt x="659" y="559"/>
                  </a:lnTo>
                  <a:lnTo>
                    <a:pt x="657" y="559"/>
                  </a:lnTo>
                  <a:lnTo>
                    <a:pt x="657" y="561"/>
                  </a:lnTo>
                  <a:lnTo>
                    <a:pt x="653" y="561"/>
                  </a:lnTo>
                  <a:lnTo>
                    <a:pt x="651" y="565"/>
                  </a:lnTo>
                  <a:lnTo>
                    <a:pt x="647" y="565"/>
                  </a:lnTo>
                  <a:lnTo>
                    <a:pt x="649" y="574"/>
                  </a:lnTo>
                  <a:lnTo>
                    <a:pt x="647" y="574"/>
                  </a:lnTo>
                  <a:lnTo>
                    <a:pt x="643" y="584"/>
                  </a:lnTo>
                  <a:lnTo>
                    <a:pt x="647" y="586"/>
                  </a:lnTo>
                  <a:lnTo>
                    <a:pt x="645" y="592"/>
                  </a:lnTo>
                  <a:lnTo>
                    <a:pt x="647" y="592"/>
                  </a:lnTo>
                  <a:lnTo>
                    <a:pt x="647" y="597"/>
                  </a:lnTo>
                  <a:lnTo>
                    <a:pt x="647" y="599"/>
                  </a:lnTo>
                  <a:lnTo>
                    <a:pt x="647" y="601"/>
                  </a:lnTo>
                  <a:lnTo>
                    <a:pt x="651" y="605"/>
                  </a:lnTo>
                  <a:lnTo>
                    <a:pt x="651" y="611"/>
                  </a:lnTo>
                  <a:lnTo>
                    <a:pt x="653" y="613"/>
                  </a:lnTo>
                  <a:lnTo>
                    <a:pt x="657" y="615"/>
                  </a:lnTo>
                  <a:lnTo>
                    <a:pt x="662" y="620"/>
                  </a:lnTo>
                  <a:lnTo>
                    <a:pt x="661" y="624"/>
                  </a:lnTo>
                  <a:lnTo>
                    <a:pt x="666" y="628"/>
                  </a:lnTo>
                  <a:lnTo>
                    <a:pt x="664" y="630"/>
                  </a:lnTo>
                  <a:lnTo>
                    <a:pt x="664" y="634"/>
                  </a:lnTo>
                  <a:lnTo>
                    <a:pt x="662" y="638"/>
                  </a:lnTo>
                  <a:lnTo>
                    <a:pt x="657" y="640"/>
                  </a:lnTo>
                  <a:lnTo>
                    <a:pt x="651" y="640"/>
                  </a:lnTo>
                  <a:lnTo>
                    <a:pt x="649" y="641"/>
                  </a:lnTo>
                  <a:lnTo>
                    <a:pt x="649" y="647"/>
                  </a:lnTo>
                  <a:lnTo>
                    <a:pt x="651" y="651"/>
                  </a:lnTo>
                  <a:lnTo>
                    <a:pt x="653" y="653"/>
                  </a:lnTo>
                  <a:lnTo>
                    <a:pt x="655" y="657"/>
                  </a:lnTo>
                  <a:lnTo>
                    <a:pt x="649" y="661"/>
                  </a:lnTo>
                  <a:lnTo>
                    <a:pt x="647" y="663"/>
                  </a:lnTo>
                  <a:lnTo>
                    <a:pt x="651" y="666"/>
                  </a:lnTo>
                  <a:lnTo>
                    <a:pt x="647" y="670"/>
                  </a:lnTo>
                  <a:lnTo>
                    <a:pt x="647" y="674"/>
                  </a:lnTo>
                  <a:lnTo>
                    <a:pt x="643" y="682"/>
                  </a:lnTo>
                  <a:lnTo>
                    <a:pt x="641" y="684"/>
                  </a:lnTo>
                  <a:lnTo>
                    <a:pt x="638" y="688"/>
                  </a:lnTo>
                  <a:lnTo>
                    <a:pt x="636" y="693"/>
                  </a:lnTo>
                  <a:lnTo>
                    <a:pt x="632" y="693"/>
                  </a:lnTo>
                  <a:lnTo>
                    <a:pt x="630" y="697"/>
                  </a:lnTo>
                  <a:lnTo>
                    <a:pt x="628" y="705"/>
                  </a:lnTo>
                  <a:lnTo>
                    <a:pt x="622" y="705"/>
                  </a:lnTo>
                  <a:lnTo>
                    <a:pt x="622" y="707"/>
                  </a:lnTo>
                  <a:lnTo>
                    <a:pt x="616" y="709"/>
                  </a:lnTo>
                  <a:lnTo>
                    <a:pt x="609" y="709"/>
                  </a:lnTo>
                  <a:lnTo>
                    <a:pt x="601" y="709"/>
                  </a:lnTo>
                  <a:lnTo>
                    <a:pt x="593" y="705"/>
                  </a:lnTo>
                  <a:lnTo>
                    <a:pt x="588" y="701"/>
                  </a:lnTo>
                  <a:lnTo>
                    <a:pt x="586" y="699"/>
                  </a:lnTo>
                  <a:lnTo>
                    <a:pt x="586" y="695"/>
                  </a:lnTo>
                  <a:lnTo>
                    <a:pt x="580" y="693"/>
                  </a:lnTo>
                  <a:lnTo>
                    <a:pt x="582" y="688"/>
                  </a:lnTo>
                  <a:lnTo>
                    <a:pt x="576" y="688"/>
                  </a:lnTo>
                  <a:lnTo>
                    <a:pt x="570" y="682"/>
                  </a:lnTo>
                  <a:lnTo>
                    <a:pt x="572" y="678"/>
                  </a:lnTo>
                  <a:lnTo>
                    <a:pt x="578" y="680"/>
                  </a:lnTo>
                  <a:lnTo>
                    <a:pt x="580" y="678"/>
                  </a:lnTo>
                  <a:lnTo>
                    <a:pt x="578" y="672"/>
                  </a:lnTo>
                  <a:lnTo>
                    <a:pt x="580" y="670"/>
                  </a:lnTo>
                  <a:lnTo>
                    <a:pt x="584" y="663"/>
                  </a:lnTo>
                  <a:lnTo>
                    <a:pt x="582" y="661"/>
                  </a:lnTo>
                  <a:lnTo>
                    <a:pt x="582" y="655"/>
                  </a:lnTo>
                  <a:lnTo>
                    <a:pt x="576" y="653"/>
                  </a:lnTo>
                  <a:lnTo>
                    <a:pt x="580" y="649"/>
                  </a:lnTo>
                  <a:lnTo>
                    <a:pt x="578" y="643"/>
                  </a:lnTo>
                  <a:lnTo>
                    <a:pt x="580" y="641"/>
                  </a:lnTo>
                  <a:lnTo>
                    <a:pt x="578" y="640"/>
                  </a:lnTo>
                  <a:lnTo>
                    <a:pt x="578" y="636"/>
                  </a:lnTo>
                  <a:lnTo>
                    <a:pt x="580" y="636"/>
                  </a:lnTo>
                  <a:lnTo>
                    <a:pt x="582" y="638"/>
                  </a:lnTo>
                  <a:lnTo>
                    <a:pt x="588" y="636"/>
                  </a:lnTo>
                  <a:lnTo>
                    <a:pt x="586" y="630"/>
                  </a:lnTo>
                  <a:lnTo>
                    <a:pt x="584" y="630"/>
                  </a:lnTo>
                  <a:lnTo>
                    <a:pt x="584" y="626"/>
                  </a:lnTo>
                  <a:lnTo>
                    <a:pt x="576" y="626"/>
                  </a:lnTo>
                  <a:lnTo>
                    <a:pt x="576" y="622"/>
                  </a:lnTo>
                  <a:lnTo>
                    <a:pt x="572" y="620"/>
                  </a:lnTo>
                  <a:lnTo>
                    <a:pt x="563" y="624"/>
                  </a:lnTo>
                  <a:lnTo>
                    <a:pt x="559" y="624"/>
                  </a:lnTo>
                  <a:lnTo>
                    <a:pt x="557" y="622"/>
                  </a:lnTo>
                  <a:lnTo>
                    <a:pt x="549" y="622"/>
                  </a:lnTo>
                  <a:lnTo>
                    <a:pt x="547" y="618"/>
                  </a:lnTo>
                  <a:lnTo>
                    <a:pt x="545" y="622"/>
                  </a:lnTo>
                  <a:lnTo>
                    <a:pt x="545" y="632"/>
                  </a:lnTo>
                  <a:lnTo>
                    <a:pt x="540" y="630"/>
                  </a:lnTo>
                  <a:lnTo>
                    <a:pt x="538" y="628"/>
                  </a:lnTo>
                  <a:lnTo>
                    <a:pt x="534" y="630"/>
                  </a:lnTo>
                  <a:lnTo>
                    <a:pt x="534" y="622"/>
                  </a:lnTo>
                  <a:lnTo>
                    <a:pt x="530" y="620"/>
                  </a:lnTo>
                  <a:lnTo>
                    <a:pt x="530" y="624"/>
                  </a:lnTo>
                  <a:lnTo>
                    <a:pt x="526" y="624"/>
                  </a:lnTo>
                  <a:lnTo>
                    <a:pt x="526" y="622"/>
                  </a:lnTo>
                  <a:lnTo>
                    <a:pt x="528" y="620"/>
                  </a:lnTo>
                  <a:lnTo>
                    <a:pt x="528" y="613"/>
                  </a:lnTo>
                  <a:lnTo>
                    <a:pt x="528" y="615"/>
                  </a:lnTo>
                  <a:lnTo>
                    <a:pt x="526" y="613"/>
                  </a:lnTo>
                  <a:lnTo>
                    <a:pt x="526" y="615"/>
                  </a:lnTo>
                  <a:lnTo>
                    <a:pt x="524" y="615"/>
                  </a:lnTo>
                  <a:lnTo>
                    <a:pt x="524" y="617"/>
                  </a:lnTo>
                  <a:lnTo>
                    <a:pt x="520" y="617"/>
                  </a:lnTo>
                  <a:lnTo>
                    <a:pt x="524" y="613"/>
                  </a:lnTo>
                  <a:lnTo>
                    <a:pt x="522" y="611"/>
                  </a:lnTo>
                  <a:lnTo>
                    <a:pt x="524" y="611"/>
                  </a:lnTo>
                  <a:lnTo>
                    <a:pt x="524" y="609"/>
                  </a:lnTo>
                  <a:lnTo>
                    <a:pt x="520" y="609"/>
                  </a:lnTo>
                  <a:lnTo>
                    <a:pt x="522" y="607"/>
                  </a:lnTo>
                  <a:lnTo>
                    <a:pt x="520" y="607"/>
                  </a:lnTo>
                  <a:lnTo>
                    <a:pt x="520" y="611"/>
                  </a:lnTo>
                  <a:lnTo>
                    <a:pt x="517" y="609"/>
                  </a:lnTo>
                  <a:lnTo>
                    <a:pt x="515" y="611"/>
                  </a:lnTo>
                  <a:lnTo>
                    <a:pt x="511" y="607"/>
                  </a:lnTo>
                  <a:lnTo>
                    <a:pt x="503" y="603"/>
                  </a:lnTo>
                  <a:lnTo>
                    <a:pt x="499" y="605"/>
                  </a:lnTo>
                  <a:lnTo>
                    <a:pt x="495" y="603"/>
                  </a:lnTo>
                  <a:lnTo>
                    <a:pt x="495" y="601"/>
                  </a:lnTo>
                  <a:lnTo>
                    <a:pt x="492" y="599"/>
                  </a:lnTo>
                  <a:lnTo>
                    <a:pt x="494" y="595"/>
                  </a:lnTo>
                  <a:lnTo>
                    <a:pt x="492" y="590"/>
                  </a:lnTo>
                  <a:lnTo>
                    <a:pt x="490" y="588"/>
                  </a:lnTo>
                  <a:lnTo>
                    <a:pt x="486" y="586"/>
                  </a:lnTo>
                  <a:lnTo>
                    <a:pt x="482" y="586"/>
                  </a:lnTo>
                  <a:lnTo>
                    <a:pt x="476" y="584"/>
                  </a:lnTo>
                  <a:lnTo>
                    <a:pt x="469" y="582"/>
                  </a:lnTo>
                  <a:lnTo>
                    <a:pt x="467" y="578"/>
                  </a:lnTo>
                  <a:lnTo>
                    <a:pt x="461" y="580"/>
                  </a:lnTo>
                  <a:lnTo>
                    <a:pt x="461" y="578"/>
                  </a:lnTo>
                  <a:lnTo>
                    <a:pt x="465" y="576"/>
                  </a:lnTo>
                  <a:lnTo>
                    <a:pt x="465" y="574"/>
                  </a:lnTo>
                  <a:lnTo>
                    <a:pt x="461" y="576"/>
                  </a:lnTo>
                  <a:lnTo>
                    <a:pt x="461" y="572"/>
                  </a:lnTo>
                  <a:lnTo>
                    <a:pt x="463" y="570"/>
                  </a:lnTo>
                  <a:lnTo>
                    <a:pt x="459" y="568"/>
                  </a:lnTo>
                  <a:lnTo>
                    <a:pt x="461" y="567"/>
                  </a:lnTo>
                  <a:lnTo>
                    <a:pt x="459" y="567"/>
                  </a:lnTo>
                  <a:lnTo>
                    <a:pt x="451" y="567"/>
                  </a:lnTo>
                  <a:lnTo>
                    <a:pt x="453" y="570"/>
                  </a:lnTo>
                  <a:lnTo>
                    <a:pt x="453" y="572"/>
                  </a:lnTo>
                  <a:lnTo>
                    <a:pt x="449" y="570"/>
                  </a:lnTo>
                  <a:lnTo>
                    <a:pt x="449" y="572"/>
                  </a:lnTo>
                  <a:lnTo>
                    <a:pt x="447" y="572"/>
                  </a:lnTo>
                  <a:lnTo>
                    <a:pt x="449" y="574"/>
                  </a:lnTo>
                  <a:lnTo>
                    <a:pt x="451" y="576"/>
                  </a:lnTo>
                  <a:lnTo>
                    <a:pt x="449" y="578"/>
                  </a:lnTo>
                  <a:lnTo>
                    <a:pt x="442" y="576"/>
                  </a:lnTo>
                  <a:lnTo>
                    <a:pt x="444" y="574"/>
                  </a:lnTo>
                  <a:lnTo>
                    <a:pt x="444" y="572"/>
                  </a:lnTo>
                  <a:lnTo>
                    <a:pt x="440" y="574"/>
                  </a:lnTo>
                  <a:lnTo>
                    <a:pt x="432" y="568"/>
                  </a:lnTo>
                  <a:lnTo>
                    <a:pt x="430" y="570"/>
                  </a:lnTo>
                  <a:lnTo>
                    <a:pt x="430" y="574"/>
                  </a:lnTo>
                  <a:lnTo>
                    <a:pt x="430" y="568"/>
                  </a:lnTo>
                  <a:lnTo>
                    <a:pt x="426" y="568"/>
                  </a:lnTo>
                  <a:lnTo>
                    <a:pt x="423" y="576"/>
                  </a:lnTo>
                  <a:lnTo>
                    <a:pt x="424" y="580"/>
                  </a:lnTo>
                  <a:lnTo>
                    <a:pt x="419" y="588"/>
                  </a:lnTo>
                  <a:lnTo>
                    <a:pt x="419" y="593"/>
                  </a:lnTo>
                  <a:lnTo>
                    <a:pt x="417" y="595"/>
                  </a:lnTo>
                  <a:lnTo>
                    <a:pt x="417" y="593"/>
                  </a:lnTo>
                  <a:lnTo>
                    <a:pt x="413" y="592"/>
                  </a:lnTo>
                  <a:lnTo>
                    <a:pt x="411" y="599"/>
                  </a:lnTo>
                  <a:lnTo>
                    <a:pt x="405" y="592"/>
                  </a:lnTo>
                  <a:lnTo>
                    <a:pt x="398" y="592"/>
                  </a:lnTo>
                  <a:lnTo>
                    <a:pt x="398" y="595"/>
                  </a:lnTo>
                  <a:lnTo>
                    <a:pt x="394" y="593"/>
                  </a:lnTo>
                  <a:lnTo>
                    <a:pt x="392" y="595"/>
                  </a:lnTo>
                  <a:lnTo>
                    <a:pt x="390" y="590"/>
                  </a:lnTo>
                  <a:lnTo>
                    <a:pt x="386" y="592"/>
                  </a:lnTo>
                  <a:lnTo>
                    <a:pt x="386" y="593"/>
                  </a:lnTo>
                  <a:lnTo>
                    <a:pt x="375" y="593"/>
                  </a:lnTo>
                  <a:lnTo>
                    <a:pt x="375" y="590"/>
                  </a:lnTo>
                  <a:lnTo>
                    <a:pt x="378" y="590"/>
                  </a:lnTo>
                  <a:lnTo>
                    <a:pt x="380" y="588"/>
                  </a:lnTo>
                  <a:lnTo>
                    <a:pt x="378" y="584"/>
                  </a:lnTo>
                  <a:lnTo>
                    <a:pt x="384" y="580"/>
                  </a:lnTo>
                  <a:lnTo>
                    <a:pt x="382" y="574"/>
                  </a:lnTo>
                  <a:lnTo>
                    <a:pt x="388" y="568"/>
                  </a:lnTo>
                  <a:lnTo>
                    <a:pt x="384" y="567"/>
                  </a:lnTo>
                  <a:lnTo>
                    <a:pt x="380" y="567"/>
                  </a:lnTo>
                  <a:lnTo>
                    <a:pt x="378" y="574"/>
                  </a:lnTo>
                  <a:lnTo>
                    <a:pt x="376" y="570"/>
                  </a:lnTo>
                  <a:lnTo>
                    <a:pt x="369" y="572"/>
                  </a:lnTo>
                  <a:lnTo>
                    <a:pt x="367" y="570"/>
                  </a:lnTo>
                  <a:lnTo>
                    <a:pt x="365" y="572"/>
                  </a:lnTo>
                  <a:lnTo>
                    <a:pt x="369" y="574"/>
                  </a:lnTo>
                  <a:lnTo>
                    <a:pt x="367" y="576"/>
                  </a:lnTo>
                  <a:lnTo>
                    <a:pt x="373" y="578"/>
                  </a:lnTo>
                  <a:lnTo>
                    <a:pt x="373" y="580"/>
                  </a:lnTo>
                  <a:lnTo>
                    <a:pt x="369" y="580"/>
                  </a:lnTo>
                  <a:lnTo>
                    <a:pt x="361" y="582"/>
                  </a:lnTo>
                  <a:lnTo>
                    <a:pt x="363" y="578"/>
                  </a:lnTo>
                  <a:lnTo>
                    <a:pt x="359" y="580"/>
                  </a:lnTo>
                  <a:lnTo>
                    <a:pt x="359" y="578"/>
                  </a:lnTo>
                  <a:lnTo>
                    <a:pt x="355" y="576"/>
                  </a:lnTo>
                  <a:lnTo>
                    <a:pt x="357" y="574"/>
                  </a:lnTo>
                  <a:lnTo>
                    <a:pt x="355" y="572"/>
                  </a:lnTo>
                  <a:lnTo>
                    <a:pt x="355" y="570"/>
                  </a:lnTo>
                  <a:lnTo>
                    <a:pt x="353" y="576"/>
                  </a:lnTo>
                  <a:lnTo>
                    <a:pt x="355" y="580"/>
                  </a:lnTo>
                  <a:lnTo>
                    <a:pt x="352" y="578"/>
                  </a:lnTo>
                  <a:lnTo>
                    <a:pt x="348" y="580"/>
                  </a:lnTo>
                  <a:lnTo>
                    <a:pt x="346" y="576"/>
                  </a:lnTo>
                  <a:lnTo>
                    <a:pt x="342" y="576"/>
                  </a:lnTo>
                  <a:lnTo>
                    <a:pt x="344" y="578"/>
                  </a:lnTo>
                  <a:lnTo>
                    <a:pt x="344" y="582"/>
                  </a:lnTo>
                  <a:lnTo>
                    <a:pt x="348" y="584"/>
                  </a:lnTo>
                  <a:lnTo>
                    <a:pt x="348" y="586"/>
                  </a:lnTo>
                  <a:lnTo>
                    <a:pt x="340" y="586"/>
                  </a:lnTo>
                  <a:lnTo>
                    <a:pt x="340" y="590"/>
                  </a:lnTo>
                  <a:lnTo>
                    <a:pt x="338" y="590"/>
                  </a:lnTo>
                  <a:lnTo>
                    <a:pt x="338" y="586"/>
                  </a:lnTo>
                  <a:lnTo>
                    <a:pt x="336" y="584"/>
                  </a:lnTo>
                  <a:lnTo>
                    <a:pt x="338" y="582"/>
                  </a:lnTo>
                  <a:lnTo>
                    <a:pt x="344" y="582"/>
                  </a:lnTo>
                  <a:lnTo>
                    <a:pt x="340" y="582"/>
                  </a:lnTo>
                  <a:lnTo>
                    <a:pt x="336" y="578"/>
                  </a:lnTo>
                  <a:lnTo>
                    <a:pt x="330" y="582"/>
                  </a:lnTo>
                  <a:lnTo>
                    <a:pt x="330" y="584"/>
                  </a:lnTo>
                  <a:lnTo>
                    <a:pt x="332" y="586"/>
                  </a:lnTo>
                  <a:lnTo>
                    <a:pt x="330" y="586"/>
                  </a:lnTo>
                  <a:lnTo>
                    <a:pt x="329" y="584"/>
                  </a:lnTo>
                  <a:lnTo>
                    <a:pt x="325" y="588"/>
                  </a:lnTo>
                  <a:lnTo>
                    <a:pt x="319" y="584"/>
                  </a:lnTo>
                  <a:lnTo>
                    <a:pt x="321" y="580"/>
                  </a:lnTo>
                  <a:lnTo>
                    <a:pt x="325" y="578"/>
                  </a:lnTo>
                  <a:lnTo>
                    <a:pt x="329" y="570"/>
                  </a:lnTo>
                  <a:lnTo>
                    <a:pt x="336" y="568"/>
                  </a:lnTo>
                  <a:lnTo>
                    <a:pt x="332" y="561"/>
                  </a:lnTo>
                  <a:lnTo>
                    <a:pt x="330" y="561"/>
                  </a:lnTo>
                  <a:lnTo>
                    <a:pt x="329" y="557"/>
                  </a:lnTo>
                  <a:lnTo>
                    <a:pt x="325" y="555"/>
                  </a:lnTo>
                  <a:lnTo>
                    <a:pt x="325" y="551"/>
                  </a:lnTo>
                  <a:lnTo>
                    <a:pt x="325" y="549"/>
                  </a:lnTo>
                  <a:lnTo>
                    <a:pt x="325" y="545"/>
                  </a:lnTo>
                  <a:lnTo>
                    <a:pt x="319" y="542"/>
                  </a:lnTo>
                  <a:lnTo>
                    <a:pt x="319" y="544"/>
                  </a:lnTo>
                  <a:lnTo>
                    <a:pt x="315" y="544"/>
                  </a:lnTo>
                  <a:lnTo>
                    <a:pt x="313" y="542"/>
                  </a:lnTo>
                  <a:lnTo>
                    <a:pt x="311" y="545"/>
                  </a:lnTo>
                  <a:lnTo>
                    <a:pt x="309" y="545"/>
                  </a:lnTo>
                  <a:lnTo>
                    <a:pt x="305" y="549"/>
                  </a:lnTo>
                  <a:lnTo>
                    <a:pt x="300" y="547"/>
                  </a:lnTo>
                  <a:lnTo>
                    <a:pt x="300" y="549"/>
                  </a:lnTo>
                  <a:lnTo>
                    <a:pt x="294" y="549"/>
                  </a:lnTo>
                  <a:lnTo>
                    <a:pt x="292" y="553"/>
                  </a:lnTo>
                  <a:lnTo>
                    <a:pt x="290" y="555"/>
                  </a:lnTo>
                  <a:lnTo>
                    <a:pt x="290" y="557"/>
                  </a:lnTo>
                  <a:lnTo>
                    <a:pt x="284" y="557"/>
                  </a:lnTo>
                  <a:lnTo>
                    <a:pt x="282" y="563"/>
                  </a:lnTo>
                  <a:lnTo>
                    <a:pt x="281" y="559"/>
                  </a:lnTo>
                  <a:lnTo>
                    <a:pt x="275" y="561"/>
                  </a:lnTo>
                  <a:lnTo>
                    <a:pt x="277" y="563"/>
                  </a:lnTo>
                  <a:lnTo>
                    <a:pt x="275" y="565"/>
                  </a:lnTo>
                  <a:lnTo>
                    <a:pt x="277" y="570"/>
                  </a:lnTo>
                  <a:lnTo>
                    <a:pt x="275" y="574"/>
                  </a:lnTo>
                  <a:lnTo>
                    <a:pt x="275" y="576"/>
                  </a:lnTo>
                  <a:lnTo>
                    <a:pt x="271" y="576"/>
                  </a:lnTo>
                  <a:lnTo>
                    <a:pt x="263" y="572"/>
                  </a:lnTo>
                  <a:lnTo>
                    <a:pt x="256" y="574"/>
                  </a:lnTo>
                  <a:lnTo>
                    <a:pt x="250" y="572"/>
                  </a:lnTo>
                  <a:lnTo>
                    <a:pt x="248" y="572"/>
                  </a:lnTo>
                  <a:lnTo>
                    <a:pt x="248" y="570"/>
                  </a:lnTo>
                  <a:lnTo>
                    <a:pt x="244" y="568"/>
                  </a:lnTo>
                  <a:lnTo>
                    <a:pt x="240" y="572"/>
                  </a:lnTo>
                  <a:lnTo>
                    <a:pt x="240" y="576"/>
                  </a:lnTo>
                  <a:lnTo>
                    <a:pt x="236" y="578"/>
                  </a:lnTo>
                  <a:lnTo>
                    <a:pt x="233" y="578"/>
                  </a:lnTo>
                  <a:lnTo>
                    <a:pt x="234" y="572"/>
                  </a:lnTo>
                  <a:lnTo>
                    <a:pt x="231" y="576"/>
                  </a:lnTo>
                  <a:lnTo>
                    <a:pt x="231" y="572"/>
                  </a:lnTo>
                  <a:lnTo>
                    <a:pt x="229" y="572"/>
                  </a:lnTo>
                  <a:lnTo>
                    <a:pt x="229" y="574"/>
                  </a:lnTo>
                  <a:lnTo>
                    <a:pt x="227" y="574"/>
                  </a:lnTo>
                  <a:lnTo>
                    <a:pt x="225" y="570"/>
                  </a:lnTo>
                  <a:lnTo>
                    <a:pt x="225" y="568"/>
                  </a:lnTo>
                  <a:lnTo>
                    <a:pt x="229" y="565"/>
                  </a:lnTo>
                  <a:lnTo>
                    <a:pt x="231" y="565"/>
                  </a:lnTo>
                  <a:lnTo>
                    <a:pt x="231" y="563"/>
                  </a:lnTo>
                  <a:lnTo>
                    <a:pt x="234" y="559"/>
                  </a:lnTo>
                  <a:lnTo>
                    <a:pt x="236" y="557"/>
                  </a:lnTo>
                  <a:lnTo>
                    <a:pt x="234" y="557"/>
                  </a:lnTo>
                  <a:lnTo>
                    <a:pt x="231" y="559"/>
                  </a:lnTo>
                  <a:lnTo>
                    <a:pt x="229" y="559"/>
                  </a:lnTo>
                  <a:lnTo>
                    <a:pt x="225" y="555"/>
                  </a:lnTo>
                  <a:lnTo>
                    <a:pt x="225" y="557"/>
                  </a:lnTo>
                  <a:lnTo>
                    <a:pt x="223" y="559"/>
                  </a:lnTo>
                  <a:lnTo>
                    <a:pt x="221" y="555"/>
                  </a:lnTo>
                  <a:lnTo>
                    <a:pt x="221" y="551"/>
                  </a:lnTo>
                  <a:lnTo>
                    <a:pt x="217" y="551"/>
                  </a:lnTo>
                  <a:lnTo>
                    <a:pt x="213" y="553"/>
                  </a:lnTo>
                  <a:lnTo>
                    <a:pt x="211" y="557"/>
                  </a:lnTo>
                  <a:lnTo>
                    <a:pt x="213" y="559"/>
                  </a:lnTo>
                  <a:lnTo>
                    <a:pt x="215" y="557"/>
                  </a:lnTo>
                  <a:lnTo>
                    <a:pt x="217" y="559"/>
                  </a:lnTo>
                  <a:lnTo>
                    <a:pt x="221" y="559"/>
                  </a:lnTo>
                  <a:lnTo>
                    <a:pt x="221" y="565"/>
                  </a:lnTo>
                  <a:lnTo>
                    <a:pt x="215" y="561"/>
                  </a:lnTo>
                  <a:lnTo>
                    <a:pt x="213" y="567"/>
                  </a:lnTo>
                  <a:lnTo>
                    <a:pt x="219" y="570"/>
                  </a:lnTo>
                  <a:lnTo>
                    <a:pt x="217" y="572"/>
                  </a:lnTo>
                  <a:lnTo>
                    <a:pt x="211" y="574"/>
                  </a:lnTo>
                  <a:lnTo>
                    <a:pt x="211" y="570"/>
                  </a:lnTo>
                  <a:lnTo>
                    <a:pt x="210" y="570"/>
                  </a:lnTo>
                  <a:lnTo>
                    <a:pt x="208" y="570"/>
                  </a:lnTo>
                  <a:lnTo>
                    <a:pt x="210" y="572"/>
                  </a:lnTo>
                  <a:lnTo>
                    <a:pt x="210" y="574"/>
                  </a:lnTo>
                  <a:lnTo>
                    <a:pt x="206" y="574"/>
                  </a:lnTo>
                  <a:lnTo>
                    <a:pt x="204" y="570"/>
                  </a:lnTo>
                  <a:lnTo>
                    <a:pt x="202" y="572"/>
                  </a:lnTo>
                  <a:lnTo>
                    <a:pt x="204" y="574"/>
                  </a:lnTo>
                  <a:lnTo>
                    <a:pt x="198" y="574"/>
                  </a:lnTo>
                  <a:lnTo>
                    <a:pt x="196" y="572"/>
                  </a:lnTo>
                  <a:lnTo>
                    <a:pt x="198" y="570"/>
                  </a:lnTo>
                  <a:lnTo>
                    <a:pt x="194" y="567"/>
                  </a:lnTo>
                  <a:lnTo>
                    <a:pt x="188" y="572"/>
                  </a:lnTo>
                  <a:lnTo>
                    <a:pt x="186" y="572"/>
                  </a:lnTo>
                  <a:lnTo>
                    <a:pt x="186" y="567"/>
                  </a:lnTo>
                  <a:lnTo>
                    <a:pt x="188" y="565"/>
                  </a:lnTo>
                  <a:lnTo>
                    <a:pt x="190" y="567"/>
                  </a:lnTo>
                  <a:lnTo>
                    <a:pt x="190" y="563"/>
                  </a:lnTo>
                  <a:lnTo>
                    <a:pt x="186" y="561"/>
                  </a:lnTo>
                  <a:lnTo>
                    <a:pt x="185" y="557"/>
                  </a:lnTo>
                  <a:lnTo>
                    <a:pt x="183" y="557"/>
                  </a:lnTo>
                  <a:lnTo>
                    <a:pt x="183" y="561"/>
                  </a:lnTo>
                  <a:lnTo>
                    <a:pt x="185" y="563"/>
                  </a:lnTo>
                  <a:lnTo>
                    <a:pt x="185" y="567"/>
                  </a:lnTo>
                  <a:lnTo>
                    <a:pt x="181" y="563"/>
                  </a:lnTo>
                  <a:lnTo>
                    <a:pt x="177" y="563"/>
                  </a:lnTo>
                  <a:lnTo>
                    <a:pt x="173" y="568"/>
                  </a:lnTo>
                  <a:lnTo>
                    <a:pt x="171" y="568"/>
                  </a:lnTo>
                  <a:lnTo>
                    <a:pt x="171" y="567"/>
                  </a:lnTo>
                  <a:lnTo>
                    <a:pt x="173" y="563"/>
                  </a:lnTo>
                  <a:lnTo>
                    <a:pt x="171" y="563"/>
                  </a:lnTo>
                  <a:lnTo>
                    <a:pt x="171" y="559"/>
                  </a:lnTo>
                  <a:lnTo>
                    <a:pt x="173" y="561"/>
                  </a:lnTo>
                  <a:lnTo>
                    <a:pt x="175" y="557"/>
                  </a:lnTo>
                  <a:lnTo>
                    <a:pt x="179" y="559"/>
                  </a:lnTo>
                  <a:lnTo>
                    <a:pt x="179" y="557"/>
                  </a:lnTo>
                  <a:lnTo>
                    <a:pt x="181" y="557"/>
                  </a:lnTo>
                  <a:lnTo>
                    <a:pt x="179" y="551"/>
                  </a:lnTo>
                  <a:lnTo>
                    <a:pt x="171" y="549"/>
                  </a:lnTo>
                  <a:lnTo>
                    <a:pt x="169" y="553"/>
                  </a:lnTo>
                  <a:lnTo>
                    <a:pt x="171" y="557"/>
                  </a:lnTo>
                  <a:lnTo>
                    <a:pt x="167" y="563"/>
                  </a:lnTo>
                  <a:lnTo>
                    <a:pt x="163" y="557"/>
                  </a:lnTo>
                  <a:lnTo>
                    <a:pt x="165" y="553"/>
                  </a:lnTo>
                  <a:lnTo>
                    <a:pt x="162" y="555"/>
                  </a:lnTo>
                  <a:lnTo>
                    <a:pt x="163" y="553"/>
                  </a:lnTo>
                  <a:lnTo>
                    <a:pt x="167" y="553"/>
                  </a:lnTo>
                  <a:lnTo>
                    <a:pt x="173" y="545"/>
                  </a:lnTo>
                  <a:lnTo>
                    <a:pt x="181" y="544"/>
                  </a:lnTo>
                  <a:lnTo>
                    <a:pt x="179" y="545"/>
                  </a:lnTo>
                  <a:lnTo>
                    <a:pt x="173" y="545"/>
                  </a:lnTo>
                  <a:lnTo>
                    <a:pt x="179" y="549"/>
                  </a:lnTo>
                  <a:lnTo>
                    <a:pt x="183" y="545"/>
                  </a:lnTo>
                  <a:lnTo>
                    <a:pt x="181" y="540"/>
                  </a:lnTo>
                  <a:lnTo>
                    <a:pt x="179" y="540"/>
                  </a:lnTo>
                  <a:lnTo>
                    <a:pt x="175" y="538"/>
                  </a:lnTo>
                  <a:lnTo>
                    <a:pt x="179" y="534"/>
                  </a:lnTo>
                  <a:lnTo>
                    <a:pt x="177" y="530"/>
                  </a:lnTo>
                  <a:lnTo>
                    <a:pt x="181" y="528"/>
                  </a:lnTo>
                  <a:lnTo>
                    <a:pt x="179" y="526"/>
                  </a:lnTo>
                  <a:lnTo>
                    <a:pt x="177" y="528"/>
                  </a:lnTo>
                  <a:lnTo>
                    <a:pt x="173" y="526"/>
                  </a:lnTo>
                  <a:lnTo>
                    <a:pt x="173" y="530"/>
                  </a:lnTo>
                  <a:lnTo>
                    <a:pt x="167" y="532"/>
                  </a:lnTo>
                  <a:lnTo>
                    <a:pt x="171" y="538"/>
                  </a:lnTo>
                  <a:lnTo>
                    <a:pt x="169" y="540"/>
                  </a:lnTo>
                  <a:lnTo>
                    <a:pt x="165" y="540"/>
                  </a:lnTo>
                  <a:lnTo>
                    <a:pt x="165" y="538"/>
                  </a:lnTo>
                  <a:lnTo>
                    <a:pt x="169" y="538"/>
                  </a:lnTo>
                  <a:lnTo>
                    <a:pt x="165" y="536"/>
                  </a:lnTo>
                  <a:lnTo>
                    <a:pt x="163" y="534"/>
                  </a:lnTo>
                  <a:lnTo>
                    <a:pt x="160" y="536"/>
                  </a:lnTo>
                  <a:lnTo>
                    <a:pt x="158" y="534"/>
                  </a:lnTo>
                  <a:lnTo>
                    <a:pt x="156" y="536"/>
                  </a:lnTo>
                  <a:lnTo>
                    <a:pt x="160" y="540"/>
                  </a:lnTo>
                  <a:lnTo>
                    <a:pt x="163" y="540"/>
                  </a:lnTo>
                  <a:lnTo>
                    <a:pt x="165" y="542"/>
                  </a:lnTo>
                  <a:lnTo>
                    <a:pt x="158" y="542"/>
                  </a:lnTo>
                  <a:lnTo>
                    <a:pt x="158" y="544"/>
                  </a:lnTo>
                  <a:lnTo>
                    <a:pt x="160" y="544"/>
                  </a:lnTo>
                  <a:lnTo>
                    <a:pt x="160" y="549"/>
                  </a:lnTo>
                  <a:lnTo>
                    <a:pt x="154" y="549"/>
                  </a:lnTo>
                  <a:lnTo>
                    <a:pt x="154" y="547"/>
                  </a:lnTo>
                  <a:lnTo>
                    <a:pt x="150" y="544"/>
                  </a:lnTo>
                  <a:lnTo>
                    <a:pt x="154" y="540"/>
                  </a:lnTo>
                  <a:lnTo>
                    <a:pt x="148" y="540"/>
                  </a:lnTo>
                  <a:lnTo>
                    <a:pt x="146" y="540"/>
                  </a:lnTo>
                  <a:lnTo>
                    <a:pt x="146" y="544"/>
                  </a:lnTo>
                  <a:lnTo>
                    <a:pt x="144" y="542"/>
                  </a:lnTo>
                  <a:lnTo>
                    <a:pt x="142" y="545"/>
                  </a:lnTo>
                  <a:lnTo>
                    <a:pt x="138" y="544"/>
                  </a:lnTo>
                  <a:lnTo>
                    <a:pt x="138" y="545"/>
                  </a:lnTo>
                  <a:lnTo>
                    <a:pt x="140" y="547"/>
                  </a:lnTo>
                  <a:lnTo>
                    <a:pt x="140" y="549"/>
                  </a:lnTo>
                  <a:lnTo>
                    <a:pt x="135" y="547"/>
                  </a:lnTo>
                  <a:lnTo>
                    <a:pt x="137" y="551"/>
                  </a:lnTo>
                  <a:lnTo>
                    <a:pt x="135" y="555"/>
                  </a:lnTo>
                  <a:lnTo>
                    <a:pt x="133" y="555"/>
                  </a:lnTo>
                  <a:lnTo>
                    <a:pt x="131" y="551"/>
                  </a:lnTo>
                  <a:lnTo>
                    <a:pt x="129" y="555"/>
                  </a:lnTo>
                  <a:lnTo>
                    <a:pt x="125" y="553"/>
                  </a:lnTo>
                  <a:lnTo>
                    <a:pt x="125" y="555"/>
                  </a:lnTo>
                  <a:lnTo>
                    <a:pt x="125" y="559"/>
                  </a:lnTo>
                  <a:lnTo>
                    <a:pt x="131" y="555"/>
                  </a:lnTo>
                  <a:lnTo>
                    <a:pt x="135" y="555"/>
                  </a:lnTo>
                  <a:lnTo>
                    <a:pt x="135" y="557"/>
                  </a:lnTo>
                  <a:lnTo>
                    <a:pt x="138" y="559"/>
                  </a:lnTo>
                  <a:lnTo>
                    <a:pt x="138" y="565"/>
                  </a:lnTo>
                  <a:lnTo>
                    <a:pt x="142" y="570"/>
                  </a:lnTo>
                  <a:lnTo>
                    <a:pt x="140" y="576"/>
                  </a:lnTo>
                  <a:lnTo>
                    <a:pt x="144" y="578"/>
                  </a:lnTo>
                  <a:lnTo>
                    <a:pt x="146" y="582"/>
                  </a:lnTo>
                  <a:lnTo>
                    <a:pt x="144" y="590"/>
                  </a:lnTo>
                  <a:lnTo>
                    <a:pt x="144" y="592"/>
                  </a:lnTo>
                  <a:lnTo>
                    <a:pt x="148" y="593"/>
                  </a:lnTo>
                  <a:lnTo>
                    <a:pt x="148" y="597"/>
                  </a:lnTo>
                  <a:lnTo>
                    <a:pt x="152" y="599"/>
                  </a:lnTo>
                  <a:lnTo>
                    <a:pt x="158" y="603"/>
                  </a:lnTo>
                  <a:lnTo>
                    <a:pt x="160" y="607"/>
                  </a:lnTo>
                  <a:lnTo>
                    <a:pt x="158" y="611"/>
                  </a:lnTo>
                  <a:lnTo>
                    <a:pt x="160" y="618"/>
                  </a:lnTo>
                  <a:lnTo>
                    <a:pt x="156" y="624"/>
                  </a:lnTo>
                  <a:lnTo>
                    <a:pt x="156" y="630"/>
                  </a:lnTo>
                  <a:lnTo>
                    <a:pt x="160" y="632"/>
                  </a:lnTo>
                  <a:lnTo>
                    <a:pt x="165" y="628"/>
                  </a:lnTo>
                  <a:lnTo>
                    <a:pt x="167" y="628"/>
                  </a:lnTo>
                  <a:lnTo>
                    <a:pt x="169" y="626"/>
                  </a:lnTo>
                  <a:lnTo>
                    <a:pt x="171" y="628"/>
                  </a:lnTo>
                  <a:lnTo>
                    <a:pt x="175" y="634"/>
                  </a:lnTo>
                  <a:lnTo>
                    <a:pt x="177" y="636"/>
                  </a:lnTo>
                  <a:lnTo>
                    <a:pt x="177" y="641"/>
                  </a:lnTo>
                  <a:lnTo>
                    <a:pt x="179" y="641"/>
                  </a:lnTo>
                  <a:lnTo>
                    <a:pt x="175" y="643"/>
                  </a:lnTo>
                  <a:lnTo>
                    <a:pt x="173" y="641"/>
                  </a:lnTo>
                  <a:lnTo>
                    <a:pt x="173" y="645"/>
                  </a:lnTo>
                  <a:lnTo>
                    <a:pt x="175" y="647"/>
                  </a:lnTo>
                  <a:lnTo>
                    <a:pt x="179" y="647"/>
                  </a:lnTo>
                  <a:lnTo>
                    <a:pt x="181" y="649"/>
                  </a:lnTo>
                  <a:lnTo>
                    <a:pt x="179" y="657"/>
                  </a:lnTo>
                  <a:lnTo>
                    <a:pt x="171" y="663"/>
                  </a:lnTo>
                  <a:lnTo>
                    <a:pt x="171" y="666"/>
                  </a:lnTo>
                  <a:lnTo>
                    <a:pt x="167" y="668"/>
                  </a:lnTo>
                  <a:lnTo>
                    <a:pt x="167" y="672"/>
                  </a:lnTo>
                  <a:lnTo>
                    <a:pt x="163" y="672"/>
                  </a:lnTo>
                  <a:lnTo>
                    <a:pt x="162" y="674"/>
                  </a:lnTo>
                  <a:lnTo>
                    <a:pt x="162" y="672"/>
                  </a:lnTo>
                  <a:lnTo>
                    <a:pt x="160" y="676"/>
                  </a:lnTo>
                  <a:lnTo>
                    <a:pt x="158" y="674"/>
                  </a:lnTo>
                  <a:lnTo>
                    <a:pt x="156" y="666"/>
                  </a:lnTo>
                  <a:lnTo>
                    <a:pt x="154" y="670"/>
                  </a:lnTo>
                  <a:lnTo>
                    <a:pt x="152" y="668"/>
                  </a:lnTo>
                  <a:lnTo>
                    <a:pt x="150" y="670"/>
                  </a:lnTo>
                  <a:lnTo>
                    <a:pt x="146" y="670"/>
                  </a:lnTo>
                  <a:lnTo>
                    <a:pt x="142" y="665"/>
                  </a:lnTo>
                  <a:lnTo>
                    <a:pt x="140" y="665"/>
                  </a:lnTo>
                  <a:lnTo>
                    <a:pt x="140" y="663"/>
                  </a:lnTo>
                  <a:lnTo>
                    <a:pt x="137" y="657"/>
                  </a:lnTo>
                  <a:lnTo>
                    <a:pt x="129" y="653"/>
                  </a:lnTo>
                  <a:lnTo>
                    <a:pt x="125" y="657"/>
                  </a:lnTo>
                  <a:lnTo>
                    <a:pt x="125" y="659"/>
                  </a:lnTo>
                  <a:lnTo>
                    <a:pt x="121" y="661"/>
                  </a:lnTo>
                  <a:lnTo>
                    <a:pt x="119" y="665"/>
                  </a:lnTo>
                  <a:lnTo>
                    <a:pt x="115" y="666"/>
                  </a:lnTo>
                  <a:lnTo>
                    <a:pt x="110" y="659"/>
                  </a:lnTo>
                  <a:lnTo>
                    <a:pt x="114" y="653"/>
                  </a:lnTo>
                  <a:lnTo>
                    <a:pt x="112" y="653"/>
                  </a:lnTo>
                  <a:lnTo>
                    <a:pt x="112" y="651"/>
                  </a:lnTo>
                  <a:lnTo>
                    <a:pt x="104" y="647"/>
                  </a:lnTo>
                  <a:lnTo>
                    <a:pt x="104" y="643"/>
                  </a:lnTo>
                  <a:lnTo>
                    <a:pt x="102" y="643"/>
                  </a:lnTo>
                  <a:lnTo>
                    <a:pt x="102" y="640"/>
                  </a:lnTo>
                  <a:lnTo>
                    <a:pt x="98" y="638"/>
                  </a:lnTo>
                  <a:lnTo>
                    <a:pt x="104" y="634"/>
                  </a:lnTo>
                  <a:lnTo>
                    <a:pt x="106" y="628"/>
                  </a:lnTo>
                  <a:lnTo>
                    <a:pt x="104" y="626"/>
                  </a:lnTo>
                  <a:lnTo>
                    <a:pt x="106" y="622"/>
                  </a:lnTo>
                  <a:lnTo>
                    <a:pt x="104" y="620"/>
                  </a:lnTo>
                  <a:lnTo>
                    <a:pt x="100" y="615"/>
                  </a:lnTo>
                  <a:lnTo>
                    <a:pt x="100" y="609"/>
                  </a:lnTo>
                  <a:lnTo>
                    <a:pt x="94" y="601"/>
                  </a:lnTo>
                  <a:lnTo>
                    <a:pt x="100" y="595"/>
                  </a:lnTo>
                  <a:lnTo>
                    <a:pt x="106" y="593"/>
                  </a:lnTo>
                  <a:lnTo>
                    <a:pt x="114" y="586"/>
                  </a:lnTo>
                  <a:lnTo>
                    <a:pt x="114" y="578"/>
                  </a:lnTo>
                  <a:lnTo>
                    <a:pt x="117" y="576"/>
                  </a:lnTo>
                  <a:lnTo>
                    <a:pt x="121" y="572"/>
                  </a:lnTo>
                  <a:lnTo>
                    <a:pt x="125" y="574"/>
                  </a:lnTo>
                  <a:lnTo>
                    <a:pt x="123" y="570"/>
                  </a:lnTo>
                  <a:lnTo>
                    <a:pt x="127" y="568"/>
                  </a:lnTo>
                  <a:lnTo>
                    <a:pt x="119" y="567"/>
                  </a:lnTo>
                  <a:lnTo>
                    <a:pt x="121" y="563"/>
                  </a:lnTo>
                  <a:lnTo>
                    <a:pt x="115" y="561"/>
                  </a:lnTo>
                  <a:lnTo>
                    <a:pt x="117" y="559"/>
                  </a:lnTo>
                  <a:lnTo>
                    <a:pt x="115" y="557"/>
                  </a:lnTo>
                  <a:lnTo>
                    <a:pt x="115" y="555"/>
                  </a:lnTo>
                  <a:lnTo>
                    <a:pt x="112" y="553"/>
                  </a:lnTo>
                  <a:lnTo>
                    <a:pt x="114" y="551"/>
                  </a:lnTo>
                  <a:lnTo>
                    <a:pt x="114" y="549"/>
                  </a:lnTo>
                  <a:lnTo>
                    <a:pt x="110" y="547"/>
                  </a:lnTo>
                  <a:lnTo>
                    <a:pt x="112" y="545"/>
                  </a:lnTo>
                  <a:lnTo>
                    <a:pt x="114" y="544"/>
                  </a:lnTo>
                  <a:lnTo>
                    <a:pt x="117" y="538"/>
                  </a:lnTo>
                  <a:lnTo>
                    <a:pt x="119" y="540"/>
                  </a:lnTo>
                  <a:lnTo>
                    <a:pt x="123" y="536"/>
                  </a:lnTo>
                  <a:lnTo>
                    <a:pt x="125" y="536"/>
                  </a:lnTo>
                  <a:lnTo>
                    <a:pt x="123" y="528"/>
                  </a:lnTo>
                  <a:lnTo>
                    <a:pt x="127" y="526"/>
                  </a:lnTo>
                  <a:lnTo>
                    <a:pt x="129" y="528"/>
                  </a:lnTo>
                  <a:lnTo>
                    <a:pt x="131" y="524"/>
                  </a:lnTo>
                  <a:lnTo>
                    <a:pt x="142" y="526"/>
                  </a:lnTo>
                  <a:lnTo>
                    <a:pt x="144" y="524"/>
                  </a:lnTo>
                  <a:lnTo>
                    <a:pt x="146" y="524"/>
                  </a:lnTo>
                  <a:lnTo>
                    <a:pt x="148" y="526"/>
                  </a:lnTo>
                  <a:lnTo>
                    <a:pt x="156" y="520"/>
                  </a:lnTo>
                  <a:lnTo>
                    <a:pt x="158" y="522"/>
                  </a:lnTo>
                  <a:lnTo>
                    <a:pt x="165" y="520"/>
                  </a:lnTo>
                  <a:lnTo>
                    <a:pt x="165" y="513"/>
                  </a:lnTo>
                  <a:lnTo>
                    <a:pt x="165" y="511"/>
                  </a:lnTo>
                  <a:lnTo>
                    <a:pt x="160" y="509"/>
                  </a:lnTo>
                  <a:lnTo>
                    <a:pt x="160" y="505"/>
                  </a:lnTo>
                  <a:lnTo>
                    <a:pt x="163" y="505"/>
                  </a:lnTo>
                  <a:lnTo>
                    <a:pt x="165" y="499"/>
                  </a:lnTo>
                  <a:lnTo>
                    <a:pt x="167" y="499"/>
                  </a:lnTo>
                  <a:lnTo>
                    <a:pt x="165" y="499"/>
                  </a:lnTo>
                  <a:lnTo>
                    <a:pt x="167" y="497"/>
                  </a:lnTo>
                  <a:lnTo>
                    <a:pt x="169" y="497"/>
                  </a:lnTo>
                  <a:lnTo>
                    <a:pt x="171" y="501"/>
                  </a:lnTo>
                  <a:lnTo>
                    <a:pt x="173" y="499"/>
                  </a:lnTo>
                  <a:lnTo>
                    <a:pt x="173" y="495"/>
                  </a:lnTo>
                  <a:lnTo>
                    <a:pt x="171" y="495"/>
                  </a:lnTo>
                  <a:lnTo>
                    <a:pt x="171" y="494"/>
                  </a:lnTo>
                  <a:lnTo>
                    <a:pt x="173" y="492"/>
                  </a:lnTo>
                  <a:lnTo>
                    <a:pt x="175" y="492"/>
                  </a:lnTo>
                  <a:lnTo>
                    <a:pt x="175" y="488"/>
                  </a:lnTo>
                  <a:lnTo>
                    <a:pt x="181" y="482"/>
                  </a:lnTo>
                  <a:lnTo>
                    <a:pt x="181" y="480"/>
                  </a:lnTo>
                  <a:lnTo>
                    <a:pt x="183" y="478"/>
                  </a:lnTo>
                  <a:lnTo>
                    <a:pt x="183" y="474"/>
                  </a:lnTo>
                  <a:lnTo>
                    <a:pt x="186" y="472"/>
                  </a:lnTo>
                  <a:lnTo>
                    <a:pt x="188" y="469"/>
                  </a:lnTo>
                  <a:lnTo>
                    <a:pt x="183" y="465"/>
                  </a:lnTo>
                  <a:lnTo>
                    <a:pt x="185" y="461"/>
                  </a:lnTo>
                  <a:lnTo>
                    <a:pt x="188" y="461"/>
                  </a:lnTo>
                  <a:lnTo>
                    <a:pt x="186" y="457"/>
                  </a:lnTo>
                  <a:lnTo>
                    <a:pt x="190" y="455"/>
                  </a:lnTo>
                  <a:lnTo>
                    <a:pt x="188" y="451"/>
                  </a:lnTo>
                  <a:lnTo>
                    <a:pt x="196" y="455"/>
                  </a:lnTo>
                  <a:lnTo>
                    <a:pt x="198" y="447"/>
                  </a:lnTo>
                  <a:lnTo>
                    <a:pt x="200" y="444"/>
                  </a:lnTo>
                  <a:lnTo>
                    <a:pt x="200" y="446"/>
                  </a:lnTo>
                  <a:lnTo>
                    <a:pt x="202" y="444"/>
                  </a:lnTo>
                  <a:lnTo>
                    <a:pt x="202" y="442"/>
                  </a:lnTo>
                  <a:lnTo>
                    <a:pt x="208" y="436"/>
                  </a:lnTo>
                  <a:lnTo>
                    <a:pt x="206" y="436"/>
                  </a:lnTo>
                  <a:lnTo>
                    <a:pt x="206" y="432"/>
                  </a:lnTo>
                  <a:lnTo>
                    <a:pt x="208" y="432"/>
                  </a:lnTo>
                  <a:lnTo>
                    <a:pt x="200" y="428"/>
                  </a:lnTo>
                  <a:lnTo>
                    <a:pt x="198" y="430"/>
                  </a:lnTo>
                  <a:lnTo>
                    <a:pt x="194" y="430"/>
                  </a:lnTo>
                  <a:lnTo>
                    <a:pt x="196" y="424"/>
                  </a:lnTo>
                  <a:lnTo>
                    <a:pt x="194" y="423"/>
                  </a:lnTo>
                  <a:lnTo>
                    <a:pt x="192" y="419"/>
                  </a:lnTo>
                  <a:lnTo>
                    <a:pt x="190" y="419"/>
                  </a:lnTo>
                  <a:lnTo>
                    <a:pt x="190" y="417"/>
                  </a:lnTo>
                  <a:lnTo>
                    <a:pt x="188" y="417"/>
                  </a:lnTo>
                  <a:lnTo>
                    <a:pt x="188" y="415"/>
                  </a:lnTo>
                  <a:lnTo>
                    <a:pt x="190" y="413"/>
                  </a:lnTo>
                  <a:lnTo>
                    <a:pt x="188" y="409"/>
                  </a:lnTo>
                  <a:lnTo>
                    <a:pt x="190" y="405"/>
                  </a:lnTo>
                  <a:lnTo>
                    <a:pt x="188" y="405"/>
                  </a:lnTo>
                  <a:lnTo>
                    <a:pt x="185" y="407"/>
                  </a:lnTo>
                  <a:lnTo>
                    <a:pt x="185" y="403"/>
                  </a:lnTo>
                  <a:lnTo>
                    <a:pt x="181" y="401"/>
                  </a:lnTo>
                  <a:lnTo>
                    <a:pt x="175" y="403"/>
                  </a:lnTo>
                  <a:lnTo>
                    <a:pt x="171" y="396"/>
                  </a:lnTo>
                  <a:lnTo>
                    <a:pt x="165" y="396"/>
                  </a:lnTo>
                  <a:lnTo>
                    <a:pt x="163" y="392"/>
                  </a:lnTo>
                  <a:lnTo>
                    <a:pt x="162" y="394"/>
                  </a:lnTo>
                  <a:lnTo>
                    <a:pt x="162" y="392"/>
                  </a:lnTo>
                  <a:lnTo>
                    <a:pt x="158" y="392"/>
                  </a:lnTo>
                  <a:lnTo>
                    <a:pt x="156" y="396"/>
                  </a:lnTo>
                  <a:lnTo>
                    <a:pt x="150" y="394"/>
                  </a:lnTo>
                  <a:lnTo>
                    <a:pt x="148" y="398"/>
                  </a:lnTo>
                  <a:lnTo>
                    <a:pt x="144" y="398"/>
                  </a:lnTo>
                  <a:lnTo>
                    <a:pt x="138" y="394"/>
                  </a:lnTo>
                  <a:lnTo>
                    <a:pt x="133" y="392"/>
                  </a:lnTo>
                  <a:lnTo>
                    <a:pt x="131" y="388"/>
                  </a:lnTo>
                  <a:lnTo>
                    <a:pt x="127" y="390"/>
                  </a:lnTo>
                  <a:lnTo>
                    <a:pt x="123" y="384"/>
                  </a:lnTo>
                  <a:lnTo>
                    <a:pt x="114" y="386"/>
                  </a:lnTo>
                  <a:lnTo>
                    <a:pt x="112" y="390"/>
                  </a:lnTo>
                  <a:lnTo>
                    <a:pt x="108" y="388"/>
                  </a:lnTo>
                  <a:lnTo>
                    <a:pt x="106" y="382"/>
                  </a:lnTo>
                  <a:lnTo>
                    <a:pt x="110" y="382"/>
                  </a:lnTo>
                  <a:lnTo>
                    <a:pt x="114" y="378"/>
                  </a:lnTo>
                  <a:lnTo>
                    <a:pt x="108" y="374"/>
                  </a:lnTo>
                  <a:lnTo>
                    <a:pt x="108" y="376"/>
                  </a:lnTo>
                  <a:lnTo>
                    <a:pt x="102" y="374"/>
                  </a:lnTo>
                  <a:lnTo>
                    <a:pt x="96" y="374"/>
                  </a:lnTo>
                  <a:lnTo>
                    <a:pt x="98" y="378"/>
                  </a:lnTo>
                  <a:lnTo>
                    <a:pt x="96" y="378"/>
                  </a:lnTo>
                  <a:lnTo>
                    <a:pt x="96" y="380"/>
                  </a:lnTo>
                  <a:lnTo>
                    <a:pt x="91" y="380"/>
                  </a:lnTo>
                  <a:lnTo>
                    <a:pt x="91" y="384"/>
                  </a:lnTo>
                  <a:lnTo>
                    <a:pt x="87" y="386"/>
                  </a:lnTo>
                  <a:lnTo>
                    <a:pt x="89" y="384"/>
                  </a:lnTo>
                  <a:lnTo>
                    <a:pt x="87" y="380"/>
                  </a:lnTo>
                  <a:lnTo>
                    <a:pt x="83" y="382"/>
                  </a:lnTo>
                  <a:lnTo>
                    <a:pt x="81" y="380"/>
                  </a:lnTo>
                  <a:lnTo>
                    <a:pt x="79" y="380"/>
                  </a:lnTo>
                  <a:lnTo>
                    <a:pt x="75" y="378"/>
                  </a:lnTo>
                  <a:lnTo>
                    <a:pt x="73" y="382"/>
                  </a:lnTo>
                  <a:lnTo>
                    <a:pt x="69" y="378"/>
                  </a:lnTo>
                  <a:lnTo>
                    <a:pt x="60" y="376"/>
                  </a:lnTo>
                  <a:lnTo>
                    <a:pt x="56" y="378"/>
                  </a:lnTo>
                  <a:lnTo>
                    <a:pt x="54" y="384"/>
                  </a:lnTo>
                  <a:lnTo>
                    <a:pt x="52" y="384"/>
                  </a:lnTo>
                  <a:lnTo>
                    <a:pt x="44" y="388"/>
                  </a:lnTo>
                  <a:lnTo>
                    <a:pt x="33" y="390"/>
                  </a:lnTo>
                  <a:lnTo>
                    <a:pt x="33" y="386"/>
                  </a:lnTo>
                  <a:lnTo>
                    <a:pt x="31" y="386"/>
                  </a:lnTo>
                  <a:lnTo>
                    <a:pt x="29" y="394"/>
                  </a:lnTo>
                  <a:lnTo>
                    <a:pt x="31" y="396"/>
                  </a:lnTo>
                  <a:lnTo>
                    <a:pt x="29" y="398"/>
                  </a:lnTo>
                  <a:lnTo>
                    <a:pt x="27" y="398"/>
                  </a:lnTo>
                  <a:lnTo>
                    <a:pt x="27" y="394"/>
                  </a:lnTo>
                  <a:lnTo>
                    <a:pt x="23" y="394"/>
                  </a:lnTo>
                  <a:lnTo>
                    <a:pt x="25" y="390"/>
                  </a:lnTo>
                  <a:lnTo>
                    <a:pt x="23" y="388"/>
                  </a:lnTo>
                  <a:lnTo>
                    <a:pt x="23" y="384"/>
                  </a:lnTo>
                  <a:lnTo>
                    <a:pt x="29" y="380"/>
                  </a:lnTo>
                  <a:lnTo>
                    <a:pt x="37" y="378"/>
                  </a:lnTo>
                  <a:lnTo>
                    <a:pt x="41" y="378"/>
                  </a:lnTo>
                  <a:lnTo>
                    <a:pt x="48" y="373"/>
                  </a:lnTo>
                  <a:lnTo>
                    <a:pt x="50" y="374"/>
                  </a:lnTo>
                  <a:lnTo>
                    <a:pt x="56" y="371"/>
                  </a:lnTo>
                  <a:lnTo>
                    <a:pt x="58" y="371"/>
                  </a:lnTo>
                  <a:lnTo>
                    <a:pt x="60" y="369"/>
                  </a:lnTo>
                  <a:lnTo>
                    <a:pt x="58" y="367"/>
                  </a:lnTo>
                  <a:lnTo>
                    <a:pt x="56" y="371"/>
                  </a:lnTo>
                  <a:lnTo>
                    <a:pt x="54" y="371"/>
                  </a:lnTo>
                  <a:lnTo>
                    <a:pt x="52" y="365"/>
                  </a:lnTo>
                  <a:lnTo>
                    <a:pt x="50" y="367"/>
                  </a:lnTo>
                  <a:lnTo>
                    <a:pt x="43" y="367"/>
                  </a:lnTo>
                  <a:lnTo>
                    <a:pt x="41" y="365"/>
                  </a:lnTo>
                  <a:lnTo>
                    <a:pt x="39" y="367"/>
                  </a:lnTo>
                  <a:lnTo>
                    <a:pt x="41" y="363"/>
                  </a:lnTo>
                  <a:lnTo>
                    <a:pt x="35" y="363"/>
                  </a:lnTo>
                  <a:lnTo>
                    <a:pt x="35" y="359"/>
                  </a:lnTo>
                  <a:lnTo>
                    <a:pt x="33" y="359"/>
                  </a:lnTo>
                  <a:lnTo>
                    <a:pt x="35" y="359"/>
                  </a:lnTo>
                  <a:lnTo>
                    <a:pt x="37" y="359"/>
                  </a:lnTo>
                  <a:lnTo>
                    <a:pt x="44" y="357"/>
                  </a:lnTo>
                  <a:lnTo>
                    <a:pt x="44" y="351"/>
                  </a:lnTo>
                  <a:lnTo>
                    <a:pt x="50" y="351"/>
                  </a:lnTo>
                  <a:lnTo>
                    <a:pt x="52" y="348"/>
                  </a:lnTo>
                  <a:lnTo>
                    <a:pt x="48" y="348"/>
                  </a:lnTo>
                  <a:lnTo>
                    <a:pt x="48" y="344"/>
                  </a:lnTo>
                  <a:lnTo>
                    <a:pt x="46" y="342"/>
                  </a:lnTo>
                  <a:lnTo>
                    <a:pt x="46" y="340"/>
                  </a:lnTo>
                  <a:lnTo>
                    <a:pt x="44" y="338"/>
                  </a:lnTo>
                  <a:lnTo>
                    <a:pt x="46" y="336"/>
                  </a:lnTo>
                  <a:lnTo>
                    <a:pt x="46" y="332"/>
                  </a:lnTo>
                  <a:lnTo>
                    <a:pt x="43" y="334"/>
                  </a:lnTo>
                  <a:lnTo>
                    <a:pt x="35" y="328"/>
                  </a:lnTo>
                  <a:lnTo>
                    <a:pt x="27" y="326"/>
                  </a:lnTo>
                  <a:lnTo>
                    <a:pt x="25" y="325"/>
                  </a:lnTo>
                  <a:lnTo>
                    <a:pt x="27" y="321"/>
                  </a:lnTo>
                  <a:lnTo>
                    <a:pt x="23" y="319"/>
                  </a:lnTo>
                  <a:lnTo>
                    <a:pt x="21" y="315"/>
                  </a:lnTo>
                  <a:lnTo>
                    <a:pt x="18" y="313"/>
                  </a:lnTo>
                  <a:lnTo>
                    <a:pt x="18" y="307"/>
                  </a:lnTo>
                  <a:lnTo>
                    <a:pt x="19" y="305"/>
                  </a:lnTo>
                  <a:lnTo>
                    <a:pt x="16" y="303"/>
                  </a:lnTo>
                  <a:lnTo>
                    <a:pt x="19" y="300"/>
                  </a:lnTo>
                  <a:lnTo>
                    <a:pt x="18" y="294"/>
                  </a:lnTo>
                  <a:lnTo>
                    <a:pt x="14" y="294"/>
                  </a:lnTo>
                  <a:lnTo>
                    <a:pt x="16" y="290"/>
                  </a:lnTo>
                  <a:lnTo>
                    <a:pt x="16" y="284"/>
                  </a:lnTo>
                  <a:lnTo>
                    <a:pt x="12" y="282"/>
                  </a:lnTo>
                  <a:lnTo>
                    <a:pt x="14" y="280"/>
                  </a:lnTo>
                  <a:lnTo>
                    <a:pt x="18" y="278"/>
                  </a:lnTo>
                  <a:lnTo>
                    <a:pt x="19" y="277"/>
                  </a:lnTo>
                  <a:lnTo>
                    <a:pt x="27" y="277"/>
                  </a:lnTo>
                  <a:lnTo>
                    <a:pt x="25" y="275"/>
                  </a:lnTo>
                  <a:lnTo>
                    <a:pt x="27" y="273"/>
                  </a:lnTo>
                  <a:lnTo>
                    <a:pt x="31" y="275"/>
                  </a:lnTo>
                  <a:lnTo>
                    <a:pt x="33" y="275"/>
                  </a:lnTo>
                  <a:lnTo>
                    <a:pt x="35" y="271"/>
                  </a:lnTo>
                  <a:lnTo>
                    <a:pt x="33" y="269"/>
                  </a:lnTo>
                  <a:lnTo>
                    <a:pt x="35" y="267"/>
                  </a:lnTo>
                  <a:lnTo>
                    <a:pt x="37" y="269"/>
                  </a:lnTo>
                  <a:lnTo>
                    <a:pt x="41" y="267"/>
                  </a:lnTo>
                  <a:lnTo>
                    <a:pt x="39" y="267"/>
                  </a:lnTo>
                  <a:lnTo>
                    <a:pt x="39" y="263"/>
                  </a:lnTo>
                  <a:lnTo>
                    <a:pt x="41" y="261"/>
                  </a:lnTo>
                  <a:lnTo>
                    <a:pt x="39" y="261"/>
                  </a:lnTo>
                  <a:lnTo>
                    <a:pt x="41" y="259"/>
                  </a:lnTo>
                  <a:lnTo>
                    <a:pt x="35" y="257"/>
                  </a:lnTo>
                  <a:lnTo>
                    <a:pt x="37" y="253"/>
                  </a:lnTo>
                  <a:lnTo>
                    <a:pt x="35" y="253"/>
                  </a:lnTo>
                  <a:lnTo>
                    <a:pt x="35" y="250"/>
                  </a:lnTo>
                  <a:lnTo>
                    <a:pt x="37" y="252"/>
                  </a:lnTo>
                  <a:lnTo>
                    <a:pt x="39" y="248"/>
                  </a:lnTo>
                  <a:lnTo>
                    <a:pt x="37" y="246"/>
                  </a:lnTo>
                  <a:lnTo>
                    <a:pt x="37" y="244"/>
                  </a:lnTo>
                  <a:lnTo>
                    <a:pt x="43" y="242"/>
                  </a:lnTo>
                  <a:lnTo>
                    <a:pt x="39" y="240"/>
                  </a:lnTo>
                  <a:lnTo>
                    <a:pt x="37" y="242"/>
                  </a:lnTo>
                  <a:lnTo>
                    <a:pt x="37" y="238"/>
                  </a:lnTo>
                  <a:lnTo>
                    <a:pt x="41" y="240"/>
                  </a:lnTo>
                  <a:lnTo>
                    <a:pt x="41" y="236"/>
                  </a:lnTo>
                  <a:lnTo>
                    <a:pt x="43" y="234"/>
                  </a:lnTo>
                  <a:lnTo>
                    <a:pt x="35" y="232"/>
                  </a:lnTo>
                  <a:lnTo>
                    <a:pt x="37" y="230"/>
                  </a:lnTo>
                  <a:lnTo>
                    <a:pt x="35" y="229"/>
                  </a:lnTo>
                  <a:lnTo>
                    <a:pt x="35" y="223"/>
                  </a:lnTo>
                  <a:lnTo>
                    <a:pt x="37" y="221"/>
                  </a:lnTo>
                  <a:lnTo>
                    <a:pt x="37" y="219"/>
                  </a:lnTo>
                  <a:lnTo>
                    <a:pt x="39" y="217"/>
                  </a:lnTo>
                  <a:lnTo>
                    <a:pt x="37" y="217"/>
                  </a:lnTo>
                  <a:lnTo>
                    <a:pt x="35" y="217"/>
                  </a:lnTo>
                  <a:lnTo>
                    <a:pt x="35" y="213"/>
                  </a:lnTo>
                  <a:lnTo>
                    <a:pt x="31" y="215"/>
                  </a:lnTo>
                  <a:lnTo>
                    <a:pt x="29" y="209"/>
                  </a:lnTo>
                  <a:lnTo>
                    <a:pt x="25" y="209"/>
                  </a:lnTo>
                  <a:lnTo>
                    <a:pt x="21" y="205"/>
                  </a:lnTo>
                  <a:lnTo>
                    <a:pt x="18" y="200"/>
                  </a:lnTo>
                  <a:lnTo>
                    <a:pt x="21" y="194"/>
                  </a:lnTo>
                  <a:lnTo>
                    <a:pt x="19" y="192"/>
                  </a:lnTo>
                  <a:lnTo>
                    <a:pt x="21" y="182"/>
                  </a:lnTo>
                  <a:lnTo>
                    <a:pt x="18" y="184"/>
                  </a:lnTo>
                  <a:lnTo>
                    <a:pt x="14" y="179"/>
                  </a:lnTo>
                  <a:lnTo>
                    <a:pt x="12" y="179"/>
                  </a:lnTo>
                  <a:lnTo>
                    <a:pt x="12" y="177"/>
                  </a:lnTo>
                  <a:lnTo>
                    <a:pt x="10" y="177"/>
                  </a:lnTo>
                  <a:lnTo>
                    <a:pt x="12" y="177"/>
                  </a:lnTo>
                  <a:lnTo>
                    <a:pt x="8" y="177"/>
                  </a:lnTo>
                  <a:lnTo>
                    <a:pt x="8" y="173"/>
                  </a:lnTo>
                  <a:lnTo>
                    <a:pt x="10" y="173"/>
                  </a:lnTo>
                  <a:lnTo>
                    <a:pt x="12" y="171"/>
                  </a:lnTo>
                  <a:lnTo>
                    <a:pt x="8" y="167"/>
                  </a:lnTo>
                  <a:lnTo>
                    <a:pt x="8" y="165"/>
                  </a:lnTo>
                  <a:lnTo>
                    <a:pt x="12" y="165"/>
                  </a:lnTo>
                  <a:lnTo>
                    <a:pt x="12" y="163"/>
                  </a:lnTo>
                  <a:lnTo>
                    <a:pt x="10" y="157"/>
                  </a:lnTo>
                  <a:lnTo>
                    <a:pt x="8" y="152"/>
                  </a:lnTo>
                  <a:lnTo>
                    <a:pt x="4" y="150"/>
                  </a:lnTo>
                  <a:lnTo>
                    <a:pt x="6" y="144"/>
                  </a:lnTo>
                  <a:lnTo>
                    <a:pt x="2" y="142"/>
                  </a:lnTo>
                  <a:lnTo>
                    <a:pt x="4" y="138"/>
                  </a:lnTo>
                  <a:lnTo>
                    <a:pt x="2" y="136"/>
                  </a:lnTo>
                  <a:lnTo>
                    <a:pt x="4" y="132"/>
                  </a:lnTo>
                  <a:lnTo>
                    <a:pt x="4" y="129"/>
                  </a:lnTo>
                  <a:lnTo>
                    <a:pt x="6" y="127"/>
                  </a:lnTo>
                  <a:lnTo>
                    <a:pt x="4" y="123"/>
                  </a:lnTo>
                  <a:lnTo>
                    <a:pt x="6" y="119"/>
                  </a:lnTo>
                  <a:lnTo>
                    <a:pt x="2" y="115"/>
                  </a:lnTo>
                  <a:lnTo>
                    <a:pt x="6" y="111"/>
                  </a:lnTo>
                  <a:lnTo>
                    <a:pt x="4" y="107"/>
                  </a:lnTo>
                  <a:lnTo>
                    <a:pt x="6" y="106"/>
                  </a:lnTo>
                  <a:lnTo>
                    <a:pt x="4" y="102"/>
                  </a:lnTo>
                  <a:lnTo>
                    <a:pt x="4" y="98"/>
                  </a:lnTo>
                  <a:lnTo>
                    <a:pt x="2" y="100"/>
                  </a:lnTo>
                  <a:lnTo>
                    <a:pt x="0" y="98"/>
                  </a:lnTo>
                  <a:lnTo>
                    <a:pt x="2" y="94"/>
                  </a:lnTo>
                  <a:lnTo>
                    <a:pt x="2" y="90"/>
                  </a:lnTo>
                  <a:lnTo>
                    <a:pt x="4" y="83"/>
                  </a:lnTo>
                  <a:lnTo>
                    <a:pt x="4" y="81"/>
                  </a:lnTo>
                  <a:lnTo>
                    <a:pt x="6" y="79"/>
                  </a:lnTo>
                  <a:lnTo>
                    <a:pt x="4" y="73"/>
                  </a:lnTo>
                  <a:lnTo>
                    <a:pt x="6" y="69"/>
                  </a:lnTo>
                  <a:lnTo>
                    <a:pt x="8" y="67"/>
                  </a:lnTo>
                  <a:lnTo>
                    <a:pt x="10" y="61"/>
                  </a:lnTo>
                  <a:lnTo>
                    <a:pt x="14" y="59"/>
                  </a:lnTo>
                  <a:lnTo>
                    <a:pt x="10" y="56"/>
                  </a:lnTo>
                  <a:lnTo>
                    <a:pt x="16" y="54"/>
                  </a:lnTo>
                  <a:lnTo>
                    <a:pt x="16" y="48"/>
                  </a:lnTo>
                  <a:lnTo>
                    <a:pt x="18" y="44"/>
                  </a:lnTo>
                  <a:lnTo>
                    <a:pt x="21" y="42"/>
                  </a:lnTo>
                  <a:lnTo>
                    <a:pt x="23" y="38"/>
                  </a:lnTo>
                  <a:lnTo>
                    <a:pt x="25" y="38"/>
                  </a:lnTo>
                  <a:lnTo>
                    <a:pt x="31" y="36"/>
                  </a:lnTo>
                  <a:lnTo>
                    <a:pt x="39" y="33"/>
                  </a:lnTo>
                  <a:lnTo>
                    <a:pt x="37" y="31"/>
                  </a:lnTo>
                  <a:lnTo>
                    <a:pt x="39" y="27"/>
                  </a:lnTo>
                  <a:lnTo>
                    <a:pt x="43" y="27"/>
                  </a:lnTo>
                  <a:lnTo>
                    <a:pt x="46" y="23"/>
                  </a:lnTo>
                  <a:lnTo>
                    <a:pt x="48" y="19"/>
                  </a:lnTo>
                  <a:lnTo>
                    <a:pt x="54" y="11"/>
                  </a:lnTo>
                  <a:lnTo>
                    <a:pt x="56" y="11"/>
                  </a:lnTo>
                  <a:lnTo>
                    <a:pt x="58" y="4"/>
                  </a:lnTo>
                  <a:lnTo>
                    <a:pt x="56" y="2"/>
                  </a:lnTo>
                  <a:lnTo>
                    <a:pt x="56" y="0"/>
                  </a:lnTo>
                  <a:lnTo>
                    <a:pt x="64" y="0"/>
                  </a:lnTo>
                  <a:lnTo>
                    <a:pt x="67" y="4"/>
                  </a:lnTo>
                  <a:lnTo>
                    <a:pt x="71" y="8"/>
                  </a:lnTo>
                  <a:lnTo>
                    <a:pt x="75" y="10"/>
                  </a:lnTo>
                  <a:lnTo>
                    <a:pt x="81" y="13"/>
                  </a:lnTo>
                  <a:lnTo>
                    <a:pt x="87" y="15"/>
                  </a:lnTo>
                  <a:lnTo>
                    <a:pt x="91" y="15"/>
                  </a:lnTo>
                  <a:lnTo>
                    <a:pt x="92" y="17"/>
                  </a:lnTo>
                  <a:lnTo>
                    <a:pt x="91" y="23"/>
                  </a:lnTo>
                  <a:lnTo>
                    <a:pt x="87" y="25"/>
                  </a:lnTo>
                  <a:lnTo>
                    <a:pt x="83" y="31"/>
                  </a:lnTo>
                  <a:lnTo>
                    <a:pt x="81" y="34"/>
                  </a:lnTo>
                  <a:lnTo>
                    <a:pt x="77" y="33"/>
                  </a:lnTo>
                  <a:lnTo>
                    <a:pt x="73" y="38"/>
                  </a:lnTo>
                  <a:lnTo>
                    <a:pt x="75" y="42"/>
                  </a:lnTo>
                  <a:lnTo>
                    <a:pt x="71" y="46"/>
                  </a:lnTo>
                  <a:lnTo>
                    <a:pt x="73" y="48"/>
                  </a:lnTo>
                  <a:lnTo>
                    <a:pt x="69" y="52"/>
                  </a:lnTo>
                  <a:lnTo>
                    <a:pt x="71" y="54"/>
                  </a:lnTo>
                  <a:lnTo>
                    <a:pt x="67" y="58"/>
                  </a:lnTo>
                  <a:lnTo>
                    <a:pt x="69" y="59"/>
                  </a:lnTo>
                  <a:lnTo>
                    <a:pt x="73" y="67"/>
                  </a:lnTo>
                  <a:lnTo>
                    <a:pt x="73" y="75"/>
                  </a:lnTo>
                  <a:lnTo>
                    <a:pt x="77" y="77"/>
                  </a:lnTo>
                  <a:lnTo>
                    <a:pt x="75" y="79"/>
                  </a:lnTo>
                  <a:lnTo>
                    <a:pt x="77" y="81"/>
                  </a:lnTo>
                  <a:lnTo>
                    <a:pt x="85" y="77"/>
                  </a:lnTo>
                  <a:lnTo>
                    <a:pt x="89" y="77"/>
                  </a:lnTo>
                  <a:lnTo>
                    <a:pt x="89" y="75"/>
                  </a:lnTo>
                  <a:lnTo>
                    <a:pt x="92" y="77"/>
                  </a:lnTo>
                  <a:lnTo>
                    <a:pt x="94" y="81"/>
                  </a:lnTo>
                  <a:lnTo>
                    <a:pt x="94" y="86"/>
                  </a:lnTo>
                  <a:lnTo>
                    <a:pt x="92" y="86"/>
                  </a:lnTo>
                  <a:lnTo>
                    <a:pt x="92" y="88"/>
                  </a:lnTo>
                  <a:lnTo>
                    <a:pt x="96" y="88"/>
                  </a:lnTo>
                  <a:lnTo>
                    <a:pt x="96" y="94"/>
                  </a:lnTo>
                  <a:lnTo>
                    <a:pt x="102" y="92"/>
                  </a:lnTo>
                  <a:lnTo>
                    <a:pt x="102" y="88"/>
                  </a:lnTo>
                  <a:lnTo>
                    <a:pt x="106" y="88"/>
                  </a:lnTo>
                  <a:lnTo>
                    <a:pt x="108" y="84"/>
                  </a:lnTo>
                  <a:lnTo>
                    <a:pt x="114" y="79"/>
                  </a:lnTo>
                  <a:lnTo>
                    <a:pt x="121" y="75"/>
                  </a:lnTo>
                  <a:lnTo>
                    <a:pt x="123" y="77"/>
                  </a:lnTo>
                  <a:lnTo>
                    <a:pt x="131" y="71"/>
                  </a:lnTo>
                  <a:lnTo>
                    <a:pt x="133" y="67"/>
                  </a:lnTo>
                  <a:lnTo>
                    <a:pt x="142" y="69"/>
                  </a:lnTo>
                  <a:lnTo>
                    <a:pt x="150" y="73"/>
                  </a:lnTo>
                  <a:lnTo>
                    <a:pt x="152" y="79"/>
                  </a:lnTo>
                  <a:lnTo>
                    <a:pt x="152" y="83"/>
                  </a:lnTo>
                  <a:lnTo>
                    <a:pt x="154" y="84"/>
                  </a:lnTo>
                  <a:lnTo>
                    <a:pt x="158" y="90"/>
                  </a:lnTo>
                  <a:lnTo>
                    <a:pt x="162" y="92"/>
                  </a:lnTo>
                  <a:lnTo>
                    <a:pt x="165" y="94"/>
                  </a:lnTo>
                  <a:lnTo>
                    <a:pt x="171" y="98"/>
                  </a:lnTo>
                  <a:lnTo>
                    <a:pt x="175" y="98"/>
                  </a:lnTo>
                  <a:lnTo>
                    <a:pt x="181" y="102"/>
                  </a:lnTo>
                  <a:lnTo>
                    <a:pt x="192" y="104"/>
                  </a:lnTo>
                  <a:lnTo>
                    <a:pt x="194" y="104"/>
                  </a:lnTo>
                  <a:lnTo>
                    <a:pt x="188" y="109"/>
                  </a:lnTo>
                  <a:lnTo>
                    <a:pt x="185" y="111"/>
                  </a:lnTo>
                  <a:lnTo>
                    <a:pt x="185" y="113"/>
                  </a:lnTo>
                  <a:lnTo>
                    <a:pt x="183" y="111"/>
                  </a:lnTo>
                  <a:lnTo>
                    <a:pt x="179" y="117"/>
                  </a:lnTo>
                  <a:lnTo>
                    <a:pt x="179" y="115"/>
                  </a:lnTo>
                  <a:lnTo>
                    <a:pt x="177" y="115"/>
                  </a:lnTo>
                  <a:lnTo>
                    <a:pt x="171" y="119"/>
                  </a:lnTo>
                  <a:lnTo>
                    <a:pt x="177" y="121"/>
                  </a:lnTo>
                  <a:lnTo>
                    <a:pt x="183" y="125"/>
                  </a:lnTo>
                  <a:lnTo>
                    <a:pt x="186" y="125"/>
                  </a:lnTo>
                  <a:lnTo>
                    <a:pt x="190" y="131"/>
                  </a:lnTo>
                  <a:lnTo>
                    <a:pt x="190" y="136"/>
                  </a:lnTo>
                  <a:lnTo>
                    <a:pt x="196" y="136"/>
                  </a:lnTo>
                  <a:lnTo>
                    <a:pt x="198" y="134"/>
                  </a:lnTo>
                  <a:lnTo>
                    <a:pt x="202" y="140"/>
                  </a:lnTo>
                  <a:lnTo>
                    <a:pt x="202" y="138"/>
                  </a:lnTo>
                  <a:lnTo>
                    <a:pt x="204" y="138"/>
                  </a:lnTo>
                  <a:lnTo>
                    <a:pt x="206" y="134"/>
                  </a:lnTo>
                  <a:lnTo>
                    <a:pt x="215" y="138"/>
                  </a:lnTo>
                  <a:lnTo>
                    <a:pt x="215" y="142"/>
                  </a:lnTo>
                  <a:lnTo>
                    <a:pt x="215" y="146"/>
                  </a:lnTo>
                  <a:lnTo>
                    <a:pt x="217" y="148"/>
                  </a:lnTo>
                  <a:lnTo>
                    <a:pt x="217" y="150"/>
                  </a:lnTo>
                  <a:lnTo>
                    <a:pt x="219" y="152"/>
                  </a:lnTo>
                  <a:lnTo>
                    <a:pt x="223" y="150"/>
                  </a:lnTo>
                  <a:lnTo>
                    <a:pt x="225" y="152"/>
                  </a:lnTo>
                  <a:lnTo>
                    <a:pt x="231" y="157"/>
                  </a:lnTo>
                  <a:lnTo>
                    <a:pt x="236" y="157"/>
                  </a:lnTo>
                  <a:lnTo>
                    <a:pt x="238" y="156"/>
                  </a:lnTo>
                  <a:lnTo>
                    <a:pt x="240" y="159"/>
                  </a:lnTo>
                  <a:lnTo>
                    <a:pt x="242" y="161"/>
                  </a:lnTo>
                  <a:lnTo>
                    <a:pt x="242" y="169"/>
                  </a:lnTo>
                  <a:lnTo>
                    <a:pt x="250" y="167"/>
                  </a:lnTo>
                  <a:lnTo>
                    <a:pt x="254" y="167"/>
                  </a:lnTo>
                  <a:lnTo>
                    <a:pt x="256" y="165"/>
                  </a:lnTo>
                  <a:lnTo>
                    <a:pt x="257" y="167"/>
                  </a:lnTo>
                  <a:lnTo>
                    <a:pt x="257" y="169"/>
                  </a:lnTo>
                  <a:lnTo>
                    <a:pt x="265" y="167"/>
                  </a:lnTo>
                  <a:lnTo>
                    <a:pt x="269" y="169"/>
                  </a:lnTo>
                  <a:lnTo>
                    <a:pt x="275" y="165"/>
                  </a:lnTo>
                  <a:lnTo>
                    <a:pt x="282" y="165"/>
                  </a:lnTo>
                  <a:lnTo>
                    <a:pt x="284" y="167"/>
                  </a:lnTo>
                  <a:lnTo>
                    <a:pt x="282" y="175"/>
                  </a:lnTo>
                  <a:lnTo>
                    <a:pt x="286" y="173"/>
                  </a:lnTo>
                  <a:lnTo>
                    <a:pt x="286" y="169"/>
                  </a:lnTo>
                  <a:lnTo>
                    <a:pt x="290" y="169"/>
                  </a:lnTo>
                  <a:lnTo>
                    <a:pt x="292" y="173"/>
                  </a:lnTo>
                  <a:lnTo>
                    <a:pt x="288" y="173"/>
                  </a:lnTo>
                  <a:lnTo>
                    <a:pt x="288" y="175"/>
                  </a:lnTo>
                  <a:lnTo>
                    <a:pt x="294" y="175"/>
                  </a:lnTo>
                  <a:lnTo>
                    <a:pt x="294" y="177"/>
                  </a:lnTo>
                  <a:lnTo>
                    <a:pt x="298" y="182"/>
                  </a:lnTo>
                  <a:lnTo>
                    <a:pt x="302" y="184"/>
                  </a:lnTo>
                  <a:lnTo>
                    <a:pt x="309" y="179"/>
                  </a:lnTo>
                  <a:lnTo>
                    <a:pt x="307" y="173"/>
                  </a:lnTo>
                  <a:lnTo>
                    <a:pt x="311" y="17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7" name="Freeform 29">
              <a:extLst>
                <a:ext uri="{FF2B5EF4-FFF2-40B4-BE49-F238E27FC236}">
                  <a16:creationId xmlns:a16="http://schemas.microsoft.com/office/drawing/2014/main" id="{BD5F827D-5548-4177-9908-04D590E16274}"/>
                </a:ext>
              </a:extLst>
            </p:cNvPr>
            <p:cNvSpPr>
              <a:spLocks/>
            </p:cNvSpPr>
            <p:nvPr/>
          </p:nvSpPr>
          <p:spPr bwMode="gray">
            <a:xfrm>
              <a:off x="5116514" y="2201863"/>
              <a:ext cx="579438" cy="444500"/>
            </a:xfrm>
            <a:custGeom>
              <a:avLst/>
              <a:gdLst>
                <a:gd name="T0" fmla="*/ 173 w 365"/>
                <a:gd name="T1" fmla="*/ 29 h 280"/>
                <a:gd name="T2" fmla="*/ 186 w 365"/>
                <a:gd name="T3" fmla="*/ 33 h 280"/>
                <a:gd name="T4" fmla="*/ 198 w 365"/>
                <a:gd name="T5" fmla="*/ 29 h 280"/>
                <a:gd name="T6" fmla="*/ 221 w 365"/>
                <a:gd name="T7" fmla="*/ 34 h 280"/>
                <a:gd name="T8" fmla="*/ 238 w 365"/>
                <a:gd name="T9" fmla="*/ 48 h 280"/>
                <a:gd name="T10" fmla="*/ 251 w 365"/>
                <a:gd name="T11" fmla="*/ 59 h 280"/>
                <a:gd name="T12" fmla="*/ 265 w 365"/>
                <a:gd name="T13" fmla="*/ 75 h 280"/>
                <a:gd name="T14" fmla="*/ 288 w 365"/>
                <a:gd name="T15" fmla="*/ 79 h 280"/>
                <a:gd name="T16" fmla="*/ 313 w 365"/>
                <a:gd name="T17" fmla="*/ 90 h 280"/>
                <a:gd name="T18" fmla="*/ 338 w 365"/>
                <a:gd name="T19" fmla="*/ 102 h 280"/>
                <a:gd name="T20" fmla="*/ 357 w 365"/>
                <a:gd name="T21" fmla="*/ 111 h 280"/>
                <a:gd name="T22" fmla="*/ 351 w 365"/>
                <a:gd name="T23" fmla="*/ 117 h 280"/>
                <a:gd name="T24" fmla="*/ 334 w 365"/>
                <a:gd name="T25" fmla="*/ 134 h 280"/>
                <a:gd name="T26" fmla="*/ 313 w 365"/>
                <a:gd name="T27" fmla="*/ 148 h 280"/>
                <a:gd name="T28" fmla="*/ 296 w 365"/>
                <a:gd name="T29" fmla="*/ 161 h 280"/>
                <a:gd name="T30" fmla="*/ 294 w 365"/>
                <a:gd name="T31" fmla="*/ 184 h 280"/>
                <a:gd name="T32" fmla="*/ 280 w 365"/>
                <a:gd name="T33" fmla="*/ 196 h 280"/>
                <a:gd name="T34" fmla="*/ 280 w 365"/>
                <a:gd name="T35" fmla="*/ 205 h 280"/>
                <a:gd name="T36" fmla="*/ 276 w 365"/>
                <a:gd name="T37" fmla="*/ 225 h 280"/>
                <a:gd name="T38" fmla="*/ 265 w 365"/>
                <a:gd name="T39" fmla="*/ 238 h 280"/>
                <a:gd name="T40" fmla="*/ 255 w 365"/>
                <a:gd name="T41" fmla="*/ 263 h 280"/>
                <a:gd name="T42" fmla="*/ 246 w 365"/>
                <a:gd name="T43" fmla="*/ 280 h 280"/>
                <a:gd name="T44" fmla="*/ 232 w 365"/>
                <a:gd name="T45" fmla="*/ 269 h 280"/>
                <a:gd name="T46" fmla="*/ 226 w 365"/>
                <a:gd name="T47" fmla="*/ 271 h 280"/>
                <a:gd name="T48" fmla="*/ 209 w 365"/>
                <a:gd name="T49" fmla="*/ 263 h 280"/>
                <a:gd name="T50" fmla="*/ 194 w 365"/>
                <a:gd name="T51" fmla="*/ 263 h 280"/>
                <a:gd name="T52" fmla="*/ 180 w 365"/>
                <a:gd name="T53" fmla="*/ 253 h 280"/>
                <a:gd name="T54" fmla="*/ 161 w 365"/>
                <a:gd name="T55" fmla="*/ 246 h 280"/>
                <a:gd name="T56" fmla="*/ 150 w 365"/>
                <a:gd name="T57" fmla="*/ 230 h 280"/>
                <a:gd name="T58" fmla="*/ 140 w 365"/>
                <a:gd name="T59" fmla="*/ 232 h 280"/>
                <a:gd name="T60" fmla="*/ 121 w 365"/>
                <a:gd name="T61" fmla="*/ 217 h 280"/>
                <a:gd name="T62" fmla="*/ 127 w 365"/>
                <a:gd name="T63" fmla="*/ 207 h 280"/>
                <a:gd name="T64" fmla="*/ 136 w 365"/>
                <a:gd name="T65" fmla="*/ 200 h 280"/>
                <a:gd name="T66" fmla="*/ 106 w 365"/>
                <a:gd name="T67" fmla="*/ 188 h 280"/>
                <a:gd name="T68" fmla="*/ 94 w 365"/>
                <a:gd name="T69" fmla="*/ 169 h 280"/>
                <a:gd name="T70" fmla="*/ 65 w 365"/>
                <a:gd name="T71" fmla="*/ 171 h 280"/>
                <a:gd name="T72" fmla="*/ 46 w 365"/>
                <a:gd name="T73" fmla="*/ 188 h 280"/>
                <a:gd name="T74" fmla="*/ 38 w 365"/>
                <a:gd name="T75" fmla="*/ 182 h 280"/>
                <a:gd name="T76" fmla="*/ 29 w 365"/>
                <a:gd name="T77" fmla="*/ 173 h 280"/>
                <a:gd name="T78" fmla="*/ 17 w 365"/>
                <a:gd name="T79" fmla="*/ 163 h 280"/>
                <a:gd name="T80" fmla="*/ 17 w 365"/>
                <a:gd name="T81" fmla="*/ 144 h 280"/>
                <a:gd name="T82" fmla="*/ 25 w 365"/>
                <a:gd name="T83" fmla="*/ 130 h 280"/>
                <a:gd name="T84" fmla="*/ 35 w 365"/>
                <a:gd name="T85" fmla="*/ 111 h 280"/>
                <a:gd name="T86" fmla="*/ 11 w 365"/>
                <a:gd name="T87" fmla="*/ 100 h 280"/>
                <a:gd name="T88" fmla="*/ 11 w 365"/>
                <a:gd name="T89" fmla="*/ 92 h 280"/>
                <a:gd name="T90" fmla="*/ 25 w 365"/>
                <a:gd name="T91" fmla="*/ 79 h 280"/>
                <a:gd name="T92" fmla="*/ 21 w 365"/>
                <a:gd name="T93" fmla="*/ 73 h 280"/>
                <a:gd name="T94" fmla="*/ 17 w 365"/>
                <a:gd name="T95" fmla="*/ 59 h 280"/>
                <a:gd name="T96" fmla="*/ 21 w 365"/>
                <a:gd name="T97" fmla="*/ 44 h 280"/>
                <a:gd name="T98" fmla="*/ 23 w 365"/>
                <a:gd name="T99" fmla="*/ 34 h 280"/>
                <a:gd name="T100" fmla="*/ 29 w 365"/>
                <a:gd name="T101" fmla="*/ 27 h 280"/>
                <a:gd name="T102" fmla="*/ 50 w 365"/>
                <a:gd name="T103" fmla="*/ 15 h 280"/>
                <a:gd name="T104" fmla="*/ 73 w 365"/>
                <a:gd name="T105" fmla="*/ 6 h 280"/>
                <a:gd name="T106" fmla="*/ 92 w 365"/>
                <a:gd name="T107" fmla="*/ 6 h 280"/>
                <a:gd name="T108" fmla="*/ 109 w 365"/>
                <a:gd name="T109" fmla="*/ 6 h 280"/>
                <a:gd name="T110" fmla="*/ 129 w 365"/>
                <a:gd name="T111" fmla="*/ 1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5" h="280">
                  <a:moveTo>
                    <a:pt x="150" y="19"/>
                  </a:moveTo>
                  <a:lnTo>
                    <a:pt x="154" y="27"/>
                  </a:lnTo>
                  <a:lnTo>
                    <a:pt x="157" y="27"/>
                  </a:lnTo>
                  <a:lnTo>
                    <a:pt x="163" y="33"/>
                  </a:lnTo>
                  <a:lnTo>
                    <a:pt x="173" y="29"/>
                  </a:lnTo>
                  <a:lnTo>
                    <a:pt x="175" y="36"/>
                  </a:lnTo>
                  <a:lnTo>
                    <a:pt x="177" y="36"/>
                  </a:lnTo>
                  <a:lnTo>
                    <a:pt x="182" y="34"/>
                  </a:lnTo>
                  <a:lnTo>
                    <a:pt x="186" y="36"/>
                  </a:lnTo>
                  <a:lnTo>
                    <a:pt x="186" y="33"/>
                  </a:lnTo>
                  <a:lnTo>
                    <a:pt x="184" y="31"/>
                  </a:lnTo>
                  <a:lnTo>
                    <a:pt x="190" y="27"/>
                  </a:lnTo>
                  <a:lnTo>
                    <a:pt x="194" y="23"/>
                  </a:lnTo>
                  <a:lnTo>
                    <a:pt x="196" y="23"/>
                  </a:lnTo>
                  <a:lnTo>
                    <a:pt x="198" y="29"/>
                  </a:lnTo>
                  <a:lnTo>
                    <a:pt x="205" y="27"/>
                  </a:lnTo>
                  <a:lnTo>
                    <a:pt x="207" y="33"/>
                  </a:lnTo>
                  <a:lnTo>
                    <a:pt x="211" y="36"/>
                  </a:lnTo>
                  <a:lnTo>
                    <a:pt x="215" y="38"/>
                  </a:lnTo>
                  <a:lnTo>
                    <a:pt x="221" y="34"/>
                  </a:lnTo>
                  <a:lnTo>
                    <a:pt x="223" y="33"/>
                  </a:lnTo>
                  <a:lnTo>
                    <a:pt x="226" y="36"/>
                  </a:lnTo>
                  <a:lnTo>
                    <a:pt x="232" y="38"/>
                  </a:lnTo>
                  <a:lnTo>
                    <a:pt x="238" y="46"/>
                  </a:lnTo>
                  <a:lnTo>
                    <a:pt x="238" y="48"/>
                  </a:lnTo>
                  <a:lnTo>
                    <a:pt x="246" y="46"/>
                  </a:lnTo>
                  <a:lnTo>
                    <a:pt x="248" y="50"/>
                  </a:lnTo>
                  <a:lnTo>
                    <a:pt x="246" y="52"/>
                  </a:lnTo>
                  <a:lnTo>
                    <a:pt x="251" y="56"/>
                  </a:lnTo>
                  <a:lnTo>
                    <a:pt x="251" y="59"/>
                  </a:lnTo>
                  <a:lnTo>
                    <a:pt x="253" y="61"/>
                  </a:lnTo>
                  <a:lnTo>
                    <a:pt x="251" y="65"/>
                  </a:lnTo>
                  <a:lnTo>
                    <a:pt x="257" y="67"/>
                  </a:lnTo>
                  <a:lnTo>
                    <a:pt x="261" y="75"/>
                  </a:lnTo>
                  <a:lnTo>
                    <a:pt x="265" y="75"/>
                  </a:lnTo>
                  <a:lnTo>
                    <a:pt x="265" y="77"/>
                  </a:lnTo>
                  <a:lnTo>
                    <a:pt x="269" y="79"/>
                  </a:lnTo>
                  <a:lnTo>
                    <a:pt x="276" y="77"/>
                  </a:lnTo>
                  <a:lnTo>
                    <a:pt x="282" y="79"/>
                  </a:lnTo>
                  <a:lnTo>
                    <a:pt x="288" y="79"/>
                  </a:lnTo>
                  <a:lnTo>
                    <a:pt x="292" y="82"/>
                  </a:lnTo>
                  <a:lnTo>
                    <a:pt x="299" y="82"/>
                  </a:lnTo>
                  <a:lnTo>
                    <a:pt x="303" y="86"/>
                  </a:lnTo>
                  <a:lnTo>
                    <a:pt x="307" y="86"/>
                  </a:lnTo>
                  <a:lnTo>
                    <a:pt x="313" y="90"/>
                  </a:lnTo>
                  <a:lnTo>
                    <a:pt x="319" y="88"/>
                  </a:lnTo>
                  <a:lnTo>
                    <a:pt x="326" y="92"/>
                  </a:lnTo>
                  <a:lnTo>
                    <a:pt x="328" y="94"/>
                  </a:lnTo>
                  <a:lnTo>
                    <a:pt x="332" y="96"/>
                  </a:lnTo>
                  <a:lnTo>
                    <a:pt x="338" y="102"/>
                  </a:lnTo>
                  <a:lnTo>
                    <a:pt x="340" y="106"/>
                  </a:lnTo>
                  <a:lnTo>
                    <a:pt x="347" y="107"/>
                  </a:lnTo>
                  <a:lnTo>
                    <a:pt x="349" y="107"/>
                  </a:lnTo>
                  <a:lnTo>
                    <a:pt x="351" y="111"/>
                  </a:lnTo>
                  <a:lnTo>
                    <a:pt x="357" y="111"/>
                  </a:lnTo>
                  <a:lnTo>
                    <a:pt x="363" y="113"/>
                  </a:lnTo>
                  <a:lnTo>
                    <a:pt x="365" y="117"/>
                  </a:lnTo>
                  <a:lnTo>
                    <a:pt x="359" y="119"/>
                  </a:lnTo>
                  <a:lnTo>
                    <a:pt x="351" y="121"/>
                  </a:lnTo>
                  <a:lnTo>
                    <a:pt x="351" y="117"/>
                  </a:lnTo>
                  <a:lnTo>
                    <a:pt x="349" y="115"/>
                  </a:lnTo>
                  <a:lnTo>
                    <a:pt x="345" y="121"/>
                  </a:lnTo>
                  <a:lnTo>
                    <a:pt x="345" y="127"/>
                  </a:lnTo>
                  <a:lnTo>
                    <a:pt x="340" y="129"/>
                  </a:lnTo>
                  <a:lnTo>
                    <a:pt x="334" y="134"/>
                  </a:lnTo>
                  <a:lnTo>
                    <a:pt x="332" y="140"/>
                  </a:lnTo>
                  <a:lnTo>
                    <a:pt x="328" y="140"/>
                  </a:lnTo>
                  <a:lnTo>
                    <a:pt x="324" y="144"/>
                  </a:lnTo>
                  <a:lnTo>
                    <a:pt x="317" y="144"/>
                  </a:lnTo>
                  <a:lnTo>
                    <a:pt x="313" y="148"/>
                  </a:lnTo>
                  <a:lnTo>
                    <a:pt x="311" y="155"/>
                  </a:lnTo>
                  <a:lnTo>
                    <a:pt x="305" y="159"/>
                  </a:lnTo>
                  <a:lnTo>
                    <a:pt x="305" y="161"/>
                  </a:lnTo>
                  <a:lnTo>
                    <a:pt x="297" y="161"/>
                  </a:lnTo>
                  <a:lnTo>
                    <a:pt x="296" y="161"/>
                  </a:lnTo>
                  <a:lnTo>
                    <a:pt x="294" y="165"/>
                  </a:lnTo>
                  <a:lnTo>
                    <a:pt x="290" y="167"/>
                  </a:lnTo>
                  <a:lnTo>
                    <a:pt x="292" y="175"/>
                  </a:lnTo>
                  <a:lnTo>
                    <a:pt x="296" y="179"/>
                  </a:lnTo>
                  <a:lnTo>
                    <a:pt x="294" y="184"/>
                  </a:lnTo>
                  <a:lnTo>
                    <a:pt x="292" y="188"/>
                  </a:lnTo>
                  <a:lnTo>
                    <a:pt x="288" y="188"/>
                  </a:lnTo>
                  <a:lnTo>
                    <a:pt x="290" y="190"/>
                  </a:lnTo>
                  <a:lnTo>
                    <a:pt x="288" y="192"/>
                  </a:lnTo>
                  <a:lnTo>
                    <a:pt x="280" y="196"/>
                  </a:lnTo>
                  <a:lnTo>
                    <a:pt x="282" y="200"/>
                  </a:lnTo>
                  <a:lnTo>
                    <a:pt x="280" y="198"/>
                  </a:lnTo>
                  <a:lnTo>
                    <a:pt x="276" y="200"/>
                  </a:lnTo>
                  <a:lnTo>
                    <a:pt x="276" y="203"/>
                  </a:lnTo>
                  <a:lnTo>
                    <a:pt x="280" y="205"/>
                  </a:lnTo>
                  <a:lnTo>
                    <a:pt x="280" y="211"/>
                  </a:lnTo>
                  <a:lnTo>
                    <a:pt x="284" y="215"/>
                  </a:lnTo>
                  <a:lnTo>
                    <a:pt x="280" y="223"/>
                  </a:lnTo>
                  <a:lnTo>
                    <a:pt x="280" y="227"/>
                  </a:lnTo>
                  <a:lnTo>
                    <a:pt x="276" y="225"/>
                  </a:lnTo>
                  <a:lnTo>
                    <a:pt x="274" y="227"/>
                  </a:lnTo>
                  <a:lnTo>
                    <a:pt x="278" y="232"/>
                  </a:lnTo>
                  <a:lnTo>
                    <a:pt x="274" y="236"/>
                  </a:lnTo>
                  <a:lnTo>
                    <a:pt x="269" y="234"/>
                  </a:lnTo>
                  <a:lnTo>
                    <a:pt x="265" y="238"/>
                  </a:lnTo>
                  <a:lnTo>
                    <a:pt x="263" y="244"/>
                  </a:lnTo>
                  <a:lnTo>
                    <a:pt x="263" y="248"/>
                  </a:lnTo>
                  <a:lnTo>
                    <a:pt x="259" y="250"/>
                  </a:lnTo>
                  <a:lnTo>
                    <a:pt x="255" y="257"/>
                  </a:lnTo>
                  <a:lnTo>
                    <a:pt x="255" y="263"/>
                  </a:lnTo>
                  <a:lnTo>
                    <a:pt x="255" y="265"/>
                  </a:lnTo>
                  <a:lnTo>
                    <a:pt x="255" y="267"/>
                  </a:lnTo>
                  <a:lnTo>
                    <a:pt x="251" y="269"/>
                  </a:lnTo>
                  <a:lnTo>
                    <a:pt x="253" y="275"/>
                  </a:lnTo>
                  <a:lnTo>
                    <a:pt x="246" y="280"/>
                  </a:lnTo>
                  <a:lnTo>
                    <a:pt x="242" y="278"/>
                  </a:lnTo>
                  <a:lnTo>
                    <a:pt x="238" y="273"/>
                  </a:lnTo>
                  <a:lnTo>
                    <a:pt x="238" y="271"/>
                  </a:lnTo>
                  <a:lnTo>
                    <a:pt x="232" y="271"/>
                  </a:lnTo>
                  <a:lnTo>
                    <a:pt x="232" y="269"/>
                  </a:lnTo>
                  <a:lnTo>
                    <a:pt x="236" y="269"/>
                  </a:lnTo>
                  <a:lnTo>
                    <a:pt x="234" y="265"/>
                  </a:lnTo>
                  <a:lnTo>
                    <a:pt x="230" y="265"/>
                  </a:lnTo>
                  <a:lnTo>
                    <a:pt x="230" y="269"/>
                  </a:lnTo>
                  <a:lnTo>
                    <a:pt x="226" y="271"/>
                  </a:lnTo>
                  <a:lnTo>
                    <a:pt x="228" y="263"/>
                  </a:lnTo>
                  <a:lnTo>
                    <a:pt x="226" y="261"/>
                  </a:lnTo>
                  <a:lnTo>
                    <a:pt x="219" y="261"/>
                  </a:lnTo>
                  <a:lnTo>
                    <a:pt x="213" y="265"/>
                  </a:lnTo>
                  <a:lnTo>
                    <a:pt x="209" y="263"/>
                  </a:lnTo>
                  <a:lnTo>
                    <a:pt x="201" y="265"/>
                  </a:lnTo>
                  <a:lnTo>
                    <a:pt x="201" y="263"/>
                  </a:lnTo>
                  <a:lnTo>
                    <a:pt x="200" y="261"/>
                  </a:lnTo>
                  <a:lnTo>
                    <a:pt x="198" y="263"/>
                  </a:lnTo>
                  <a:lnTo>
                    <a:pt x="194" y="263"/>
                  </a:lnTo>
                  <a:lnTo>
                    <a:pt x="186" y="265"/>
                  </a:lnTo>
                  <a:lnTo>
                    <a:pt x="186" y="257"/>
                  </a:lnTo>
                  <a:lnTo>
                    <a:pt x="184" y="255"/>
                  </a:lnTo>
                  <a:lnTo>
                    <a:pt x="182" y="252"/>
                  </a:lnTo>
                  <a:lnTo>
                    <a:pt x="180" y="253"/>
                  </a:lnTo>
                  <a:lnTo>
                    <a:pt x="175" y="253"/>
                  </a:lnTo>
                  <a:lnTo>
                    <a:pt x="169" y="248"/>
                  </a:lnTo>
                  <a:lnTo>
                    <a:pt x="167" y="246"/>
                  </a:lnTo>
                  <a:lnTo>
                    <a:pt x="163" y="248"/>
                  </a:lnTo>
                  <a:lnTo>
                    <a:pt x="161" y="246"/>
                  </a:lnTo>
                  <a:lnTo>
                    <a:pt x="161" y="244"/>
                  </a:lnTo>
                  <a:lnTo>
                    <a:pt x="159" y="242"/>
                  </a:lnTo>
                  <a:lnTo>
                    <a:pt x="159" y="238"/>
                  </a:lnTo>
                  <a:lnTo>
                    <a:pt x="159" y="234"/>
                  </a:lnTo>
                  <a:lnTo>
                    <a:pt x="150" y="230"/>
                  </a:lnTo>
                  <a:lnTo>
                    <a:pt x="148" y="234"/>
                  </a:lnTo>
                  <a:lnTo>
                    <a:pt x="146" y="234"/>
                  </a:lnTo>
                  <a:lnTo>
                    <a:pt x="146" y="236"/>
                  </a:lnTo>
                  <a:lnTo>
                    <a:pt x="142" y="230"/>
                  </a:lnTo>
                  <a:lnTo>
                    <a:pt x="140" y="232"/>
                  </a:lnTo>
                  <a:lnTo>
                    <a:pt x="134" y="232"/>
                  </a:lnTo>
                  <a:lnTo>
                    <a:pt x="134" y="227"/>
                  </a:lnTo>
                  <a:lnTo>
                    <a:pt x="130" y="221"/>
                  </a:lnTo>
                  <a:lnTo>
                    <a:pt x="127" y="221"/>
                  </a:lnTo>
                  <a:lnTo>
                    <a:pt x="121" y="217"/>
                  </a:lnTo>
                  <a:lnTo>
                    <a:pt x="115" y="215"/>
                  </a:lnTo>
                  <a:lnTo>
                    <a:pt x="121" y="211"/>
                  </a:lnTo>
                  <a:lnTo>
                    <a:pt x="123" y="211"/>
                  </a:lnTo>
                  <a:lnTo>
                    <a:pt x="123" y="213"/>
                  </a:lnTo>
                  <a:lnTo>
                    <a:pt x="127" y="207"/>
                  </a:lnTo>
                  <a:lnTo>
                    <a:pt x="129" y="209"/>
                  </a:lnTo>
                  <a:lnTo>
                    <a:pt x="129" y="207"/>
                  </a:lnTo>
                  <a:lnTo>
                    <a:pt x="132" y="205"/>
                  </a:lnTo>
                  <a:lnTo>
                    <a:pt x="138" y="200"/>
                  </a:lnTo>
                  <a:lnTo>
                    <a:pt x="136" y="200"/>
                  </a:lnTo>
                  <a:lnTo>
                    <a:pt x="125" y="198"/>
                  </a:lnTo>
                  <a:lnTo>
                    <a:pt x="119" y="194"/>
                  </a:lnTo>
                  <a:lnTo>
                    <a:pt x="115" y="194"/>
                  </a:lnTo>
                  <a:lnTo>
                    <a:pt x="109" y="190"/>
                  </a:lnTo>
                  <a:lnTo>
                    <a:pt x="106" y="188"/>
                  </a:lnTo>
                  <a:lnTo>
                    <a:pt x="102" y="186"/>
                  </a:lnTo>
                  <a:lnTo>
                    <a:pt x="98" y="180"/>
                  </a:lnTo>
                  <a:lnTo>
                    <a:pt x="96" y="179"/>
                  </a:lnTo>
                  <a:lnTo>
                    <a:pt x="96" y="175"/>
                  </a:lnTo>
                  <a:lnTo>
                    <a:pt x="94" y="169"/>
                  </a:lnTo>
                  <a:lnTo>
                    <a:pt x="86" y="165"/>
                  </a:lnTo>
                  <a:lnTo>
                    <a:pt x="77" y="163"/>
                  </a:lnTo>
                  <a:lnTo>
                    <a:pt x="75" y="167"/>
                  </a:lnTo>
                  <a:lnTo>
                    <a:pt x="67" y="173"/>
                  </a:lnTo>
                  <a:lnTo>
                    <a:pt x="65" y="171"/>
                  </a:lnTo>
                  <a:lnTo>
                    <a:pt x="58" y="175"/>
                  </a:lnTo>
                  <a:lnTo>
                    <a:pt x="52" y="180"/>
                  </a:lnTo>
                  <a:lnTo>
                    <a:pt x="50" y="184"/>
                  </a:lnTo>
                  <a:lnTo>
                    <a:pt x="46" y="184"/>
                  </a:lnTo>
                  <a:lnTo>
                    <a:pt x="46" y="188"/>
                  </a:lnTo>
                  <a:lnTo>
                    <a:pt x="40" y="190"/>
                  </a:lnTo>
                  <a:lnTo>
                    <a:pt x="40" y="184"/>
                  </a:lnTo>
                  <a:lnTo>
                    <a:pt x="36" y="184"/>
                  </a:lnTo>
                  <a:lnTo>
                    <a:pt x="36" y="182"/>
                  </a:lnTo>
                  <a:lnTo>
                    <a:pt x="38" y="182"/>
                  </a:lnTo>
                  <a:lnTo>
                    <a:pt x="38" y="177"/>
                  </a:lnTo>
                  <a:lnTo>
                    <a:pt x="36" y="173"/>
                  </a:lnTo>
                  <a:lnTo>
                    <a:pt x="33" y="171"/>
                  </a:lnTo>
                  <a:lnTo>
                    <a:pt x="33" y="173"/>
                  </a:lnTo>
                  <a:lnTo>
                    <a:pt x="29" y="173"/>
                  </a:lnTo>
                  <a:lnTo>
                    <a:pt x="21" y="177"/>
                  </a:lnTo>
                  <a:lnTo>
                    <a:pt x="19" y="175"/>
                  </a:lnTo>
                  <a:lnTo>
                    <a:pt x="21" y="173"/>
                  </a:lnTo>
                  <a:lnTo>
                    <a:pt x="17" y="171"/>
                  </a:lnTo>
                  <a:lnTo>
                    <a:pt x="17" y="163"/>
                  </a:lnTo>
                  <a:lnTo>
                    <a:pt x="13" y="155"/>
                  </a:lnTo>
                  <a:lnTo>
                    <a:pt x="11" y="154"/>
                  </a:lnTo>
                  <a:lnTo>
                    <a:pt x="15" y="150"/>
                  </a:lnTo>
                  <a:lnTo>
                    <a:pt x="13" y="148"/>
                  </a:lnTo>
                  <a:lnTo>
                    <a:pt x="17" y="144"/>
                  </a:lnTo>
                  <a:lnTo>
                    <a:pt x="15" y="142"/>
                  </a:lnTo>
                  <a:lnTo>
                    <a:pt x="19" y="138"/>
                  </a:lnTo>
                  <a:lnTo>
                    <a:pt x="17" y="134"/>
                  </a:lnTo>
                  <a:lnTo>
                    <a:pt x="21" y="129"/>
                  </a:lnTo>
                  <a:lnTo>
                    <a:pt x="25" y="130"/>
                  </a:lnTo>
                  <a:lnTo>
                    <a:pt x="27" y="127"/>
                  </a:lnTo>
                  <a:lnTo>
                    <a:pt x="31" y="121"/>
                  </a:lnTo>
                  <a:lnTo>
                    <a:pt x="35" y="119"/>
                  </a:lnTo>
                  <a:lnTo>
                    <a:pt x="36" y="113"/>
                  </a:lnTo>
                  <a:lnTo>
                    <a:pt x="35" y="111"/>
                  </a:lnTo>
                  <a:lnTo>
                    <a:pt x="31" y="111"/>
                  </a:lnTo>
                  <a:lnTo>
                    <a:pt x="25" y="109"/>
                  </a:lnTo>
                  <a:lnTo>
                    <a:pt x="19" y="106"/>
                  </a:lnTo>
                  <a:lnTo>
                    <a:pt x="15" y="104"/>
                  </a:lnTo>
                  <a:lnTo>
                    <a:pt x="11" y="100"/>
                  </a:lnTo>
                  <a:lnTo>
                    <a:pt x="8" y="96"/>
                  </a:lnTo>
                  <a:lnTo>
                    <a:pt x="0" y="96"/>
                  </a:lnTo>
                  <a:lnTo>
                    <a:pt x="0" y="94"/>
                  </a:lnTo>
                  <a:lnTo>
                    <a:pt x="6" y="94"/>
                  </a:lnTo>
                  <a:lnTo>
                    <a:pt x="11" y="92"/>
                  </a:lnTo>
                  <a:lnTo>
                    <a:pt x="19" y="86"/>
                  </a:lnTo>
                  <a:lnTo>
                    <a:pt x="21" y="84"/>
                  </a:lnTo>
                  <a:lnTo>
                    <a:pt x="25" y="84"/>
                  </a:lnTo>
                  <a:lnTo>
                    <a:pt x="27" y="82"/>
                  </a:lnTo>
                  <a:lnTo>
                    <a:pt x="25" y="79"/>
                  </a:lnTo>
                  <a:lnTo>
                    <a:pt x="21" y="79"/>
                  </a:lnTo>
                  <a:lnTo>
                    <a:pt x="17" y="75"/>
                  </a:lnTo>
                  <a:lnTo>
                    <a:pt x="19" y="75"/>
                  </a:lnTo>
                  <a:lnTo>
                    <a:pt x="21" y="75"/>
                  </a:lnTo>
                  <a:lnTo>
                    <a:pt x="21" y="73"/>
                  </a:lnTo>
                  <a:lnTo>
                    <a:pt x="23" y="73"/>
                  </a:lnTo>
                  <a:lnTo>
                    <a:pt x="23" y="69"/>
                  </a:lnTo>
                  <a:lnTo>
                    <a:pt x="19" y="65"/>
                  </a:lnTo>
                  <a:lnTo>
                    <a:pt x="19" y="63"/>
                  </a:lnTo>
                  <a:lnTo>
                    <a:pt x="17" y="59"/>
                  </a:lnTo>
                  <a:lnTo>
                    <a:pt x="15" y="59"/>
                  </a:lnTo>
                  <a:lnTo>
                    <a:pt x="15" y="58"/>
                  </a:lnTo>
                  <a:lnTo>
                    <a:pt x="21" y="50"/>
                  </a:lnTo>
                  <a:lnTo>
                    <a:pt x="19" y="48"/>
                  </a:lnTo>
                  <a:lnTo>
                    <a:pt x="21" y="44"/>
                  </a:lnTo>
                  <a:lnTo>
                    <a:pt x="25" y="48"/>
                  </a:lnTo>
                  <a:lnTo>
                    <a:pt x="27" y="40"/>
                  </a:lnTo>
                  <a:lnTo>
                    <a:pt x="21" y="40"/>
                  </a:lnTo>
                  <a:lnTo>
                    <a:pt x="21" y="36"/>
                  </a:lnTo>
                  <a:lnTo>
                    <a:pt x="23" y="34"/>
                  </a:lnTo>
                  <a:lnTo>
                    <a:pt x="29" y="36"/>
                  </a:lnTo>
                  <a:lnTo>
                    <a:pt x="27" y="34"/>
                  </a:lnTo>
                  <a:lnTo>
                    <a:pt x="29" y="33"/>
                  </a:lnTo>
                  <a:lnTo>
                    <a:pt x="27" y="29"/>
                  </a:lnTo>
                  <a:lnTo>
                    <a:pt x="29" y="27"/>
                  </a:lnTo>
                  <a:lnTo>
                    <a:pt x="27" y="25"/>
                  </a:lnTo>
                  <a:lnTo>
                    <a:pt x="33" y="23"/>
                  </a:lnTo>
                  <a:lnTo>
                    <a:pt x="36" y="15"/>
                  </a:lnTo>
                  <a:lnTo>
                    <a:pt x="44" y="11"/>
                  </a:lnTo>
                  <a:lnTo>
                    <a:pt x="50" y="15"/>
                  </a:lnTo>
                  <a:lnTo>
                    <a:pt x="52" y="11"/>
                  </a:lnTo>
                  <a:lnTo>
                    <a:pt x="59" y="11"/>
                  </a:lnTo>
                  <a:lnTo>
                    <a:pt x="65" y="6"/>
                  </a:lnTo>
                  <a:lnTo>
                    <a:pt x="69" y="8"/>
                  </a:lnTo>
                  <a:lnTo>
                    <a:pt x="73" y="6"/>
                  </a:lnTo>
                  <a:lnTo>
                    <a:pt x="79" y="2"/>
                  </a:lnTo>
                  <a:lnTo>
                    <a:pt x="81" y="2"/>
                  </a:lnTo>
                  <a:lnTo>
                    <a:pt x="81" y="0"/>
                  </a:lnTo>
                  <a:lnTo>
                    <a:pt x="88" y="0"/>
                  </a:lnTo>
                  <a:lnTo>
                    <a:pt x="92" y="6"/>
                  </a:lnTo>
                  <a:lnTo>
                    <a:pt x="94" y="4"/>
                  </a:lnTo>
                  <a:lnTo>
                    <a:pt x="96" y="6"/>
                  </a:lnTo>
                  <a:lnTo>
                    <a:pt x="100" y="9"/>
                  </a:lnTo>
                  <a:lnTo>
                    <a:pt x="106" y="9"/>
                  </a:lnTo>
                  <a:lnTo>
                    <a:pt x="109" y="6"/>
                  </a:lnTo>
                  <a:lnTo>
                    <a:pt x="111" y="6"/>
                  </a:lnTo>
                  <a:lnTo>
                    <a:pt x="117" y="8"/>
                  </a:lnTo>
                  <a:lnTo>
                    <a:pt x="117" y="11"/>
                  </a:lnTo>
                  <a:lnTo>
                    <a:pt x="119" y="9"/>
                  </a:lnTo>
                  <a:lnTo>
                    <a:pt x="129" y="11"/>
                  </a:lnTo>
                  <a:lnTo>
                    <a:pt x="132" y="9"/>
                  </a:lnTo>
                  <a:lnTo>
                    <a:pt x="136" y="15"/>
                  </a:lnTo>
                  <a:lnTo>
                    <a:pt x="140" y="19"/>
                  </a:lnTo>
                  <a:lnTo>
                    <a:pt x="150" y="1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8" name="Freeform 30">
              <a:extLst>
                <a:ext uri="{FF2B5EF4-FFF2-40B4-BE49-F238E27FC236}">
                  <a16:creationId xmlns:a16="http://schemas.microsoft.com/office/drawing/2014/main" id="{AF55069D-6EBA-4ADA-A2E0-0F3D8220B598}"/>
                </a:ext>
              </a:extLst>
            </p:cNvPr>
            <p:cNvSpPr>
              <a:spLocks/>
            </p:cNvSpPr>
            <p:nvPr/>
          </p:nvSpPr>
          <p:spPr bwMode="gray">
            <a:xfrm>
              <a:off x="4494214" y="1979613"/>
              <a:ext cx="515938" cy="523876"/>
            </a:xfrm>
            <a:custGeom>
              <a:avLst/>
              <a:gdLst>
                <a:gd name="T0" fmla="*/ 313 w 325"/>
                <a:gd name="T1" fmla="*/ 198 h 330"/>
                <a:gd name="T2" fmla="*/ 302 w 325"/>
                <a:gd name="T3" fmla="*/ 198 h 330"/>
                <a:gd name="T4" fmla="*/ 319 w 325"/>
                <a:gd name="T5" fmla="*/ 207 h 330"/>
                <a:gd name="T6" fmla="*/ 321 w 325"/>
                <a:gd name="T7" fmla="*/ 232 h 330"/>
                <a:gd name="T8" fmla="*/ 311 w 325"/>
                <a:gd name="T9" fmla="*/ 234 h 330"/>
                <a:gd name="T10" fmla="*/ 304 w 325"/>
                <a:gd name="T11" fmla="*/ 242 h 330"/>
                <a:gd name="T12" fmla="*/ 283 w 325"/>
                <a:gd name="T13" fmla="*/ 255 h 330"/>
                <a:gd name="T14" fmla="*/ 290 w 325"/>
                <a:gd name="T15" fmla="*/ 261 h 330"/>
                <a:gd name="T16" fmla="*/ 269 w 325"/>
                <a:gd name="T17" fmla="*/ 263 h 330"/>
                <a:gd name="T18" fmla="*/ 263 w 325"/>
                <a:gd name="T19" fmla="*/ 267 h 330"/>
                <a:gd name="T20" fmla="*/ 246 w 325"/>
                <a:gd name="T21" fmla="*/ 263 h 330"/>
                <a:gd name="T22" fmla="*/ 244 w 325"/>
                <a:gd name="T23" fmla="*/ 278 h 330"/>
                <a:gd name="T24" fmla="*/ 250 w 325"/>
                <a:gd name="T25" fmla="*/ 294 h 330"/>
                <a:gd name="T26" fmla="*/ 225 w 325"/>
                <a:gd name="T27" fmla="*/ 307 h 330"/>
                <a:gd name="T28" fmla="*/ 202 w 325"/>
                <a:gd name="T29" fmla="*/ 301 h 330"/>
                <a:gd name="T30" fmla="*/ 185 w 325"/>
                <a:gd name="T31" fmla="*/ 305 h 330"/>
                <a:gd name="T32" fmla="*/ 165 w 325"/>
                <a:gd name="T33" fmla="*/ 301 h 330"/>
                <a:gd name="T34" fmla="*/ 154 w 325"/>
                <a:gd name="T35" fmla="*/ 313 h 330"/>
                <a:gd name="T36" fmla="*/ 150 w 325"/>
                <a:gd name="T37" fmla="*/ 324 h 330"/>
                <a:gd name="T38" fmla="*/ 133 w 325"/>
                <a:gd name="T39" fmla="*/ 317 h 330"/>
                <a:gd name="T40" fmla="*/ 139 w 325"/>
                <a:gd name="T41" fmla="*/ 299 h 330"/>
                <a:gd name="T42" fmla="*/ 127 w 325"/>
                <a:gd name="T43" fmla="*/ 301 h 330"/>
                <a:gd name="T44" fmla="*/ 121 w 325"/>
                <a:gd name="T45" fmla="*/ 292 h 330"/>
                <a:gd name="T46" fmla="*/ 102 w 325"/>
                <a:gd name="T47" fmla="*/ 284 h 330"/>
                <a:gd name="T48" fmla="*/ 68 w 325"/>
                <a:gd name="T49" fmla="*/ 286 h 330"/>
                <a:gd name="T50" fmla="*/ 22 w 325"/>
                <a:gd name="T51" fmla="*/ 284 h 330"/>
                <a:gd name="T52" fmla="*/ 10 w 325"/>
                <a:gd name="T53" fmla="*/ 267 h 330"/>
                <a:gd name="T54" fmla="*/ 4 w 325"/>
                <a:gd name="T55" fmla="*/ 236 h 330"/>
                <a:gd name="T56" fmla="*/ 14 w 325"/>
                <a:gd name="T57" fmla="*/ 224 h 330"/>
                <a:gd name="T58" fmla="*/ 23 w 325"/>
                <a:gd name="T59" fmla="*/ 219 h 330"/>
                <a:gd name="T60" fmla="*/ 46 w 325"/>
                <a:gd name="T61" fmla="*/ 201 h 330"/>
                <a:gd name="T62" fmla="*/ 58 w 325"/>
                <a:gd name="T63" fmla="*/ 186 h 330"/>
                <a:gd name="T64" fmla="*/ 70 w 325"/>
                <a:gd name="T65" fmla="*/ 176 h 330"/>
                <a:gd name="T66" fmla="*/ 79 w 325"/>
                <a:gd name="T67" fmla="*/ 165 h 330"/>
                <a:gd name="T68" fmla="*/ 83 w 325"/>
                <a:gd name="T69" fmla="*/ 157 h 330"/>
                <a:gd name="T70" fmla="*/ 73 w 325"/>
                <a:gd name="T71" fmla="*/ 151 h 330"/>
                <a:gd name="T72" fmla="*/ 75 w 325"/>
                <a:gd name="T73" fmla="*/ 138 h 330"/>
                <a:gd name="T74" fmla="*/ 89 w 325"/>
                <a:gd name="T75" fmla="*/ 126 h 330"/>
                <a:gd name="T76" fmla="*/ 87 w 325"/>
                <a:gd name="T77" fmla="*/ 109 h 330"/>
                <a:gd name="T78" fmla="*/ 81 w 325"/>
                <a:gd name="T79" fmla="*/ 84 h 330"/>
                <a:gd name="T80" fmla="*/ 100 w 325"/>
                <a:gd name="T81" fmla="*/ 69 h 330"/>
                <a:gd name="T82" fmla="*/ 116 w 325"/>
                <a:gd name="T83" fmla="*/ 57 h 330"/>
                <a:gd name="T84" fmla="*/ 142 w 325"/>
                <a:gd name="T85" fmla="*/ 53 h 330"/>
                <a:gd name="T86" fmla="*/ 154 w 325"/>
                <a:gd name="T87" fmla="*/ 52 h 330"/>
                <a:gd name="T88" fmla="*/ 169 w 325"/>
                <a:gd name="T89" fmla="*/ 38 h 330"/>
                <a:gd name="T90" fmla="*/ 181 w 325"/>
                <a:gd name="T91" fmla="*/ 27 h 330"/>
                <a:gd name="T92" fmla="*/ 190 w 325"/>
                <a:gd name="T93" fmla="*/ 25 h 330"/>
                <a:gd name="T94" fmla="*/ 208 w 325"/>
                <a:gd name="T95" fmla="*/ 13 h 330"/>
                <a:gd name="T96" fmla="*/ 231 w 325"/>
                <a:gd name="T97" fmla="*/ 17 h 330"/>
                <a:gd name="T98" fmla="*/ 204 w 325"/>
                <a:gd name="T99" fmla="*/ 32 h 330"/>
                <a:gd name="T100" fmla="*/ 200 w 325"/>
                <a:gd name="T101" fmla="*/ 53 h 330"/>
                <a:gd name="T102" fmla="*/ 225 w 325"/>
                <a:gd name="T103" fmla="*/ 69 h 330"/>
                <a:gd name="T104" fmla="*/ 231 w 325"/>
                <a:gd name="T105" fmla="*/ 90 h 330"/>
                <a:gd name="T106" fmla="*/ 242 w 325"/>
                <a:gd name="T107" fmla="*/ 113 h 330"/>
                <a:gd name="T108" fmla="*/ 250 w 325"/>
                <a:gd name="T109" fmla="*/ 138 h 330"/>
                <a:gd name="T110" fmla="*/ 265 w 325"/>
                <a:gd name="T111" fmla="*/ 128 h 330"/>
                <a:gd name="T112" fmla="*/ 277 w 325"/>
                <a:gd name="T113" fmla="*/ 140 h 330"/>
                <a:gd name="T114" fmla="*/ 288 w 325"/>
                <a:gd name="T115" fmla="*/ 144 h 330"/>
                <a:gd name="T116" fmla="*/ 292 w 325"/>
                <a:gd name="T117" fmla="*/ 153 h 330"/>
                <a:gd name="T118" fmla="*/ 300 w 325"/>
                <a:gd name="T119" fmla="*/ 17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330">
                  <a:moveTo>
                    <a:pt x="309" y="182"/>
                  </a:moveTo>
                  <a:lnTo>
                    <a:pt x="309" y="186"/>
                  </a:lnTo>
                  <a:lnTo>
                    <a:pt x="317" y="190"/>
                  </a:lnTo>
                  <a:lnTo>
                    <a:pt x="317" y="194"/>
                  </a:lnTo>
                  <a:lnTo>
                    <a:pt x="315" y="198"/>
                  </a:lnTo>
                  <a:lnTo>
                    <a:pt x="313" y="198"/>
                  </a:lnTo>
                  <a:lnTo>
                    <a:pt x="311" y="198"/>
                  </a:lnTo>
                  <a:lnTo>
                    <a:pt x="313" y="196"/>
                  </a:lnTo>
                  <a:lnTo>
                    <a:pt x="309" y="196"/>
                  </a:lnTo>
                  <a:lnTo>
                    <a:pt x="311" y="196"/>
                  </a:lnTo>
                  <a:lnTo>
                    <a:pt x="308" y="194"/>
                  </a:lnTo>
                  <a:lnTo>
                    <a:pt x="302" y="198"/>
                  </a:lnTo>
                  <a:lnTo>
                    <a:pt x="302" y="199"/>
                  </a:lnTo>
                  <a:lnTo>
                    <a:pt x="306" y="205"/>
                  </a:lnTo>
                  <a:lnTo>
                    <a:pt x="311" y="207"/>
                  </a:lnTo>
                  <a:lnTo>
                    <a:pt x="315" y="205"/>
                  </a:lnTo>
                  <a:lnTo>
                    <a:pt x="315" y="207"/>
                  </a:lnTo>
                  <a:lnTo>
                    <a:pt x="319" y="207"/>
                  </a:lnTo>
                  <a:lnTo>
                    <a:pt x="325" y="215"/>
                  </a:lnTo>
                  <a:lnTo>
                    <a:pt x="321" y="221"/>
                  </a:lnTo>
                  <a:lnTo>
                    <a:pt x="325" y="224"/>
                  </a:lnTo>
                  <a:lnTo>
                    <a:pt x="321" y="226"/>
                  </a:lnTo>
                  <a:lnTo>
                    <a:pt x="323" y="228"/>
                  </a:lnTo>
                  <a:lnTo>
                    <a:pt x="321" y="232"/>
                  </a:lnTo>
                  <a:lnTo>
                    <a:pt x="323" y="240"/>
                  </a:lnTo>
                  <a:lnTo>
                    <a:pt x="321" y="240"/>
                  </a:lnTo>
                  <a:lnTo>
                    <a:pt x="319" y="240"/>
                  </a:lnTo>
                  <a:lnTo>
                    <a:pt x="319" y="238"/>
                  </a:lnTo>
                  <a:lnTo>
                    <a:pt x="315" y="232"/>
                  </a:lnTo>
                  <a:lnTo>
                    <a:pt x="311" y="234"/>
                  </a:lnTo>
                  <a:lnTo>
                    <a:pt x="308" y="234"/>
                  </a:lnTo>
                  <a:lnTo>
                    <a:pt x="308" y="232"/>
                  </a:lnTo>
                  <a:lnTo>
                    <a:pt x="304" y="234"/>
                  </a:lnTo>
                  <a:lnTo>
                    <a:pt x="302" y="240"/>
                  </a:lnTo>
                  <a:lnTo>
                    <a:pt x="304" y="240"/>
                  </a:lnTo>
                  <a:lnTo>
                    <a:pt x="304" y="242"/>
                  </a:lnTo>
                  <a:lnTo>
                    <a:pt x="298" y="246"/>
                  </a:lnTo>
                  <a:lnTo>
                    <a:pt x="296" y="247"/>
                  </a:lnTo>
                  <a:lnTo>
                    <a:pt x="292" y="247"/>
                  </a:lnTo>
                  <a:lnTo>
                    <a:pt x="290" y="251"/>
                  </a:lnTo>
                  <a:lnTo>
                    <a:pt x="283" y="251"/>
                  </a:lnTo>
                  <a:lnTo>
                    <a:pt x="283" y="255"/>
                  </a:lnTo>
                  <a:lnTo>
                    <a:pt x="288" y="253"/>
                  </a:lnTo>
                  <a:lnTo>
                    <a:pt x="290" y="255"/>
                  </a:lnTo>
                  <a:lnTo>
                    <a:pt x="288" y="257"/>
                  </a:lnTo>
                  <a:lnTo>
                    <a:pt x="292" y="257"/>
                  </a:lnTo>
                  <a:lnTo>
                    <a:pt x="294" y="259"/>
                  </a:lnTo>
                  <a:lnTo>
                    <a:pt x="290" y="261"/>
                  </a:lnTo>
                  <a:lnTo>
                    <a:pt x="290" y="263"/>
                  </a:lnTo>
                  <a:lnTo>
                    <a:pt x="286" y="267"/>
                  </a:lnTo>
                  <a:lnTo>
                    <a:pt x="281" y="272"/>
                  </a:lnTo>
                  <a:lnTo>
                    <a:pt x="273" y="269"/>
                  </a:lnTo>
                  <a:lnTo>
                    <a:pt x="273" y="265"/>
                  </a:lnTo>
                  <a:lnTo>
                    <a:pt x="269" y="263"/>
                  </a:lnTo>
                  <a:lnTo>
                    <a:pt x="271" y="261"/>
                  </a:lnTo>
                  <a:lnTo>
                    <a:pt x="269" y="259"/>
                  </a:lnTo>
                  <a:lnTo>
                    <a:pt x="265" y="261"/>
                  </a:lnTo>
                  <a:lnTo>
                    <a:pt x="267" y="263"/>
                  </a:lnTo>
                  <a:lnTo>
                    <a:pt x="265" y="267"/>
                  </a:lnTo>
                  <a:lnTo>
                    <a:pt x="263" y="267"/>
                  </a:lnTo>
                  <a:lnTo>
                    <a:pt x="261" y="263"/>
                  </a:lnTo>
                  <a:lnTo>
                    <a:pt x="260" y="265"/>
                  </a:lnTo>
                  <a:lnTo>
                    <a:pt x="261" y="267"/>
                  </a:lnTo>
                  <a:lnTo>
                    <a:pt x="260" y="269"/>
                  </a:lnTo>
                  <a:lnTo>
                    <a:pt x="252" y="267"/>
                  </a:lnTo>
                  <a:lnTo>
                    <a:pt x="246" y="263"/>
                  </a:lnTo>
                  <a:lnTo>
                    <a:pt x="248" y="265"/>
                  </a:lnTo>
                  <a:lnTo>
                    <a:pt x="246" y="265"/>
                  </a:lnTo>
                  <a:lnTo>
                    <a:pt x="252" y="269"/>
                  </a:lnTo>
                  <a:lnTo>
                    <a:pt x="246" y="276"/>
                  </a:lnTo>
                  <a:lnTo>
                    <a:pt x="248" y="276"/>
                  </a:lnTo>
                  <a:lnTo>
                    <a:pt x="244" y="278"/>
                  </a:lnTo>
                  <a:lnTo>
                    <a:pt x="246" y="286"/>
                  </a:lnTo>
                  <a:lnTo>
                    <a:pt x="242" y="286"/>
                  </a:lnTo>
                  <a:lnTo>
                    <a:pt x="242" y="288"/>
                  </a:lnTo>
                  <a:lnTo>
                    <a:pt x="244" y="290"/>
                  </a:lnTo>
                  <a:lnTo>
                    <a:pt x="244" y="292"/>
                  </a:lnTo>
                  <a:lnTo>
                    <a:pt x="250" y="294"/>
                  </a:lnTo>
                  <a:lnTo>
                    <a:pt x="242" y="299"/>
                  </a:lnTo>
                  <a:lnTo>
                    <a:pt x="238" y="299"/>
                  </a:lnTo>
                  <a:lnTo>
                    <a:pt x="236" y="303"/>
                  </a:lnTo>
                  <a:lnTo>
                    <a:pt x="231" y="301"/>
                  </a:lnTo>
                  <a:lnTo>
                    <a:pt x="227" y="307"/>
                  </a:lnTo>
                  <a:lnTo>
                    <a:pt x="225" y="307"/>
                  </a:lnTo>
                  <a:lnTo>
                    <a:pt x="219" y="309"/>
                  </a:lnTo>
                  <a:lnTo>
                    <a:pt x="213" y="309"/>
                  </a:lnTo>
                  <a:lnTo>
                    <a:pt x="212" y="307"/>
                  </a:lnTo>
                  <a:lnTo>
                    <a:pt x="208" y="307"/>
                  </a:lnTo>
                  <a:lnTo>
                    <a:pt x="206" y="299"/>
                  </a:lnTo>
                  <a:lnTo>
                    <a:pt x="202" y="301"/>
                  </a:lnTo>
                  <a:lnTo>
                    <a:pt x="198" y="299"/>
                  </a:lnTo>
                  <a:lnTo>
                    <a:pt x="196" y="301"/>
                  </a:lnTo>
                  <a:lnTo>
                    <a:pt x="192" y="301"/>
                  </a:lnTo>
                  <a:lnTo>
                    <a:pt x="190" y="307"/>
                  </a:lnTo>
                  <a:lnTo>
                    <a:pt x="189" y="305"/>
                  </a:lnTo>
                  <a:lnTo>
                    <a:pt x="185" y="305"/>
                  </a:lnTo>
                  <a:lnTo>
                    <a:pt x="183" y="307"/>
                  </a:lnTo>
                  <a:lnTo>
                    <a:pt x="177" y="309"/>
                  </a:lnTo>
                  <a:lnTo>
                    <a:pt x="175" y="305"/>
                  </a:lnTo>
                  <a:lnTo>
                    <a:pt x="171" y="307"/>
                  </a:lnTo>
                  <a:lnTo>
                    <a:pt x="171" y="305"/>
                  </a:lnTo>
                  <a:lnTo>
                    <a:pt x="165" y="301"/>
                  </a:lnTo>
                  <a:lnTo>
                    <a:pt x="165" y="303"/>
                  </a:lnTo>
                  <a:lnTo>
                    <a:pt x="162" y="305"/>
                  </a:lnTo>
                  <a:lnTo>
                    <a:pt x="158" y="307"/>
                  </a:lnTo>
                  <a:lnTo>
                    <a:pt x="158" y="311"/>
                  </a:lnTo>
                  <a:lnTo>
                    <a:pt x="156" y="311"/>
                  </a:lnTo>
                  <a:lnTo>
                    <a:pt x="154" y="313"/>
                  </a:lnTo>
                  <a:lnTo>
                    <a:pt x="154" y="317"/>
                  </a:lnTo>
                  <a:lnTo>
                    <a:pt x="150" y="315"/>
                  </a:lnTo>
                  <a:lnTo>
                    <a:pt x="150" y="320"/>
                  </a:lnTo>
                  <a:lnTo>
                    <a:pt x="146" y="320"/>
                  </a:lnTo>
                  <a:lnTo>
                    <a:pt x="146" y="322"/>
                  </a:lnTo>
                  <a:lnTo>
                    <a:pt x="150" y="324"/>
                  </a:lnTo>
                  <a:lnTo>
                    <a:pt x="148" y="328"/>
                  </a:lnTo>
                  <a:lnTo>
                    <a:pt x="141" y="330"/>
                  </a:lnTo>
                  <a:lnTo>
                    <a:pt x="139" y="324"/>
                  </a:lnTo>
                  <a:lnTo>
                    <a:pt x="141" y="322"/>
                  </a:lnTo>
                  <a:lnTo>
                    <a:pt x="137" y="320"/>
                  </a:lnTo>
                  <a:lnTo>
                    <a:pt x="133" y="317"/>
                  </a:lnTo>
                  <a:lnTo>
                    <a:pt x="139" y="315"/>
                  </a:lnTo>
                  <a:lnTo>
                    <a:pt x="137" y="311"/>
                  </a:lnTo>
                  <a:lnTo>
                    <a:pt x="139" y="309"/>
                  </a:lnTo>
                  <a:lnTo>
                    <a:pt x="142" y="307"/>
                  </a:lnTo>
                  <a:lnTo>
                    <a:pt x="139" y="303"/>
                  </a:lnTo>
                  <a:lnTo>
                    <a:pt x="139" y="299"/>
                  </a:lnTo>
                  <a:lnTo>
                    <a:pt x="137" y="297"/>
                  </a:lnTo>
                  <a:lnTo>
                    <a:pt x="135" y="299"/>
                  </a:lnTo>
                  <a:lnTo>
                    <a:pt x="133" y="305"/>
                  </a:lnTo>
                  <a:lnTo>
                    <a:pt x="133" y="303"/>
                  </a:lnTo>
                  <a:lnTo>
                    <a:pt x="131" y="301"/>
                  </a:lnTo>
                  <a:lnTo>
                    <a:pt x="127" y="301"/>
                  </a:lnTo>
                  <a:lnTo>
                    <a:pt x="129" y="297"/>
                  </a:lnTo>
                  <a:lnTo>
                    <a:pt x="127" y="295"/>
                  </a:lnTo>
                  <a:lnTo>
                    <a:pt x="129" y="294"/>
                  </a:lnTo>
                  <a:lnTo>
                    <a:pt x="127" y="290"/>
                  </a:lnTo>
                  <a:lnTo>
                    <a:pt x="125" y="294"/>
                  </a:lnTo>
                  <a:lnTo>
                    <a:pt x="121" y="292"/>
                  </a:lnTo>
                  <a:lnTo>
                    <a:pt x="118" y="295"/>
                  </a:lnTo>
                  <a:lnTo>
                    <a:pt x="112" y="290"/>
                  </a:lnTo>
                  <a:lnTo>
                    <a:pt x="110" y="286"/>
                  </a:lnTo>
                  <a:lnTo>
                    <a:pt x="106" y="286"/>
                  </a:lnTo>
                  <a:lnTo>
                    <a:pt x="106" y="284"/>
                  </a:lnTo>
                  <a:lnTo>
                    <a:pt x="102" y="284"/>
                  </a:lnTo>
                  <a:lnTo>
                    <a:pt x="98" y="280"/>
                  </a:lnTo>
                  <a:lnTo>
                    <a:pt x="94" y="282"/>
                  </a:lnTo>
                  <a:lnTo>
                    <a:pt x="87" y="284"/>
                  </a:lnTo>
                  <a:lnTo>
                    <a:pt x="79" y="290"/>
                  </a:lnTo>
                  <a:lnTo>
                    <a:pt x="71" y="288"/>
                  </a:lnTo>
                  <a:lnTo>
                    <a:pt x="68" y="286"/>
                  </a:lnTo>
                  <a:lnTo>
                    <a:pt x="60" y="286"/>
                  </a:lnTo>
                  <a:lnTo>
                    <a:pt x="54" y="286"/>
                  </a:lnTo>
                  <a:lnTo>
                    <a:pt x="43" y="284"/>
                  </a:lnTo>
                  <a:lnTo>
                    <a:pt x="35" y="284"/>
                  </a:lnTo>
                  <a:lnTo>
                    <a:pt x="29" y="284"/>
                  </a:lnTo>
                  <a:lnTo>
                    <a:pt x="22" y="284"/>
                  </a:lnTo>
                  <a:lnTo>
                    <a:pt x="12" y="284"/>
                  </a:lnTo>
                  <a:lnTo>
                    <a:pt x="12" y="282"/>
                  </a:lnTo>
                  <a:lnTo>
                    <a:pt x="0" y="282"/>
                  </a:lnTo>
                  <a:lnTo>
                    <a:pt x="0" y="278"/>
                  </a:lnTo>
                  <a:lnTo>
                    <a:pt x="2" y="274"/>
                  </a:lnTo>
                  <a:lnTo>
                    <a:pt x="10" y="267"/>
                  </a:lnTo>
                  <a:lnTo>
                    <a:pt x="10" y="259"/>
                  </a:lnTo>
                  <a:lnTo>
                    <a:pt x="10" y="249"/>
                  </a:lnTo>
                  <a:lnTo>
                    <a:pt x="6" y="246"/>
                  </a:lnTo>
                  <a:lnTo>
                    <a:pt x="2" y="240"/>
                  </a:lnTo>
                  <a:lnTo>
                    <a:pt x="0" y="238"/>
                  </a:lnTo>
                  <a:lnTo>
                    <a:pt x="4" y="236"/>
                  </a:lnTo>
                  <a:lnTo>
                    <a:pt x="6" y="234"/>
                  </a:lnTo>
                  <a:lnTo>
                    <a:pt x="8" y="234"/>
                  </a:lnTo>
                  <a:lnTo>
                    <a:pt x="8" y="230"/>
                  </a:lnTo>
                  <a:lnTo>
                    <a:pt x="12" y="230"/>
                  </a:lnTo>
                  <a:lnTo>
                    <a:pt x="12" y="226"/>
                  </a:lnTo>
                  <a:lnTo>
                    <a:pt x="14" y="224"/>
                  </a:lnTo>
                  <a:lnTo>
                    <a:pt x="18" y="224"/>
                  </a:lnTo>
                  <a:lnTo>
                    <a:pt x="20" y="221"/>
                  </a:lnTo>
                  <a:lnTo>
                    <a:pt x="22" y="222"/>
                  </a:lnTo>
                  <a:lnTo>
                    <a:pt x="23" y="222"/>
                  </a:lnTo>
                  <a:lnTo>
                    <a:pt x="25" y="221"/>
                  </a:lnTo>
                  <a:lnTo>
                    <a:pt x="23" y="219"/>
                  </a:lnTo>
                  <a:lnTo>
                    <a:pt x="27" y="217"/>
                  </a:lnTo>
                  <a:lnTo>
                    <a:pt x="27" y="213"/>
                  </a:lnTo>
                  <a:lnTo>
                    <a:pt x="31" y="211"/>
                  </a:lnTo>
                  <a:lnTo>
                    <a:pt x="37" y="207"/>
                  </a:lnTo>
                  <a:lnTo>
                    <a:pt x="41" y="201"/>
                  </a:lnTo>
                  <a:lnTo>
                    <a:pt x="46" y="201"/>
                  </a:lnTo>
                  <a:lnTo>
                    <a:pt x="45" y="196"/>
                  </a:lnTo>
                  <a:lnTo>
                    <a:pt x="48" y="196"/>
                  </a:lnTo>
                  <a:lnTo>
                    <a:pt x="48" y="192"/>
                  </a:lnTo>
                  <a:lnTo>
                    <a:pt x="52" y="192"/>
                  </a:lnTo>
                  <a:lnTo>
                    <a:pt x="52" y="188"/>
                  </a:lnTo>
                  <a:lnTo>
                    <a:pt x="58" y="186"/>
                  </a:lnTo>
                  <a:lnTo>
                    <a:pt x="56" y="184"/>
                  </a:lnTo>
                  <a:lnTo>
                    <a:pt x="60" y="182"/>
                  </a:lnTo>
                  <a:lnTo>
                    <a:pt x="62" y="180"/>
                  </a:lnTo>
                  <a:lnTo>
                    <a:pt x="64" y="176"/>
                  </a:lnTo>
                  <a:lnTo>
                    <a:pt x="66" y="174"/>
                  </a:lnTo>
                  <a:lnTo>
                    <a:pt x="70" y="176"/>
                  </a:lnTo>
                  <a:lnTo>
                    <a:pt x="71" y="173"/>
                  </a:lnTo>
                  <a:lnTo>
                    <a:pt x="75" y="173"/>
                  </a:lnTo>
                  <a:lnTo>
                    <a:pt x="75" y="169"/>
                  </a:lnTo>
                  <a:lnTo>
                    <a:pt x="77" y="165"/>
                  </a:lnTo>
                  <a:lnTo>
                    <a:pt x="81" y="163"/>
                  </a:lnTo>
                  <a:lnTo>
                    <a:pt x="79" y="165"/>
                  </a:lnTo>
                  <a:lnTo>
                    <a:pt x="85" y="167"/>
                  </a:lnTo>
                  <a:lnTo>
                    <a:pt x="94" y="161"/>
                  </a:lnTo>
                  <a:lnTo>
                    <a:pt x="91" y="157"/>
                  </a:lnTo>
                  <a:lnTo>
                    <a:pt x="87" y="157"/>
                  </a:lnTo>
                  <a:lnTo>
                    <a:pt x="85" y="159"/>
                  </a:lnTo>
                  <a:lnTo>
                    <a:pt x="83" y="157"/>
                  </a:lnTo>
                  <a:lnTo>
                    <a:pt x="81" y="157"/>
                  </a:lnTo>
                  <a:lnTo>
                    <a:pt x="83" y="161"/>
                  </a:lnTo>
                  <a:lnTo>
                    <a:pt x="77" y="161"/>
                  </a:lnTo>
                  <a:lnTo>
                    <a:pt x="77" y="157"/>
                  </a:lnTo>
                  <a:lnTo>
                    <a:pt x="73" y="157"/>
                  </a:lnTo>
                  <a:lnTo>
                    <a:pt x="73" y="151"/>
                  </a:lnTo>
                  <a:lnTo>
                    <a:pt x="75" y="149"/>
                  </a:lnTo>
                  <a:lnTo>
                    <a:pt x="73" y="146"/>
                  </a:lnTo>
                  <a:lnTo>
                    <a:pt x="75" y="144"/>
                  </a:lnTo>
                  <a:lnTo>
                    <a:pt x="75" y="142"/>
                  </a:lnTo>
                  <a:lnTo>
                    <a:pt x="77" y="138"/>
                  </a:lnTo>
                  <a:lnTo>
                    <a:pt x="75" y="138"/>
                  </a:lnTo>
                  <a:lnTo>
                    <a:pt x="77" y="134"/>
                  </a:lnTo>
                  <a:lnTo>
                    <a:pt x="77" y="132"/>
                  </a:lnTo>
                  <a:lnTo>
                    <a:pt x="81" y="130"/>
                  </a:lnTo>
                  <a:lnTo>
                    <a:pt x="83" y="126"/>
                  </a:lnTo>
                  <a:lnTo>
                    <a:pt x="87" y="125"/>
                  </a:lnTo>
                  <a:lnTo>
                    <a:pt x="89" y="126"/>
                  </a:lnTo>
                  <a:lnTo>
                    <a:pt x="89" y="123"/>
                  </a:lnTo>
                  <a:lnTo>
                    <a:pt x="87" y="119"/>
                  </a:lnTo>
                  <a:lnTo>
                    <a:pt x="83" y="117"/>
                  </a:lnTo>
                  <a:lnTo>
                    <a:pt x="83" y="115"/>
                  </a:lnTo>
                  <a:lnTo>
                    <a:pt x="85" y="113"/>
                  </a:lnTo>
                  <a:lnTo>
                    <a:pt x="87" y="109"/>
                  </a:lnTo>
                  <a:lnTo>
                    <a:pt x="79" y="105"/>
                  </a:lnTo>
                  <a:lnTo>
                    <a:pt x="79" y="98"/>
                  </a:lnTo>
                  <a:lnTo>
                    <a:pt x="73" y="94"/>
                  </a:lnTo>
                  <a:lnTo>
                    <a:pt x="75" y="90"/>
                  </a:lnTo>
                  <a:lnTo>
                    <a:pt x="81" y="88"/>
                  </a:lnTo>
                  <a:lnTo>
                    <a:pt x="81" y="84"/>
                  </a:lnTo>
                  <a:lnTo>
                    <a:pt x="87" y="76"/>
                  </a:lnTo>
                  <a:lnTo>
                    <a:pt x="87" y="75"/>
                  </a:lnTo>
                  <a:lnTo>
                    <a:pt x="89" y="75"/>
                  </a:lnTo>
                  <a:lnTo>
                    <a:pt x="93" y="71"/>
                  </a:lnTo>
                  <a:lnTo>
                    <a:pt x="98" y="71"/>
                  </a:lnTo>
                  <a:lnTo>
                    <a:pt x="100" y="69"/>
                  </a:lnTo>
                  <a:lnTo>
                    <a:pt x="102" y="69"/>
                  </a:lnTo>
                  <a:lnTo>
                    <a:pt x="102" y="67"/>
                  </a:lnTo>
                  <a:lnTo>
                    <a:pt x="110" y="67"/>
                  </a:lnTo>
                  <a:lnTo>
                    <a:pt x="112" y="61"/>
                  </a:lnTo>
                  <a:lnTo>
                    <a:pt x="118" y="59"/>
                  </a:lnTo>
                  <a:lnTo>
                    <a:pt x="116" y="57"/>
                  </a:lnTo>
                  <a:lnTo>
                    <a:pt x="119" y="57"/>
                  </a:lnTo>
                  <a:lnTo>
                    <a:pt x="123" y="55"/>
                  </a:lnTo>
                  <a:lnTo>
                    <a:pt x="131" y="59"/>
                  </a:lnTo>
                  <a:lnTo>
                    <a:pt x="139" y="55"/>
                  </a:lnTo>
                  <a:lnTo>
                    <a:pt x="141" y="55"/>
                  </a:lnTo>
                  <a:lnTo>
                    <a:pt x="142" y="53"/>
                  </a:lnTo>
                  <a:lnTo>
                    <a:pt x="146" y="53"/>
                  </a:lnTo>
                  <a:lnTo>
                    <a:pt x="148" y="55"/>
                  </a:lnTo>
                  <a:lnTo>
                    <a:pt x="150" y="53"/>
                  </a:lnTo>
                  <a:lnTo>
                    <a:pt x="152" y="50"/>
                  </a:lnTo>
                  <a:lnTo>
                    <a:pt x="152" y="52"/>
                  </a:lnTo>
                  <a:lnTo>
                    <a:pt x="154" y="52"/>
                  </a:lnTo>
                  <a:lnTo>
                    <a:pt x="154" y="53"/>
                  </a:lnTo>
                  <a:lnTo>
                    <a:pt x="158" y="52"/>
                  </a:lnTo>
                  <a:lnTo>
                    <a:pt x="160" y="48"/>
                  </a:lnTo>
                  <a:lnTo>
                    <a:pt x="164" y="44"/>
                  </a:lnTo>
                  <a:lnTo>
                    <a:pt x="164" y="40"/>
                  </a:lnTo>
                  <a:lnTo>
                    <a:pt x="169" y="38"/>
                  </a:lnTo>
                  <a:lnTo>
                    <a:pt x="169" y="32"/>
                  </a:lnTo>
                  <a:lnTo>
                    <a:pt x="164" y="30"/>
                  </a:lnTo>
                  <a:lnTo>
                    <a:pt x="165" y="27"/>
                  </a:lnTo>
                  <a:lnTo>
                    <a:pt x="167" y="25"/>
                  </a:lnTo>
                  <a:lnTo>
                    <a:pt x="175" y="28"/>
                  </a:lnTo>
                  <a:lnTo>
                    <a:pt x="181" y="27"/>
                  </a:lnTo>
                  <a:lnTo>
                    <a:pt x="181" y="28"/>
                  </a:lnTo>
                  <a:lnTo>
                    <a:pt x="185" y="28"/>
                  </a:lnTo>
                  <a:lnTo>
                    <a:pt x="183" y="30"/>
                  </a:lnTo>
                  <a:lnTo>
                    <a:pt x="187" y="32"/>
                  </a:lnTo>
                  <a:lnTo>
                    <a:pt x="187" y="27"/>
                  </a:lnTo>
                  <a:lnTo>
                    <a:pt x="190" y="25"/>
                  </a:lnTo>
                  <a:lnTo>
                    <a:pt x="192" y="23"/>
                  </a:lnTo>
                  <a:lnTo>
                    <a:pt x="204" y="21"/>
                  </a:lnTo>
                  <a:lnTo>
                    <a:pt x="208" y="19"/>
                  </a:lnTo>
                  <a:lnTo>
                    <a:pt x="208" y="15"/>
                  </a:lnTo>
                  <a:lnTo>
                    <a:pt x="210" y="15"/>
                  </a:lnTo>
                  <a:lnTo>
                    <a:pt x="208" y="13"/>
                  </a:lnTo>
                  <a:lnTo>
                    <a:pt x="213" y="13"/>
                  </a:lnTo>
                  <a:lnTo>
                    <a:pt x="219" y="7"/>
                  </a:lnTo>
                  <a:lnTo>
                    <a:pt x="225" y="0"/>
                  </a:lnTo>
                  <a:lnTo>
                    <a:pt x="223" y="7"/>
                  </a:lnTo>
                  <a:lnTo>
                    <a:pt x="231" y="15"/>
                  </a:lnTo>
                  <a:lnTo>
                    <a:pt x="231" y="17"/>
                  </a:lnTo>
                  <a:lnTo>
                    <a:pt x="221" y="21"/>
                  </a:lnTo>
                  <a:lnTo>
                    <a:pt x="219" y="25"/>
                  </a:lnTo>
                  <a:lnTo>
                    <a:pt x="215" y="25"/>
                  </a:lnTo>
                  <a:lnTo>
                    <a:pt x="215" y="27"/>
                  </a:lnTo>
                  <a:lnTo>
                    <a:pt x="212" y="30"/>
                  </a:lnTo>
                  <a:lnTo>
                    <a:pt x="204" y="32"/>
                  </a:lnTo>
                  <a:lnTo>
                    <a:pt x="196" y="36"/>
                  </a:lnTo>
                  <a:lnTo>
                    <a:pt x="196" y="42"/>
                  </a:lnTo>
                  <a:lnTo>
                    <a:pt x="200" y="46"/>
                  </a:lnTo>
                  <a:lnTo>
                    <a:pt x="194" y="52"/>
                  </a:lnTo>
                  <a:lnTo>
                    <a:pt x="190" y="53"/>
                  </a:lnTo>
                  <a:lnTo>
                    <a:pt x="200" y="53"/>
                  </a:lnTo>
                  <a:lnTo>
                    <a:pt x="204" y="55"/>
                  </a:lnTo>
                  <a:lnTo>
                    <a:pt x="206" y="59"/>
                  </a:lnTo>
                  <a:lnTo>
                    <a:pt x="208" y="59"/>
                  </a:lnTo>
                  <a:lnTo>
                    <a:pt x="212" y="63"/>
                  </a:lnTo>
                  <a:lnTo>
                    <a:pt x="217" y="65"/>
                  </a:lnTo>
                  <a:lnTo>
                    <a:pt x="225" y="69"/>
                  </a:lnTo>
                  <a:lnTo>
                    <a:pt x="225" y="71"/>
                  </a:lnTo>
                  <a:lnTo>
                    <a:pt x="229" y="80"/>
                  </a:lnTo>
                  <a:lnTo>
                    <a:pt x="231" y="80"/>
                  </a:lnTo>
                  <a:lnTo>
                    <a:pt x="231" y="82"/>
                  </a:lnTo>
                  <a:lnTo>
                    <a:pt x="227" y="82"/>
                  </a:lnTo>
                  <a:lnTo>
                    <a:pt x="231" y="90"/>
                  </a:lnTo>
                  <a:lnTo>
                    <a:pt x="231" y="96"/>
                  </a:lnTo>
                  <a:lnTo>
                    <a:pt x="235" y="100"/>
                  </a:lnTo>
                  <a:lnTo>
                    <a:pt x="235" y="103"/>
                  </a:lnTo>
                  <a:lnTo>
                    <a:pt x="238" y="105"/>
                  </a:lnTo>
                  <a:lnTo>
                    <a:pt x="238" y="107"/>
                  </a:lnTo>
                  <a:lnTo>
                    <a:pt x="242" y="113"/>
                  </a:lnTo>
                  <a:lnTo>
                    <a:pt x="244" y="117"/>
                  </a:lnTo>
                  <a:lnTo>
                    <a:pt x="246" y="123"/>
                  </a:lnTo>
                  <a:lnTo>
                    <a:pt x="248" y="126"/>
                  </a:lnTo>
                  <a:lnTo>
                    <a:pt x="246" y="132"/>
                  </a:lnTo>
                  <a:lnTo>
                    <a:pt x="250" y="134"/>
                  </a:lnTo>
                  <a:lnTo>
                    <a:pt x="250" y="138"/>
                  </a:lnTo>
                  <a:lnTo>
                    <a:pt x="258" y="138"/>
                  </a:lnTo>
                  <a:lnTo>
                    <a:pt x="260" y="138"/>
                  </a:lnTo>
                  <a:lnTo>
                    <a:pt x="261" y="136"/>
                  </a:lnTo>
                  <a:lnTo>
                    <a:pt x="263" y="134"/>
                  </a:lnTo>
                  <a:lnTo>
                    <a:pt x="267" y="132"/>
                  </a:lnTo>
                  <a:lnTo>
                    <a:pt x="265" y="128"/>
                  </a:lnTo>
                  <a:lnTo>
                    <a:pt x="269" y="126"/>
                  </a:lnTo>
                  <a:lnTo>
                    <a:pt x="271" y="125"/>
                  </a:lnTo>
                  <a:lnTo>
                    <a:pt x="273" y="128"/>
                  </a:lnTo>
                  <a:lnTo>
                    <a:pt x="275" y="136"/>
                  </a:lnTo>
                  <a:lnTo>
                    <a:pt x="279" y="138"/>
                  </a:lnTo>
                  <a:lnTo>
                    <a:pt x="277" y="140"/>
                  </a:lnTo>
                  <a:lnTo>
                    <a:pt x="281" y="138"/>
                  </a:lnTo>
                  <a:lnTo>
                    <a:pt x="283" y="142"/>
                  </a:lnTo>
                  <a:lnTo>
                    <a:pt x="284" y="140"/>
                  </a:lnTo>
                  <a:lnTo>
                    <a:pt x="286" y="144"/>
                  </a:lnTo>
                  <a:lnTo>
                    <a:pt x="288" y="140"/>
                  </a:lnTo>
                  <a:lnTo>
                    <a:pt x="288" y="144"/>
                  </a:lnTo>
                  <a:lnTo>
                    <a:pt x="292" y="142"/>
                  </a:lnTo>
                  <a:lnTo>
                    <a:pt x="294" y="144"/>
                  </a:lnTo>
                  <a:lnTo>
                    <a:pt x="292" y="148"/>
                  </a:lnTo>
                  <a:lnTo>
                    <a:pt x="298" y="148"/>
                  </a:lnTo>
                  <a:lnTo>
                    <a:pt x="292" y="151"/>
                  </a:lnTo>
                  <a:lnTo>
                    <a:pt x="292" y="153"/>
                  </a:lnTo>
                  <a:lnTo>
                    <a:pt x="294" y="155"/>
                  </a:lnTo>
                  <a:lnTo>
                    <a:pt x="292" y="157"/>
                  </a:lnTo>
                  <a:lnTo>
                    <a:pt x="296" y="159"/>
                  </a:lnTo>
                  <a:lnTo>
                    <a:pt x="294" y="165"/>
                  </a:lnTo>
                  <a:lnTo>
                    <a:pt x="294" y="171"/>
                  </a:lnTo>
                  <a:lnTo>
                    <a:pt x="300" y="174"/>
                  </a:lnTo>
                  <a:lnTo>
                    <a:pt x="306" y="176"/>
                  </a:lnTo>
                  <a:lnTo>
                    <a:pt x="309" y="182"/>
                  </a:lnTo>
                  <a:close/>
                </a:path>
              </a:pathLst>
            </a:custGeom>
            <a:solidFill>
              <a:schemeClr val="accent3"/>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39" name="Freeform 31">
              <a:extLst>
                <a:ext uri="{FF2B5EF4-FFF2-40B4-BE49-F238E27FC236}">
                  <a16:creationId xmlns:a16="http://schemas.microsoft.com/office/drawing/2014/main" id="{14503E4D-264B-4097-BF0E-F4AD7B60D54E}"/>
                </a:ext>
              </a:extLst>
            </p:cNvPr>
            <p:cNvSpPr>
              <a:spLocks/>
            </p:cNvSpPr>
            <p:nvPr/>
          </p:nvSpPr>
          <p:spPr bwMode="gray">
            <a:xfrm>
              <a:off x="4795839" y="1863725"/>
              <a:ext cx="561975" cy="493713"/>
            </a:xfrm>
            <a:custGeom>
              <a:avLst/>
              <a:gdLst>
                <a:gd name="T0" fmla="*/ 304 w 354"/>
                <a:gd name="T1" fmla="*/ 94 h 311"/>
                <a:gd name="T2" fmla="*/ 300 w 354"/>
                <a:gd name="T3" fmla="*/ 113 h 311"/>
                <a:gd name="T4" fmla="*/ 317 w 354"/>
                <a:gd name="T5" fmla="*/ 128 h 311"/>
                <a:gd name="T6" fmla="*/ 334 w 354"/>
                <a:gd name="T7" fmla="*/ 142 h 311"/>
                <a:gd name="T8" fmla="*/ 329 w 354"/>
                <a:gd name="T9" fmla="*/ 161 h 311"/>
                <a:gd name="T10" fmla="*/ 338 w 354"/>
                <a:gd name="T11" fmla="*/ 180 h 311"/>
                <a:gd name="T12" fmla="*/ 331 w 354"/>
                <a:gd name="T13" fmla="*/ 192 h 311"/>
                <a:gd name="T14" fmla="*/ 342 w 354"/>
                <a:gd name="T15" fmla="*/ 209 h 311"/>
                <a:gd name="T16" fmla="*/ 352 w 354"/>
                <a:gd name="T17" fmla="*/ 224 h 311"/>
                <a:gd name="T18" fmla="*/ 334 w 354"/>
                <a:gd name="T19" fmla="*/ 222 h 311"/>
                <a:gd name="T20" fmla="*/ 313 w 354"/>
                <a:gd name="T21" fmla="*/ 219 h 311"/>
                <a:gd name="T22" fmla="*/ 296 w 354"/>
                <a:gd name="T23" fmla="*/ 217 h 311"/>
                <a:gd name="T24" fmla="*/ 281 w 354"/>
                <a:gd name="T25" fmla="*/ 215 h 311"/>
                <a:gd name="T26" fmla="*/ 254 w 354"/>
                <a:gd name="T27" fmla="*/ 224 h 311"/>
                <a:gd name="T28" fmla="*/ 229 w 354"/>
                <a:gd name="T29" fmla="*/ 238 h 311"/>
                <a:gd name="T30" fmla="*/ 231 w 354"/>
                <a:gd name="T31" fmla="*/ 249 h 311"/>
                <a:gd name="T32" fmla="*/ 227 w 354"/>
                <a:gd name="T33" fmla="*/ 261 h 311"/>
                <a:gd name="T34" fmla="*/ 217 w 354"/>
                <a:gd name="T35" fmla="*/ 272 h 311"/>
                <a:gd name="T36" fmla="*/ 225 w 354"/>
                <a:gd name="T37" fmla="*/ 286 h 311"/>
                <a:gd name="T38" fmla="*/ 223 w 354"/>
                <a:gd name="T39" fmla="*/ 292 h 311"/>
                <a:gd name="T40" fmla="*/ 221 w 354"/>
                <a:gd name="T41" fmla="*/ 299 h 311"/>
                <a:gd name="T42" fmla="*/ 202 w 354"/>
                <a:gd name="T43" fmla="*/ 311 h 311"/>
                <a:gd name="T44" fmla="*/ 190 w 354"/>
                <a:gd name="T45" fmla="*/ 305 h 311"/>
                <a:gd name="T46" fmla="*/ 179 w 354"/>
                <a:gd name="T47" fmla="*/ 303 h 311"/>
                <a:gd name="T48" fmla="*/ 156 w 354"/>
                <a:gd name="T49" fmla="*/ 294 h 311"/>
                <a:gd name="T50" fmla="*/ 146 w 354"/>
                <a:gd name="T51" fmla="*/ 271 h 311"/>
                <a:gd name="T52" fmla="*/ 139 w 354"/>
                <a:gd name="T53" fmla="*/ 265 h 311"/>
                <a:gd name="T54" fmla="*/ 125 w 354"/>
                <a:gd name="T55" fmla="*/ 251 h 311"/>
                <a:gd name="T56" fmla="*/ 104 w 354"/>
                <a:gd name="T57" fmla="*/ 238 h 311"/>
                <a:gd name="T58" fmla="*/ 102 w 354"/>
                <a:gd name="T59" fmla="*/ 224 h 311"/>
                <a:gd name="T60" fmla="*/ 98 w 354"/>
                <a:gd name="T61" fmla="*/ 217 h 311"/>
                <a:gd name="T62" fmla="*/ 91 w 354"/>
                <a:gd name="T63" fmla="*/ 211 h 311"/>
                <a:gd name="T64" fmla="*/ 81 w 354"/>
                <a:gd name="T65" fmla="*/ 198 h 311"/>
                <a:gd name="T66" fmla="*/ 71 w 354"/>
                <a:gd name="T67" fmla="*/ 209 h 311"/>
                <a:gd name="T68" fmla="*/ 56 w 354"/>
                <a:gd name="T69" fmla="*/ 205 h 311"/>
                <a:gd name="T70" fmla="*/ 48 w 354"/>
                <a:gd name="T71" fmla="*/ 180 h 311"/>
                <a:gd name="T72" fmla="*/ 41 w 354"/>
                <a:gd name="T73" fmla="*/ 163 h 311"/>
                <a:gd name="T74" fmla="*/ 35 w 354"/>
                <a:gd name="T75" fmla="*/ 144 h 311"/>
                <a:gd name="T76" fmla="*/ 16 w 354"/>
                <a:gd name="T77" fmla="*/ 132 h 311"/>
                <a:gd name="T78" fmla="*/ 10 w 354"/>
                <a:gd name="T79" fmla="*/ 119 h 311"/>
                <a:gd name="T80" fmla="*/ 25 w 354"/>
                <a:gd name="T81" fmla="*/ 100 h 311"/>
                <a:gd name="T82" fmla="*/ 41 w 354"/>
                <a:gd name="T83" fmla="*/ 88 h 311"/>
                <a:gd name="T84" fmla="*/ 39 w 354"/>
                <a:gd name="T85" fmla="*/ 61 h 311"/>
                <a:gd name="T86" fmla="*/ 31 w 354"/>
                <a:gd name="T87" fmla="*/ 34 h 311"/>
                <a:gd name="T88" fmla="*/ 62 w 354"/>
                <a:gd name="T89" fmla="*/ 27 h 311"/>
                <a:gd name="T90" fmla="*/ 81 w 354"/>
                <a:gd name="T91" fmla="*/ 15 h 311"/>
                <a:gd name="T92" fmla="*/ 110 w 354"/>
                <a:gd name="T93" fmla="*/ 4 h 311"/>
                <a:gd name="T94" fmla="*/ 133 w 354"/>
                <a:gd name="T95" fmla="*/ 2 h 311"/>
                <a:gd name="T96" fmla="*/ 137 w 354"/>
                <a:gd name="T97" fmla="*/ 5 h 311"/>
                <a:gd name="T98" fmla="*/ 148 w 354"/>
                <a:gd name="T99" fmla="*/ 23 h 311"/>
                <a:gd name="T100" fmla="*/ 165 w 354"/>
                <a:gd name="T101" fmla="*/ 28 h 311"/>
                <a:gd name="T102" fmla="*/ 173 w 354"/>
                <a:gd name="T103" fmla="*/ 34 h 311"/>
                <a:gd name="T104" fmla="*/ 187 w 354"/>
                <a:gd name="T105" fmla="*/ 44 h 311"/>
                <a:gd name="T106" fmla="*/ 200 w 354"/>
                <a:gd name="T107" fmla="*/ 40 h 311"/>
                <a:gd name="T108" fmla="*/ 219 w 354"/>
                <a:gd name="T109" fmla="*/ 32 h 311"/>
                <a:gd name="T110" fmla="*/ 233 w 354"/>
                <a:gd name="T111" fmla="*/ 30 h 311"/>
                <a:gd name="T112" fmla="*/ 246 w 354"/>
                <a:gd name="T113" fmla="*/ 52 h 311"/>
                <a:gd name="T114" fmla="*/ 258 w 354"/>
                <a:gd name="T115" fmla="*/ 71 h 311"/>
                <a:gd name="T116" fmla="*/ 271 w 354"/>
                <a:gd name="T117" fmla="*/ 67 h 311"/>
                <a:gd name="T118" fmla="*/ 290 w 354"/>
                <a:gd name="T119" fmla="*/ 59 h 311"/>
                <a:gd name="T120" fmla="*/ 300 w 354"/>
                <a:gd name="T121" fmla="*/ 67 h 311"/>
                <a:gd name="T122" fmla="*/ 298 w 354"/>
                <a:gd name="T123" fmla="*/ 7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4" h="311">
                  <a:moveTo>
                    <a:pt x="298" y="78"/>
                  </a:moveTo>
                  <a:lnTo>
                    <a:pt x="302" y="80"/>
                  </a:lnTo>
                  <a:lnTo>
                    <a:pt x="306" y="88"/>
                  </a:lnTo>
                  <a:lnTo>
                    <a:pt x="306" y="92"/>
                  </a:lnTo>
                  <a:lnTo>
                    <a:pt x="304" y="94"/>
                  </a:lnTo>
                  <a:lnTo>
                    <a:pt x="306" y="96"/>
                  </a:lnTo>
                  <a:lnTo>
                    <a:pt x="306" y="100"/>
                  </a:lnTo>
                  <a:lnTo>
                    <a:pt x="309" y="103"/>
                  </a:lnTo>
                  <a:lnTo>
                    <a:pt x="306" y="109"/>
                  </a:lnTo>
                  <a:lnTo>
                    <a:pt x="300" y="113"/>
                  </a:lnTo>
                  <a:lnTo>
                    <a:pt x="302" y="121"/>
                  </a:lnTo>
                  <a:lnTo>
                    <a:pt x="308" y="119"/>
                  </a:lnTo>
                  <a:lnTo>
                    <a:pt x="309" y="123"/>
                  </a:lnTo>
                  <a:lnTo>
                    <a:pt x="315" y="126"/>
                  </a:lnTo>
                  <a:lnTo>
                    <a:pt x="317" y="128"/>
                  </a:lnTo>
                  <a:lnTo>
                    <a:pt x="317" y="132"/>
                  </a:lnTo>
                  <a:lnTo>
                    <a:pt x="319" y="134"/>
                  </a:lnTo>
                  <a:lnTo>
                    <a:pt x="329" y="136"/>
                  </a:lnTo>
                  <a:lnTo>
                    <a:pt x="331" y="140"/>
                  </a:lnTo>
                  <a:lnTo>
                    <a:pt x="334" y="142"/>
                  </a:lnTo>
                  <a:lnTo>
                    <a:pt x="331" y="148"/>
                  </a:lnTo>
                  <a:lnTo>
                    <a:pt x="325" y="149"/>
                  </a:lnTo>
                  <a:lnTo>
                    <a:pt x="321" y="153"/>
                  </a:lnTo>
                  <a:lnTo>
                    <a:pt x="323" y="157"/>
                  </a:lnTo>
                  <a:lnTo>
                    <a:pt x="329" y="161"/>
                  </a:lnTo>
                  <a:lnTo>
                    <a:pt x="331" y="171"/>
                  </a:lnTo>
                  <a:lnTo>
                    <a:pt x="336" y="171"/>
                  </a:lnTo>
                  <a:lnTo>
                    <a:pt x="336" y="174"/>
                  </a:lnTo>
                  <a:lnTo>
                    <a:pt x="340" y="178"/>
                  </a:lnTo>
                  <a:lnTo>
                    <a:pt x="338" y="180"/>
                  </a:lnTo>
                  <a:lnTo>
                    <a:pt x="332" y="184"/>
                  </a:lnTo>
                  <a:lnTo>
                    <a:pt x="329" y="186"/>
                  </a:lnTo>
                  <a:lnTo>
                    <a:pt x="327" y="188"/>
                  </a:lnTo>
                  <a:lnTo>
                    <a:pt x="327" y="192"/>
                  </a:lnTo>
                  <a:lnTo>
                    <a:pt x="331" y="192"/>
                  </a:lnTo>
                  <a:lnTo>
                    <a:pt x="334" y="196"/>
                  </a:lnTo>
                  <a:lnTo>
                    <a:pt x="331" y="205"/>
                  </a:lnTo>
                  <a:lnTo>
                    <a:pt x="334" y="211"/>
                  </a:lnTo>
                  <a:lnTo>
                    <a:pt x="340" y="213"/>
                  </a:lnTo>
                  <a:lnTo>
                    <a:pt x="342" y="209"/>
                  </a:lnTo>
                  <a:lnTo>
                    <a:pt x="344" y="215"/>
                  </a:lnTo>
                  <a:lnTo>
                    <a:pt x="348" y="217"/>
                  </a:lnTo>
                  <a:lnTo>
                    <a:pt x="348" y="221"/>
                  </a:lnTo>
                  <a:lnTo>
                    <a:pt x="350" y="221"/>
                  </a:lnTo>
                  <a:lnTo>
                    <a:pt x="352" y="224"/>
                  </a:lnTo>
                  <a:lnTo>
                    <a:pt x="354" y="224"/>
                  </a:lnTo>
                  <a:lnTo>
                    <a:pt x="352" y="232"/>
                  </a:lnTo>
                  <a:lnTo>
                    <a:pt x="342" y="232"/>
                  </a:lnTo>
                  <a:lnTo>
                    <a:pt x="338" y="228"/>
                  </a:lnTo>
                  <a:lnTo>
                    <a:pt x="334" y="222"/>
                  </a:lnTo>
                  <a:lnTo>
                    <a:pt x="331" y="224"/>
                  </a:lnTo>
                  <a:lnTo>
                    <a:pt x="321" y="222"/>
                  </a:lnTo>
                  <a:lnTo>
                    <a:pt x="319" y="224"/>
                  </a:lnTo>
                  <a:lnTo>
                    <a:pt x="319" y="221"/>
                  </a:lnTo>
                  <a:lnTo>
                    <a:pt x="313" y="219"/>
                  </a:lnTo>
                  <a:lnTo>
                    <a:pt x="311" y="219"/>
                  </a:lnTo>
                  <a:lnTo>
                    <a:pt x="308" y="222"/>
                  </a:lnTo>
                  <a:lnTo>
                    <a:pt x="302" y="222"/>
                  </a:lnTo>
                  <a:lnTo>
                    <a:pt x="298" y="219"/>
                  </a:lnTo>
                  <a:lnTo>
                    <a:pt x="296" y="217"/>
                  </a:lnTo>
                  <a:lnTo>
                    <a:pt x="294" y="219"/>
                  </a:lnTo>
                  <a:lnTo>
                    <a:pt x="290" y="213"/>
                  </a:lnTo>
                  <a:lnTo>
                    <a:pt x="283" y="213"/>
                  </a:lnTo>
                  <a:lnTo>
                    <a:pt x="283" y="215"/>
                  </a:lnTo>
                  <a:lnTo>
                    <a:pt x="281" y="215"/>
                  </a:lnTo>
                  <a:lnTo>
                    <a:pt x="275" y="219"/>
                  </a:lnTo>
                  <a:lnTo>
                    <a:pt x="271" y="221"/>
                  </a:lnTo>
                  <a:lnTo>
                    <a:pt x="267" y="219"/>
                  </a:lnTo>
                  <a:lnTo>
                    <a:pt x="261" y="224"/>
                  </a:lnTo>
                  <a:lnTo>
                    <a:pt x="254" y="224"/>
                  </a:lnTo>
                  <a:lnTo>
                    <a:pt x="252" y="228"/>
                  </a:lnTo>
                  <a:lnTo>
                    <a:pt x="246" y="224"/>
                  </a:lnTo>
                  <a:lnTo>
                    <a:pt x="238" y="228"/>
                  </a:lnTo>
                  <a:lnTo>
                    <a:pt x="235" y="236"/>
                  </a:lnTo>
                  <a:lnTo>
                    <a:pt x="229" y="238"/>
                  </a:lnTo>
                  <a:lnTo>
                    <a:pt x="231" y="240"/>
                  </a:lnTo>
                  <a:lnTo>
                    <a:pt x="229" y="242"/>
                  </a:lnTo>
                  <a:lnTo>
                    <a:pt x="231" y="246"/>
                  </a:lnTo>
                  <a:lnTo>
                    <a:pt x="229" y="247"/>
                  </a:lnTo>
                  <a:lnTo>
                    <a:pt x="231" y="249"/>
                  </a:lnTo>
                  <a:lnTo>
                    <a:pt x="225" y="247"/>
                  </a:lnTo>
                  <a:lnTo>
                    <a:pt x="223" y="249"/>
                  </a:lnTo>
                  <a:lnTo>
                    <a:pt x="223" y="253"/>
                  </a:lnTo>
                  <a:lnTo>
                    <a:pt x="229" y="253"/>
                  </a:lnTo>
                  <a:lnTo>
                    <a:pt x="227" y="261"/>
                  </a:lnTo>
                  <a:lnTo>
                    <a:pt x="223" y="257"/>
                  </a:lnTo>
                  <a:lnTo>
                    <a:pt x="221" y="261"/>
                  </a:lnTo>
                  <a:lnTo>
                    <a:pt x="223" y="263"/>
                  </a:lnTo>
                  <a:lnTo>
                    <a:pt x="217" y="271"/>
                  </a:lnTo>
                  <a:lnTo>
                    <a:pt x="217" y="272"/>
                  </a:lnTo>
                  <a:lnTo>
                    <a:pt x="219" y="272"/>
                  </a:lnTo>
                  <a:lnTo>
                    <a:pt x="221" y="276"/>
                  </a:lnTo>
                  <a:lnTo>
                    <a:pt x="221" y="278"/>
                  </a:lnTo>
                  <a:lnTo>
                    <a:pt x="225" y="282"/>
                  </a:lnTo>
                  <a:lnTo>
                    <a:pt x="225" y="286"/>
                  </a:lnTo>
                  <a:lnTo>
                    <a:pt x="223" y="286"/>
                  </a:lnTo>
                  <a:lnTo>
                    <a:pt x="223" y="288"/>
                  </a:lnTo>
                  <a:lnTo>
                    <a:pt x="221" y="288"/>
                  </a:lnTo>
                  <a:lnTo>
                    <a:pt x="219" y="288"/>
                  </a:lnTo>
                  <a:lnTo>
                    <a:pt x="223" y="292"/>
                  </a:lnTo>
                  <a:lnTo>
                    <a:pt x="227" y="292"/>
                  </a:lnTo>
                  <a:lnTo>
                    <a:pt x="229" y="295"/>
                  </a:lnTo>
                  <a:lnTo>
                    <a:pt x="227" y="297"/>
                  </a:lnTo>
                  <a:lnTo>
                    <a:pt x="223" y="297"/>
                  </a:lnTo>
                  <a:lnTo>
                    <a:pt x="221" y="299"/>
                  </a:lnTo>
                  <a:lnTo>
                    <a:pt x="213" y="305"/>
                  </a:lnTo>
                  <a:lnTo>
                    <a:pt x="208" y="307"/>
                  </a:lnTo>
                  <a:lnTo>
                    <a:pt x="202" y="307"/>
                  </a:lnTo>
                  <a:lnTo>
                    <a:pt x="202" y="309"/>
                  </a:lnTo>
                  <a:lnTo>
                    <a:pt x="202" y="311"/>
                  </a:lnTo>
                  <a:lnTo>
                    <a:pt x="198" y="309"/>
                  </a:lnTo>
                  <a:lnTo>
                    <a:pt x="196" y="305"/>
                  </a:lnTo>
                  <a:lnTo>
                    <a:pt x="194" y="309"/>
                  </a:lnTo>
                  <a:lnTo>
                    <a:pt x="187" y="309"/>
                  </a:lnTo>
                  <a:lnTo>
                    <a:pt x="190" y="305"/>
                  </a:lnTo>
                  <a:lnTo>
                    <a:pt x="190" y="303"/>
                  </a:lnTo>
                  <a:lnTo>
                    <a:pt x="185" y="307"/>
                  </a:lnTo>
                  <a:lnTo>
                    <a:pt x="183" y="305"/>
                  </a:lnTo>
                  <a:lnTo>
                    <a:pt x="179" y="305"/>
                  </a:lnTo>
                  <a:lnTo>
                    <a:pt x="179" y="303"/>
                  </a:lnTo>
                  <a:lnTo>
                    <a:pt x="173" y="303"/>
                  </a:lnTo>
                  <a:lnTo>
                    <a:pt x="165" y="301"/>
                  </a:lnTo>
                  <a:lnTo>
                    <a:pt x="164" y="301"/>
                  </a:lnTo>
                  <a:lnTo>
                    <a:pt x="162" y="295"/>
                  </a:lnTo>
                  <a:lnTo>
                    <a:pt x="156" y="294"/>
                  </a:lnTo>
                  <a:lnTo>
                    <a:pt x="154" y="292"/>
                  </a:lnTo>
                  <a:lnTo>
                    <a:pt x="160" y="288"/>
                  </a:lnTo>
                  <a:lnTo>
                    <a:pt x="160" y="278"/>
                  </a:lnTo>
                  <a:lnTo>
                    <a:pt x="152" y="272"/>
                  </a:lnTo>
                  <a:lnTo>
                    <a:pt x="146" y="271"/>
                  </a:lnTo>
                  <a:lnTo>
                    <a:pt x="144" y="272"/>
                  </a:lnTo>
                  <a:lnTo>
                    <a:pt x="142" y="269"/>
                  </a:lnTo>
                  <a:lnTo>
                    <a:pt x="144" y="265"/>
                  </a:lnTo>
                  <a:lnTo>
                    <a:pt x="142" y="267"/>
                  </a:lnTo>
                  <a:lnTo>
                    <a:pt x="139" y="265"/>
                  </a:lnTo>
                  <a:lnTo>
                    <a:pt x="137" y="263"/>
                  </a:lnTo>
                  <a:lnTo>
                    <a:pt x="135" y="255"/>
                  </a:lnTo>
                  <a:lnTo>
                    <a:pt x="129" y="259"/>
                  </a:lnTo>
                  <a:lnTo>
                    <a:pt x="125" y="255"/>
                  </a:lnTo>
                  <a:lnTo>
                    <a:pt x="125" y="251"/>
                  </a:lnTo>
                  <a:lnTo>
                    <a:pt x="119" y="255"/>
                  </a:lnTo>
                  <a:lnTo>
                    <a:pt x="116" y="249"/>
                  </a:lnTo>
                  <a:lnTo>
                    <a:pt x="110" y="247"/>
                  </a:lnTo>
                  <a:lnTo>
                    <a:pt x="104" y="244"/>
                  </a:lnTo>
                  <a:lnTo>
                    <a:pt x="104" y="238"/>
                  </a:lnTo>
                  <a:lnTo>
                    <a:pt x="106" y="232"/>
                  </a:lnTo>
                  <a:lnTo>
                    <a:pt x="102" y="230"/>
                  </a:lnTo>
                  <a:lnTo>
                    <a:pt x="104" y="228"/>
                  </a:lnTo>
                  <a:lnTo>
                    <a:pt x="102" y="226"/>
                  </a:lnTo>
                  <a:lnTo>
                    <a:pt x="102" y="224"/>
                  </a:lnTo>
                  <a:lnTo>
                    <a:pt x="108" y="221"/>
                  </a:lnTo>
                  <a:lnTo>
                    <a:pt x="102" y="221"/>
                  </a:lnTo>
                  <a:lnTo>
                    <a:pt x="104" y="217"/>
                  </a:lnTo>
                  <a:lnTo>
                    <a:pt x="102" y="215"/>
                  </a:lnTo>
                  <a:lnTo>
                    <a:pt x="98" y="217"/>
                  </a:lnTo>
                  <a:lnTo>
                    <a:pt x="98" y="213"/>
                  </a:lnTo>
                  <a:lnTo>
                    <a:pt x="96" y="217"/>
                  </a:lnTo>
                  <a:lnTo>
                    <a:pt x="94" y="213"/>
                  </a:lnTo>
                  <a:lnTo>
                    <a:pt x="93" y="215"/>
                  </a:lnTo>
                  <a:lnTo>
                    <a:pt x="91" y="211"/>
                  </a:lnTo>
                  <a:lnTo>
                    <a:pt x="87" y="213"/>
                  </a:lnTo>
                  <a:lnTo>
                    <a:pt x="89" y="211"/>
                  </a:lnTo>
                  <a:lnTo>
                    <a:pt x="85" y="209"/>
                  </a:lnTo>
                  <a:lnTo>
                    <a:pt x="83" y="201"/>
                  </a:lnTo>
                  <a:lnTo>
                    <a:pt x="81" y="198"/>
                  </a:lnTo>
                  <a:lnTo>
                    <a:pt x="79" y="199"/>
                  </a:lnTo>
                  <a:lnTo>
                    <a:pt x="75" y="201"/>
                  </a:lnTo>
                  <a:lnTo>
                    <a:pt x="77" y="205"/>
                  </a:lnTo>
                  <a:lnTo>
                    <a:pt x="73" y="207"/>
                  </a:lnTo>
                  <a:lnTo>
                    <a:pt x="71" y="209"/>
                  </a:lnTo>
                  <a:lnTo>
                    <a:pt x="70" y="211"/>
                  </a:lnTo>
                  <a:lnTo>
                    <a:pt x="68" y="211"/>
                  </a:lnTo>
                  <a:lnTo>
                    <a:pt x="60" y="211"/>
                  </a:lnTo>
                  <a:lnTo>
                    <a:pt x="60" y="207"/>
                  </a:lnTo>
                  <a:lnTo>
                    <a:pt x="56" y="205"/>
                  </a:lnTo>
                  <a:lnTo>
                    <a:pt x="58" y="199"/>
                  </a:lnTo>
                  <a:lnTo>
                    <a:pt x="56" y="196"/>
                  </a:lnTo>
                  <a:lnTo>
                    <a:pt x="54" y="190"/>
                  </a:lnTo>
                  <a:lnTo>
                    <a:pt x="52" y="186"/>
                  </a:lnTo>
                  <a:lnTo>
                    <a:pt x="48" y="180"/>
                  </a:lnTo>
                  <a:lnTo>
                    <a:pt x="48" y="178"/>
                  </a:lnTo>
                  <a:lnTo>
                    <a:pt x="45" y="176"/>
                  </a:lnTo>
                  <a:lnTo>
                    <a:pt x="45" y="173"/>
                  </a:lnTo>
                  <a:lnTo>
                    <a:pt x="41" y="169"/>
                  </a:lnTo>
                  <a:lnTo>
                    <a:pt x="41" y="163"/>
                  </a:lnTo>
                  <a:lnTo>
                    <a:pt x="37" y="155"/>
                  </a:lnTo>
                  <a:lnTo>
                    <a:pt x="41" y="155"/>
                  </a:lnTo>
                  <a:lnTo>
                    <a:pt x="41" y="153"/>
                  </a:lnTo>
                  <a:lnTo>
                    <a:pt x="39" y="153"/>
                  </a:lnTo>
                  <a:lnTo>
                    <a:pt x="35" y="144"/>
                  </a:lnTo>
                  <a:lnTo>
                    <a:pt x="35" y="142"/>
                  </a:lnTo>
                  <a:lnTo>
                    <a:pt x="27" y="138"/>
                  </a:lnTo>
                  <a:lnTo>
                    <a:pt x="22" y="136"/>
                  </a:lnTo>
                  <a:lnTo>
                    <a:pt x="18" y="132"/>
                  </a:lnTo>
                  <a:lnTo>
                    <a:pt x="16" y="132"/>
                  </a:lnTo>
                  <a:lnTo>
                    <a:pt x="14" y="128"/>
                  </a:lnTo>
                  <a:lnTo>
                    <a:pt x="10" y="126"/>
                  </a:lnTo>
                  <a:lnTo>
                    <a:pt x="0" y="126"/>
                  </a:lnTo>
                  <a:lnTo>
                    <a:pt x="4" y="125"/>
                  </a:lnTo>
                  <a:lnTo>
                    <a:pt x="10" y="119"/>
                  </a:lnTo>
                  <a:lnTo>
                    <a:pt x="6" y="115"/>
                  </a:lnTo>
                  <a:lnTo>
                    <a:pt x="6" y="109"/>
                  </a:lnTo>
                  <a:lnTo>
                    <a:pt x="14" y="105"/>
                  </a:lnTo>
                  <a:lnTo>
                    <a:pt x="22" y="103"/>
                  </a:lnTo>
                  <a:lnTo>
                    <a:pt x="25" y="100"/>
                  </a:lnTo>
                  <a:lnTo>
                    <a:pt x="25" y="98"/>
                  </a:lnTo>
                  <a:lnTo>
                    <a:pt x="29" y="98"/>
                  </a:lnTo>
                  <a:lnTo>
                    <a:pt x="31" y="94"/>
                  </a:lnTo>
                  <a:lnTo>
                    <a:pt x="41" y="90"/>
                  </a:lnTo>
                  <a:lnTo>
                    <a:pt x="41" y="88"/>
                  </a:lnTo>
                  <a:lnTo>
                    <a:pt x="33" y="80"/>
                  </a:lnTo>
                  <a:lnTo>
                    <a:pt x="35" y="73"/>
                  </a:lnTo>
                  <a:lnTo>
                    <a:pt x="37" y="71"/>
                  </a:lnTo>
                  <a:lnTo>
                    <a:pt x="41" y="65"/>
                  </a:lnTo>
                  <a:lnTo>
                    <a:pt x="39" y="61"/>
                  </a:lnTo>
                  <a:lnTo>
                    <a:pt x="41" y="53"/>
                  </a:lnTo>
                  <a:lnTo>
                    <a:pt x="37" y="48"/>
                  </a:lnTo>
                  <a:lnTo>
                    <a:pt x="29" y="42"/>
                  </a:lnTo>
                  <a:lnTo>
                    <a:pt x="27" y="40"/>
                  </a:lnTo>
                  <a:lnTo>
                    <a:pt x="31" y="34"/>
                  </a:lnTo>
                  <a:lnTo>
                    <a:pt x="37" y="34"/>
                  </a:lnTo>
                  <a:lnTo>
                    <a:pt x="45" y="40"/>
                  </a:lnTo>
                  <a:lnTo>
                    <a:pt x="52" y="36"/>
                  </a:lnTo>
                  <a:lnTo>
                    <a:pt x="58" y="30"/>
                  </a:lnTo>
                  <a:lnTo>
                    <a:pt x="62" y="27"/>
                  </a:lnTo>
                  <a:lnTo>
                    <a:pt x="68" y="27"/>
                  </a:lnTo>
                  <a:lnTo>
                    <a:pt x="70" y="25"/>
                  </a:lnTo>
                  <a:lnTo>
                    <a:pt x="75" y="25"/>
                  </a:lnTo>
                  <a:lnTo>
                    <a:pt x="79" y="23"/>
                  </a:lnTo>
                  <a:lnTo>
                    <a:pt x="81" y="15"/>
                  </a:lnTo>
                  <a:lnTo>
                    <a:pt x="81" y="13"/>
                  </a:lnTo>
                  <a:lnTo>
                    <a:pt x="89" y="9"/>
                  </a:lnTo>
                  <a:lnTo>
                    <a:pt x="93" y="7"/>
                  </a:lnTo>
                  <a:lnTo>
                    <a:pt x="100" y="7"/>
                  </a:lnTo>
                  <a:lnTo>
                    <a:pt x="110" y="4"/>
                  </a:lnTo>
                  <a:lnTo>
                    <a:pt x="114" y="5"/>
                  </a:lnTo>
                  <a:lnTo>
                    <a:pt x="116" y="7"/>
                  </a:lnTo>
                  <a:lnTo>
                    <a:pt x="118" y="9"/>
                  </a:lnTo>
                  <a:lnTo>
                    <a:pt x="129" y="7"/>
                  </a:lnTo>
                  <a:lnTo>
                    <a:pt x="133" y="2"/>
                  </a:lnTo>
                  <a:lnTo>
                    <a:pt x="131" y="0"/>
                  </a:lnTo>
                  <a:lnTo>
                    <a:pt x="135" y="0"/>
                  </a:lnTo>
                  <a:lnTo>
                    <a:pt x="137" y="0"/>
                  </a:lnTo>
                  <a:lnTo>
                    <a:pt x="139" y="0"/>
                  </a:lnTo>
                  <a:lnTo>
                    <a:pt x="137" y="5"/>
                  </a:lnTo>
                  <a:lnTo>
                    <a:pt x="137" y="11"/>
                  </a:lnTo>
                  <a:lnTo>
                    <a:pt x="139" y="15"/>
                  </a:lnTo>
                  <a:lnTo>
                    <a:pt x="142" y="15"/>
                  </a:lnTo>
                  <a:lnTo>
                    <a:pt x="146" y="17"/>
                  </a:lnTo>
                  <a:lnTo>
                    <a:pt x="148" y="23"/>
                  </a:lnTo>
                  <a:lnTo>
                    <a:pt x="150" y="27"/>
                  </a:lnTo>
                  <a:lnTo>
                    <a:pt x="156" y="28"/>
                  </a:lnTo>
                  <a:lnTo>
                    <a:pt x="160" y="27"/>
                  </a:lnTo>
                  <a:lnTo>
                    <a:pt x="164" y="30"/>
                  </a:lnTo>
                  <a:lnTo>
                    <a:pt x="165" y="28"/>
                  </a:lnTo>
                  <a:lnTo>
                    <a:pt x="169" y="28"/>
                  </a:lnTo>
                  <a:lnTo>
                    <a:pt x="171" y="34"/>
                  </a:lnTo>
                  <a:lnTo>
                    <a:pt x="167" y="38"/>
                  </a:lnTo>
                  <a:lnTo>
                    <a:pt x="171" y="38"/>
                  </a:lnTo>
                  <a:lnTo>
                    <a:pt x="173" y="34"/>
                  </a:lnTo>
                  <a:lnTo>
                    <a:pt x="179" y="38"/>
                  </a:lnTo>
                  <a:lnTo>
                    <a:pt x="181" y="42"/>
                  </a:lnTo>
                  <a:lnTo>
                    <a:pt x="183" y="40"/>
                  </a:lnTo>
                  <a:lnTo>
                    <a:pt x="185" y="44"/>
                  </a:lnTo>
                  <a:lnTo>
                    <a:pt x="187" y="44"/>
                  </a:lnTo>
                  <a:lnTo>
                    <a:pt x="189" y="48"/>
                  </a:lnTo>
                  <a:lnTo>
                    <a:pt x="192" y="46"/>
                  </a:lnTo>
                  <a:lnTo>
                    <a:pt x="192" y="42"/>
                  </a:lnTo>
                  <a:lnTo>
                    <a:pt x="196" y="40"/>
                  </a:lnTo>
                  <a:lnTo>
                    <a:pt x="200" y="40"/>
                  </a:lnTo>
                  <a:lnTo>
                    <a:pt x="202" y="42"/>
                  </a:lnTo>
                  <a:lnTo>
                    <a:pt x="206" y="40"/>
                  </a:lnTo>
                  <a:lnTo>
                    <a:pt x="210" y="40"/>
                  </a:lnTo>
                  <a:lnTo>
                    <a:pt x="213" y="36"/>
                  </a:lnTo>
                  <a:lnTo>
                    <a:pt x="219" y="32"/>
                  </a:lnTo>
                  <a:lnTo>
                    <a:pt x="225" y="30"/>
                  </a:lnTo>
                  <a:lnTo>
                    <a:pt x="227" y="28"/>
                  </a:lnTo>
                  <a:lnTo>
                    <a:pt x="229" y="30"/>
                  </a:lnTo>
                  <a:lnTo>
                    <a:pt x="231" y="28"/>
                  </a:lnTo>
                  <a:lnTo>
                    <a:pt x="233" y="30"/>
                  </a:lnTo>
                  <a:lnTo>
                    <a:pt x="238" y="36"/>
                  </a:lnTo>
                  <a:lnTo>
                    <a:pt x="237" y="40"/>
                  </a:lnTo>
                  <a:lnTo>
                    <a:pt x="237" y="42"/>
                  </a:lnTo>
                  <a:lnTo>
                    <a:pt x="244" y="46"/>
                  </a:lnTo>
                  <a:lnTo>
                    <a:pt x="246" y="52"/>
                  </a:lnTo>
                  <a:lnTo>
                    <a:pt x="250" y="53"/>
                  </a:lnTo>
                  <a:lnTo>
                    <a:pt x="248" y="61"/>
                  </a:lnTo>
                  <a:lnTo>
                    <a:pt x="258" y="67"/>
                  </a:lnTo>
                  <a:lnTo>
                    <a:pt x="256" y="71"/>
                  </a:lnTo>
                  <a:lnTo>
                    <a:pt x="258" y="71"/>
                  </a:lnTo>
                  <a:lnTo>
                    <a:pt x="263" y="71"/>
                  </a:lnTo>
                  <a:lnTo>
                    <a:pt x="263" y="67"/>
                  </a:lnTo>
                  <a:lnTo>
                    <a:pt x="265" y="69"/>
                  </a:lnTo>
                  <a:lnTo>
                    <a:pt x="269" y="63"/>
                  </a:lnTo>
                  <a:lnTo>
                    <a:pt x="271" y="67"/>
                  </a:lnTo>
                  <a:lnTo>
                    <a:pt x="275" y="61"/>
                  </a:lnTo>
                  <a:lnTo>
                    <a:pt x="281" y="63"/>
                  </a:lnTo>
                  <a:lnTo>
                    <a:pt x="283" y="63"/>
                  </a:lnTo>
                  <a:lnTo>
                    <a:pt x="284" y="59"/>
                  </a:lnTo>
                  <a:lnTo>
                    <a:pt x="290" y="59"/>
                  </a:lnTo>
                  <a:lnTo>
                    <a:pt x="290" y="55"/>
                  </a:lnTo>
                  <a:lnTo>
                    <a:pt x="298" y="53"/>
                  </a:lnTo>
                  <a:lnTo>
                    <a:pt x="300" y="59"/>
                  </a:lnTo>
                  <a:lnTo>
                    <a:pt x="298" y="65"/>
                  </a:lnTo>
                  <a:lnTo>
                    <a:pt x="300" y="67"/>
                  </a:lnTo>
                  <a:lnTo>
                    <a:pt x="296" y="71"/>
                  </a:lnTo>
                  <a:lnTo>
                    <a:pt x="290" y="73"/>
                  </a:lnTo>
                  <a:lnTo>
                    <a:pt x="288" y="80"/>
                  </a:lnTo>
                  <a:lnTo>
                    <a:pt x="290" y="84"/>
                  </a:lnTo>
                  <a:lnTo>
                    <a:pt x="298" y="7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0" name="Freeform 32">
              <a:extLst>
                <a:ext uri="{FF2B5EF4-FFF2-40B4-BE49-F238E27FC236}">
                  <a16:creationId xmlns:a16="http://schemas.microsoft.com/office/drawing/2014/main" id="{41E3AAE6-CBF5-407E-9FAF-97B80CB072CD}"/>
                </a:ext>
              </a:extLst>
            </p:cNvPr>
            <p:cNvSpPr>
              <a:spLocks/>
            </p:cNvSpPr>
            <p:nvPr/>
          </p:nvSpPr>
          <p:spPr bwMode="gray">
            <a:xfrm>
              <a:off x="4973639" y="2287588"/>
              <a:ext cx="23813" cy="20638"/>
            </a:xfrm>
            <a:custGeom>
              <a:avLst/>
              <a:gdLst>
                <a:gd name="T0" fmla="*/ 13 w 15"/>
                <a:gd name="T1" fmla="*/ 4 h 13"/>
                <a:gd name="T2" fmla="*/ 15 w 15"/>
                <a:gd name="T3" fmla="*/ 7 h 13"/>
                <a:gd name="T4" fmla="*/ 13 w 15"/>
                <a:gd name="T5" fmla="*/ 11 h 13"/>
                <a:gd name="T6" fmla="*/ 9 w 15"/>
                <a:gd name="T7" fmla="*/ 13 h 13"/>
                <a:gd name="T8" fmla="*/ 4 w 15"/>
                <a:gd name="T9" fmla="*/ 11 h 13"/>
                <a:gd name="T10" fmla="*/ 0 w 15"/>
                <a:gd name="T11" fmla="*/ 5 h 13"/>
                <a:gd name="T12" fmla="*/ 0 w 15"/>
                <a:gd name="T13" fmla="*/ 4 h 13"/>
                <a:gd name="T14" fmla="*/ 6 w 15"/>
                <a:gd name="T15" fmla="*/ 0 h 13"/>
                <a:gd name="T16" fmla="*/ 9 w 15"/>
                <a:gd name="T17" fmla="*/ 2 h 13"/>
                <a:gd name="T18" fmla="*/ 7 w 15"/>
                <a:gd name="T19" fmla="*/ 2 h 13"/>
                <a:gd name="T20" fmla="*/ 11 w 15"/>
                <a:gd name="T21" fmla="*/ 2 h 13"/>
                <a:gd name="T22" fmla="*/ 9 w 15"/>
                <a:gd name="T23" fmla="*/ 4 h 13"/>
                <a:gd name="T24" fmla="*/ 11 w 15"/>
                <a:gd name="T25" fmla="*/ 4 h 13"/>
                <a:gd name="T26" fmla="*/ 13 w 15"/>
                <a:gd name="T2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3">
                  <a:moveTo>
                    <a:pt x="13" y="4"/>
                  </a:moveTo>
                  <a:lnTo>
                    <a:pt x="15" y="7"/>
                  </a:lnTo>
                  <a:lnTo>
                    <a:pt x="13" y="11"/>
                  </a:lnTo>
                  <a:lnTo>
                    <a:pt x="9" y="13"/>
                  </a:lnTo>
                  <a:lnTo>
                    <a:pt x="4" y="11"/>
                  </a:lnTo>
                  <a:lnTo>
                    <a:pt x="0" y="5"/>
                  </a:lnTo>
                  <a:lnTo>
                    <a:pt x="0" y="4"/>
                  </a:lnTo>
                  <a:lnTo>
                    <a:pt x="6" y="0"/>
                  </a:lnTo>
                  <a:lnTo>
                    <a:pt x="9" y="2"/>
                  </a:lnTo>
                  <a:lnTo>
                    <a:pt x="7" y="2"/>
                  </a:lnTo>
                  <a:lnTo>
                    <a:pt x="11" y="2"/>
                  </a:lnTo>
                  <a:lnTo>
                    <a:pt x="9" y="4"/>
                  </a:lnTo>
                  <a:lnTo>
                    <a:pt x="11" y="4"/>
                  </a:lnTo>
                  <a:lnTo>
                    <a:pt x="13" y="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1" name="Freeform 33">
              <a:extLst>
                <a:ext uri="{FF2B5EF4-FFF2-40B4-BE49-F238E27FC236}">
                  <a16:creationId xmlns:a16="http://schemas.microsoft.com/office/drawing/2014/main" id="{1FB13518-C645-41D1-905F-4A10EA04959F}"/>
                </a:ext>
              </a:extLst>
            </p:cNvPr>
            <p:cNvSpPr>
              <a:spLocks/>
            </p:cNvSpPr>
            <p:nvPr/>
          </p:nvSpPr>
          <p:spPr bwMode="gray">
            <a:xfrm>
              <a:off x="4979989" y="2616200"/>
              <a:ext cx="80963" cy="82550"/>
            </a:xfrm>
            <a:custGeom>
              <a:avLst/>
              <a:gdLst>
                <a:gd name="T0" fmla="*/ 38 w 51"/>
                <a:gd name="T1" fmla="*/ 2 h 52"/>
                <a:gd name="T2" fmla="*/ 42 w 51"/>
                <a:gd name="T3" fmla="*/ 6 h 52"/>
                <a:gd name="T4" fmla="*/ 40 w 51"/>
                <a:gd name="T5" fmla="*/ 8 h 52"/>
                <a:gd name="T6" fmla="*/ 38 w 51"/>
                <a:gd name="T7" fmla="*/ 8 h 52"/>
                <a:gd name="T8" fmla="*/ 38 w 51"/>
                <a:gd name="T9" fmla="*/ 12 h 52"/>
                <a:gd name="T10" fmla="*/ 42 w 51"/>
                <a:gd name="T11" fmla="*/ 12 h 52"/>
                <a:gd name="T12" fmla="*/ 40 w 51"/>
                <a:gd name="T13" fmla="*/ 12 h 52"/>
                <a:gd name="T14" fmla="*/ 42 w 51"/>
                <a:gd name="T15" fmla="*/ 12 h 52"/>
                <a:gd name="T16" fmla="*/ 42 w 51"/>
                <a:gd name="T17" fmla="*/ 14 h 52"/>
                <a:gd name="T18" fmla="*/ 44 w 51"/>
                <a:gd name="T19" fmla="*/ 14 h 52"/>
                <a:gd name="T20" fmla="*/ 48 w 51"/>
                <a:gd name="T21" fmla="*/ 19 h 52"/>
                <a:gd name="T22" fmla="*/ 51 w 51"/>
                <a:gd name="T23" fmla="*/ 17 h 52"/>
                <a:gd name="T24" fmla="*/ 49 w 51"/>
                <a:gd name="T25" fmla="*/ 27 h 52"/>
                <a:gd name="T26" fmla="*/ 51 w 51"/>
                <a:gd name="T27" fmla="*/ 29 h 52"/>
                <a:gd name="T28" fmla="*/ 48 w 51"/>
                <a:gd name="T29" fmla="*/ 35 h 52"/>
                <a:gd name="T30" fmla="*/ 51 w 51"/>
                <a:gd name="T31" fmla="*/ 40 h 52"/>
                <a:gd name="T32" fmla="*/ 49 w 51"/>
                <a:gd name="T33" fmla="*/ 42 h 52"/>
                <a:gd name="T34" fmla="*/ 46 w 51"/>
                <a:gd name="T35" fmla="*/ 42 h 52"/>
                <a:gd name="T36" fmla="*/ 40 w 51"/>
                <a:gd name="T37" fmla="*/ 44 h 52"/>
                <a:gd name="T38" fmla="*/ 42 w 51"/>
                <a:gd name="T39" fmla="*/ 48 h 52"/>
                <a:gd name="T40" fmla="*/ 40 w 51"/>
                <a:gd name="T41" fmla="*/ 52 h 52"/>
                <a:gd name="T42" fmla="*/ 34 w 51"/>
                <a:gd name="T43" fmla="*/ 52 h 52"/>
                <a:gd name="T44" fmla="*/ 32 w 51"/>
                <a:gd name="T45" fmla="*/ 50 h 52"/>
                <a:gd name="T46" fmla="*/ 28 w 51"/>
                <a:gd name="T47" fmla="*/ 48 h 52"/>
                <a:gd name="T48" fmla="*/ 26 w 51"/>
                <a:gd name="T49" fmla="*/ 44 h 52"/>
                <a:gd name="T50" fmla="*/ 28 w 51"/>
                <a:gd name="T51" fmla="*/ 42 h 52"/>
                <a:gd name="T52" fmla="*/ 26 w 51"/>
                <a:gd name="T53" fmla="*/ 40 h 52"/>
                <a:gd name="T54" fmla="*/ 21 w 51"/>
                <a:gd name="T55" fmla="*/ 40 h 52"/>
                <a:gd name="T56" fmla="*/ 17 w 51"/>
                <a:gd name="T57" fmla="*/ 37 h 52"/>
                <a:gd name="T58" fmla="*/ 17 w 51"/>
                <a:gd name="T59" fmla="*/ 40 h 52"/>
                <a:gd name="T60" fmla="*/ 13 w 51"/>
                <a:gd name="T61" fmla="*/ 39 h 52"/>
                <a:gd name="T62" fmla="*/ 9 w 51"/>
                <a:gd name="T63" fmla="*/ 40 h 52"/>
                <a:gd name="T64" fmla="*/ 5 w 51"/>
                <a:gd name="T65" fmla="*/ 40 h 52"/>
                <a:gd name="T66" fmla="*/ 3 w 51"/>
                <a:gd name="T67" fmla="*/ 42 h 52"/>
                <a:gd name="T68" fmla="*/ 3 w 51"/>
                <a:gd name="T69" fmla="*/ 39 h 52"/>
                <a:gd name="T70" fmla="*/ 0 w 51"/>
                <a:gd name="T71" fmla="*/ 35 h 52"/>
                <a:gd name="T72" fmla="*/ 0 w 51"/>
                <a:gd name="T73" fmla="*/ 33 h 52"/>
                <a:gd name="T74" fmla="*/ 2 w 51"/>
                <a:gd name="T75" fmla="*/ 33 h 52"/>
                <a:gd name="T76" fmla="*/ 5 w 51"/>
                <a:gd name="T77" fmla="*/ 27 h 52"/>
                <a:gd name="T78" fmla="*/ 9 w 51"/>
                <a:gd name="T79" fmla="*/ 29 h 52"/>
                <a:gd name="T80" fmla="*/ 11 w 51"/>
                <a:gd name="T81" fmla="*/ 27 h 52"/>
                <a:gd name="T82" fmla="*/ 9 w 51"/>
                <a:gd name="T83" fmla="*/ 25 h 52"/>
                <a:gd name="T84" fmla="*/ 11 w 51"/>
                <a:gd name="T85" fmla="*/ 23 h 52"/>
                <a:gd name="T86" fmla="*/ 13 w 51"/>
                <a:gd name="T87" fmla="*/ 19 h 52"/>
                <a:gd name="T88" fmla="*/ 11 w 51"/>
                <a:gd name="T89" fmla="*/ 17 h 52"/>
                <a:gd name="T90" fmla="*/ 13 w 51"/>
                <a:gd name="T91" fmla="*/ 15 h 52"/>
                <a:gd name="T92" fmla="*/ 11 w 51"/>
                <a:gd name="T93" fmla="*/ 14 h 52"/>
                <a:gd name="T94" fmla="*/ 11 w 51"/>
                <a:gd name="T95" fmla="*/ 8 h 52"/>
                <a:gd name="T96" fmla="*/ 17 w 51"/>
                <a:gd name="T97" fmla="*/ 6 h 52"/>
                <a:gd name="T98" fmla="*/ 21 w 51"/>
                <a:gd name="T99" fmla="*/ 6 h 52"/>
                <a:gd name="T100" fmla="*/ 23 w 51"/>
                <a:gd name="T101" fmla="*/ 2 h 52"/>
                <a:gd name="T102" fmla="*/ 26 w 51"/>
                <a:gd name="T103" fmla="*/ 0 h 52"/>
                <a:gd name="T104" fmla="*/ 32 w 51"/>
                <a:gd name="T105" fmla="*/ 2 h 52"/>
                <a:gd name="T106" fmla="*/ 32 w 51"/>
                <a:gd name="T107" fmla="*/ 6 h 52"/>
                <a:gd name="T108" fmla="*/ 38 w 51"/>
                <a:gd name="T109"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 h="52">
                  <a:moveTo>
                    <a:pt x="38" y="2"/>
                  </a:moveTo>
                  <a:lnTo>
                    <a:pt x="42" y="6"/>
                  </a:lnTo>
                  <a:lnTo>
                    <a:pt x="40" y="8"/>
                  </a:lnTo>
                  <a:lnTo>
                    <a:pt x="38" y="8"/>
                  </a:lnTo>
                  <a:lnTo>
                    <a:pt x="38" y="12"/>
                  </a:lnTo>
                  <a:lnTo>
                    <a:pt x="42" y="12"/>
                  </a:lnTo>
                  <a:lnTo>
                    <a:pt x="40" y="12"/>
                  </a:lnTo>
                  <a:lnTo>
                    <a:pt x="42" y="12"/>
                  </a:lnTo>
                  <a:lnTo>
                    <a:pt x="42" y="14"/>
                  </a:lnTo>
                  <a:lnTo>
                    <a:pt x="44" y="14"/>
                  </a:lnTo>
                  <a:lnTo>
                    <a:pt x="48" y="19"/>
                  </a:lnTo>
                  <a:lnTo>
                    <a:pt x="51" y="17"/>
                  </a:lnTo>
                  <a:lnTo>
                    <a:pt x="49" y="27"/>
                  </a:lnTo>
                  <a:lnTo>
                    <a:pt x="51" y="29"/>
                  </a:lnTo>
                  <a:lnTo>
                    <a:pt x="48" y="35"/>
                  </a:lnTo>
                  <a:lnTo>
                    <a:pt x="51" y="40"/>
                  </a:lnTo>
                  <a:lnTo>
                    <a:pt x="49" y="42"/>
                  </a:lnTo>
                  <a:lnTo>
                    <a:pt x="46" y="42"/>
                  </a:lnTo>
                  <a:lnTo>
                    <a:pt x="40" y="44"/>
                  </a:lnTo>
                  <a:lnTo>
                    <a:pt x="42" y="48"/>
                  </a:lnTo>
                  <a:lnTo>
                    <a:pt x="40" y="52"/>
                  </a:lnTo>
                  <a:lnTo>
                    <a:pt x="34" y="52"/>
                  </a:lnTo>
                  <a:lnTo>
                    <a:pt x="32" y="50"/>
                  </a:lnTo>
                  <a:lnTo>
                    <a:pt x="28" y="48"/>
                  </a:lnTo>
                  <a:lnTo>
                    <a:pt x="26" y="44"/>
                  </a:lnTo>
                  <a:lnTo>
                    <a:pt x="28" y="42"/>
                  </a:lnTo>
                  <a:lnTo>
                    <a:pt x="26" y="40"/>
                  </a:lnTo>
                  <a:lnTo>
                    <a:pt x="21" y="40"/>
                  </a:lnTo>
                  <a:lnTo>
                    <a:pt x="17" y="37"/>
                  </a:lnTo>
                  <a:lnTo>
                    <a:pt x="17" y="40"/>
                  </a:lnTo>
                  <a:lnTo>
                    <a:pt x="13" y="39"/>
                  </a:lnTo>
                  <a:lnTo>
                    <a:pt x="9" y="40"/>
                  </a:lnTo>
                  <a:lnTo>
                    <a:pt x="5" y="40"/>
                  </a:lnTo>
                  <a:lnTo>
                    <a:pt x="3" y="42"/>
                  </a:lnTo>
                  <a:lnTo>
                    <a:pt x="3" y="39"/>
                  </a:lnTo>
                  <a:lnTo>
                    <a:pt x="0" y="35"/>
                  </a:lnTo>
                  <a:lnTo>
                    <a:pt x="0" y="33"/>
                  </a:lnTo>
                  <a:lnTo>
                    <a:pt x="2" y="33"/>
                  </a:lnTo>
                  <a:lnTo>
                    <a:pt x="5" y="27"/>
                  </a:lnTo>
                  <a:lnTo>
                    <a:pt x="9" y="29"/>
                  </a:lnTo>
                  <a:lnTo>
                    <a:pt x="11" y="27"/>
                  </a:lnTo>
                  <a:lnTo>
                    <a:pt x="9" y="25"/>
                  </a:lnTo>
                  <a:lnTo>
                    <a:pt x="11" y="23"/>
                  </a:lnTo>
                  <a:lnTo>
                    <a:pt x="13" y="19"/>
                  </a:lnTo>
                  <a:lnTo>
                    <a:pt x="11" y="17"/>
                  </a:lnTo>
                  <a:lnTo>
                    <a:pt x="13" y="15"/>
                  </a:lnTo>
                  <a:lnTo>
                    <a:pt x="11" y="14"/>
                  </a:lnTo>
                  <a:lnTo>
                    <a:pt x="11" y="8"/>
                  </a:lnTo>
                  <a:lnTo>
                    <a:pt x="17" y="6"/>
                  </a:lnTo>
                  <a:lnTo>
                    <a:pt x="21" y="6"/>
                  </a:lnTo>
                  <a:lnTo>
                    <a:pt x="23" y="2"/>
                  </a:lnTo>
                  <a:lnTo>
                    <a:pt x="26" y="0"/>
                  </a:lnTo>
                  <a:lnTo>
                    <a:pt x="32" y="2"/>
                  </a:lnTo>
                  <a:lnTo>
                    <a:pt x="32" y="6"/>
                  </a:lnTo>
                  <a:lnTo>
                    <a:pt x="38" y="2"/>
                  </a:lnTo>
                  <a:close/>
                </a:path>
              </a:pathLst>
            </a:custGeom>
            <a:solidFill>
              <a:schemeClr val="accent3"/>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2" name="Freeform 34">
              <a:extLst>
                <a:ext uri="{FF2B5EF4-FFF2-40B4-BE49-F238E27FC236}">
                  <a16:creationId xmlns:a16="http://schemas.microsoft.com/office/drawing/2014/main" id="{09E9A954-4F66-40F2-AD2D-1067F79F0DC3}"/>
                </a:ext>
              </a:extLst>
            </p:cNvPr>
            <p:cNvSpPr>
              <a:spLocks/>
            </p:cNvSpPr>
            <p:nvPr/>
          </p:nvSpPr>
          <p:spPr bwMode="gray">
            <a:xfrm>
              <a:off x="4592639" y="2262188"/>
              <a:ext cx="527050" cy="568325"/>
            </a:xfrm>
            <a:custGeom>
              <a:avLst/>
              <a:gdLst>
                <a:gd name="T0" fmla="*/ 313 w 332"/>
                <a:gd name="T1" fmla="*/ 85 h 358"/>
                <a:gd name="T2" fmla="*/ 290 w 332"/>
                <a:gd name="T3" fmla="*/ 106 h 358"/>
                <a:gd name="T4" fmla="*/ 280 w 332"/>
                <a:gd name="T5" fmla="*/ 137 h 358"/>
                <a:gd name="T6" fmla="*/ 278 w 332"/>
                <a:gd name="T7" fmla="*/ 160 h 358"/>
                <a:gd name="T8" fmla="*/ 278 w 332"/>
                <a:gd name="T9" fmla="*/ 187 h 358"/>
                <a:gd name="T10" fmla="*/ 284 w 332"/>
                <a:gd name="T11" fmla="*/ 215 h 358"/>
                <a:gd name="T12" fmla="*/ 267 w 332"/>
                <a:gd name="T13" fmla="*/ 225 h 358"/>
                <a:gd name="T14" fmla="*/ 255 w 332"/>
                <a:gd name="T15" fmla="*/ 246 h 358"/>
                <a:gd name="T16" fmla="*/ 247 w 332"/>
                <a:gd name="T17" fmla="*/ 262 h 358"/>
                <a:gd name="T18" fmla="*/ 270 w 332"/>
                <a:gd name="T19" fmla="*/ 263 h 358"/>
                <a:gd name="T20" fmla="*/ 284 w 332"/>
                <a:gd name="T21" fmla="*/ 267 h 358"/>
                <a:gd name="T22" fmla="*/ 309 w 332"/>
                <a:gd name="T23" fmla="*/ 275 h 358"/>
                <a:gd name="T24" fmla="*/ 309 w 332"/>
                <a:gd name="T25" fmla="*/ 290 h 358"/>
                <a:gd name="T26" fmla="*/ 311 w 332"/>
                <a:gd name="T27" fmla="*/ 302 h 358"/>
                <a:gd name="T28" fmla="*/ 315 w 332"/>
                <a:gd name="T29" fmla="*/ 317 h 358"/>
                <a:gd name="T30" fmla="*/ 307 w 332"/>
                <a:gd name="T31" fmla="*/ 327 h 358"/>
                <a:gd name="T32" fmla="*/ 292 w 332"/>
                <a:gd name="T33" fmla="*/ 336 h 358"/>
                <a:gd name="T34" fmla="*/ 274 w 332"/>
                <a:gd name="T35" fmla="*/ 338 h 358"/>
                <a:gd name="T36" fmla="*/ 265 w 332"/>
                <a:gd name="T37" fmla="*/ 348 h 358"/>
                <a:gd name="T38" fmla="*/ 246 w 332"/>
                <a:gd name="T39" fmla="*/ 354 h 358"/>
                <a:gd name="T40" fmla="*/ 249 w 332"/>
                <a:gd name="T41" fmla="*/ 327 h 358"/>
                <a:gd name="T42" fmla="*/ 236 w 332"/>
                <a:gd name="T43" fmla="*/ 298 h 358"/>
                <a:gd name="T44" fmla="*/ 213 w 332"/>
                <a:gd name="T45" fmla="*/ 319 h 358"/>
                <a:gd name="T46" fmla="*/ 205 w 332"/>
                <a:gd name="T47" fmla="*/ 308 h 358"/>
                <a:gd name="T48" fmla="*/ 182 w 332"/>
                <a:gd name="T49" fmla="*/ 300 h 358"/>
                <a:gd name="T50" fmla="*/ 182 w 332"/>
                <a:gd name="T51" fmla="*/ 313 h 358"/>
                <a:gd name="T52" fmla="*/ 171 w 332"/>
                <a:gd name="T53" fmla="*/ 323 h 358"/>
                <a:gd name="T54" fmla="*/ 163 w 332"/>
                <a:gd name="T55" fmla="*/ 335 h 358"/>
                <a:gd name="T56" fmla="*/ 151 w 332"/>
                <a:gd name="T57" fmla="*/ 321 h 358"/>
                <a:gd name="T58" fmla="*/ 155 w 332"/>
                <a:gd name="T59" fmla="*/ 311 h 358"/>
                <a:gd name="T60" fmla="*/ 159 w 332"/>
                <a:gd name="T61" fmla="*/ 302 h 358"/>
                <a:gd name="T62" fmla="*/ 150 w 332"/>
                <a:gd name="T63" fmla="*/ 285 h 358"/>
                <a:gd name="T64" fmla="*/ 132 w 332"/>
                <a:gd name="T65" fmla="*/ 271 h 358"/>
                <a:gd name="T66" fmla="*/ 109 w 332"/>
                <a:gd name="T67" fmla="*/ 252 h 358"/>
                <a:gd name="T68" fmla="*/ 105 w 332"/>
                <a:gd name="T69" fmla="*/ 214 h 358"/>
                <a:gd name="T70" fmla="*/ 92 w 332"/>
                <a:gd name="T71" fmla="*/ 192 h 358"/>
                <a:gd name="T72" fmla="*/ 82 w 332"/>
                <a:gd name="T73" fmla="*/ 181 h 358"/>
                <a:gd name="T74" fmla="*/ 57 w 332"/>
                <a:gd name="T75" fmla="*/ 179 h 358"/>
                <a:gd name="T76" fmla="*/ 31 w 332"/>
                <a:gd name="T77" fmla="*/ 171 h 358"/>
                <a:gd name="T78" fmla="*/ 4 w 332"/>
                <a:gd name="T79" fmla="*/ 164 h 358"/>
                <a:gd name="T80" fmla="*/ 13 w 332"/>
                <a:gd name="T81" fmla="*/ 131 h 358"/>
                <a:gd name="T82" fmla="*/ 6 w 332"/>
                <a:gd name="T83" fmla="*/ 119 h 358"/>
                <a:gd name="T84" fmla="*/ 32 w 332"/>
                <a:gd name="T85" fmla="*/ 104 h 358"/>
                <a:gd name="T86" fmla="*/ 59 w 332"/>
                <a:gd name="T87" fmla="*/ 114 h 358"/>
                <a:gd name="T88" fmla="*/ 71 w 332"/>
                <a:gd name="T89" fmla="*/ 125 h 358"/>
                <a:gd name="T90" fmla="*/ 75 w 332"/>
                <a:gd name="T91" fmla="*/ 133 h 358"/>
                <a:gd name="T92" fmla="*/ 88 w 332"/>
                <a:gd name="T93" fmla="*/ 146 h 358"/>
                <a:gd name="T94" fmla="*/ 96 w 332"/>
                <a:gd name="T95" fmla="*/ 133 h 358"/>
                <a:gd name="T96" fmla="*/ 115 w 332"/>
                <a:gd name="T97" fmla="*/ 131 h 358"/>
                <a:gd name="T98" fmla="*/ 140 w 332"/>
                <a:gd name="T99" fmla="*/ 123 h 358"/>
                <a:gd name="T100" fmla="*/ 169 w 332"/>
                <a:gd name="T101" fmla="*/ 123 h 358"/>
                <a:gd name="T102" fmla="*/ 180 w 332"/>
                <a:gd name="T103" fmla="*/ 108 h 358"/>
                <a:gd name="T104" fmla="*/ 184 w 332"/>
                <a:gd name="T105" fmla="*/ 85 h 358"/>
                <a:gd name="T106" fmla="*/ 205 w 332"/>
                <a:gd name="T107" fmla="*/ 85 h 358"/>
                <a:gd name="T108" fmla="*/ 224 w 332"/>
                <a:gd name="T109" fmla="*/ 89 h 358"/>
                <a:gd name="T110" fmla="*/ 221 w 332"/>
                <a:gd name="T111" fmla="*/ 77 h 358"/>
                <a:gd name="T112" fmla="*/ 240 w 332"/>
                <a:gd name="T113" fmla="*/ 62 h 358"/>
                <a:gd name="T114" fmla="*/ 259 w 332"/>
                <a:gd name="T115" fmla="*/ 62 h 358"/>
                <a:gd name="T116" fmla="*/ 257 w 332"/>
                <a:gd name="T117" fmla="*/ 29 h 358"/>
                <a:gd name="T118" fmla="*/ 247 w 332"/>
                <a:gd name="T119" fmla="*/ 4 h 358"/>
                <a:gd name="T120" fmla="*/ 272 w 332"/>
                <a:gd name="T121" fmla="*/ 14 h 358"/>
                <a:gd name="T122" fmla="*/ 284 w 332"/>
                <a:gd name="T123" fmla="*/ 43 h 358"/>
                <a:gd name="T124" fmla="*/ 313 w 332"/>
                <a:gd name="T125" fmla="*/ 56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2" h="358">
                  <a:moveTo>
                    <a:pt x="330" y="60"/>
                  </a:moveTo>
                  <a:lnTo>
                    <a:pt x="332" y="62"/>
                  </a:lnTo>
                  <a:lnTo>
                    <a:pt x="330" y="69"/>
                  </a:lnTo>
                  <a:lnTo>
                    <a:pt x="328" y="69"/>
                  </a:lnTo>
                  <a:lnTo>
                    <a:pt x="322" y="77"/>
                  </a:lnTo>
                  <a:lnTo>
                    <a:pt x="320" y="81"/>
                  </a:lnTo>
                  <a:lnTo>
                    <a:pt x="317" y="85"/>
                  </a:lnTo>
                  <a:lnTo>
                    <a:pt x="313" y="85"/>
                  </a:lnTo>
                  <a:lnTo>
                    <a:pt x="311" y="89"/>
                  </a:lnTo>
                  <a:lnTo>
                    <a:pt x="313" y="91"/>
                  </a:lnTo>
                  <a:lnTo>
                    <a:pt x="305" y="94"/>
                  </a:lnTo>
                  <a:lnTo>
                    <a:pt x="299" y="96"/>
                  </a:lnTo>
                  <a:lnTo>
                    <a:pt x="297" y="96"/>
                  </a:lnTo>
                  <a:lnTo>
                    <a:pt x="295" y="100"/>
                  </a:lnTo>
                  <a:lnTo>
                    <a:pt x="292" y="102"/>
                  </a:lnTo>
                  <a:lnTo>
                    <a:pt x="290" y="106"/>
                  </a:lnTo>
                  <a:lnTo>
                    <a:pt x="290" y="112"/>
                  </a:lnTo>
                  <a:lnTo>
                    <a:pt x="284" y="114"/>
                  </a:lnTo>
                  <a:lnTo>
                    <a:pt x="288" y="117"/>
                  </a:lnTo>
                  <a:lnTo>
                    <a:pt x="284" y="119"/>
                  </a:lnTo>
                  <a:lnTo>
                    <a:pt x="282" y="125"/>
                  </a:lnTo>
                  <a:lnTo>
                    <a:pt x="280" y="127"/>
                  </a:lnTo>
                  <a:lnTo>
                    <a:pt x="278" y="131"/>
                  </a:lnTo>
                  <a:lnTo>
                    <a:pt x="280" y="137"/>
                  </a:lnTo>
                  <a:lnTo>
                    <a:pt x="278" y="139"/>
                  </a:lnTo>
                  <a:lnTo>
                    <a:pt x="278" y="141"/>
                  </a:lnTo>
                  <a:lnTo>
                    <a:pt x="276" y="148"/>
                  </a:lnTo>
                  <a:lnTo>
                    <a:pt x="276" y="152"/>
                  </a:lnTo>
                  <a:lnTo>
                    <a:pt x="274" y="156"/>
                  </a:lnTo>
                  <a:lnTo>
                    <a:pt x="276" y="158"/>
                  </a:lnTo>
                  <a:lnTo>
                    <a:pt x="278" y="156"/>
                  </a:lnTo>
                  <a:lnTo>
                    <a:pt x="278" y="160"/>
                  </a:lnTo>
                  <a:lnTo>
                    <a:pt x="280" y="164"/>
                  </a:lnTo>
                  <a:lnTo>
                    <a:pt x="278" y="165"/>
                  </a:lnTo>
                  <a:lnTo>
                    <a:pt x="280" y="169"/>
                  </a:lnTo>
                  <a:lnTo>
                    <a:pt x="276" y="173"/>
                  </a:lnTo>
                  <a:lnTo>
                    <a:pt x="280" y="177"/>
                  </a:lnTo>
                  <a:lnTo>
                    <a:pt x="278" y="181"/>
                  </a:lnTo>
                  <a:lnTo>
                    <a:pt x="280" y="185"/>
                  </a:lnTo>
                  <a:lnTo>
                    <a:pt x="278" y="187"/>
                  </a:lnTo>
                  <a:lnTo>
                    <a:pt x="278" y="190"/>
                  </a:lnTo>
                  <a:lnTo>
                    <a:pt x="276" y="194"/>
                  </a:lnTo>
                  <a:lnTo>
                    <a:pt x="278" y="196"/>
                  </a:lnTo>
                  <a:lnTo>
                    <a:pt x="276" y="200"/>
                  </a:lnTo>
                  <a:lnTo>
                    <a:pt x="280" y="202"/>
                  </a:lnTo>
                  <a:lnTo>
                    <a:pt x="278" y="208"/>
                  </a:lnTo>
                  <a:lnTo>
                    <a:pt x="282" y="210"/>
                  </a:lnTo>
                  <a:lnTo>
                    <a:pt x="284" y="215"/>
                  </a:lnTo>
                  <a:lnTo>
                    <a:pt x="286" y="221"/>
                  </a:lnTo>
                  <a:lnTo>
                    <a:pt x="286" y="223"/>
                  </a:lnTo>
                  <a:lnTo>
                    <a:pt x="282" y="223"/>
                  </a:lnTo>
                  <a:lnTo>
                    <a:pt x="282" y="225"/>
                  </a:lnTo>
                  <a:lnTo>
                    <a:pt x="276" y="229"/>
                  </a:lnTo>
                  <a:lnTo>
                    <a:pt x="276" y="225"/>
                  </a:lnTo>
                  <a:lnTo>
                    <a:pt x="270" y="223"/>
                  </a:lnTo>
                  <a:lnTo>
                    <a:pt x="267" y="225"/>
                  </a:lnTo>
                  <a:lnTo>
                    <a:pt x="265" y="229"/>
                  </a:lnTo>
                  <a:lnTo>
                    <a:pt x="261" y="229"/>
                  </a:lnTo>
                  <a:lnTo>
                    <a:pt x="255" y="231"/>
                  </a:lnTo>
                  <a:lnTo>
                    <a:pt x="255" y="237"/>
                  </a:lnTo>
                  <a:lnTo>
                    <a:pt x="257" y="238"/>
                  </a:lnTo>
                  <a:lnTo>
                    <a:pt x="255" y="240"/>
                  </a:lnTo>
                  <a:lnTo>
                    <a:pt x="257" y="242"/>
                  </a:lnTo>
                  <a:lnTo>
                    <a:pt x="255" y="246"/>
                  </a:lnTo>
                  <a:lnTo>
                    <a:pt x="253" y="248"/>
                  </a:lnTo>
                  <a:lnTo>
                    <a:pt x="255" y="250"/>
                  </a:lnTo>
                  <a:lnTo>
                    <a:pt x="253" y="252"/>
                  </a:lnTo>
                  <a:lnTo>
                    <a:pt x="249" y="250"/>
                  </a:lnTo>
                  <a:lnTo>
                    <a:pt x="246" y="256"/>
                  </a:lnTo>
                  <a:lnTo>
                    <a:pt x="244" y="256"/>
                  </a:lnTo>
                  <a:lnTo>
                    <a:pt x="244" y="258"/>
                  </a:lnTo>
                  <a:lnTo>
                    <a:pt x="247" y="262"/>
                  </a:lnTo>
                  <a:lnTo>
                    <a:pt x="247" y="265"/>
                  </a:lnTo>
                  <a:lnTo>
                    <a:pt x="249" y="263"/>
                  </a:lnTo>
                  <a:lnTo>
                    <a:pt x="253" y="263"/>
                  </a:lnTo>
                  <a:lnTo>
                    <a:pt x="257" y="262"/>
                  </a:lnTo>
                  <a:lnTo>
                    <a:pt x="261" y="263"/>
                  </a:lnTo>
                  <a:lnTo>
                    <a:pt x="261" y="260"/>
                  </a:lnTo>
                  <a:lnTo>
                    <a:pt x="265" y="263"/>
                  </a:lnTo>
                  <a:lnTo>
                    <a:pt x="270" y="263"/>
                  </a:lnTo>
                  <a:lnTo>
                    <a:pt x="272" y="265"/>
                  </a:lnTo>
                  <a:lnTo>
                    <a:pt x="270" y="267"/>
                  </a:lnTo>
                  <a:lnTo>
                    <a:pt x="272" y="271"/>
                  </a:lnTo>
                  <a:lnTo>
                    <a:pt x="276" y="273"/>
                  </a:lnTo>
                  <a:lnTo>
                    <a:pt x="278" y="275"/>
                  </a:lnTo>
                  <a:lnTo>
                    <a:pt x="284" y="275"/>
                  </a:lnTo>
                  <a:lnTo>
                    <a:pt x="286" y="271"/>
                  </a:lnTo>
                  <a:lnTo>
                    <a:pt x="284" y="267"/>
                  </a:lnTo>
                  <a:lnTo>
                    <a:pt x="290" y="265"/>
                  </a:lnTo>
                  <a:lnTo>
                    <a:pt x="293" y="265"/>
                  </a:lnTo>
                  <a:lnTo>
                    <a:pt x="295" y="263"/>
                  </a:lnTo>
                  <a:lnTo>
                    <a:pt x="299" y="267"/>
                  </a:lnTo>
                  <a:lnTo>
                    <a:pt x="303" y="267"/>
                  </a:lnTo>
                  <a:lnTo>
                    <a:pt x="305" y="273"/>
                  </a:lnTo>
                  <a:lnTo>
                    <a:pt x="309" y="271"/>
                  </a:lnTo>
                  <a:lnTo>
                    <a:pt x="309" y="275"/>
                  </a:lnTo>
                  <a:lnTo>
                    <a:pt x="311" y="275"/>
                  </a:lnTo>
                  <a:lnTo>
                    <a:pt x="313" y="275"/>
                  </a:lnTo>
                  <a:lnTo>
                    <a:pt x="311" y="277"/>
                  </a:lnTo>
                  <a:lnTo>
                    <a:pt x="311" y="279"/>
                  </a:lnTo>
                  <a:lnTo>
                    <a:pt x="309" y="281"/>
                  </a:lnTo>
                  <a:lnTo>
                    <a:pt x="309" y="287"/>
                  </a:lnTo>
                  <a:lnTo>
                    <a:pt x="311" y="288"/>
                  </a:lnTo>
                  <a:lnTo>
                    <a:pt x="309" y="290"/>
                  </a:lnTo>
                  <a:lnTo>
                    <a:pt x="317" y="292"/>
                  </a:lnTo>
                  <a:lnTo>
                    <a:pt x="315" y="294"/>
                  </a:lnTo>
                  <a:lnTo>
                    <a:pt x="315" y="298"/>
                  </a:lnTo>
                  <a:lnTo>
                    <a:pt x="311" y="296"/>
                  </a:lnTo>
                  <a:lnTo>
                    <a:pt x="311" y="300"/>
                  </a:lnTo>
                  <a:lnTo>
                    <a:pt x="313" y="298"/>
                  </a:lnTo>
                  <a:lnTo>
                    <a:pt x="317" y="300"/>
                  </a:lnTo>
                  <a:lnTo>
                    <a:pt x="311" y="302"/>
                  </a:lnTo>
                  <a:lnTo>
                    <a:pt x="311" y="304"/>
                  </a:lnTo>
                  <a:lnTo>
                    <a:pt x="313" y="306"/>
                  </a:lnTo>
                  <a:lnTo>
                    <a:pt x="311" y="310"/>
                  </a:lnTo>
                  <a:lnTo>
                    <a:pt x="309" y="308"/>
                  </a:lnTo>
                  <a:lnTo>
                    <a:pt x="309" y="311"/>
                  </a:lnTo>
                  <a:lnTo>
                    <a:pt x="311" y="311"/>
                  </a:lnTo>
                  <a:lnTo>
                    <a:pt x="309" y="315"/>
                  </a:lnTo>
                  <a:lnTo>
                    <a:pt x="315" y="317"/>
                  </a:lnTo>
                  <a:lnTo>
                    <a:pt x="313" y="319"/>
                  </a:lnTo>
                  <a:lnTo>
                    <a:pt x="315" y="319"/>
                  </a:lnTo>
                  <a:lnTo>
                    <a:pt x="313" y="321"/>
                  </a:lnTo>
                  <a:lnTo>
                    <a:pt x="313" y="325"/>
                  </a:lnTo>
                  <a:lnTo>
                    <a:pt x="315" y="325"/>
                  </a:lnTo>
                  <a:lnTo>
                    <a:pt x="311" y="327"/>
                  </a:lnTo>
                  <a:lnTo>
                    <a:pt x="309" y="325"/>
                  </a:lnTo>
                  <a:lnTo>
                    <a:pt x="307" y="327"/>
                  </a:lnTo>
                  <a:lnTo>
                    <a:pt x="309" y="329"/>
                  </a:lnTo>
                  <a:lnTo>
                    <a:pt x="307" y="333"/>
                  </a:lnTo>
                  <a:lnTo>
                    <a:pt x="305" y="333"/>
                  </a:lnTo>
                  <a:lnTo>
                    <a:pt x="301" y="331"/>
                  </a:lnTo>
                  <a:lnTo>
                    <a:pt x="299" y="333"/>
                  </a:lnTo>
                  <a:lnTo>
                    <a:pt x="301" y="335"/>
                  </a:lnTo>
                  <a:lnTo>
                    <a:pt x="293" y="335"/>
                  </a:lnTo>
                  <a:lnTo>
                    <a:pt x="292" y="336"/>
                  </a:lnTo>
                  <a:lnTo>
                    <a:pt x="288" y="338"/>
                  </a:lnTo>
                  <a:lnTo>
                    <a:pt x="286" y="340"/>
                  </a:lnTo>
                  <a:lnTo>
                    <a:pt x="286" y="338"/>
                  </a:lnTo>
                  <a:lnTo>
                    <a:pt x="282" y="342"/>
                  </a:lnTo>
                  <a:lnTo>
                    <a:pt x="278" y="338"/>
                  </a:lnTo>
                  <a:lnTo>
                    <a:pt x="274" y="342"/>
                  </a:lnTo>
                  <a:lnTo>
                    <a:pt x="276" y="340"/>
                  </a:lnTo>
                  <a:lnTo>
                    <a:pt x="274" y="338"/>
                  </a:lnTo>
                  <a:lnTo>
                    <a:pt x="274" y="342"/>
                  </a:lnTo>
                  <a:lnTo>
                    <a:pt x="270" y="344"/>
                  </a:lnTo>
                  <a:lnTo>
                    <a:pt x="270" y="342"/>
                  </a:lnTo>
                  <a:lnTo>
                    <a:pt x="269" y="342"/>
                  </a:lnTo>
                  <a:lnTo>
                    <a:pt x="261" y="338"/>
                  </a:lnTo>
                  <a:lnTo>
                    <a:pt x="259" y="342"/>
                  </a:lnTo>
                  <a:lnTo>
                    <a:pt x="265" y="344"/>
                  </a:lnTo>
                  <a:lnTo>
                    <a:pt x="265" y="348"/>
                  </a:lnTo>
                  <a:lnTo>
                    <a:pt x="263" y="348"/>
                  </a:lnTo>
                  <a:lnTo>
                    <a:pt x="261" y="346"/>
                  </a:lnTo>
                  <a:lnTo>
                    <a:pt x="257" y="348"/>
                  </a:lnTo>
                  <a:lnTo>
                    <a:pt x="253" y="358"/>
                  </a:lnTo>
                  <a:lnTo>
                    <a:pt x="249" y="354"/>
                  </a:lnTo>
                  <a:lnTo>
                    <a:pt x="249" y="356"/>
                  </a:lnTo>
                  <a:lnTo>
                    <a:pt x="246" y="356"/>
                  </a:lnTo>
                  <a:lnTo>
                    <a:pt x="246" y="354"/>
                  </a:lnTo>
                  <a:lnTo>
                    <a:pt x="244" y="352"/>
                  </a:lnTo>
                  <a:lnTo>
                    <a:pt x="247" y="352"/>
                  </a:lnTo>
                  <a:lnTo>
                    <a:pt x="244" y="348"/>
                  </a:lnTo>
                  <a:lnTo>
                    <a:pt x="246" y="346"/>
                  </a:lnTo>
                  <a:lnTo>
                    <a:pt x="247" y="336"/>
                  </a:lnTo>
                  <a:lnTo>
                    <a:pt x="249" y="336"/>
                  </a:lnTo>
                  <a:lnTo>
                    <a:pt x="249" y="329"/>
                  </a:lnTo>
                  <a:lnTo>
                    <a:pt x="249" y="327"/>
                  </a:lnTo>
                  <a:lnTo>
                    <a:pt x="249" y="319"/>
                  </a:lnTo>
                  <a:lnTo>
                    <a:pt x="253" y="311"/>
                  </a:lnTo>
                  <a:lnTo>
                    <a:pt x="255" y="304"/>
                  </a:lnTo>
                  <a:lnTo>
                    <a:pt x="249" y="300"/>
                  </a:lnTo>
                  <a:lnTo>
                    <a:pt x="244" y="294"/>
                  </a:lnTo>
                  <a:lnTo>
                    <a:pt x="238" y="296"/>
                  </a:lnTo>
                  <a:lnTo>
                    <a:pt x="240" y="298"/>
                  </a:lnTo>
                  <a:lnTo>
                    <a:pt x="236" y="298"/>
                  </a:lnTo>
                  <a:lnTo>
                    <a:pt x="236" y="302"/>
                  </a:lnTo>
                  <a:lnTo>
                    <a:pt x="234" y="304"/>
                  </a:lnTo>
                  <a:lnTo>
                    <a:pt x="230" y="306"/>
                  </a:lnTo>
                  <a:lnTo>
                    <a:pt x="228" y="306"/>
                  </a:lnTo>
                  <a:lnTo>
                    <a:pt x="224" y="310"/>
                  </a:lnTo>
                  <a:lnTo>
                    <a:pt x="222" y="310"/>
                  </a:lnTo>
                  <a:lnTo>
                    <a:pt x="222" y="317"/>
                  </a:lnTo>
                  <a:lnTo>
                    <a:pt x="213" y="319"/>
                  </a:lnTo>
                  <a:lnTo>
                    <a:pt x="209" y="323"/>
                  </a:lnTo>
                  <a:lnTo>
                    <a:pt x="209" y="315"/>
                  </a:lnTo>
                  <a:lnTo>
                    <a:pt x="199" y="315"/>
                  </a:lnTo>
                  <a:lnTo>
                    <a:pt x="201" y="313"/>
                  </a:lnTo>
                  <a:lnTo>
                    <a:pt x="205" y="313"/>
                  </a:lnTo>
                  <a:lnTo>
                    <a:pt x="199" y="310"/>
                  </a:lnTo>
                  <a:lnTo>
                    <a:pt x="201" y="308"/>
                  </a:lnTo>
                  <a:lnTo>
                    <a:pt x="205" y="308"/>
                  </a:lnTo>
                  <a:lnTo>
                    <a:pt x="203" y="302"/>
                  </a:lnTo>
                  <a:lnTo>
                    <a:pt x="199" y="302"/>
                  </a:lnTo>
                  <a:lnTo>
                    <a:pt x="198" y="308"/>
                  </a:lnTo>
                  <a:lnTo>
                    <a:pt x="198" y="304"/>
                  </a:lnTo>
                  <a:lnTo>
                    <a:pt x="192" y="304"/>
                  </a:lnTo>
                  <a:lnTo>
                    <a:pt x="188" y="300"/>
                  </a:lnTo>
                  <a:lnTo>
                    <a:pt x="184" y="300"/>
                  </a:lnTo>
                  <a:lnTo>
                    <a:pt x="182" y="300"/>
                  </a:lnTo>
                  <a:lnTo>
                    <a:pt x="190" y="306"/>
                  </a:lnTo>
                  <a:lnTo>
                    <a:pt x="188" y="308"/>
                  </a:lnTo>
                  <a:lnTo>
                    <a:pt x="184" y="308"/>
                  </a:lnTo>
                  <a:lnTo>
                    <a:pt x="190" y="311"/>
                  </a:lnTo>
                  <a:lnTo>
                    <a:pt x="188" y="315"/>
                  </a:lnTo>
                  <a:lnTo>
                    <a:pt x="186" y="317"/>
                  </a:lnTo>
                  <a:lnTo>
                    <a:pt x="182" y="317"/>
                  </a:lnTo>
                  <a:lnTo>
                    <a:pt x="182" y="313"/>
                  </a:lnTo>
                  <a:lnTo>
                    <a:pt x="178" y="311"/>
                  </a:lnTo>
                  <a:lnTo>
                    <a:pt x="176" y="313"/>
                  </a:lnTo>
                  <a:lnTo>
                    <a:pt x="171" y="313"/>
                  </a:lnTo>
                  <a:lnTo>
                    <a:pt x="173" y="315"/>
                  </a:lnTo>
                  <a:lnTo>
                    <a:pt x="174" y="315"/>
                  </a:lnTo>
                  <a:lnTo>
                    <a:pt x="171" y="317"/>
                  </a:lnTo>
                  <a:lnTo>
                    <a:pt x="169" y="321"/>
                  </a:lnTo>
                  <a:lnTo>
                    <a:pt x="171" y="323"/>
                  </a:lnTo>
                  <a:lnTo>
                    <a:pt x="169" y="329"/>
                  </a:lnTo>
                  <a:lnTo>
                    <a:pt x="173" y="331"/>
                  </a:lnTo>
                  <a:lnTo>
                    <a:pt x="171" y="335"/>
                  </a:lnTo>
                  <a:lnTo>
                    <a:pt x="174" y="336"/>
                  </a:lnTo>
                  <a:lnTo>
                    <a:pt x="174" y="338"/>
                  </a:lnTo>
                  <a:lnTo>
                    <a:pt x="173" y="338"/>
                  </a:lnTo>
                  <a:lnTo>
                    <a:pt x="169" y="340"/>
                  </a:lnTo>
                  <a:lnTo>
                    <a:pt x="163" y="335"/>
                  </a:lnTo>
                  <a:lnTo>
                    <a:pt x="157" y="336"/>
                  </a:lnTo>
                  <a:lnTo>
                    <a:pt x="150" y="335"/>
                  </a:lnTo>
                  <a:lnTo>
                    <a:pt x="150" y="331"/>
                  </a:lnTo>
                  <a:lnTo>
                    <a:pt x="144" y="329"/>
                  </a:lnTo>
                  <a:lnTo>
                    <a:pt x="144" y="327"/>
                  </a:lnTo>
                  <a:lnTo>
                    <a:pt x="146" y="325"/>
                  </a:lnTo>
                  <a:lnTo>
                    <a:pt x="150" y="327"/>
                  </a:lnTo>
                  <a:lnTo>
                    <a:pt x="151" y="321"/>
                  </a:lnTo>
                  <a:lnTo>
                    <a:pt x="148" y="321"/>
                  </a:lnTo>
                  <a:lnTo>
                    <a:pt x="148" y="319"/>
                  </a:lnTo>
                  <a:lnTo>
                    <a:pt x="151" y="319"/>
                  </a:lnTo>
                  <a:lnTo>
                    <a:pt x="150" y="315"/>
                  </a:lnTo>
                  <a:lnTo>
                    <a:pt x="153" y="315"/>
                  </a:lnTo>
                  <a:lnTo>
                    <a:pt x="153" y="313"/>
                  </a:lnTo>
                  <a:lnTo>
                    <a:pt x="155" y="313"/>
                  </a:lnTo>
                  <a:lnTo>
                    <a:pt x="155" y="311"/>
                  </a:lnTo>
                  <a:lnTo>
                    <a:pt x="153" y="310"/>
                  </a:lnTo>
                  <a:lnTo>
                    <a:pt x="150" y="313"/>
                  </a:lnTo>
                  <a:lnTo>
                    <a:pt x="150" y="310"/>
                  </a:lnTo>
                  <a:lnTo>
                    <a:pt x="146" y="310"/>
                  </a:lnTo>
                  <a:lnTo>
                    <a:pt x="146" y="308"/>
                  </a:lnTo>
                  <a:lnTo>
                    <a:pt x="151" y="306"/>
                  </a:lnTo>
                  <a:lnTo>
                    <a:pt x="155" y="300"/>
                  </a:lnTo>
                  <a:lnTo>
                    <a:pt x="159" y="302"/>
                  </a:lnTo>
                  <a:lnTo>
                    <a:pt x="159" y="304"/>
                  </a:lnTo>
                  <a:lnTo>
                    <a:pt x="163" y="304"/>
                  </a:lnTo>
                  <a:lnTo>
                    <a:pt x="163" y="302"/>
                  </a:lnTo>
                  <a:lnTo>
                    <a:pt x="157" y="298"/>
                  </a:lnTo>
                  <a:lnTo>
                    <a:pt x="159" y="294"/>
                  </a:lnTo>
                  <a:lnTo>
                    <a:pt x="153" y="292"/>
                  </a:lnTo>
                  <a:lnTo>
                    <a:pt x="155" y="288"/>
                  </a:lnTo>
                  <a:lnTo>
                    <a:pt x="150" y="285"/>
                  </a:lnTo>
                  <a:lnTo>
                    <a:pt x="148" y="283"/>
                  </a:lnTo>
                  <a:lnTo>
                    <a:pt x="146" y="283"/>
                  </a:lnTo>
                  <a:lnTo>
                    <a:pt x="142" y="277"/>
                  </a:lnTo>
                  <a:lnTo>
                    <a:pt x="138" y="277"/>
                  </a:lnTo>
                  <a:lnTo>
                    <a:pt x="134" y="275"/>
                  </a:lnTo>
                  <a:lnTo>
                    <a:pt x="130" y="275"/>
                  </a:lnTo>
                  <a:lnTo>
                    <a:pt x="128" y="273"/>
                  </a:lnTo>
                  <a:lnTo>
                    <a:pt x="132" y="271"/>
                  </a:lnTo>
                  <a:lnTo>
                    <a:pt x="130" y="269"/>
                  </a:lnTo>
                  <a:lnTo>
                    <a:pt x="127" y="267"/>
                  </a:lnTo>
                  <a:lnTo>
                    <a:pt x="127" y="265"/>
                  </a:lnTo>
                  <a:lnTo>
                    <a:pt x="123" y="265"/>
                  </a:lnTo>
                  <a:lnTo>
                    <a:pt x="119" y="262"/>
                  </a:lnTo>
                  <a:lnTo>
                    <a:pt x="115" y="260"/>
                  </a:lnTo>
                  <a:lnTo>
                    <a:pt x="115" y="254"/>
                  </a:lnTo>
                  <a:lnTo>
                    <a:pt x="109" y="252"/>
                  </a:lnTo>
                  <a:lnTo>
                    <a:pt x="107" y="248"/>
                  </a:lnTo>
                  <a:lnTo>
                    <a:pt x="107" y="240"/>
                  </a:lnTo>
                  <a:lnTo>
                    <a:pt x="103" y="233"/>
                  </a:lnTo>
                  <a:lnTo>
                    <a:pt x="105" y="229"/>
                  </a:lnTo>
                  <a:lnTo>
                    <a:pt x="103" y="227"/>
                  </a:lnTo>
                  <a:lnTo>
                    <a:pt x="100" y="219"/>
                  </a:lnTo>
                  <a:lnTo>
                    <a:pt x="103" y="217"/>
                  </a:lnTo>
                  <a:lnTo>
                    <a:pt x="105" y="214"/>
                  </a:lnTo>
                  <a:lnTo>
                    <a:pt x="105" y="210"/>
                  </a:lnTo>
                  <a:lnTo>
                    <a:pt x="98" y="210"/>
                  </a:lnTo>
                  <a:lnTo>
                    <a:pt x="98" y="204"/>
                  </a:lnTo>
                  <a:lnTo>
                    <a:pt x="92" y="202"/>
                  </a:lnTo>
                  <a:lnTo>
                    <a:pt x="92" y="198"/>
                  </a:lnTo>
                  <a:lnTo>
                    <a:pt x="94" y="196"/>
                  </a:lnTo>
                  <a:lnTo>
                    <a:pt x="90" y="196"/>
                  </a:lnTo>
                  <a:lnTo>
                    <a:pt x="92" y="192"/>
                  </a:lnTo>
                  <a:lnTo>
                    <a:pt x="94" y="190"/>
                  </a:lnTo>
                  <a:lnTo>
                    <a:pt x="94" y="187"/>
                  </a:lnTo>
                  <a:lnTo>
                    <a:pt x="96" y="183"/>
                  </a:lnTo>
                  <a:lnTo>
                    <a:pt x="92" y="183"/>
                  </a:lnTo>
                  <a:lnTo>
                    <a:pt x="90" y="187"/>
                  </a:lnTo>
                  <a:lnTo>
                    <a:pt x="86" y="185"/>
                  </a:lnTo>
                  <a:lnTo>
                    <a:pt x="86" y="179"/>
                  </a:lnTo>
                  <a:lnTo>
                    <a:pt x="82" y="181"/>
                  </a:lnTo>
                  <a:lnTo>
                    <a:pt x="82" y="183"/>
                  </a:lnTo>
                  <a:lnTo>
                    <a:pt x="79" y="183"/>
                  </a:lnTo>
                  <a:lnTo>
                    <a:pt x="77" y="185"/>
                  </a:lnTo>
                  <a:lnTo>
                    <a:pt x="73" y="185"/>
                  </a:lnTo>
                  <a:lnTo>
                    <a:pt x="73" y="181"/>
                  </a:lnTo>
                  <a:lnTo>
                    <a:pt x="65" y="187"/>
                  </a:lnTo>
                  <a:lnTo>
                    <a:pt x="59" y="185"/>
                  </a:lnTo>
                  <a:lnTo>
                    <a:pt x="57" y="179"/>
                  </a:lnTo>
                  <a:lnTo>
                    <a:pt x="54" y="179"/>
                  </a:lnTo>
                  <a:lnTo>
                    <a:pt x="52" y="181"/>
                  </a:lnTo>
                  <a:lnTo>
                    <a:pt x="48" y="179"/>
                  </a:lnTo>
                  <a:lnTo>
                    <a:pt x="48" y="175"/>
                  </a:lnTo>
                  <a:lnTo>
                    <a:pt x="46" y="171"/>
                  </a:lnTo>
                  <a:lnTo>
                    <a:pt x="36" y="167"/>
                  </a:lnTo>
                  <a:lnTo>
                    <a:pt x="32" y="167"/>
                  </a:lnTo>
                  <a:lnTo>
                    <a:pt x="31" y="171"/>
                  </a:lnTo>
                  <a:lnTo>
                    <a:pt x="25" y="171"/>
                  </a:lnTo>
                  <a:lnTo>
                    <a:pt x="21" y="169"/>
                  </a:lnTo>
                  <a:lnTo>
                    <a:pt x="17" y="169"/>
                  </a:lnTo>
                  <a:lnTo>
                    <a:pt x="15" y="175"/>
                  </a:lnTo>
                  <a:lnTo>
                    <a:pt x="11" y="175"/>
                  </a:lnTo>
                  <a:lnTo>
                    <a:pt x="9" y="169"/>
                  </a:lnTo>
                  <a:lnTo>
                    <a:pt x="8" y="165"/>
                  </a:lnTo>
                  <a:lnTo>
                    <a:pt x="4" y="164"/>
                  </a:lnTo>
                  <a:lnTo>
                    <a:pt x="4" y="162"/>
                  </a:lnTo>
                  <a:lnTo>
                    <a:pt x="6" y="160"/>
                  </a:lnTo>
                  <a:lnTo>
                    <a:pt x="9" y="160"/>
                  </a:lnTo>
                  <a:lnTo>
                    <a:pt x="13" y="154"/>
                  </a:lnTo>
                  <a:lnTo>
                    <a:pt x="9" y="150"/>
                  </a:lnTo>
                  <a:lnTo>
                    <a:pt x="11" y="142"/>
                  </a:lnTo>
                  <a:lnTo>
                    <a:pt x="11" y="139"/>
                  </a:lnTo>
                  <a:lnTo>
                    <a:pt x="13" y="131"/>
                  </a:lnTo>
                  <a:lnTo>
                    <a:pt x="13" y="129"/>
                  </a:lnTo>
                  <a:lnTo>
                    <a:pt x="11" y="127"/>
                  </a:lnTo>
                  <a:lnTo>
                    <a:pt x="9" y="129"/>
                  </a:lnTo>
                  <a:lnTo>
                    <a:pt x="4" y="129"/>
                  </a:lnTo>
                  <a:lnTo>
                    <a:pt x="0" y="129"/>
                  </a:lnTo>
                  <a:lnTo>
                    <a:pt x="0" y="127"/>
                  </a:lnTo>
                  <a:lnTo>
                    <a:pt x="2" y="119"/>
                  </a:lnTo>
                  <a:lnTo>
                    <a:pt x="6" y="119"/>
                  </a:lnTo>
                  <a:lnTo>
                    <a:pt x="9" y="116"/>
                  </a:lnTo>
                  <a:lnTo>
                    <a:pt x="8" y="112"/>
                  </a:lnTo>
                  <a:lnTo>
                    <a:pt x="4" y="112"/>
                  </a:lnTo>
                  <a:lnTo>
                    <a:pt x="6" y="108"/>
                  </a:lnTo>
                  <a:lnTo>
                    <a:pt x="9" y="110"/>
                  </a:lnTo>
                  <a:lnTo>
                    <a:pt x="17" y="112"/>
                  </a:lnTo>
                  <a:lnTo>
                    <a:pt x="25" y="106"/>
                  </a:lnTo>
                  <a:lnTo>
                    <a:pt x="32" y="104"/>
                  </a:lnTo>
                  <a:lnTo>
                    <a:pt x="36" y="102"/>
                  </a:lnTo>
                  <a:lnTo>
                    <a:pt x="40" y="106"/>
                  </a:lnTo>
                  <a:lnTo>
                    <a:pt x="44" y="106"/>
                  </a:lnTo>
                  <a:lnTo>
                    <a:pt x="44" y="108"/>
                  </a:lnTo>
                  <a:lnTo>
                    <a:pt x="48" y="108"/>
                  </a:lnTo>
                  <a:lnTo>
                    <a:pt x="50" y="112"/>
                  </a:lnTo>
                  <a:lnTo>
                    <a:pt x="56" y="117"/>
                  </a:lnTo>
                  <a:lnTo>
                    <a:pt x="59" y="114"/>
                  </a:lnTo>
                  <a:lnTo>
                    <a:pt x="63" y="116"/>
                  </a:lnTo>
                  <a:lnTo>
                    <a:pt x="65" y="112"/>
                  </a:lnTo>
                  <a:lnTo>
                    <a:pt x="67" y="116"/>
                  </a:lnTo>
                  <a:lnTo>
                    <a:pt x="65" y="117"/>
                  </a:lnTo>
                  <a:lnTo>
                    <a:pt x="67" y="119"/>
                  </a:lnTo>
                  <a:lnTo>
                    <a:pt x="65" y="123"/>
                  </a:lnTo>
                  <a:lnTo>
                    <a:pt x="69" y="123"/>
                  </a:lnTo>
                  <a:lnTo>
                    <a:pt x="71" y="125"/>
                  </a:lnTo>
                  <a:lnTo>
                    <a:pt x="71" y="127"/>
                  </a:lnTo>
                  <a:lnTo>
                    <a:pt x="73" y="121"/>
                  </a:lnTo>
                  <a:lnTo>
                    <a:pt x="75" y="119"/>
                  </a:lnTo>
                  <a:lnTo>
                    <a:pt x="77" y="121"/>
                  </a:lnTo>
                  <a:lnTo>
                    <a:pt x="77" y="125"/>
                  </a:lnTo>
                  <a:lnTo>
                    <a:pt x="80" y="129"/>
                  </a:lnTo>
                  <a:lnTo>
                    <a:pt x="77" y="131"/>
                  </a:lnTo>
                  <a:lnTo>
                    <a:pt x="75" y="133"/>
                  </a:lnTo>
                  <a:lnTo>
                    <a:pt x="77" y="137"/>
                  </a:lnTo>
                  <a:lnTo>
                    <a:pt x="71" y="139"/>
                  </a:lnTo>
                  <a:lnTo>
                    <a:pt x="75" y="142"/>
                  </a:lnTo>
                  <a:lnTo>
                    <a:pt x="79" y="144"/>
                  </a:lnTo>
                  <a:lnTo>
                    <a:pt x="77" y="146"/>
                  </a:lnTo>
                  <a:lnTo>
                    <a:pt x="79" y="152"/>
                  </a:lnTo>
                  <a:lnTo>
                    <a:pt x="86" y="150"/>
                  </a:lnTo>
                  <a:lnTo>
                    <a:pt x="88" y="146"/>
                  </a:lnTo>
                  <a:lnTo>
                    <a:pt x="84" y="144"/>
                  </a:lnTo>
                  <a:lnTo>
                    <a:pt x="84" y="142"/>
                  </a:lnTo>
                  <a:lnTo>
                    <a:pt x="88" y="142"/>
                  </a:lnTo>
                  <a:lnTo>
                    <a:pt x="88" y="137"/>
                  </a:lnTo>
                  <a:lnTo>
                    <a:pt x="92" y="139"/>
                  </a:lnTo>
                  <a:lnTo>
                    <a:pt x="92" y="135"/>
                  </a:lnTo>
                  <a:lnTo>
                    <a:pt x="94" y="133"/>
                  </a:lnTo>
                  <a:lnTo>
                    <a:pt x="96" y="133"/>
                  </a:lnTo>
                  <a:lnTo>
                    <a:pt x="96" y="129"/>
                  </a:lnTo>
                  <a:lnTo>
                    <a:pt x="100" y="127"/>
                  </a:lnTo>
                  <a:lnTo>
                    <a:pt x="103" y="125"/>
                  </a:lnTo>
                  <a:lnTo>
                    <a:pt x="103" y="123"/>
                  </a:lnTo>
                  <a:lnTo>
                    <a:pt x="109" y="127"/>
                  </a:lnTo>
                  <a:lnTo>
                    <a:pt x="109" y="129"/>
                  </a:lnTo>
                  <a:lnTo>
                    <a:pt x="113" y="127"/>
                  </a:lnTo>
                  <a:lnTo>
                    <a:pt x="115" y="131"/>
                  </a:lnTo>
                  <a:lnTo>
                    <a:pt x="121" y="129"/>
                  </a:lnTo>
                  <a:lnTo>
                    <a:pt x="123" y="127"/>
                  </a:lnTo>
                  <a:lnTo>
                    <a:pt x="127" y="127"/>
                  </a:lnTo>
                  <a:lnTo>
                    <a:pt x="128" y="129"/>
                  </a:lnTo>
                  <a:lnTo>
                    <a:pt x="130" y="123"/>
                  </a:lnTo>
                  <a:lnTo>
                    <a:pt x="134" y="123"/>
                  </a:lnTo>
                  <a:lnTo>
                    <a:pt x="136" y="121"/>
                  </a:lnTo>
                  <a:lnTo>
                    <a:pt x="140" y="123"/>
                  </a:lnTo>
                  <a:lnTo>
                    <a:pt x="144" y="121"/>
                  </a:lnTo>
                  <a:lnTo>
                    <a:pt x="146" y="129"/>
                  </a:lnTo>
                  <a:lnTo>
                    <a:pt x="150" y="129"/>
                  </a:lnTo>
                  <a:lnTo>
                    <a:pt x="151" y="131"/>
                  </a:lnTo>
                  <a:lnTo>
                    <a:pt x="157" y="131"/>
                  </a:lnTo>
                  <a:lnTo>
                    <a:pt x="163" y="129"/>
                  </a:lnTo>
                  <a:lnTo>
                    <a:pt x="165" y="129"/>
                  </a:lnTo>
                  <a:lnTo>
                    <a:pt x="169" y="123"/>
                  </a:lnTo>
                  <a:lnTo>
                    <a:pt x="174" y="125"/>
                  </a:lnTo>
                  <a:lnTo>
                    <a:pt x="176" y="121"/>
                  </a:lnTo>
                  <a:lnTo>
                    <a:pt x="180" y="121"/>
                  </a:lnTo>
                  <a:lnTo>
                    <a:pt x="188" y="116"/>
                  </a:lnTo>
                  <a:lnTo>
                    <a:pt x="182" y="114"/>
                  </a:lnTo>
                  <a:lnTo>
                    <a:pt x="182" y="112"/>
                  </a:lnTo>
                  <a:lnTo>
                    <a:pt x="180" y="110"/>
                  </a:lnTo>
                  <a:lnTo>
                    <a:pt x="180" y="108"/>
                  </a:lnTo>
                  <a:lnTo>
                    <a:pt x="184" y="108"/>
                  </a:lnTo>
                  <a:lnTo>
                    <a:pt x="182" y="100"/>
                  </a:lnTo>
                  <a:lnTo>
                    <a:pt x="186" y="98"/>
                  </a:lnTo>
                  <a:lnTo>
                    <a:pt x="184" y="98"/>
                  </a:lnTo>
                  <a:lnTo>
                    <a:pt x="190" y="91"/>
                  </a:lnTo>
                  <a:lnTo>
                    <a:pt x="184" y="87"/>
                  </a:lnTo>
                  <a:lnTo>
                    <a:pt x="186" y="87"/>
                  </a:lnTo>
                  <a:lnTo>
                    <a:pt x="184" y="85"/>
                  </a:lnTo>
                  <a:lnTo>
                    <a:pt x="190" y="89"/>
                  </a:lnTo>
                  <a:lnTo>
                    <a:pt x="198" y="91"/>
                  </a:lnTo>
                  <a:lnTo>
                    <a:pt x="199" y="89"/>
                  </a:lnTo>
                  <a:lnTo>
                    <a:pt x="198" y="87"/>
                  </a:lnTo>
                  <a:lnTo>
                    <a:pt x="199" y="85"/>
                  </a:lnTo>
                  <a:lnTo>
                    <a:pt x="201" y="89"/>
                  </a:lnTo>
                  <a:lnTo>
                    <a:pt x="203" y="89"/>
                  </a:lnTo>
                  <a:lnTo>
                    <a:pt x="205" y="85"/>
                  </a:lnTo>
                  <a:lnTo>
                    <a:pt x="203" y="83"/>
                  </a:lnTo>
                  <a:lnTo>
                    <a:pt x="207" y="81"/>
                  </a:lnTo>
                  <a:lnTo>
                    <a:pt x="209" y="83"/>
                  </a:lnTo>
                  <a:lnTo>
                    <a:pt x="207" y="85"/>
                  </a:lnTo>
                  <a:lnTo>
                    <a:pt x="211" y="87"/>
                  </a:lnTo>
                  <a:lnTo>
                    <a:pt x="211" y="91"/>
                  </a:lnTo>
                  <a:lnTo>
                    <a:pt x="219" y="94"/>
                  </a:lnTo>
                  <a:lnTo>
                    <a:pt x="224" y="89"/>
                  </a:lnTo>
                  <a:lnTo>
                    <a:pt x="228" y="85"/>
                  </a:lnTo>
                  <a:lnTo>
                    <a:pt x="228" y="83"/>
                  </a:lnTo>
                  <a:lnTo>
                    <a:pt x="232" y="81"/>
                  </a:lnTo>
                  <a:lnTo>
                    <a:pt x="230" y="79"/>
                  </a:lnTo>
                  <a:lnTo>
                    <a:pt x="226" y="79"/>
                  </a:lnTo>
                  <a:lnTo>
                    <a:pt x="228" y="77"/>
                  </a:lnTo>
                  <a:lnTo>
                    <a:pt x="226" y="75"/>
                  </a:lnTo>
                  <a:lnTo>
                    <a:pt x="221" y="77"/>
                  </a:lnTo>
                  <a:lnTo>
                    <a:pt x="221" y="73"/>
                  </a:lnTo>
                  <a:lnTo>
                    <a:pt x="228" y="73"/>
                  </a:lnTo>
                  <a:lnTo>
                    <a:pt x="230" y="69"/>
                  </a:lnTo>
                  <a:lnTo>
                    <a:pt x="234" y="69"/>
                  </a:lnTo>
                  <a:lnTo>
                    <a:pt x="236" y="68"/>
                  </a:lnTo>
                  <a:lnTo>
                    <a:pt x="242" y="64"/>
                  </a:lnTo>
                  <a:lnTo>
                    <a:pt x="242" y="62"/>
                  </a:lnTo>
                  <a:lnTo>
                    <a:pt x="240" y="62"/>
                  </a:lnTo>
                  <a:lnTo>
                    <a:pt x="242" y="56"/>
                  </a:lnTo>
                  <a:lnTo>
                    <a:pt x="246" y="54"/>
                  </a:lnTo>
                  <a:lnTo>
                    <a:pt x="246" y="56"/>
                  </a:lnTo>
                  <a:lnTo>
                    <a:pt x="249" y="56"/>
                  </a:lnTo>
                  <a:lnTo>
                    <a:pt x="253" y="54"/>
                  </a:lnTo>
                  <a:lnTo>
                    <a:pt x="257" y="60"/>
                  </a:lnTo>
                  <a:lnTo>
                    <a:pt x="257" y="62"/>
                  </a:lnTo>
                  <a:lnTo>
                    <a:pt x="259" y="62"/>
                  </a:lnTo>
                  <a:lnTo>
                    <a:pt x="261" y="62"/>
                  </a:lnTo>
                  <a:lnTo>
                    <a:pt x="259" y="54"/>
                  </a:lnTo>
                  <a:lnTo>
                    <a:pt x="261" y="50"/>
                  </a:lnTo>
                  <a:lnTo>
                    <a:pt x="259" y="48"/>
                  </a:lnTo>
                  <a:lnTo>
                    <a:pt x="263" y="46"/>
                  </a:lnTo>
                  <a:lnTo>
                    <a:pt x="259" y="43"/>
                  </a:lnTo>
                  <a:lnTo>
                    <a:pt x="263" y="37"/>
                  </a:lnTo>
                  <a:lnTo>
                    <a:pt x="257" y="29"/>
                  </a:lnTo>
                  <a:lnTo>
                    <a:pt x="253" y="29"/>
                  </a:lnTo>
                  <a:lnTo>
                    <a:pt x="253" y="27"/>
                  </a:lnTo>
                  <a:lnTo>
                    <a:pt x="255" y="23"/>
                  </a:lnTo>
                  <a:lnTo>
                    <a:pt x="253" y="20"/>
                  </a:lnTo>
                  <a:lnTo>
                    <a:pt x="255" y="16"/>
                  </a:lnTo>
                  <a:lnTo>
                    <a:pt x="255" y="12"/>
                  </a:lnTo>
                  <a:lnTo>
                    <a:pt x="247" y="8"/>
                  </a:lnTo>
                  <a:lnTo>
                    <a:pt x="247" y="4"/>
                  </a:lnTo>
                  <a:lnTo>
                    <a:pt x="253" y="0"/>
                  </a:lnTo>
                  <a:lnTo>
                    <a:pt x="253" y="4"/>
                  </a:lnTo>
                  <a:lnTo>
                    <a:pt x="257" y="8"/>
                  </a:lnTo>
                  <a:lnTo>
                    <a:pt x="263" y="4"/>
                  </a:lnTo>
                  <a:lnTo>
                    <a:pt x="265" y="12"/>
                  </a:lnTo>
                  <a:lnTo>
                    <a:pt x="267" y="14"/>
                  </a:lnTo>
                  <a:lnTo>
                    <a:pt x="270" y="16"/>
                  </a:lnTo>
                  <a:lnTo>
                    <a:pt x="272" y="14"/>
                  </a:lnTo>
                  <a:lnTo>
                    <a:pt x="270" y="18"/>
                  </a:lnTo>
                  <a:lnTo>
                    <a:pt x="272" y="21"/>
                  </a:lnTo>
                  <a:lnTo>
                    <a:pt x="274" y="20"/>
                  </a:lnTo>
                  <a:lnTo>
                    <a:pt x="280" y="21"/>
                  </a:lnTo>
                  <a:lnTo>
                    <a:pt x="288" y="27"/>
                  </a:lnTo>
                  <a:lnTo>
                    <a:pt x="288" y="37"/>
                  </a:lnTo>
                  <a:lnTo>
                    <a:pt x="282" y="41"/>
                  </a:lnTo>
                  <a:lnTo>
                    <a:pt x="284" y="43"/>
                  </a:lnTo>
                  <a:lnTo>
                    <a:pt x="290" y="44"/>
                  </a:lnTo>
                  <a:lnTo>
                    <a:pt x="292" y="50"/>
                  </a:lnTo>
                  <a:lnTo>
                    <a:pt x="293" y="50"/>
                  </a:lnTo>
                  <a:lnTo>
                    <a:pt x="301" y="52"/>
                  </a:lnTo>
                  <a:lnTo>
                    <a:pt x="307" y="52"/>
                  </a:lnTo>
                  <a:lnTo>
                    <a:pt x="307" y="54"/>
                  </a:lnTo>
                  <a:lnTo>
                    <a:pt x="311" y="54"/>
                  </a:lnTo>
                  <a:lnTo>
                    <a:pt x="313" y="56"/>
                  </a:lnTo>
                  <a:lnTo>
                    <a:pt x="318" y="52"/>
                  </a:lnTo>
                  <a:lnTo>
                    <a:pt x="318" y="54"/>
                  </a:lnTo>
                  <a:lnTo>
                    <a:pt x="315" y="58"/>
                  </a:lnTo>
                  <a:lnTo>
                    <a:pt x="322" y="58"/>
                  </a:lnTo>
                  <a:lnTo>
                    <a:pt x="324" y="54"/>
                  </a:lnTo>
                  <a:lnTo>
                    <a:pt x="326" y="58"/>
                  </a:lnTo>
                  <a:lnTo>
                    <a:pt x="330" y="6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3" name="Freeform 39">
              <a:extLst>
                <a:ext uri="{FF2B5EF4-FFF2-40B4-BE49-F238E27FC236}">
                  <a16:creationId xmlns:a16="http://schemas.microsoft.com/office/drawing/2014/main" id="{74A1B23A-492F-4295-B529-C00A2C9D06B2}"/>
                </a:ext>
              </a:extLst>
            </p:cNvPr>
            <p:cNvSpPr>
              <a:spLocks/>
            </p:cNvSpPr>
            <p:nvPr/>
          </p:nvSpPr>
          <p:spPr bwMode="gray">
            <a:xfrm>
              <a:off x="7443789" y="2516188"/>
              <a:ext cx="984250" cy="484188"/>
            </a:xfrm>
            <a:custGeom>
              <a:avLst/>
              <a:gdLst>
                <a:gd name="T0" fmla="*/ 390 w 620"/>
                <a:gd name="T1" fmla="*/ 276 h 305"/>
                <a:gd name="T2" fmla="*/ 403 w 620"/>
                <a:gd name="T3" fmla="*/ 255 h 305"/>
                <a:gd name="T4" fmla="*/ 438 w 620"/>
                <a:gd name="T5" fmla="*/ 240 h 305"/>
                <a:gd name="T6" fmla="*/ 469 w 620"/>
                <a:gd name="T7" fmla="*/ 221 h 305"/>
                <a:gd name="T8" fmla="*/ 459 w 620"/>
                <a:gd name="T9" fmla="*/ 215 h 305"/>
                <a:gd name="T10" fmla="*/ 448 w 620"/>
                <a:gd name="T11" fmla="*/ 196 h 305"/>
                <a:gd name="T12" fmla="*/ 465 w 620"/>
                <a:gd name="T13" fmla="*/ 171 h 305"/>
                <a:gd name="T14" fmla="*/ 430 w 620"/>
                <a:gd name="T15" fmla="*/ 163 h 305"/>
                <a:gd name="T16" fmla="*/ 375 w 620"/>
                <a:gd name="T17" fmla="*/ 180 h 305"/>
                <a:gd name="T18" fmla="*/ 338 w 620"/>
                <a:gd name="T19" fmla="*/ 196 h 305"/>
                <a:gd name="T20" fmla="*/ 305 w 620"/>
                <a:gd name="T21" fmla="*/ 201 h 305"/>
                <a:gd name="T22" fmla="*/ 282 w 620"/>
                <a:gd name="T23" fmla="*/ 201 h 305"/>
                <a:gd name="T24" fmla="*/ 269 w 620"/>
                <a:gd name="T25" fmla="*/ 223 h 305"/>
                <a:gd name="T26" fmla="*/ 238 w 620"/>
                <a:gd name="T27" fmla="*/ 255 h 305"/>
                <a:gd name="T28" fmla="*/ 234 w 620"/>
                <a:gd name="T29" fmla="*/ 263 h 305"/>
                <a:gd name="T30" fmla="*/ 190 w 620"/>
                <a:gd name="T31" fmla="*/ 272 h 305"/>
                <a:gd name="T32" fmla="*/ 144 w 620"/>
                <a:gd name="T33" fmla="*/ 271 h 305"/>
                <a:gd name="T34" fmla="*/ 110 w 620"/>
                <a:gd name="T35" fmla="*/ 272 h 305"/>
                <a:gd name="T36" fmla="*/ 67 w 620"/>
                <a:gd name="T37" fmla="*/ 280 h 305"/>
                <a:gd name="T38" fmla="*/ 50 w 620"/>
                <a:gd name="T39" fmla="*/ 255 h 305"/>
                <a:gd name="T40" fmla="*/ 60 w 620"/>
                <a:gd name="T41" fmla="*/ 236 h 305"/>
                <a:gd name="T42" fmla="*/ 35 w 620"/>
                <a:gd name="T43" fmla="*/ 217 h 305"/>
                <a:gd name="T44" fmla="*/ 10 w 620"/>
                <a:gd name="T45" fmla="*/ 213 h 305"/>
                <a:gd name="T46" fmla="*/ 10 w 620"/>
                <a:gd name="T47" fmla="*/ 184 h 305"/>
                <a:gd name="T48" fmla="*/ 14 w 620"/>
                <a:gd name="T49" fmla="*/ 175 h 305"/>
                <a:gd name="T50" fmla="*/ 60 w 620"/>
                <a:gd name="T51" fmla="*/ 184 h 305"/>
                <a:gd name="T52" fmla="*/ 87 w 620"/>
                <a:gd name="T53" fmla="*/ 175 h 305"/>
                <a:gd name="T54" fmla="*/ 125 w 620"/>
                <a:gd name="T55" fmla="*/ 163 h 305"/>
                <a:gd name="T56" fmla="*/ 137 w 620"/>
                <a:gd name="T57" fmla="*/ 140 h 305"/>
                <a:gd name="T58" fmla="*/ 169 w 620"/>
                <a:gd name="T59" fmla="*/ 119 h 305"/>
                <a:gd name="T60" fmla="*/ 183 w 620"/>
                <a:gd name="T61" fmla="*/ 94 h 305"/>
                <a:gd name="T62" fmla="*/ 223 w 620"/>
                <a:gd name="T63" fmla="*/ 88 h 305"/>
                <a:gd name="T64" fmla="*/ 252 w 620"/>
                <a:gd name="T65" fmla="*/ 75 h 305"/>
                <a:gd name="T66" fmla="*/ 281 w 620"/>
                <a:gd name="T67" fmla="*/ 57 h 305"/>
                <a:gd name="T68" fmla="*/ 302 w 620"/>
                <a:gd name="T69" fmla="*/ 34 h 305"/>
                <a:gd name="T70" fmla="*/ 329 w 620"/>
                <a:gd name="T71" fmla="*/ 19 h 305"/>
                <a:gd name="T72" fmla="*/ 363 w 620"/>
                <a:gd name="T73" fmla="*/ 32 h 305"/>
                <a:gd name="T74" fmla="*/ 380 w 620"/>
                <a:gd name="T75" fmla="*/ 40 h 305"/>
                <a:gd name="T76" fmla="*/ 413 w 620"/>
                <a:gd name="T77" fmla="*/ 30 h 305"/>
                <a:gd name="T78" fmla="*/ 432 w 620"/>
                <a:gd name="T79" fmla="*/ 25 h 305"/>
                <a:gd name="T80" fmla="*/ 457 w 620"/>
                <a:gd name="T81" fmla="*/ 15 h 305"/>
                <a:gd name="T82" fmla="*/ 484 w 620"/>
                <a:gd name="T83" fmla="*/ 2 h 305"/>
                <a:gd name="T84" fmla="*/ 511 w 620"/>
                <a:gd name="T85" fmla="*/ 30 h 305"/>
                <a:gd name="T86" fmla="*/ 494 w 620"/>
                <a:gd name="T87" fmla="*/ 55 h 305"/>
                <a:gd name="T88" fmla="*/ 507 w 620"/>
                <a:gd name="T89" fmla="*/ 50 h 305"/>
                <a:gd name="T90" fmla="*/ 528 w 620"/>
                <a:gd name="T91" fmla="*/ 63 h 305"/>
                <a:gd name="T92" fmla="*/ 524 w 620"/>
                <a:gd name="T93" fmla="*/ 90 h 305"/>
                <a:gd name="T94" fmla="*/ 501 w 620"/>
                <a:gd name="T95" fmla="*/ 115 h 305"/>
                <a:gd name="T96" fmla="*/ 534 w 620"/>
                <a:gd name="T97" fmla="*/ 109 h 305"/>
                <a:gd name="T98" fmla="*/ 576 w 620"/>
                <a:gd name="T99" fmla="*/ 127 h 305"/>
                <a:gd name="T100" fmla="*/ 609 w 620"/>
                <a:gd name="T101" fmla="*/ 132 h 305"/>
                <a:gd name="T102" fmla="*/ 616 w 620"/>
                <a:gd name="T103" fmla="*/ 153 h 305"/>
                <a:gd name="T104" fmla="*/ 597 w 620"/>
                <a:gd name="T105" fmla="*/ 176 h 305"/>
                <a:gd name="T106" fmla="*/ 570 w 620"/>
                <a:gd name="T107" fmla="*/ 199 h 305"/>
                <a:gd name="T108" fmla="*/ 580 w 620"/>
                <a:gd name="T109" fmla="*/ 234 h 305"/>
                <a:gd name="T110" fmla="*/ 586 w 620"/>
                <a:gd name="T111" fmla="*/ 257 h 305"/>
                <a:gd name="T112" fmla="*/ 555 w 620"/>
                <a:gd name="T113" fmla="*/ 230 h 305"/>
                <a:gd name="T114" fmla="*/ 509 w 620"/>
                <a:gd name="T115" fmla="*/ 236 h 305"/>
                <a:gd name="T116" fmla="*/ 467 w 620"/>
                <a:gd name="T117" fmla="*/ 259 h 305"/>
                <a:gd name="T118" fmla="*/ 436 w 620"/>
                <a:gd name="T119" fmla="*/ 278 h 305"/>
                <a:gd name="T120" fmla="*/ 401 w 620"/>
                <a:gd name="T121" fmla="*/ 30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0" h="305">
                  <a:moveTo>
                    <a:pt x="390" y="301"/>
                  </a:moveTo>
                  <a:lnTo>
                    <a:pt x="388" y="296"/>
                  </a:lnTo>
                  <a:lnTo>
                    <a:pt x="390" y="292"/>
                  </a:lnTo>
                  <a:lnTo>
                    <a:pt x="388" y="290"/>
                  </a:lnTo>
                  <a:lnTo>
                    <a:pt x="386" y="284"/>
                  </a:lnTo>
                  <a:lnTo>
                    <a:pt x="384" y="284"/>
                  </a:lnTo>
                  <a:lnTo>
                    <a:pt x="390" y="280"/>
                  </a:lnTo>
                  <a:lnTo>
                    <a:pt x="390" y="276"/>
                  </a:lnTo>
                  <a:lnTo>
                    <a:pt x="388" y="274"/>
                  </a:lnTo>
                  <a:lnTo>
                    <a:pt x="388" y="271"/>
                  </a:lnTo>
                  <a:lnTo>
                    <a:pt x="386" y="269"/>
                  </a:lnTo>
                  <a:lnTo>
                    <a:pt x="386" y="265"/>
                  </a:lnTo>
                  <a:lnTo>
                    <a:pt x="390" y="263"/>
                  </a:lnTo>
                  <a:lnTo>
                    <a:pt x="392" y="265"/>
                  </a:lnTo>
                  <a:lnTo>
                    <a:pt x="396" y="259"/>
                  </a:lnTo>
                  <a:lnTo>
                    <a:pt x="403" y="255"/>
                  </a:lnTo>
                  <a:lnTo>
                    <a:pt x="413" y="255"/>
                  </a:lnTo>
                  <a:lnTo>
                    <a:pt x="415" y="249"/>
                  </a:lnTo>
                  <a:lnTo>
                    <a:pt x="415" y="246"/>
                  </a:lnTo>
                  <a:lnTo>
                    <a:pt x="419" y="240"/>
                  </a:lnTo>
                  <a:lnTo>
                    <a:pt x="423" y="238"/>
                  </a:lnTo>
                  <a:lnTo>
                    <a:pt x="428" y="244"/>
                  </a:lnTo>
                  <a:lnTo>
                    <a:pt x="436" y="242"/>
                  </a:lnTo>
                  <a:lnTo>
                    <a:pt x="438" y="240"/>
                  </a:lnTo>
                  <a:lnTo>
                    <a:pt x="442" y="240"/>
                  </a:lnTo>
                  <a:lnTo>
                    <a:pt x="451" y="236"/>
                  </a:lnTo>
                  <a:lnTo>
                    <a:pt x="457" y="236"/>
                  </a:lnTo>
                  <a:lnTo>
                    <a:pt x="461" y="238"/>
                  </a:lnTo>
                  <a:lnTo>
                    <a:pt x="461" y="236"/>
                  </a:lnTo>
                  <a:lnTo>
                    <a:pt x="467" y="234"/>
                  </a:lnTo>
                  <a:lnTo>
                    <a:pt x="472" y="228"/>
                  </a:lnTo>
                  <a:lnTo>
                    <a:pt x="469" y="221"/>
                  </a:lnTo>
                  <a:lnTo>
                    <a:pt x="467" y="223"/>
                  </a:lnTo>
                  <a:lnTo>
                    <a:pt x="467" y="221"/>
                  </a:lnTo>
                  <a:lnTo>
                    <a:pt x="467" y="223"/>
                  </a:lnTo>
                  <a:lnTo>
                    <a:pt x="463" y="221"/>
                  </a:lnTo>
                  <a:lnTo>
                    <a:pt x="461" y="223"/>
                  </a:lnTo>
                  <a:lnTo>
                    <a:pt x="459" y="221"/>
                  </a:lnTo>
                  <a:lnTo>
                    <a:pt x="457" y="223"/>
                  </a:lnTo>
                  <a:lnTo>
                    <a:pt x="459" y="215"/>
                  </a:lnTo>
                  <a:lnTo>
                    <a:pt x="459" y="209"/>
                  </a:lnTo>
                  <a:lnTo>
                    <a:pt x="453" y="207"/>
                  </a:lnTo>
                  <a:lnTo>
                    <a:pt x="451" y="205"/>
                  </a:lnTo>
                  <a:lnTo>
                    <a:pt x="453" y="203"/>
                  </a:lnTo>
                  <a:lnTo>
                    <a:pt x="449" y="203"/>
                  </a:lnTo>
                  <a:lnTo>
                    <a:pt x="448" y="199"/>
                  </a:lnTo>
                  <a:lnTo>
                    <a:pt x="449" y="198"/>
                  </a:lnTo>
                  <a:lnTo>
                    <a:pt x="448" y="196"/>
                  </a:lnTo>
                  <a:lnTo>
                    <a:pt x="449" y="194"/>
                  </a:lnTo>
                  <a:lnTo>
                    <a:pt x="446" y="192"/>
                  </a:lnTo>
                  <a:lnTo>
                    <a:pt x="449" y="186"/>
                  </a:lnTo>
                  <a:lnTo>
                    <a:pt x="455" y="178"/>
                  </a:lnTo>
                  <a:lnTo>
                    <a:pt x="459" y="176"/>
                  </a:lnTo>
                  <a:lnTo>
                    <a:pt x="461" y="175"/>
                  </a:lnTo>
                  <a:lnTo>
                    <a:pt x="465" y="173"/>
                  </a:lnTo>
                  <a:lnTo>
                    <a:pt x="465" y="171"/>
                  </a:lnTo>
                  <a:lnTo>
                    <a:pt x="469" y="163"/>
                  </a:lnTo>
                  <a:lnTo>
                    <a:pt x="467" y="163"/>
                  </a:lnTo>
                  <a:lnTo>
                    <a:pt x="463" y="163"/>
                  </a:lnTo>
                  <a:lnTo>
                    <a:pt x="461" y="163"/>
                  </a:lnTo>
                  <a:lnTo>
                    <a:pt x="453" y="163"/>
                  </a:lnTo>
                  <a:lnTo>
                    <a:pt x="444" y="163"/>
                  </a:lnTo>
                  <a:lnTo>
                    <a:pt x="436" y="163"/>
                  </a:lnTo>
                  <a:lnTo>
                    <a:pt x="430" y="163"/>
                  </a:lnTo>
                  <a:lnTo>
                    <a:pt x="426" y="167"/>
                  </a:lnTo>
                  <a:lnTo>
                    <a:pt x="421" y="173"/>
                  </a:lnTo>
                  <a:lnTo>
                    <a:pt x="415" y="175"/>
                  </a:lnTo>
                  <a:lnTo>
                    <a:pt x="407" y="176"/>
                  </a:lnTo>
                  <a:lnTo>
                    <a:pt x="400" y="173"/>
                  </a:lnTo>
                  <a:lnTo>
                    <a:pt x="392" y="175"/>
                  </a:lnTo>
                  <a:lnTo>
                    <a:pt x="388" y="176"/>
                  </a:lnTo>
                  <a:lnTo>
                    <a:pt x="375" y="180"/>
                  </a:lnTo>
                  <a:lnTo>
                    <a:pt x="371" y="184"/>
                  </a:lnTo>
                  <a:lnTo>
                    <a:pt x="367" y="184"/>
                  </a:lnTo>
                  <a:lnTo>
                    <a:pt x="359" y="186"/>
                  </a:lnTo>
                  <a:lnTo>
                    <a:pt x="353" y="188"/>
                  </a:lnTo>
                  <a:lnTo>
                    <a:pt x="352" y="186"/>
                  </a:lnTo>
                  <a:lnTo>
                    <a:pt x="348" y="192"/>
                  </a:lnTo>
                  <a:lnTo>
                    <a:pt x="344" y="192"/>
                  </a:lnTo>
                  <a:lnTo>
                    <a:pt x="338" y="196"/>
                  </a:lnTo>
                  <a:lnTo>
                    <a:pt x="332" y="196"/>
                  </a:lnTo>
                  <a:lnTo>
                    <a:pt x="332" y="198"/>
                  </a:lnTo>
                  <a:lnTo>
                    <a:pt x="329" y="199"/>
                  </a:lnTo>
                  <a:lnTo>
                    <a:pt x="323" y="201"/>
                  </a:lnTo>
                  <a:lnTo>
                    <a:pt x="321" y="201"/>
                  </a:lnTo>
                  <a:lnTo>
                    <a:pt x="315" y="203"/>
                  </a:lnTo>
                  <a:lnTo>
                    <a:pt x="309" y="207"/>
                  </a:lnTo>
                  <a:lnTo>
                    <a:pt x="305" y="201"/>
                  </a:lnTo>
                  <a:lnTo>
                    <a:pt x="300" y="205"/>
                  </a:lnTo>
                  <a:lnTo>
                    <a:pt x="292" y="203"/>
                  </a:lnTo>
                  <a:lnTo>
                    <a:pt x="292" y="201"/>
                  </a:lnTo>
                  <a:lnTo>
                    <a:pt x="288" y="203"/>
                  </a:lnTo>
                  <a:lnTo>
                    <a:pt x="286" y="201"/>
                  </a:lnTo>
                  <a:lnTo>
                    <a:pt x="288" y="199"/>
                  </a:lnTo>
                  <a:lnTo>
                    <a:pt x="286" y="198"/>
                  </a:lnTo>
                  <a:lnTo>
                    <a:pt x="282" y="201"/>
                  </a:lnTo>
                  <a:lnTo>
                    <a:pt x="284" y="203"/>
                  </a:lnTo>
                  <a:lnTo>
                    <a:pt x="284" y="205"/>
                  </a:lnTo>
                  <a:lnTo>
                    <a:pt x="286" y="207"/>
                  </a:lnTo>
                  <a:lnTo>
                    <a:pt x="286" y="211"/>
                  </a:lnTo>
                  <a:lnTo>
                    <a:pt x="284" y="213"/>
                  </a:lnTo>
                  <a:lnTo>
                    <a:pt x="277" y="215"/>
                  </a:lnTo>
                  <a:lnTo>
                    <a:pt x="277" y="217"/>
                  </a:lnTo>
                  <a:lnTo>
                    <a:pt x="269" y="223"/>
                  </a:lnTo>
                  <a:lnTo>
                    <a:pt x="267" y="228"/>
                  </a:lnTo>
                  <a:lnTo>
                    <a:pt x="259" y="232"/>
                  </a:lnTo>
                  <a:lnTo>
                    <a:pt x="256" y="234"/>
                  </a:lnTo>
                  <a:lnTo>
                    <a:pt x="254" y="238"/>
                  </a:lnTo>
                  <a:lnTo>
                    <a:pt x="248" y="242"/>
                  </a:lnTo>
                  <a:lnTo>
                    <a:pt x="244" y="248"/>
                  </a:lnTo>
                  <a:lnTo>
                    <a:pt x="240" y="251"/>
                  </a:lnTo>
                  <a:lnTo>
                    <a:pt x="238" y="255"/>
                  </a:lnTo>
                  <a:lnTo>
                    <a:pt x="240" y="255"/>
                  </a:lnTo>
                  <a:lnTo>
                    <a:pt x="242" y="261"/>
                  </a:lnTo>
                  <a:lnTo>
                    <a:pt x="238" y="261"/>
                  </a:lnTo>
                  <a:lnTo>
                    <a:pt x="236" y="263"/>
                  </a:lnTo>
                  <a:lnTo>
                    <a:pt x="236" y="261"/>
                  </a:lnTo>
                  <a:lnTo>
                    <a:pt x="236" y="263"/>
                  </a:lnTo>
                  <a:lnTo>
                    <a:pt x="234" y="261"/>
                  </a:lnTo>
                  <a:lnTo>
                    <a:pt x="234" y="263"/>
                  </a:lnTo>
                  <a:lnTo>
                    <a:pt x="231" y="265"/>
                  </a:lnTo>
                  <a:lnTo>
                    <a:pt x="225" y="271"/>
                  </a:lnTo>
                  <a:lnTo>
                    <a:pt x="215" y="272"/>
                  </a:lnTo>
                  <a:lnTo>
                    <a:pt x="210" y="272"/>
                  </a:lnTo>
                  <a:lnTo>
                    <a:pt x="206" y="274"/>
                  </a:lnTo>
                  <a:lnTo>
                    <a:pt x="202" y="272"/>
                  </a:lnTo>
                  <a:lnTo>
                    <a:pt x="194" y="272"/>
                  </a:lnTo>
                  <a:lnTo>
                    <a:pt x="190" y="272"/>
                  </a:lnTo>
                  <a:lnTo>
                    <a:pt x="181" y="272"/>
                  </a:lnTo>
                  <a:lnTo>
                    <a:pt x="177" y="272"/>
                  </a:lnTo>
                  <a:lnTo>
                    <a:pt x="173" y="274"/>
                  </a:lnTo>
                  <a:lnTo>
                    <a:pt x="165" y="276"/>
                  </a:lnTo>
                  <a:lnTo>
                    <a:pt x="163" y="276"/>
                  </a:lnTo>
                  <a:lnTo>
                    <a:pt x="156" y="276"/>
                  </a:lnTo>
                  <a:lnTo>
                    <a:pt x="146" y="272"/>
                  </a:lnTo>
                  <a:lnTo>
                    <a:pt x="144" y="271"/>
                  </a:lnTo>
                  <a:lnTo>
                    <a:pt x="144" y="269"/>
                  </a:lnTo>
                  <a:lnTo>
                    <a:pt x="140" y="267"/>
                  </a:lnTo>
                  <a:lnTo>
                    <a:pt x="131" y="265"/>
                  </a:lnTo>
                  <a:lnTo>
                    <a:pt x="123" y="265"/>
                  </a:lnTo>
                  <a:lnTo>
                    <a:pt x="117" y="263"/>
                  </a:lnTo>
                  <a:lnTo>
                    <a:pt x="115" y="265"/>
                  </a:lnTo>
                  <a:lnTo>
                    <a:pt x="115" y="269"/>
                  </a:lnTo>
                  <a:lnTo>
                    <a:pt x="110" y="272"/>
                  </a:lnTo>
                  <a:lnTo>
                    <a:pt x="100" y="271"/>
                  </a:lnTo>
                  <a:lnTo>
                    <a:pt x="96" y="272"/>
                  </a:lnTo>
                  <a:lnTo>
                    <a:pt x="91" y="276"/>
                  </a:lnTo>
                  <a:lnTo>
                    <a:pt x="83" y="274"/>
                  </a:lnTo>
                  <a:lnTo>
                    <a:pt x="79" y="276"/>
                  </a:lnTo>
                  <a:lnTo>
                    <a:pt x="79" y="278"/>
                  </a:lnTo>
                  <a:lnTo>
                    <a:pt x="73" y="276"/>
                  </a:lnTo>
                  <a:lnTo>
                    <a:pt x="67" y="280"/>
                  </a:lnTo>
                  <a:lnTo>
                    <a:pt x="62" y="280"/>
                  </a:lnTo>
                  <a:lnTo>
                    <a:pt x="60" y="278"/>
                  </a:lnTo>
                  <a:lnTo>
                    <a:pt x="60" y="272"/>
                  </a:lnTo>
                  <a:lnTo>
                    <a:pt x="58" y="269"/>
                  </a:lnTo>
                  <a:lnTo>
                    <a:pt x="54" y="265"/>
                  </a:lnTo>
                  <a:lnTo>
                    <a:pt x="56" y="263"/>
                  </a:lnTo>
                  <a:lnTo>
                    <a:pt x="50" y="261"/>
                  </a:lnTo>
                  <a:lnTo>
                    <a:pt x="50" y="255"/>
                  </a:lnTo>
                  <a:lnTo>
                    <a:pt x="50" y="253"/>
                  </a:lnTo>
                  <a:lnTo>
                    <a:pt x="50" y="249"/>
                  </a:lnTo>
                  <a:lnTo>
                    <a:pt x="56" y="244"/>
                  </a:lnTo>
                  <a:lnTo>
                    <a:pt x="54" y="242"/>
                  </a:lnTo>
                  <a:lnTo>
                    <a:pt x="52" y="240"/>
                  </a:lnTo>
                  <a:lnTo>
                    <a:pt x="56" y="238"/>
                  </a:lnTo>
                  <a:lnTo>
                    <a:pt x="60" y="238"/>
                  </a:lnTo>
                  <a:lnTo>
                    <a:pt x="60" y="236"/>
                  </a:lnTo>
                  <a:lnTo>
                    <a:pt x="56" y="234"/>
                  </a:lnTo>
                  <a:lnTo>
                    <a:pt x="52" y="228"/>
                  </a:lnTo>
                  <a:lnTo>
                    <a:pt x="54" y="224"/>
                  </a:lnTo>
                  <a:lnTo>
                    <a:pt x="50" y="219"/>
                  </a:lnTo>
                  <a:lnTo>
                    <a:pt x="50" y="215"/>
                  </a:lnTo>
                  <a:lnTo>
                    <a:pt x="43" y="217"/>
                  </a:lnTo>
                  <a:lnTo>
                    <a:pt x="39" y="217"/>
                  </a:lnTo>
                  <a:lnTo>
                    <a:pt x="35" y="217"/>
                  </a:lnTo>
                  <a:lnTo>
                    <a:pt x="31" y="215"/>
                  </a:lnTo>
                  <a:lnTo>
                    <a:pt x="29" y="217"/>
                  </a:lnTo>
                  <a:lnTo>
                    <a:pt x="23" y="217"/>
                  </a:lnTo>
                  <a:lnTo>
                    <a:pt x="18" y="215"/>
                  </a:lnTo>
                  <a:lnTo>
                    <a:pt x="18" y="213"/>
                  </a:lnTo>
                  <a:lnTo>
                    <a:pt x="16" y="213"/>
                  </a:lnTo>
                  <a:lnTo>
                    <a:pt x="12" y="215"/>
                  </a:lnTo>
                  <a:lnTo>
                    <a:pt x="10" y="213"/>
                  </a:lnTo>
                  <a:lnTo>
                    <a:pt x="8" y="211"/>
                  </a:lnTo>
                  <a:lnTo>
                    <a:pt x="8" y="209"/>
                  </a:lnTo>
                  <a:lnTo>
                    <a:pt x="4" y="209"/>
                  </a:lnTo>
                  <a:lnTo>
                    <a:pt x="2" y="203"/>
                  </a:lnTo>
                  <a:lnTo>
                    <a:pt x="4" y="201"/>
                  </a:lnTo>
                  <a:lnTo>
                    <a:pt x="2" y="198"/>
                  </a:lnTo>
                  <a:lnTo>
                    <a:pt x="10" y="192"/>
                  </a:lnTo>
                  <a:lnTo>
                    <a:pt x="10" y="184"/>
                  </a:lnTo>
                  <a:lnTo>
                    <a:pt x="8" y="178"/>
                  </a:lnTo>
                  <a:lnTo>
                    <a:pt x="2" y="178"/>
                  </a:lnTo>
                  <a:lnTo>
                    <a:pt x="0" y="175"/>
                  </a:lnTo>
                  <a:lnTo>
                    <a:pt x="4" y="175"/>
                  </a:lnTo>
                  <a:lnTo>
                    <a:pt x="4" y="173"/>
                  </a:lnTo>
                  <a:lnTo>
                    <a:pt x="6" y="175"/>
                  </a:lnTo>
                  <a:lnTo>
                    <a:pt x="6" y="173"/>
                  </a:lnTo>
                  <a:lnTo>
                    <a:pt x="14" y="175"/>
                  </a:lnTo>
                  <a:lnTo>
                    <a:pt x="18" y="180"/>
                  </a:lnTo>
                  <a:lnTo>
                    <a:pt x="27" y="180"/>
                  </a:lnTo>
                  <a:lnTo>
                    <a:pt x="35" y="186"/>
                  </a:lnTo>
                  <a:lnTo>
                    <a:pt x="37" y="188"/>
                  </a:lnTo>
                  <a:lnTo>
                    <a:pt x="41" y="188"/>
                  </a:lnTo>
                  <a:lnTo>
                    <a:pt x="50" y="190"/>
                  </a:lnTo>
                  <a:lnTo>
                    <a:pt x="52" y="190"/>
                  </a:lnTo>
                  <a:lnTo>
                    <a:pt x="60" y="184"/>
                  </a:lnTo>
                  <a:lnTo>
                    <a:pt x="64" y="180"/>
                  </a:lnTo>
                  <a:lnTo>
                    <a:pt x="69" y="178"/>
                  </a:lnTo>
                  <a:lnTo>
                    <a:pt x="75" y="176"/>
                  </a:lnTo>
                  <a:lnTo>
                    <a:pt x="75" y="173"/>
                  </a:lnTo>
                  <a:lnTo>
                    <a:pt x="77" y="173"/>
                  </a:lnTo>
                  <a:lnTo>
                    <a:pt x="81" y="182"/>
                  </a:lnTo>
                  <a:lnTo>
                    <a:pt x="85" y="180"/>
                  </a:lnTo>
                  <a:lnTo>
                    <a:pt x="87" y="175"/>
                  </a:lnTo>
                  <a:lnTo>
                    <a:pt x="91" y="180"/>
                  </a:lnTo>
                  <a:lnTo>
                    <a:pt x="92" y="175"/>
                  </a:lnTo>
                  <a:lnTo>
                    <a:pt x="98" y="178"/>
                  </a:lnTo>
                  <a:lnTo>
                    <a:pt x="102" y="175"/>
                  </a:lnTo>
                  <a:lnTo>
                    <a:pt x="106" y="175"/>
                  </a:lnTo>
                  <a:lnTo>
                    <a:pt x="112" y="169"/>
                  </a:lnTo>
                  <a:lnTo>
                    <a:pt x="117" y="167"/>
                  </a:lnTo>
                  <a:lnTo>
                    <a:pt x="125" y="163"/>
                  </a:lnTo>
                  <a:lnTo>
                    <a:pt x="125" y="155"/>
                  </a:lnTo>
                  <a:lnTo>
                    <a:pt x="119" y="151"/>
                  </a:lnTo>
                  <a:lnTo>
                    <a:pt x="121" y="142"/>
                  </a:lnTo>
                  <a:lnTo>
                    <a:pt x="125" y="142"/>
                  </a:lnTo>
                  <a:lnTo>
                    <a:pt x="127" y="142"/>
                  </a:lnTo>
                  <a:lnTo>
                    <a:pt x="129" y="142"/>
                  </a:lnTo>
                  <a:lnTo>
                    <a:pt x="133" y="138"/>
                  </a:lnTo>
                  <a:lnTo>
                    <a:pt x="137" y="140"/>
                  </a:lnTo>
                  <a:lnTo>
                    <a:pt x="142" y="138"/>
                  </a:lnTo>
                  <a:lnTo>
                    <a:pt x="146" y="138"/>
                  </a:lnTo>
                  <a:lnTo>
                    <a:pt x="148" y="136"/>
                  </a:lnTo>
                  <a:lnTo>
                    <a:pt x="148" y="130"/>
                  </a:lnTo>
                  <a:lnTo>
                    <a:pt x="154" y="130"/>
                  </a:lnTo>
                  <a:lnTo>
                    <a:pt x="156" y="127"/>
                  </a:lnTo>
                  <a:lnTo>
                    <a:pt x="162" y="127"/>
                  </a:lnTo>
                  <a:lnTo>
                    <a:pt x="169" y="119"/>
                  </a:lnTo>
                  <a:lnTo>
                    <a:pt x="173" y="123"/>
                  </a:lnTo>
                  <a:lnTo>
                    <a:pt x="179" y="121"/>
                  </a:lnTo>
                  <a:lnTo>
                    <a:pt x="179" y="119"/>
                  </a:lnTo>
                  <a:lnTo>
                    <a:pt x="181" y="111"/>
                  </a:lnTo>
                  <a:lnTo>
                    <a:pt x="179" y="103"/>
                  </a:lnTo>
                  <a:lnTo>
                    <a:pt x="179" y="100"/>
                  </a:lnTo>
                  <a:lnTo>
                    <a:pt x="181" y="96"/>
                  </a:lnTo>
                  <a:lnTo>
                    <a:pt x="183" y="94"/>
                  </a:lnTo>
                  <a:lnTo>
                    <a:pt x="188" y="88"/>
                  </a:lnTo>
                  <a:lnTo>
                    <a:pt x="192" y="86"/>
                  </a:lnTo>
                  <a:lnTo>
                    <a:pt x="196" y="88"/>
                  </a:lnTo>
                  <a:lnTo>
                    <a:pt x="200" y="86"/>
                  </a:lnTo>
                  <a:lnTo>
                    <a:pt x="210" y="86"/>
                  </a:lnTo>
                  <a:lnTo>
                    <a:pt x="219" y="84"/>
                  </a:lnTo>
                  <a:lnTo>
                    <a:pt x="221" y="84"/>
                  </a:lnTo>
                  <a:lnTo>
                    <a:pt x="223" y="88"/>
                  </a:lnTo>
                  <a:lnTo>
                    <a:pt x="225" y="86"/>
                  </a:lnTo>
                  <a:lnTo>
                    <a:pt x="231" y="86"/>
                  </a:lnTo>
                  <a:lnTo>
                    <a:pt x="238" y="80"/>
                  </a:lnTo>
                  <a:lnTo>
                    <a:pt x="238" y="78"/>
                  </a:lnTo>
                  <a:lnTo>
                    <a:pt x="244" y="78"/>
                  </a:lnTo>
                  <a:lnTo>
                    <a:pt x="250" y="77"/>
                  </a:lnTo>
                  <a:lnTo>
                    <a:pt x="252" y="78"/>
                  </a:lnTo>
                  <a:lnTo>
                    <a:pt x="252" y="75"/>
                  </a:lnTo>
                  <a:lnTo>
                    <a:pt x="259" y="71"/>
                  </a:lnTo>
                  <a:lnTo>
                    <a:pt x="261" y="73"/>
                  </a:lnTo>
                  <a:lnTo>
                    <a:pt x="263" y="73"/>
                  </a:lnTo>
                  <a:lnTo>
                    <a:pt x="263" y="67"/>
                  </a:lnTo>
                  <a:lnTo>
                    <a:pt x="267" y="63"/>
                  </a:lnTo>
                  <a:lnTo>
                    <a:pt x="277" y="61"/>
                  </a:lnTo>
                  <a:lnTo>
                    <a:pt x="281" y="59"/>
                  </a:lnTo>
                  <a:lnTo>
                    <a:pt x="281" y="57"/>
                  </a:lnTo>
                  <a:lnTo>
                    <a:pt x="288" y="57"/>
                  </a:lnTo>
                  <a:lnTo>
                    <a:pt x="294" y="52"/>
                  </a:lnTo>
                  <a:lnTo>
                    <a:pt x="300" y="48"/>
                  </a:lnTo>
                  <a:lnTo>
                    <a:pt x="296" y="46"/>
                  </a:lnTo>
                  <a:lnTo>
                    <a:pt x="296" y="42"/>
                  </a:lnTo>
                  <a:lnTo>
                    <a:pt x="290" y="40"/>
                  </a:lnTo>
                  <a:lnTo>
                    <a:pt x="292" y="34"/>
                  </a:lnTo>
                  <a:lnTo>
                    <a:pt x="302" y="34"/>
                  </a:lnTo>
                  <a:lnTo>
                    <a:pt x="304" y="30"/>
                  </a:lnTo>
                  <a:lnTo>
                    <a:pt x="309" y="30"/>
                  </a:lnTo>
                  <a:lnTo>
                    <a:pt x="309" y="29"/>
                  </a:lnTo>
                  <a:lnTo>
                    <a:pt x="313" y="29"/>
                  </a:lnTo>
                  <a:lnTo>
                    <a:pt x="315" y="25"/>
                  </a:lnTo>
                  <a:lnTo>
                    <a:pt x="319" y="27"/>
                  </a:lnTo>
                  <a:lnTo>
                    <a:pt x="325" y="21"/>
                  </a:lnTo>
                  <a:lnTo>
                    <a:pt x="329" y="19"/>
                  </a:lnTo>
                  <a:lnTo>
                    <a:pt x="336" y="15"/>
                  </a:lnTo>
                  <a:lnTo>
                    <a:pt x="340" y="19"/>
                  </a:lnTo>
                  <a:lnTo>
                    <a:pt x="342" y="25"/>
                  </a:lnTo>
                  <a:lnTo>
                    <a:pt x="346" y="29"/>
                  </a:lnTo>
                  <a:lnTo>
                    <a:pt x="346" y="32"/>
                  </a:lnTo>
                  <a:lnTo>
                    <a:pt x="355" y="30"/>
                  </a:lnTo>
                  <a:lnTo>
                    <a:pt x="357" y="32"/>
                  </a:lnTo>
                  <a:lnTo>
                    <a:pt x="363" y="32"/>
                  </a:lnTo>
                  <a:lnTo>
                    <a:pt x="367" y="36"/>
                  </a:lnTo>
                  <a:lnTo>
                    <a:pt x="369" y="38"/>
                  </a:lnTo>
                  <a:lnTo>
                    <a:pt x="369" y="34"/>
                  </a:lnTo>
                  <a:lnTo>
                    <a:pt x="367" y="32"/>
                  </a:lnTo>
                  <a:lnTo>
                    <a:pt x="367" y="30"/>
                  </a:lnTo>
                  <a:lnTo>
                    <a:pt x="371" y="34"/>
                  </a:lnTo>
                  <a:lnTo>
                    <a:pt x="378" y="34"/>
                  </a:lnTo>
                  <a:lnTo>
                    <a:pt x="380" y="40"/>
                  </a:lnTo>
                  <a:lnTo>
                    <a:pt x="390" y="38"/>
                  </a:lnTo>
                  <a:lnTo>
                    <a:pt x="396" y="42"/>
                  </a:lnTo>
                  <a:lnTo>
                    <a:pt x="396" y="38"/>
                  </a:lnTo>
                  <a:lnTo>
                    <a:pt x="400" y="36"/>
                  </a:lnTo>
                  <a:lnTo>
                    <a:pt x="407" y="36"/>
                  </a:lnTo>
                  <a:lnTo>
                    <a:pt x="411" y="36"/>
                  </a:lnTo>
                  <a:lnTo>
                    <a:pt x="411" y="30"/>
                  </a:lnTo>
                  <a:lnTo>
                    <a:pt x="413" y="30"/>
                  </a:lnTo>
                  <a:lnTo>
                    <a:pt x="417" y="30"/>
                  </a:lnTo>
                  <a:lnTo>
                    <a:pt x="415" y="34"/>
                  </a:lnTo>
                  <a:lnTo>
                    <a:pt x="421" y="36"/>
                  </a:lnTo>
                  <a:lnTo>
                    <a:pt x="423" y="34"/>
                  </a:lnTo>
                  <a:lnTo>
                    <a:pt x="421" y="30"/>
                  </a:lnTo>
                  <a:lnTo>
                    <a:pt x="428" y="30"/>
                  </a:lnTo>
                  <a:lnTo>
                    <a:pt x="430" y="30"/>
                  </a:lnTo>
                  <a:lnTo>
                    <a:pt x="432" y="25"/>
                  </a:lnTo>
                  <a:lnTo>
                    <a:pt x="436" y="27"/>
                  </a:lnTo>
                  <a:lnTo>
                    <a:pt x="440" y="27"/>
                  </a:lnTo>
                  <a:lnTo>
                    <a:pt x="442" y="29"/>
                  </a:lnTo>
                  <a:lnTo>
                    <a:pt x="446" y="27"/>
                  </a:lnTo>
                  <a:lnTo>
                    <a:pt x="446" y="17"/>
                  </a:lnTo>
                  <a:lnTo>
                    <a:pt x="448" y="15"/>
                  </a:lnTo>
                  <a:lnTo>
                    <a:pt x="455" y="11"/>
                  </a:lnTo>
                  <a:lnTo>
                    <a:pt x="457" y="15"/>
                  </a:lnTo>
                  <a:lnTo>
                    <a:pt x="459" y="15"/>
                  </a:lnTo>
                  <a:lnTo>
                    <a:pt x="463" y="15"/>
                  </a:lnTo>
                  <a:lnTo>
                    <a:pt x="469" y="11"/>
                  </a:lnTo>
                  <a:lnTo>
                    <a:pt x="472" y="9"/>
                  </a:lnTo>
                  <a:lnTo>
                    <a:pt x="476" y="5"/>
                  </a:lnTo>
                  <a:lnTo>
                    <a:pt x="476" y="0"/>
                  </a:lnTo>
                  <a:lnTo>
                    <a:pt x="480" y="0"/>
                  </a:lnTo>
                  <a:lnTo>
                    <a:pt x="484" y="2"/>
                  </a:lnTo>
                  <a:lnTo>
                    <a:pt x="486" y="5"/>
                  </a:lnTo>
                  <a:lnTo>
                    <a:pt x="492" y="11"/>
                  </a:lnTo>
                  <a:lnTo>
                    <a:pt x="494" y="17"/>
                  </a:lnTo>
                  <a:lnTo>
                    <a:pt x="499" y="25"/>
                  </a:lnTo>
                  <a:lnTo>
                    <a:pt x="503" y="25"/>
                  </a:lnTo>
                  <a:lnTo>
                    <a:pt x="511" y="19"/>
                  </a:lnTo>
                  <a:lnTo>
                    <a:pt x="515" y="23"/>
                  </a:lnTo>
                  <a:lnTo>
                    <a:pt x="511" y="30"/>
                  </a:lnTo>
                  <a:lnTo>
                    <a:pt x="499" y="32"/>
                  </a:lnTo>
                  <a:lnTo>
                    <a:pt x="495" y="34"/>
                  </a:lnTo>
                  <a:lnTo>
                    <a:pt x="494" y="40"/>
                  </a:lnTo>
                  <a:lnTo>
                    <a:pt x="486" y="42"/>
                  </a:lnTo>
                  <a:lnTo>
                    <a:pt x="490" y="44"/>
                  </a:lnTo>
                  <a:lnTo>
                    <a:pt x="490" y="50"/>
                  </a:lnTo>
                  <a:lnTo>
                    <a:pt x="494" y="54"/>
                  </a:lnTo>
                  <a:lnTo>
                    <a:pt x="494" y="55"/>
                  </a:lnTo>
                  <a:lnTo>
                    <a:pt x="490" y="55"/>
                  </a:lnTo>
                  <a:lnTo>
                    <a:pt x="490" y="59"/>
                  </a:lnTo>
                  <a:lnTo>
                    <a:pt x="492" y="61"/>
                  </a:lnTo>
                  <a:lnTo>
                    <a:pt x="497" y="59"/>
                  </a:lnTo>
                  <a:lnTo>
                    <a:pt x="499" y="55"/>
                  </a:lnTo>
                  <a:lnTo>
                    <a:pt x="501" y="55"/>
                  </a:lnTo>
                  <a:lnTo>
                    <a:pt x="503" y="52"/>
                  </a:lnTo>
                  <a:lnTo>
                    <a:pt x="507" y="50"/>
                  </a:lnTo>
                  <a:lnTo>
                    <a:pt x="511" y="46"/>
                  </a:lnTo>
                  <a:lnTo>
                    <a:pt x="520" y="46"/>
                  </a:lnTo>
                  <a:lnTo>
                    <a:pt x="526" y="42"/>
                  </a:lnTo>
                  <a:lnTo>
                    <a:pt x="528" y="44"/>
                  </a:lnTo>
                  <a:lnTo>
                    <a:pt x="524" y="50"/>
                  </a:lnTo>
                  <a:lnTo>
                    <a:pt x="522" y="54"/>
                  </a:lnTo>
                  <a:lnTo>
                    <a:pt x="528" y="55"/>
                  </a:lnTo>
                  <a:lnTo>
                    <a:pt x="528" y="63"/>
                  </a:lnTo>
                  <a:lnTo>
                    <a:pt x="532" y="67"/>
                  </a:lnTo>
                  <a:lnTo>
                    <a:pt x="538" y="75"/>
                  </a:lnTo>
                  <a:lnTo>
                    <a:pt x="536" y="80"/>
                  </a:lnTo>
                  <a:lnTo>
                    <a:pt x="530" y="80"/>
                  </a:lnTo>
                  <a:lnTo>
                    <a:pt x="528" y="84"/>
                  </a:lnTo>
                  <a:lnTo>
                    <a:pt x="524" y="84"/>
                  </a:lnTo>
                  <a:lnTo>
                    <a:pt x="522" y="84"/>
                  </a:lnTo>
                  <a:lnTo>
                    <a:pt x="524" y="90"/>
                  </a:lnTo>
                  <a:lnTo>
                    <a:pt x="517" y="90"/>
                  </a:lnTo>
                  <a:lnTo>
                    <a:pt x="517" y="96"/>
                  </a:lnTo>
                  <a:lnTo>
                    <a:pt x="517" y="98"/>
                  </a:lnTo>
                  <a:lnTo>
                    <a:pt x="509" y="100"/>
                  </a:lnTo>
                  <a:lnTo>
                    <a:pt x="505" y="103"/>
                  </a:lnTo>
                  <a:lnTo>
                    <a:pt x="509" y="107"/>
                  </a:lnTo>
                  <a:lnTo>
                    <a:pt x="509" y="109"/>
                  </a:lnTo>
                  <a:lnTo>
                    <a:pt x="501" y="115"/>
                  </a:lnTo>
                  <a:lnTo>
                    <a:pt x="507" y="117"/>
                  </a:lnTo>
                  <a:lnTo>
                    <a:pt x="513" y="117"/>
                  </a:lnTo>
                  <a:lnTo>
                    <a:pt x="515" y="123"/>
                  </a:lnTo>
                  <a:lnTo>
                    <a:pt x="517" y="123"/>
                  </a:lnTo>
                  <a:lnTo>
                    <a:pt x="519" y="119"/>
                  </a:lnTo>
                  <a:lnTo>
                    <a:pt x="522" y="115"/>
                  </a:lnTo>
                  <a:lnTo>
                    <a:pt x="526" y="115"/>
                  </a:lnTo>
                  <a:lnTo>
                    <a:pt x="534" y="109"/>
                  </a:lnTo>
                  <a:lnTo>
                    <a:pt x="542" y="109"/>
                  </a:lnTo>
                  <a:lnTo>
                    <a:pt x="545" y="111"/>
                  </a:lnTo>
                  <a:lnTo>
                    <a:pt x="551" y="115"/>
                  </a:lnTo>
                  <a:lnTo>
                    <a:pt x="553" y="119"/>
                  </a:lnTo>
                  <a:lnTo>
                    <a:pt x="561" y="121"/>
                  </a:lnTo>
                  <a:lnTo>
                    <a:pt x="565" y="117"/>
                  </a:lnTo>
                  <a:lnTo>
                    <a:pt x="568" y="123"/>
                  </a:lnTo>
                  <a:lnTo>
                    <a:pt x="576" y="127"/>
                  </a:lnTo>
                  <a:lnTo>
                    <a:pt x="584" y="123"/>
                  </a:lnTo>
                  <a:lnTo>
                    <a:pt x="588" y="121"/>
                  </a:lnTo>
                  <a:lnTo>
                    <a:pt x="590" y="125"/>
                  </a:lnTo>
                  <a:lnTo>
                    <a:pt x="597" y="128"/>
                  </a:lnTo>
                  <a:lnTo>
                    <a:pt x="599" y="128"/>
                  </a:lnTo>
                  <a:lnTo>
                    <a:pt x="603" y="130"/>
                  </a:lnTo>
                  <a:lnTo>
                    <a:pt x="607" y="130"/>
                  </a:lnTo>
                  <a:lnTo>
                    <a:pt x="609" y="132"/>
                  </a:lnTo>
                  <a:lnTo>
                    <a:pt x="616" y="136"/>
                  </a:lnTo>
                  <a:lnTo>
                    <a:pt x="616" y="142"/>
                  </a:lnTo>
                  <a:lnTo>
                    <a:pt x="613" y="144"/>
                  </a:lnTo>
                  <a:lnTo>
                    <a:pt x="614" y="146"/>
                  </a:lnTo>
                  <a:lnTo>
                    <a:pt x="609" y="151"/>
                  </a:lnTo>
                  <a:lnTo>
                    <a:pt x="611" y="153"/>
                  </a:lnTo>
                  <a:lnTo>
                    <a:pt x="618" y="151"/>
                  </a:lnTo>
                  <a:lnTo>
                    <a:pt x="616" y="153"/>
                  </a:lnTo>
                  <a:lnTo>
                    <a:pt x="618" y="157"/>
                  </a:lnTo>
                  <a:lnTo>
                    <a:pt x="620" y="157"/>
                  </a:lnTo>
                  <a:lnTo>
                    <a:pt x="616" y="165"/>
                  </a:lnTo>
                  <a:lnTo>
                    <a:pt x="618" y="171"/>
                  </a:lnTo>
                  <a:lnTo>
                    <a:pt x="614" y="173"/>
                  </a:lnTo>
                  <a:lnTo>
                    <a:pt x="609" y="169"/>
                  </a:lnTo>
                  <a:lnTo>
                    <a:pt x="603" y="171"/>
                  </a:lnTo>
                  <a:lnTo>
                    <a:pt x="597" y="176"/>
                  </a:lnTo>
                  <a:lnTo>
                    <a:pt x="595" y="178"/>
                  </a:lnTo>
                  <a:lnTo>
                    <a:pt x="588" y="184"/>
                  </a:lnTo>
                  <a:lnTo>
                    <a:pt x="588" y="188"/>
                  </a:lnTo>
                  <a:lnTo>
                    <a:pt x="584" y="186"/>
                  </a:lnTo>
                  <a:lnTo>
                    <a:pt x="580" y="186"/>
                  </a:lnTo>
                  <a:lnTo>
                    <a:pt x="576" y="194"/>
                  </a:lnTo>
                  <a:lnTo>
                    <a:pt x="570" y="196"/>
                  </a:lnTo>
                  <a:lnTo>
                    <a:pt x="570" y="199"/>
                  </a:lnTo>
                  <a:lnTo>
                    <a:pt x="566" y="201"/>
                  </a:lnTo>
                  <a:lnTo>
                    <a:pt x="566" y="205"/>
                  </a:lnTo>
                  <a:lnTo>
                    <a:pt x="570" y="211"/>
                  </a:lnTo>
                  <a:lnTo>
                    <a:pt x="566" y="219"/>
                  </a:lnTo>
                  <a:lnTo>
                    <a:pt x="572" y="223"/>
                  </a:lnTo>
                  <a:lnTo>
                    <a:pt x="572" y="226"/>
                  </a:lnTo>
                  <a:lnTo>
                    <a:pt x="578" y="234"/>
                  </a:lnTo>
                  <a:lnTo>
                    <a:pt x="580" y="234"/>
                  </a:lnTo>
                  <a:lnTo>
                    <a:pt x="584" y="240"/>
                  </a:lnTo>
                  <a:lnTo>
                    <a:pt x="588" y="242"/>
                  </a:lnTo>
                  <a:lnTo>
                    <a:pt x="588" y="244"/>
                  </a:lnTo>
                  <a:lnTo>
                    <a:pt x="593" y="251"/>
                  </a:lnTo>
                  <a:lnTo>
                    <a:pt x="595" y="255"/>
                  </a:lnTo>
                  <a:lnTo>
                    <a:pt x="591" y="257"/>
                  </a:lnTo>
                  <a:lnTo>
                    <a:pt x="588" y="257"/>
                  </a:lnTo>
                  <a:lnTo>
                    <a:pt x="586" y="257"/>
                  </a:lnTo>
                  <a:lnTo>
                    <a:pt x="582" y="255"/>
                  </a:lnTo>
                  <a:lnTo>
                    <a:pt x="576" y="251"/>
                  </a:lnTo>
                  <a:lnTo>
                    <a:pt x="566" y="249"/>
                  </a:lnTo>
                  <a:lnTo>
                    <a:pt x="563" y="248"/>
                  </a:lnTo>
                  <a:lnTo>
                    <a:pt x="565" y="240"/>
                  </a:lnTo>
                  <a:lnTo>
                    <a:pt x="561" y="238"/>
                  </a:lnTo>
                  <a:lnTo>
                    <a:pt x="561" y="236"/>
                  </a:lnTo>
                  <a:lnTo>
                    <a:pt x="555" y="230"/>
                  </a:lnTo>
                  <a:lnTo>
                    <a:pt x="547" y="228"/>
                  </a:lnTo>
                  <a:lnTo>
                    <a:pt x="542" y="230"/>
                  </a:lnTo>
                  <a:lnTo>
                    <a:pt x="536" y="228"/>
                  </a:lnTo>
                  <a:lnTo>
                    <a:pt x="534" y="234"/>
                  </a:lnTo>
                  <a:lnTo>
                    <a:pt x="526" y="236"/>
                  </a:lnTo>
                  <a:lnTo>
                    <a:pt x="517" y="234"/>
                  </a:lnTo>
                  <a:lnTo>
                    <a:pt x="515" y="236"/>
                  </a:lnTo>
                  <a:lnTo>
                    <a:pt x="509" y="236"/>
                  </a:lnTo>
                  <a:lnTo>
                    <a:pt x="503" y="238"/>
                  </a:lnTo>
                  <a:lnTo>
                    <a:pt x="497" y="238"/>
                  </a:lnTo>
                  <a:lnTo>
                    <a:pt x="490" y="240"/>
                  </a:lnTo>
                  <a:lnTo>
                    <a:pt x="480" y="244"/>
                  </a:lnTo>
                  <a:lnTo>
                    <a:pt x="474" y="248"/>
                  </a:lnTo>
                  <a:lnTo>
                    <a:pt x="472" y="251"/>
                  </a:lnTo>
                  <a:lnTo>
                    <a:pt x="471" y="253"/>
                  </a:lnTo>
                  <a:lnTo>
                    <a:pt x="467" y="259"/>
                  </a:lnTo>
                  <a:lnTo>
                    <a:pt x="465" y="263"/>
                  </a:lnTo>
                  <a:lnTo>
                    <a:pt x="457" y="267"/>
                  </a:lnTo>
                  <a:lnTo>
                    <a:pt x="451" y="265"/>
                  </a:lnTo>
                  <a:lnTo>
                    <a:pt x="448" y="269"/>
                  </a:lnTo>
                  <a:lnTo>
                    <a:pt x="446" y="272"/>
                  </a:lnTo>
                  <a:lnTo>
                    <a:pt x="444" y="278"/>
                  </a:lnTo>
                  <a:lnTo>
                    <a:pt x="442" y="280"/>
                  </a:lnTo>
                  <a:lnTo>
                    <a:pt x="436" y="278"/>
                  </a:lnTo>
                  <a:lnTo>
                    <a:pt x="432" y="282"/>
                  </a:lnTo>
                  <a:lnTo>
                    <a:pt x="428" y="288"/>
                  </a:lnTo>
                  <a:lnTo>
                    <a:pt x="423" y="286"/>
                  </a:lnTo>
                  <a:lnTo>
                    <a:pt x="419" y="288"/>
                  </a:lnTo>
                  <a:lnTo>
                    <a:pt x="417" y="294"/>
                  </a:lnTo>
                  <a:lnTo>
                    <a:pt x="411" y="299"/>
                  </a:lnTo>
                  <a:lnTo>
                    <a:pt x="403" y="303"/>
                  </a:lnTo>
                  <a:lnTo>
                    <a:pt x="401" y="301"/>
                  </a:lnTo>
                  <a:lnTo>
                    <a:pt x="396" y="305"/>
                  </a:lnTo>
                  <a:lnTo>
                    <a:pt x="392" y="303"/>
                  </a:lnTo>
                  <a:lnTo>
                    <a:pt x="392" y="301"/>
                  </a:lnTo>
                  <a:lnTo>
                    <a:pt x="390" y="30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4" name="Freeform 40">
              <a:extLst>
                <a:ext uri="{FF2B5EF4-FFF2-40B4-BE49-F238E27FC236}">
                  <a16:creationId xmlns:a16="http://schemas.microsoft.com/office/drawing/2014/main" id="{164E5B6A-2367-44C4-8EC6-723E261F2060}"/>
                </a:ext>
              </a:extLst>
            </p:cNvPr>
            <p:cNvSpPr>
              <a:spLocks/>
            </p:cNvSpPr>
            <p:nvPr/>
          </p:nvSpPr>
          <p:spPr bwMode="gray">
            <a:xfrm>
              <a:off x="7145339" y="3092451"/>
              <a:ext cx="506414" cy="192088"/>
            </a:xfrm>
            <a:custGeom>
              <a:avLst/>
              <a:gdLst>
                <a:gd name="T0" fmla="*/ 267 w 319"/>
                <a:gd name="T1" fmla="*/ 117 h 121"/>
                <a:gd name="T2" fmla="*/ 254 w 319"/>
                <a:gd name="T3" fmla="*/ 109 h 121"/>
                <a:gd name="T4" fmla="*/ 246 w 319"/>
                <a:gd name="T5" fmla="*/ 107 h 121"/>
                <a:gd name="T6" fmla="*/ 231 w 319"/>
                <a:gd name="T7" fmla="*/ 103 h 121"/>
                <a:gd name="T8" fmla="*/ 206 w 319"/>
                <a:gd name="T9" fmla="*/ 103 h 121"/>
                <a:gd name="T10" fmla="*/ 192 w 319"/>
                <a:gd name="T11" fmla="*/ 109 h 121"/>
                <a:gd name="T12" fmla="*/ 186 w 319"/>
                <a:gd name="T13" fmla="*/ 103 h 121"/>
                <a:gd name="T14" fmla="*/ 173 w 319"/>
                <a:gd name="T15" fmla="*/ 107 h 121"/>
                <a:gd name="T16" fmla="*/ 154 w 319"/>
                <a:gd name="T17" fmla="*/ 100 h 121"/>
                <a:gd name="T18" fmla="*/ 135 w 319"/>
                <a:gd name="T19" fmla="*/ 100 h 121"/>
                <a:gd name="T20" fmla="*/ 102 w 319"/>
                <a:gd name="T21" fmla="*/ 103 h 121"/>
                <a:gd name="T22" fmla="*/ 87 w 319"/>
                <a:gd name="T23" fmla="*/ 103 h 121"/>
                <a:gd name="T24" fmla="*/ 60 w 319"/>
                <a:gd name="T25" fmla="*/ 103 h 121"/>
                <a:gd name="T26" fmla="*/ 37 w 319"/>
                <a:gd name="T27" fmla="*/ 98 h 121"/>
                <a:gd name="T28" fmla="*/ 16 w 319"/>
                <a:gd name="T29" fmla="*/ 90 h 121"/>
                <a:gd name="T30" fmla="*/ 0 w 319"/>
                <a:gd name="T31" fmla="*/ 82 h 121"/>
                <a:gd name="T32" fmla="*/ 10 w 319"/>
                <a:gd name="T33" fmla="*/ 67 h 121"/>
                <a:gd name="T34" fmla="*/ 23 w 319"/>
                <a:gd name="T35" fmla="*/ 57 h 121"/>
                <a:gd name="T36" fmla="*/ 14 w 319"/>
                <a:gd name="T37" fmla="*/ 48 h 121"/>
                <a:gd name="T38" fmla="*/ 17 w 319"/>
                <a:gd name="T39" fmla="*/ 36 h 121"/>
                <a:gd name="T40" fmla="*/ 21 w 319"/>
                <a:gd name="T41" fmla="*/ 27 h 121"/>
                <a:gd name="T42" fmla="*/ 39 w 319"/>
                <a:gd name="T43" fmla="*/ 19 h 121"/>
                <a:gd name="T44" fmla="*/ 64 w 319"/>
                <a:gd name="T45" fmla="*/ 11 h 121"/>
                <a:gd name="T46" fmla="*/ 79 w 319"/>
                <a:gd name="T47" fmla="*/ 19 h 121"/>
                <a:gd name="T48" fmla="*/ 87 w 319"/>
                <a:gd name="T49" fmla="*/ 23 h 121"/>
                <a:gd name="T50" fmla="*/ 108 w 319"/>
                <a:gd name="T51" fmla="*/ 21 h 121"/>
                <a:gd name="T52" fmla="*/ 125 w 319"/>
                <a:gd name="T53" fmla="*/ 25 h 121"/>
                <a:gd name="T54" fmla="*/ 135 w 319"/>
                <a:gd name="T55" fmla="*/ 30 h 121"/>
                <a:gd name="T56" fmla="*/ 142 w 319"/>
                <a:gd name="T57" fmla="*/ 29 h 121"/>
                <a:gd name="T58" fmla="*/ 150 w 319"/>
                <a:gd name="T59" fmla="*/ 44 h 121"/>
                <a:gd name="T60" fmla="*/ 163 w 319"/>
                <a:gd name="T61" fmla="*/ 30 h 121"/>
                <a:gd name="T62" fmla="*/ 183 w 319"/>
                <a:gd name="T63" fmla="*/ 29 h 121"/>
                <a:gd name="T64" fmla="*/ 177 w 319"/>
                <a:gd name="T65" fmla="*/ 25 h 121"/>
                <a:gd name="T66" fmla="*/ 183 w 319"/>
                <a:gd name="T67" fmla="*/ 17 h 121"/>
                <a:gd name="T68" fmla="*/ 194 w 319"/>
                <a:gd name="T69" fmla="*/ 17 h 121"/>
                <a:gd name="T70" fmla="*/ 204 w 319"/>
                <a:gd name="T71" fmla="*/ 19 h 121"/>
                <a:gd name="T72" fmla="*/ 207 w 319"/>
                <a:gd name="T73" fmla="*/ 6 h 121"/>
                <a:gd name="T74" fmla="*/ 227 w 319"/>
                <a:gd name="T75" fmla="*/ 11 h 121"/>
                <a:gd name="T76" fmla="*/ 248 w 319"/>
                <a:gd name="T77" fmla="*/ 7 h 121"/>
                <a:gd name="T78" fmla="*/ 261 w 319"/>
                <a:gd name="T79" fmla="*/ 9 h 121"/>
                <a:gd name="T80" fmla="*/ 257 w 319"/>
                <a:gd name="T81" fmla="*/ 23 h 121"/>
                <a:gd name="T82" fmla="*/ 252 w 319"/>
                <a:gd name="T83" fmla="*/ 42 h 121"/>
                <a:gd name="T84" fmla="*/ 267 w 319"/>
                <a:gd name="T85" fmla="*/ 42 h 121"/>
                <a:gd name="T86" fmla="*/ 279 w 319"/>
                <a:gd name="T87" fmla="*/ 48 h 121"/>
                <a:gd name="T88" fmla="*/ 294 w 319"/>
                <a:gd name="T89" fmla="*/ 61 h 121"/>
                <a:gd name="T90" fmla="*/ 302 w 319"/>
                <a:gd name="T91" fmla="*/ 63 h 121"/>
                <a:gd name="T92" fmla="*/ 298 w 319"/>
                <a:gd name="T93" fmla="*/ 77 h 121"/>
                <a:gd name="T94" fmla="*/ 302 w 319"/>
                <a:gd name="T95" fmla="*/ 75 h 121"/>
                <a:gd name="T96" fmla="*/ 311 w 319"/>
                <a:gd name="T97" fmla="*/ 80 h 121"/>
                <a:gd name="T98" fmla="*/ 315 w 319"/>
                <a:gd name="T99" fmla="*/ 92 h 121"/>
                <a:gd name="T100" fmla="*/ 315 w 319"/>
                <a:gd name="T101" fmla="*/ 100 h 121"/>
                <a:gd name="T102" fmla="*/ 290 w 319"/>
                <a:gd name="T103" fmla="*/ 111 h 121"/>
                <a:gd name="T104" fmla="*/ 280 w 319"/>
                <a:gd name="T105" fmla="*/ 11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9" h="121">
                  <a:moveTo>
                    <a:pt x="277" y="121"/>
                  </a:moveTo>
                  <a:lnTo>
                    <a:pt x="273" y="119"/>
                  </a:lnTo>
                  <a:lnTo>
                    <a:pt x="271" y="117"/>
                  </a:lnTo>
                  <a:lnTo>
                    <a:pt x="267" y="117"/>
                  </a:lnTo>
                  <a:lnTo>
                    <a:pt x="267" y="115"/>
                  </a:lnTo>
                  <a:lnTo>
                    <a:pt x="263" y="115"/>
                  </a:lnTo>
                  <a:lnTo>
                    <a:pt x="255" y="111"/>
                  </a:lnTo>
                  <a:lnTo>
                    <a:pt x="254" y="109"/>
                  </a:lnTo>
                  <a:lnTo>
                    <a:pt x="255" y="109"/>
                  </a:lnTo>
                  <a:lnTo>
                    <a:pt x="254" y="107"/>
                  </a:lnTo>
                  <a:lnTo>
                    <a:pt x="252" y="109"/>
                  </a:lnTo>
                  <a:lnTo>
                    <a:pt x="246" y="107"/>
                  </a:lnTo>
                  <a:lnTo>
                    <a:pt x="246" y="105"/>
                  </a:lnTo>
                  <a:lnTo>
                    <a:pt x="240" y="102"/>
                  </a:lnTo>
                  <a:lnTo>
                    <a:pt x="232" y="102"/>
                  </a:lnTo>
                  <a:lnTo>
                    <a:pt x="231" y="103"/>
                  </a:lnTo>
                  <a:lnTo>
                    <a:pt x="225" y="102"/>
                  </a:lnTo>
                  <a:lnTo>
                    <a:pt x="215" y="103"/>
                  </a:lnTo>
                  <a:lnTo>
                    <a:pt x="211" y="103"/>
                  </a:lnTo>
                  <a:lnTo>
                    <a:pt x="206" y="103"/>
                  </a:lnTo>
                  <a:lnTo>
                    <a:pt x="206" y="107"/>
                  </a:lnTo>
                  <a:lnTo>
                    <a:pt x="200" y="105"/>
                  </a:lnTo>
                  <a:lnTo>
                    <a:pt x="200" y="107"/>
                  </a:lnTo>
                  <a:lnTo>
                    <a:pt x="192" y="109"/>
                  </a:lnTo>
                  <a:lnTo>
                    <a:pt x="192" y="107"/>
                  </a:lnTo>
                  <a:lnTo>
                    <a:pt x="190" y="107"/>
                  </a:lnTo>
                  <a:lnTo>
                    <a:pt x="190" y="103"/>
                  </a:lnTo>
                  <a:lnTo>
                    <a:pt x="186" y="103"/>
                  </a:lnTo>
                  <a:lnTo>
                    <a:pt x="184" y="105"/>
                  </a:lnTo>
                  <a:lnTo>
                    <a:pt x="175" y="107"/>
                  </a:lnTo>
                  <a:lnTo>
                    <a:pt x="175" y="105"/>
                  </a:lnTo>
                  <a:lnTo>
                    <a:pt x="173" y="107"/>
                  </a:lnTo>
                  <a:lnTo>
                    <a:pt x="169" y="103"/>
                  </a:lnTo>
                  <a:lnTo>
                    <a:pt x="163" y="103"/>
                  </a:lnTo>
                  <a:lnTo>
                    <a:pt x="158" y="102"/>
                  </a:lnTo>
                  <a:lnTo>
                    <a:pt x="154" y="100"/>
                  </a:lnTo>
                  <a:lnTo>
                    <a:pt x="150" y="102"/>
                  </a:lnTo>
                  <a:lnTo>
                    <a:pt x="146" y="100"/>
                  </a:lnTo>
                  <a:lnTo>
                    <a:pt x="138" y="102"/>
                  </a:lnTo>
                  <a:lnTo>
                    <a:pt x="135" y="100"/>
                  </a:lnTo>
                  <a:lnTo>
                    <a:pt x="127" y="102"/>
                  </a:lnTo>
                  <a:lnTo>
                    <a:pt x="117" y="103"/>
                  </a:lnTo>
                  <a:lnTo>
                    <a:pt x="110" y="105"/>
                  </a:lnTo>
                  <a:lnTo>
                    <a:pt x="102" y="103"/>
                  </a:lnTo>
                  <a:lnTo>
                    <a:pt x="96" y="105"/>
                  </a:lnTo>
                  <a:lnTo>
                    <a:pt x="90" y="103"/>
                  </a:lnTo>
                  <a:lnTo>
                    <a:pt x="89" y="102"/>
                  </a:lnTo>
                  <a:lnTo>
                    <a:pt x="87" y="103"/>
                  </a:lnTo>
                  <a:lnTo>
                    <a:pt x="81" y="103"/>
                  </a:lnTo>
                  <a:lnTo>
                    <a:pt x="73" y="103"/>
                  </a:lnTo>
                  <a:lnTo>
                    <a:pt x="65" y="105"/>
                  </a:lnTo>
                  <a:lnTo>
                    <a:pt x="60" y="103"/>
                  </a:lnTo>
                  <a:lnTo>
                    <a:pt x="56" y="102"/>
                  </a:lnTo>
                  <a:lnTo>
                    <a:pt x="48" y="102"/>
                  </a:lnTo>
                  <a:lnTo>
                    <a:pt x="46" y="100"/>
                  </a:lnTo>
                  <a:lnTo>
                    <a:pt x="37" y="98"/>
                  </a:lnTo>
                  <a:lnTo>
                    <a:pt x="33" y="98"/>
                  </a:lnTo>
                  <a:lnTo>
                    <a:pt x="25" y="94"/>
                  </a:lnTo>
                  <a:lnTo>
                    <a:pt x="19" y="92"/>
                  </a:lnTo>
                  <a:lnTo>
                    <a:pt x="16" y="90"/>
                  </a:lnTo>
                  <a:lnTo>
                    <a:pt x="12" y="88"/>
                  </a:lnTo>
                  <a:lnTo>
                    <a:pt x="6" y="92"/>
                  </a:lnTo>
                  <a:lnTo>
                    <a:pt x="2" y="90"/>
                  </a:lnTo>
                  <a:lnTo>
                    <a:pt x="0" y="82"/>
                  </a:lnTo>
                  <a:lnTo>
                    <a:pt x="0" y="77"/>
                  </a:lnTo>
                  <a:lnTo>
                    <a:pt x="2" y="73"/>
                  </a:lnTo>
                  <a:lnTo>
                    <a:pt x="8" y="71"/>
                  </a:lnTo>
                  <a:lnTo>
                    <a:pt x="10" y="67"/>
                  </a:lnTo>
                  <a:lnTo>
                    <a:pt x="8" y="63"/>
                  </a:lnTo>
                  <a:lnTo>
                    <a:pt x="10" y="59"/>
                  </a:lnTo>
                  <a:lnTo>
                    <a:pt x="14" y="61"/>
                  </a:lnTo>
                  <a:lnTo>
                    <a:pt x="23" y="57"/>
                  </a:lnTo>
                  <a:lnTo>
                    <a:pt x="21" y="54"/>
                  </a:lnTo>
                  <a:lnTo>
                    <a:pt x="19" y="54"/>
                  </a:lnTo>
                  <a:lnTo>
                    <a:pt x="16" y="50"/>
                  </a:lnTo>
                  <a:lnTo>
                    <a:pt x="14" y="48"/>
                  </a:lnTo>
                  <a:lnTo>
                    <a:pt x="10" y="42"/>
                  </a:lnTo>
                  <a:lnTo>
                    <a:pt x="12" y="42"/>
                  </a:lnTo>
                  <a:lnTo>
                    <a:pt x="16" y="38"/>
                  </a:lnTo>
                  <a:lnTo>
                    <a:pt x="17" y="36"/>
                  </a:lnTo>
                  <a:lnTo>
                    <a:pt x="16" y="32"/>
                  </a:lnTo>
                  <a:lnTo>
                    <a:pt x="21" y="30"/>
                  </a:lnTo>
                  <a:lnTo>
                    <a:pt x="23" y="27"/>
                  </a:lnTo>
                  <a:lnTo>
                    <a:pt x="21" y="27"/>
                  </a:lnTo>
                  <a:lnTo>
                    <a:pt x="23" y="25"/>
                  </a:lnTo>
                  <a:lnTo>
                    <a:pt x="27" y="25"/>
                  </a:lnTo>
                  <a:lnTo>
                    <a:pt x="35" y="17"/>
                  </a:lnTo>
                  <a:lnTo>
                    <a:pt x="39" y="19"/>
                  </a:lnTo>
                  <a:lnTo>
                    <a:pt x="44" y="17"/>
                  </a:lnTo>
                  <a:lnTo>
                    <a:pt x="50" y="17"/>
                  </a:lnTo>
                  <a:lnTo>
                    <a:pt x="58" y="13"/>
                  </a:lnTo>
                  <a:lnTo>
                    <a:pt x="64" y="11"/>
                  </a:lnTo>
                  <a:lnTo>
                    <a:pt x="67" y="13"/>
                  </a:lnTo>
                  <a:lnTo>
                    <a:pt x="67" y="11"/>
                  </a:lnTo>
                  <a:lnTo>
                    <a:pt x="71" y="11"/>
                  </a:lnTo>
                  <a:lnTo>
                    <a:pt x="79" y="19"/>
                  </a:lnTo>
                  <a:lnTo>
                    <a:pt x="77" y="23"/>
                  </a:lnTo>
                  <a:lnTo>
                    <a:pt x="83" y="19"/>
                  </a:lnTo>
                  <a:lnTo>
                    <a:pt x="87" y="19"/>
                  </a:lnTo>
                  <a:lnTo>
                    <a:pt x="87" y="23"/>
                  </a:lnTo>
                  <a:lnTo>
                    <a:pt x="89" y="21"/>
                  </a:lnTo>
                  <a:lnTo>
                    <a:pt x="96" y="19"/>
                  </a:lnTo>
                  <a:lnTo>
                    <a:pt x="102" y="21"/>
                  </a:lnTo>
                  <a:lnTo>
                    <a:pt x="108" y="21"/>
                  </a:lnTo>
                  <a:lnTo>
                    <a:pt x="113" y="21"/>
                  </a:lnTo>
                  <a:lnTo>
                    <a:pt x="121" y="19"/>
                  </a:lnTo>
                  <a:lnTo>
                    <a:pt x="123" y="21"/>
                  </a:lnTo>
                  <a:lnTo>
                    <a:pt x="125" y="25"/>
                  </a:lnTo>
                  <a:lnTo>
                    <a:pt x="129" y="25"/>
                  </a:lnTo>
                  <a:lnTo>
                    <a:pt x="127" y="34"/>
                  </a:lnTo>
                  <a:lnTo>
                    <a:pt x="133" y="30"/>
                  </a:lnTo>
                  <a:lnTo>
                    <a:pt x="135" y="30"/>
                  </a:lnTo>
                  <a:lnTo>
                    <a:pt x="133" y="32"/>
                  </a:lnTo>
                  <a:lnTo>
                    <a:pt x="133" y="34"/>
                  </a:lnTo>
                  <a:lnTo>
                    <a:pt x="138" y="32"/>
                  </a:lnTo>
                  <a:lnTo>
                    <a:pt x="142" y="29"/>
                  </a:lnTo>
                  <a:lnTo>
                    <a:pt x="148" y="29"/>
                  </a:lnTo>
                  <a:lnTo>
                    <a:pt x="146" y="38"/>
                  </a:lnTo>
                  <a:lnTo>
                    <a:pt x="146" y="44"/>
                  </a:lnTo>
                  <a:lnTo>
                    <a:pt x="150" y="44"/>
                  </a:lnTo>
                  <a:lnTo>
                    <a:pt x="156" y="42"/>
                  </a:lnTo>
                  <a:lnTo>
                    <a:pt x="156" y="40"/>
                  </a:lnTo>
                  <a:lnTo>
                    <a:pt x="161" y="32"/>
                  </a:lnTo>
                  <a:lnTo>
                    <a:pt x="163" y="30"/>
                  </a:lnTo>
                  <a:lnTo>
                    <a:pt x="171" y="29"/>
                  </a:lnTo>
                  <a:lnTo>
                    <a:pt x="175" y="30"/>
                  </a:lnTo>
                  <a:lnTo>
                    <a:pt x="177" y="29"/>
                  </a:lnTo>
                  <a:lnTo>
                    <a:pt x="183" y="29"/>
                  </a:lnTo>
                  <a:lnTo>
                    <a:pt x="184" y="25"/>
                  </a:lnTo>
                  <a:lnTo>
                    <a:pt x="181" y="29"/>
                  </a:lnTo>
                  <a:lnTo>
                    <a:pt x="177" y="29"/>
                  </a:lnTo>
                  <a:lnTo>
                    <a:pt x="177" y="25"/>
                  </a:lnTo>
                  <a:lnTo>
                    <a:pt x="181" y="25"/>
                  </a:lnTo>
                  <a:lnTo>
                    <a:pt x="184" y="21"/>
                  </a:lnTo>
                  <a:lnTo>
                    <a:pt x="181" y="23"/>
                  </a:lnTo>
                  <a:lnTo>
                    <a:pt x="183" y="17"/>
                  </a:lnTo>
                  <a:lnTo>
                    <a:pt x="186" y="15"/>
                  </a:lnTo>
                  <a:lnTo>
                    <a:pt x="190" y="9"/>
                  </a:lnTo>
                  <a:lnTo>
                    <a:pt x="194" y="11"/>
                  </a:lnTo>
                  <a:lnTo>
                    <a:pt x="194" y="17"/>
                  </a:lnTo>
                  <a:lnTo>
                    <a:pt x="192" y="21"/>
                  </a:lnTo>
                  <a:lnTo>
                    <a:pt x="196" y="23"/>
                  </a:lnTo>
                  <a:lnTo>
                    <a:pt x="200" y="23"/>
                  </a:lnTo>
                  <a:lnTo>
                    <a:pt x="204" y="19"/>
                  </a:lnTo>
                  <a:lnTo>
                    <a:pt x="206" y="9"/>
                  </a:lnTo>
                  <a:lnTo>
                    <a:pt x="206" y="7"/>
                  </a:lnTo>
                  <a:lnTo>
                    <a:pt x="206" y="6"/>
                  </a:lnTo>
                  <a:lnTo>
                    <a:pt x="207" y="6"/>
                  </a:lnTo>
                  <a:lnTo>
                    <a:pt x="215" y="0"/>
                  </a:lnTo>
                  <a:lnTo>
                    <a:pt x="221" y="4"/>
                  </a:lnTo>
                  <a:lnTo>
                    <a:pt x="221" y="9"/>
                  </a:lnTo>
                  <a:lnTo>
                    <a:pt x="227" y="11"/>
                  </a:lnTo>
                  <a:lnTo>
                    <a:pt x="232" y="9"/>
                  </a:lnTo>
                  <a:lnTo>
                    <a:pt x="240" y="9"/>
                  </a:lnTo>
                  <a:lnTo>
                    <a:pt x="246" y="7"/>
                  </a:lnTo>
                  <a:lnTo>
                    <a:pt x="248" y="7"/>
                  </a:lnTo>
                  <a:lnTo>
                    <a:pt x="254" y="6"/>
                  </a:lnTo>
                  <a:lnTo>
                    <a:pt x="259" y="6"/>
                  </a:lnTo>
                  <a:lnTo>
                    <a:pt x="265" y="6"/>
                  </a:lnTo>
                  <a:lnTo>
                    <a:pt x="261" y="9"/>
                  </a:lnTo>
                  <a:lnTo>
                    <a:pt x="254" y="15"/>
                  </a:lnTo>
                  <a:lnTo>
                    <a:pt x="250" y="19"/>
                  </a:lnTo>
                  <a:lnTo>
                    <a:pt x="250" y="23"/>
                  </a:lnTo>
                  <a:lnTo>
                    <a:pt x="257" y="23"/>
                  </a:lnTo>
                  <a:lnTo>
                    <a:pt x="252" y="27"/>
                  </a:lnTo>
                  <a:lnTo>
                    <a:pt x="250" y="32"/>
                  </a:lnTo>
                  <a:lnTo>
                    <a:pt x="250" y="38"/>
                  </a:lnTo>
                  <a:lnTo>
                    <a:pt x="252" y="42"/>
                  </a:lnTo>
                  <a:lnTo>
                    <a:pt x="252" y="48"/>
                  </a:lnTo>
                  <a:lnTo>
                    <a:pt x="257" y="44"/>
                  </a:lnTo>
                  <a:lnTo>
                    <a:pt x="261" y="44"/>
                  </a:lnTo>
                  <a:lnTo>
                    <a:pt x="267" y="42"/>
                  </a:lnTo>
                  <a:lnTo>
                    <a:pt x="273" y="42"/>
                  </a:lnTo>
                  <a:lnTo>
                    <a:pt x="275" y="40"/>
                  </a:lnTo>
                  <a:lnTo>
                    <a:pt x="280" y="44"/>
                  </a:lnTo>
                  <a:lnTo>
                    <a:pt x="279" y="48"/>
                  </a:lnTo>
                  <a:lnTo>
                    <a:pt x="282" y="48"/>
                  </a:lnTo>
                  <a:lnTo>
                    <a:pt x="286" y="54"/>
                  </a:lnTo>
                  <a:lnTo>
                    <a:pt x="292" y="55"/>
                  </a:lnTo>
                  <a:lnTo>
                    <a:pt x="294" y="61"/>
                  </a:lnTo>
                  <a:lnTo>
                    <a:pt x="298" y="61"/>
                  </a:lnTo>
                  <a:lnTo>
                    <a:pt x="302" y="57"/>
                  </a:lnTo>
                  <a:lnTo>
                    <a:pt x="303" y="59"/>
                  </a:lnTo>
                  <a:lnTo>
                    <a:pt x="302" y="63"/>
                  </a:lnTo>
                  <a:lnTo>
                    <a:pt x="294" y="69"/>
                  </a:lnTo>
                  <a:lnTo>
                    <a:pt x="294" y="71"/>
                  </a:lnTo>
                  <a:lnTo>
                    <a:pt x="296" y="71"/>
                  </a:lnTo>
                  <a:lnTo>
                    <a:pt x="298" y="77"/>
                  </a:lnTo>
                  <a:lnTo>
                    <a:pt x="300" y="77"/>
                  </a:lnTo>
                  <a:lnTo>
                    <a:pt x="300" y="75"/>
                  </a:lnTo>
                  <a:lnTo>
                    <a:pt x="302" y="77"/>
                  </a:lnTo>
                  <a:lnTo>
                    <a:pt x="302" y="75"/>
                  </a:lnTo>
                  <a:lnTo>
                    <a:pt x="303" y="79"/>
                  </a:lnTo>
                  <a:lnTo>
                    <a:pt x="305" y="77"/>
                  </a:lnTo>
                  <a:lnTo>
                    <a:pt x="309" y="80"/>
                  </a:lnTo>
                  <a:lnTo>
                    <a:pt x="311" y="80"/>
                  </a:lnTo>
                  <a:lnTo>
                    <a:pt x="313" y="84"/>
                  </a:lnTo>
                  <a:lnTo>
                    <a:pt x="315" y="86"/>
                  </a:lnTo>
                  <a:lnTo>
                    <a:pt x="317" y="90"/>
                  </a:lnTo>
                  <a:lnTo>
                    <a:pt x="315" y="92"/>
                  </a:lnTo>
                  <a:lnTo>
                    <a:pt x="315" y="94"/>
                  </a:lnTo>
                  <a:lnTo>
                    <a:pt x="313" y="96"/>
                  </a:lnTo>
                  <a:lnTo>
                    <a:pt x="319" y="98"/>
                  </a:lnTo>
                  <a:lnTo>
                    <a:pt x="315" y="100"/>
                  </a:lnTo>
                  <a:lnTo>
                    <a:pt x="311" y="100"/>
                  </a:lnTo>
                  <a:lnTo>
                    <a:pt x="303" y="103"/>
                  </a:lnTo>
                  <a:lnTo>
                    <a:pt x="298" y="111"/>
                  </a:lnTo>
                  <a:lnTo>
                    <a:pt x="290" y="111"/>
                  </a:lnTo>
                  <a:lnTo>
                    <a:pt x="284" y="109"/>
                  </a:lnTo>
                  <a:lnTo>
                    <a:pt x="280" y="117"/>
                  </a:lnTo>
                  <a:lnTo>
                    <a:pt x="282" y="117"/>
                  </a:lnTo>
                  <a:lnTo>
                    <a:pt x="280" y="117"/>
                  </a:lnTo>
                  <a:lnTo>
                    <a:pt x="277" y="12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5" name="Freeform 41">
              <a:extLst>
                <a:ext uri="{FF2B5EF4-FFF2-40B4-BE49-F238E27FC236}">
                  <a16:creationId xmlns:a16="http://schemas.microsoft.com/office/drawing/2014/main" id="{A902A0F2-3945-4BF3-BDA8-6657EC5FDF70}"/>
                </a:ext>
              </a:extLst>
            </p:cNvPr>
            <p:cNvSpPr>
              <a:spLocks/>
            </p:cNvSpPr>
            <p:nvPr/>
          </p:nvSpPr>
          <p:spPr bwMode="gray">
            <a:xfrm>
              <a:off x="7131051" y="2774950"/>
              <a:ext cx="1062039" cy="658813"/>
            </a:xfrm>
            <a:custGeom>
              <a:avLst/>
              <a:gdLst>
                <a:gd name="T0" fmla="*/ 554 w 669"/>
                <a:gd name="T1" fmla="*/ 109 h 415"/>
                <a:gd name="T2" fmla="*/ 522 w 669"/>
                <a:gd name="T3" fmla="*/ 136 h 415"/>
                <a:gd name="T4" fmla="*/ 508 w 669"/>
                <a:gd name="T5" fmla="*/ 142 h 415"/>
                <a:gd name="T6" fmla="*/ 493 w 669"/>
                <a:gd name="T7" fmla="*/ 159 h 415"/>
                <a:gd name="T8" fmla="*/ 474 w 669"/>
                <a:gd name="T9" fmla="*/ 177 h 415"/>
                <a:gd name="T10" fmla="*/ 453 w 669"/>
                <a:gd name="T11" fmla="*/ 204 h 415"/>
                <a:gd name="T12" fmla="*/ 431 w 669"/>
                <a:gd name="T13" fmla="*/ 230 h 415"/>
                <a:gd name="T14" fmla="*/ 422 w 669"/>
                <a:gd name="T15" fmla="*/ 232 h 415"/>
                <a:gd name="T16" fmla="*/ 393 w 669"/>
                <a:gd name="T17" fmla="*/ 254 h 415"/>
                <a:gd name="T18" fmla="*/ 395 w 669"/>
                <a:gd name="T19" fmla="*/ 290 h 415"/>
                <a:gd name="T20" fmla="*/ 374 w 669"/>
                <a:gd name="T21" fmla="*/ 325 h 415"/>
                <a:gd name="T22" fmla="*/ 362 w 669"/>
                <a:gd name="T23" fmla="*/ 342 h 415"/>
                <a:gd name="T24" fmla="*/ 353 w 669"/>
                <a:gd name="T25" fmla="*/ 371 h 415"/>
                <a:gd name="T26" fmla="*/ 337 w 669"/>
                <a:gd name="T27" fmla="*/ 388 h 415"/>
                <a:gd name="T28" fmla="*/ 314 w 669"/>
                <a:gd name="T29" fmla="*/ 390 h 415"/>
                <a:gd name="T30" fmla="*/ 289 w 669"/>
                <a:gd name="T31" fmla="*/ 415 h 415"/>
                <a:gd name="T32" fmla="*/ 268 w 669"/>
                <a:gd name="T33" fmla="*/ 390 h 415"/>
                <a:gd name="T34" fmla="*/ 272 w 669"/>
                <a:gd name="T35" fmla="*/ 352 h 415"/>
                <a:gd name="T36" fmla="*/ 282 w 669"/>
                <a:gd name="T37" fmla="*/ 336 h 415"/>
                <a:gd name="T38" fmla="*/ 286 w 669"/>
                <a:gd name="T39" fmla="*/ 325 h 415"/>
                <a:gd name="T40" fmla="*/ 320 w 669"/>
                <a:gd name="T41" fmla="*/ 300 h 415"/>
                <a:gd name="T42" fmla="*/ 320 w 669"/>
                <a:gd name="T43" fmla="*/ 280 h 415"/>
                <a:gd name="T44" fmla="*/ 305 w 669"/>
                <a:gd name="T45" fmla="*/ 271 h 415"/>
                <a:gd name="T46" fmla="*/ 295 w 669"/>
                <a:gd name="T47" fmla="*/ 254 h 415"/>
                <a:gd name="T48" fmla="*/ 261 w 669"/>
                <a:gd name="T49" fmla="*/ 248 h 415"/>
                <a:gd name="T50" fmla="*/ 270 w 669"/>
                <a:gd name="T51" fmla="*/ 209 h 415"/>
                <a:gd name="T52" fmla="*/ 230 w 669"/>
                <a:gd name="T53" fmla="*/ 209 h 415"/>
                <a:gd name="T54" fmla="*/ 205 w 669"/>
                <a:gd name="T55" fmla="*/ 223 h 415"/>
                <a:gd name="T56" fmla="*/ 190 w 669"/>
                <a:gd name="T57" fmla="*/ 225 h 415"/>
                <a:gd name="T58" fmla="*/ 172 w 669"/>
                <a:gd name="T59" fmla="*/ 230 h 415"/>
                <a:gd name="T60" fmla="*/ 147 w 669"/>
                <a:gd name="T61" fmla="*/ 232 h 415"/>
                <a:gd name="T62" fmla="*/ 130 w 669"/>
                <a:gd name="T63" fmla="*/ 219 h 415"/>
                <a:gd name="T64" fmla="*/ 86 w 669"/>
                <a:gd name="T65" fmla="*/ 223 h 415"/>
                <a:gd name="T66" fmla="*/ 48 w 669"/>
                <a:gd name="T67" fmla="*/ 219 h 415"/>
                <a:gd name="T68" fmla="*/ 25 w 669"/>
                <a:gd name="T69" fmla="*/ 238 h 415"/>
                <a:gd name="T70" fmla="*/ 19 w 669"/>
                <a:gd name="T71" fmla="*/ 259 h 415"/>
                <a:gd name="T72" fmla="*/ 13 w 669"/>
                <a:gd name="T73" fmla="*/ 265 h 415"/>
                <a:gd name="T74" fmla="*/ 17 w 669"/>
                <a:gd name="T75" fmla="*/ 252 h 415"/>
                <a:gd name="T76" fmla="*/ 13 w 669"/>
                <a:gd name="T77" fmla="*/ 215 h 415"/>
                <a:gd name="T78" fmla="*/ 0 w 669"/>
                <a:gd name="T79" fmla="*/ 194 h 415"/>
                <a:gd name="T80" fmla="*/ 5 w 669"/>
                <a:gd name="T81" fmla="*/ 179 h 415"/>
                <a:gd name="T82" fmla="*/ 19 w 669"/>
                <a:gd name="T83" fmla="*/ 154 h 415"/>
                <a:gd name="T84" fmla="*/ 36 w 669"/>
                <a:gd name="T85" fmla="*/ 134 h 415"/>
                <a:gd name="T86" fmla="*/ 76 w 669"/>
                <a:gd name="T87" fmla="*/ 115 h 415"/>
                <a:gd name="T88" fmla="*/ 121 w 669"/>
                <a:gd name="T89" fmla="*/ 129 h 415"/>
                <a:gd name="T90" fmla="*/ 172 w 669"/>
                <a:gd name="T91" fmla="*/ 129 h 415"/>
                <a:gd name="T92" fmla="*/ 222 w 669"/>
                <a:gd name="T93" fmla="*/ 121 h 415"/>
                <a:gd name="T94" fmla="*/ 259 w 669"/>
                <a:gd name="T95" fmla="*/ 117 h 415"/>
                <a:gd name="T96" fmla="*/ 307 w 669"/>
                <a:gd name="T97" fmla="*/ 109 h 415"/>
                <a:gd name="T98" fmla="*/ 343 w 669"/>
                <a:gd name="T99" fmla="*/ 109 h 415"/>
                <a:gd name="T100" fmla="*/ 399 w 669"/>
                <a:gd name="T101" fmla="*/ 109 h 415"/>
                <a:gd name="T102" fmla="*/ 433 w 669"/>
                <a:gd name="T103" fmla="*/ 98 h 415"/>
                <a:gd name="T104" fmla="*/ 451 w 669"/>
                <a:gd name="T105" fmla="*/ 75 h 415"/>
                <a:gd name="T106" fmla="*/ 483 w 669"/>
                <a:gd name="T107" fmla="*/ 44 h 415"/>
                <a:gd name="T108" fmla="*/ 489 w 669"/>
                <a:gd name="T109" fmla="*/ 40 h 415"/>
                <a:gd name="T110" fmla="*/ 529 w 669"/>
                <a:gd name="T111" fmla="*/ 33 h 415"/>
                <a:gd name="T112" fmla="*/ 572 w 669"/>
                <a:gd name="T113" fmla="*/ 17 h 415"/>
                <a:gd name="T114" fmla="*/ 633 w 669"/>
                <a:gd name="T115" fmla="*/ 0 h 415"/>
                <a:gd name="T116" fmla="*/ 658 w 669"/>
                <a:gd name="T117" fmla="*/ 12 h 415"/>
                <a:gd name="T118" fmla="*/ 646 w 669"/>
                <a:gd name="T119" fmla="*/ 40 h 415"/>
                <a:gd name="T120" fmla="*/ 660 w 669"/>
                <a:gd name="T121" fmla="*/ 58 h 415"/>
                <a:gd name="T122" fmla="*/ 654 w 669"/>
                <a:gd name="T123" fmla="*/ 73 h 415"/>
                <a:gd name="T124" fmla="*/ 612 w 669"/>
                <a:gd name="T125" fmla="*/ 86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9" h="415">
                  <a:moveTo>
                    <a:pt x="583" y="102"/>
                  </a:moveTo>
                  <a:lnTo>
                    <a:pt x="581" y="100"/>
                  </a:lnTo>
                  <a:lnTo>
                    <a:pt x="577" y="104"/>
                  </a:lnTo>
                  <a:lnTo>
                    <a:pt x="573" y="106"/>
                  </a:lnTo>
                  <a:lnTo>
                    <a:pt x="572" y="109"/>
                  </a:lnTo>
                  <a:lnTo>
                    <a:pt x="564" y="113"/>
                  </a:lnTo>
                  <a:lnTo>
                    <a:pt x="560" y="113"/>
                  </a:lnTo>
                  <a:lnTo>
                    <a:pt x="558" y="111"/>
                  </a:lnTo>
                  <a:lnTo>
                    <a:pt x="554" y="109"/>
                  </a:lnTo>
                  <a:lnTo>
                    <a:pt x="549" y="113"/>
                  </a:lnTo>
                  <a:lnTo>
                    <a:pt x="543" y="121"/>
                  </a:lnTo>
                  <a:lnTo>
                    <a:pt x="543" y="123"/>
                  </a:lnTo>
                  <a:lnTo>
                    <a:pt x="541" y="125"/>
                  </a:lnTo>
                  <a:lnTo>
                    <a:pt x="541" y="127"/>
                  </a:lnTo>
                  <a:lnTo>
                    <a:pt x="535" y="131"/>
                  </a:lnTo>
                  <a:lnTo>
                    <a:pt x="533" y="129"/>
                  </a:lnTo>
                  <a:lnTo>
                    <a:pt x="529" y="133"/>
                  </a:lnTo>
                  <a:lnTo>
                    <a:pt x="522" y="136"/>
                  </a:lnTo>
                  <a:lnTo>
                    <a:pt x="520" y="133"/>
                  </a:lnTo>
                  <a:lnTo>
                    <a:pt x="518" y="134"/>
                  </a:lnTo>
                  <a:lnTo>
                    <a:pt x="520" y="138"/>
                  </a:lnTo>
                  <a:lnTo>
                    <a:pt x="516" y="138"/>
                  </a:lnTo>
                  <a:lnTo>
                    <a:pt x="516" y="140"/>
                  </a:lnTo>
                  <a:lnTo>
                    <a:pt x="516" y="136"/>
                  </a:lnTo>
                  <a:lnTo>
                    <a:pt x="514" y="136"/>
                  </a:lnTo>
                  <a:lnTo>
                    <a:pt x="510" y="138"/>
                  </a:lnTo>
                  <a:lnTo>
                    <a:pt x="508" y="142"/>
                  </a:lnTo>
                  <a:lnTo>
                    <a:pt x="504" y="142"/>
                  </a:lnTo>
                  <a:lnTo>
                    <a:pt x="504" y="144"/>
                  </a:lnTo>
                  <a:lnTo>
                    <a:pt x="499" y="148"/>
                  </a:lnTo>
                  <a:lnTo>
                    <a:pt x="501" y="150"/>
                  </a:lnTo>
                  <a:lnTo>
                    <a:pt x="499" y="156"/>
                  </a:lnTo>
                  <a:lnTo>
                    <a:pt x="497" y="156"/>
                  </a:lnTo>
                  <a:lnTo>
                    <a:pt x="495" y="158"/>
                  </a:lnTo>
                  <a:lnTo>
                    <a:pt x="493" y="158"/>
                  </a:lnTo>
                  <a:lnTo>
                    <a:pt x="493" y="159"/>
                  </a:lnTo>
                  <a:lnTo>
                    <a:pt x="491" y="161"/>
                  </a:lnTo>
                  <a:lnTo>
                    <a:pt x="489" y="163"/>
                  </a:lnTo>
                  <a:lnTo>
                    <a:pt x="485" y="159"/>
                  </a:lnTo>
                  <a:lnTo>
                    <a:pt x="487" y="152"/>
                  </a:lnTo>
                  <a:lnTo>
                    <a:pt x="483" y="154"/>
                  </a:lnTo>
                  <a:lnTo>
                    <a:pt x="481" y="158"/>
                  </a:lnTo>
                  <a:lnTo>
                    <a:pt x="478" y="159"/>
                  </a:lnTo>
                  <a:lnTo>
                    <a:pt x="474" y="167"/>
                  </a:lnTo>
                  <a:lnTo>
                    <a:pt x="474" y="177"/>
                  </a:lnTo>
                  <a:lnTo>
                    <a:pt x="466" y="179"/>
                  </a:lnTo>
                  <a:lnTo>
                    <a:pt x="462" y="186"/>
                  </a:lnTo>
                  <a:lnTo>
                    <a:pt x="460" y="186"/>
                  </a:lnTo>
                  <a:lnTo>
                    <a:pt x="458" y="192"/>
                  </a:lnTo>
                  <a:lnTo>
                    <a:pt x="454" y="196"/>
                  </a:lnTo>
                  <a:lnTo>
                    <a:pt x="456" y="198"/>
                  </a:lnTo>
                  <a:lnTo>
                    <a:pt x="454" y="200"/>
                  </a:lnTo>
                  <a:lnTo>
                    <a:pt x="454" y="202"/>
                  </a:lnTo>
                  <a:lnTo>
                    <a:pt x="453" y="204"/>
                  </a:lnTo>
                  <a:lnTo>
                    <a:pt x="454" y="207"/>
                  </a:lnTo>
                  <a:lnTo>
                    <a:pt x="451" y="209"/>
                  </a:lnTo>
                  <a:lnTo>
                    <a:pt x="451" y="215"/>
                  </a:lnTo>
                  <a:lnTo>
                    <a:pt x="453" y="221"/>
                  </a:lnTo>
                  <a:lnTo>
                    <a:pt x="449" y="225"/>
                  </a:lnTo>
                  <a:lnTo>
                    <a:pt x="441" y="230"/>
                  </a:lnTo>
                  <a:lnTo>
                    <a:pt x="439" y="229"/>
                  </a:lnTo>
                  <a:lnTo>
                    <a:pt x="433" y="234"/>
                  </a:lnTo>
                  <a:lnTo>
                    <a:pt x="431" y="230"/>
                  </a:lnTo>
                  <a:lnTo>
                    <a:pt x="433" y="223"/>
                  </a:lnTo>
                  <a:lnTo>
                    <a:pt x="431" y="217"/>
                  </a:lnTo>
                  <a:lnTo>
                    <a:pt x="430" y="217"/>
                  </a:lnTo>
                  <a:lnTo>
                    <a:pt x="431" y="219"/>
                  </a:lnTo>
                  <a:lnTo>
                    <a:pt x="430" y="219"/>
                  </a:lnTo>
                  <a:lnTo>
                    <a:pt x="422" y="225"/>
                  </a:lnTo>
                  <a:lnTo>
                    <a:pt x="424" y="230"/>
                  </a:lnTo>
                  <a:lnTo>
                    <a:pt x="424" y="229"/>
                  </a:lnTo>
                  <a:lnTo>
                    <a:pt x="422" y="232"/>
                  </a:lnTo>
                  <a:lnTo>
                    <a:pt x="416" y="232"/>
                  </a:lnTo>
                  <a:lnTo>
                    <a:pt x="414" y="238"/>
                  </a:lnTo>
                  <a:lnTo>
                    <a:pt x="407" y="242"/>
                  </a:lnTo>
                  <a:lnTo>
                    <a:pt x="407" y="246"/>
                  </a:lnTo>
                  <a:lnTo>
                    <a:pt x="405" y="246"/>
                  </a:lnTo>
                  <a:lnTo>
                    <a:pt x="401" y="250"/>
                  </a:lnTo>
                  <a:lnTo>
                    <a:pt x="397" y="252"/>
                  </a:lnTo>
                  <a:lnTo>
                    <a:pt x="397" y="254"/>
                  </a:lnTo>
                  <a:lnTo>
                    <a:pt x="393" y="254"/>
                  </a:lnTo>
                  <a:lnTo>
                    <a:pt x="393" y="255"/>
                  </a:lnTo>
                  <a:lnTo>
                    <a:pt x="387" y="261"/>
                  </a:lnTo>
                  <a:lnTo>
                    <a:pt x="383" y="263"/>
                  </a:lnTo>
                  <a:lnTo>
                    <a:pt x="389" y="269"/>
                  </a:lnTo>
                  <a:lnTo>
                    <a:pt x="389" y="273"/>
                  </a:lnTo>
                  <a:lnTo>
                    <a:pt x="397" y="275"/>
                  </a:lnTo>
                  <a:lnTo>
                    <a:pt x="399" y="280"/>
                  </a:lnTo>
                  <a:lnTo>
                    <a:pt x="395" y="284"/>
                  </a:lnTo>
                  <a:lnTo>
                    <a:pt x="395" y="290"/>
                  </a:lnTo>
                  <a:lnTo>
                    <a:pt x="389" y="296"/>
                  </a:lnTo>
                  <a:lnTo>
                    <a:pt x="385" y="303"/>
                  </a:lnTo>
                  <a:lnTo>
                    <a:pt x="385" y="309"/>
                  </a:lnTo>
                  <a:lnTo>
                    <a:pt x="380" y="317"/>
                  </a:lnTo>
                  <a:lnTo>
                    <a:pt x="376" y="317"/>
                  </a:lnTo>
                  <a:lnTo>
                    <a:pt x="374" y="319"/>
                  </a:lnTo>
                  <a:lnTo>
                    <a:pt x="374" y="323"/>
                  </a:lnTo>
                  <a:lnTo>
                    <a:pt x="376" y="321"/>
                  </a:lnTo>
                  <a:lnTo>
                    <a:pt x="374" y="325"/>
                  </a:lnTo>
                  <a:lnTo>
                    <a:pt x="376" y="327"/>
                  </a:lnTo>
                  <a:lnTo>
                    <a:pt x="372" y="328"/>
                  </a:lnTo>
                  <a:lnTo>
                    <a:pt x="374" y="330"/>
                  </a:lnTo>
                  <a:lnTo>
                    <a:pt x="372" y="332"/>
                  </a:lnTo>
                  <a:lnTo>
                    <a:pt x="372" y="336"/>
                  </a:lnTo>
                  <a:lnTo>
                    <a:pt x="368" y="338"/>
                  </a:lnTo>
                  <a:lnTo>
                    <a:pt x="368" y="342"/>
                  </a:lnTo>
                  <a:lnTo>
                    <a:pt x="364" y="346"/>
                  </a:lnTo>
                  <a:lnTo>
                    <a:pt x="362" y="342"/>
                  </a:lnTo>
                  <a:lnTo>
                    <a:pt x="359" y="342"/>
                  </a:lnTo>
                  <a:lnTo>
                    <a:pt x="359" y="350"/>
                  </a:lnTo>
                  <a:lnTo>
                    <a:pt x="355" y="353"/>
                  </a:lnTo>
                  <a:lnTo>
                    <a:pt x="359" y="357"/>
                  </a:lnTo>
                  <a:lnTo>
                    <a:pt x="355" y="365"/>
                  </a:lnTo>
                  <a:lnTo>
                    <a:pt x="359" y="367"/>
                  </a:lnTo>
                  <a:lnTo>
                    <a:pt x="353" y="369"/>
                  </a:lnTo>
                  <a:lnTo>
                    <a:pt x="355" y="371"/>
                  </a:lnTo>
                  <a:lnTo>
                    <a:pt x="353" y="371"/>
                  </a:lnTo>
                  <a:lnTo>
                    <a:pt x="351" y="376"/>
                  </a:lnTo>
                  <a:lnTo>
                    <a:pt x="353" y="378"/>
                  </a:lnTo>
                  <a:lnTo>
                    <a:pt x="351" y="384"/>
                  </a:lnTo>
                  <a:lnTo>
                    <a:pt x="349" y="386"/>
                  </a:lnTo>
                  <a:lnTo>
                    <a:pt x="349" y="388"/>
                  </a:lnTo>
                  <a:lnTo>
                    <a:pt x="345" y="386"/>
                  </a:lnTo>
                  <a:lnTo>
                    <a:pt x="339" y="388"/>
                  </a:lnTo>
                  <a:lnTo>
                    <a:pt x="337" y="386"/>
                  </a:lnTo>
                  <a:lnTo>
                    <a:pt x="337" y="388"/>
                  </a:lnTo>
                  <a:lnTo>
                    <a:pt x="332" y="388"/>
                  </a:lnTo>
                  <a:lnTo>
                    <a:pt x="328" y="390"/>
                  </a:lnTo>
                  <a:lnTo>
                    <a:pt x="328" y="386"/>
                  </a:lnTo>
                  <a:lnTo>
                    <a:pt x="326" y="384"/>
                  </a:lnTo>
                  <a:lnTo>
                    <a:pt x="324" y="380"/>
                  </a:lnTo>
                  <a:lnTo>
                    <a:pt x="322" y="375"/>
                  </a:lnTo>
                  <a:lnTo>
                    <a:pt x="320" y="376"/>
                  </a:lnTo>
                  <a:lnTo>
                    <a:pt x="316" y="386"/>
                  </a:lnTo>
                  <a:lnTo>
                    <a:pt x="314" y="390"/>
                  </a:lnTo>
                  <a:lnTo>
                    <a:pt x="314" y="392"/>
                  </a:lnTo>
                  <a:lnTo>
                    <a:pt x="309" y="396"/>
                  </a:lnTo>
                  <a:lnTo>
                    <a:pt x="307" y="394"/>
                  </a:lnTo>
                  <a:lnTo>
                    <a:pt x="305" y="403"/>
                  </a:lnTo>
                  <a:lnTo>
                    <a:pt x="299" y="403"/>
                  </a:lnTo>
                  <a:lnTo>
                    <a:pt x="297" y="411"/>
                  </a:lnTo>
                  <a:lnTo>
                    <a:pt x="291" y="413"/>
                  </a:lnTo>
                  <a:lnTo>
                    <a:pt x="291" y="415"/>
                  </a:lnTo>
                  <a:lnTo>
                    <a:pt x="289" y="415"/>
                  </a:lnTo>
                  <a:lnTo>
                    <a:pt x="286" y="415"/>
                  </a:lnTo>
                  <a:lnTo>
                    <a:pt x="284" y="409"/>
                  </a:lnTo>
                  <a:lnTo>
                    <a:pt x="286" y="403"/>
                  </a:lnTo>
                  <a:lnTo>
                    <a:pt x="280" y="403"/>
                  </a:lnTo>
                  <a:lnTo>
                    <a:pt x="274" y="403"/>
                  </a:lnTo>
                  <a:lnTo>
                    <a:pt x="272" y="403"/>
                  </a:lnTo>
                  <a:lnTo>
                    <a:pt x="264" y="403"/>
                  </a:lnTo>
                  <a:lnTo>
                    <a:pt x="266" y="398"/>
                  </a:lnTo>
                  <a:lnTo>
                    <a:pt x="268" y="390"/>
                  </a:lnTo>
                  <a:lnTo>
                    <a:pt x="270" y="388"/>
                  </a:lnTo>
                  <a:lnTo>
                    <a:pt x="268" y="382"/>
                  </a:lnTo>
                  <a:lnTo>
                    <a:pt x="264" y="380"/>
                  </a:lnTo>
                  <a:lnTo>
                    <a:pt x="264" y="376"/>
                  </a:lnTo>
                  <a:lnTo>
                    <a:pt x="266" y="375"/>
                  </a:lnTo>
                  <a:lnTo>
                    <a:pt x="266" y="367"/>
                  </a:lnTo>
                  <a:lnTo>
                    <a:pt x="266" y="359"/>
                  </a:lnTo>
                  <a:lnTo>
                    <a:pt x="270" y="353"/>
                  </a:lnTo>
                  <a:lnTo>
                    <a:pt x="272" y="352"/>
                  </a:lnTo>
                  <a:lnTo>
                    <a:pt x="270" y="350"/>
                  </a:lnTo>
                  <a:lnTo>
                    <a:pt x="272" y="346"/>
                  </a:lnTo>
                  <a:lnTo>
                    <a:pt x="270" y="340"/>
                  </a:lnTo>
                  <a:lnTo>
                    <a:pt x="268" y="340"/>
                  </a:lnTo>
                  <a:lnTo>
                    <a:pt x="266" y="338"/>
                  </a:lnTo>
                  <a:lnTo>
                    <a:pt x="266" y="334"/>
                  </a:lnTo>
                  <a:lnTo>
                    <a:pt x="272" y="330"/>
                  </a:lnTo>
                  <a:lnTo>
                    <a:pt x="278" y="334"/>
                  </a:lnTo>
                  <a:lnTo>
                    <a:pt x="282" y="336"/>
                  </a:lnTo>
                  <a:lnTo>
                    <a:pt x="282" y="338"/>
                  </a:lnTo>
                  <a:lnTo>
                    <a:pt x="288" y="338"/>
                  </a:lnTo>
                  <a:lnTo>
                    <a:pt x="289" y="336"/>
                  </a:lnTo>
                  <a:lnTo>
                    <a:pt x="293" y="336"/>
                  </a:lnTo>
                  <a:lnTo>
                    <a:pt x="293" y="332"/>
                  </a:lnTo>
                  <a:lnTo>
                    <a:pt x="293" y="327"/>
                  </a:lnTo>
                  <a:lnTo>
                    <a:pt x="289" y="328"/>
                  </a:lnTo>
                  <a:lnTo>
                    <a:pt x="291" y="327"/>
                  </a:lnTo>
                  <a:lnTo>
                    <a:pt x="286" y="325"/>
                  </a:lnTo>
                  <a:lnTo>
                    <a:pt x="286" y="321"/>
                  </a:lnTo>
                  <a:lnTo>
                    <a:pt x="289" y="317"/>
                  </a:lnTo>
                  <a:lnTo>
                    <a:pt x="291" y="317"/>
                  </a:lnTo>
                  <a:lnTo>
                    <a:pt x="289" y="317"/>
                  </a:lnTo>
                  <a:lnTo>
                    <a:pt x="293" y="309"/>
                  </a:lnTo>
                  <a:lnTo>
                    <a:pt x="299" y="311"/>
                  </a:lnTo>
                  <a:lnTo>
                    <a:pt x="307" y="311"/>
                  </a:lnTo>
                  <a:lnTo>
                    <a:pt x="312" y="303"/>
                  </a:lnTo>
                  <a:lnTo>
                    <a:pt x="320" y="300"/>
                  </a:lnTo>
                  <a:lnTo>
                    <a:pt x="324" y="300"/>
                  </a:lnTo>
                  <a:lnTo>
                    <a:pt x="328" y="298"/>
                  </a:lnTo>
                  <a:lnTo>
                    <a:pt x="322" y="296"/>
                  </a:lnTo>
                  <a:lnTo>
                    <a:pt x="324" y="294"/>
                  </a:lnTo>
                  <a:lnTo>
                    <a:pt x="324" y="292"/>
                  </a:lnTo>
                  <a:lnTo>
                    <a:pt x="326" y="290"/>
                  </a:lnTo>
                  <a:lnTo>
                    <a:pt x="324" y="286"/>
                  </a:lnTo>
                  <a:lnTo>
                    <a:pt x="322" y="284"/>
                  </a:lnTo>
                  <a:lnTo>
                    <a:pt x="320" y="280"/>
                  </a:lnTo>
                  <a:lnTo>
                    <a:pt x="318" y="280"/>
                  </a:lnTo>
                  <a:lnTo>
                    <a:pt x="314" y="277"/>
                  </a:lnTo>
                  <a:lnTo>
                    <a:pt x="312" y="279"/>
                  </a:lnTo>
                  <a:lnTo>
                    <a:pt x="311" y="275"/>
                  </a:lnTo>
                  <a:lnTo>
                    <a:pt x="311" y="277"/>
                  </a:lnTo>
                  <a:lnTo>
                    <a:pt x="309" y="275"/>
                  </a:lnTo>
                  <a:lnTo>
                    <a:pt x="309" y="277"/>
                  </a:lnTo>
                  <a:lnTo>
                    <a:pt x="307" y="277"/>
                  </a:lnTo>
                  <a:lnTo>
                    <a:pt x="305" y="271"/>
                  </a:lnTo>
                  <a:lnTo>
                    <a:pt x="303" y="271"/>
                  </a:lnTo>
                  <a:lnTo>
                    <a:pt x="303" y="269"/>
                  </a:lnTo>
                  <a:lnTo>
                    <a:pt x="311" y="263"/>
                  </a:lnTo>
                  <a:lnTo>
                    <a:pt x="312" y="259"/>
                  </a:lnTo>
                  <a:lnTo>
                    <a:pt x="311" y="257"/>
                  </a:lnTo>
                  <a:lnTo>
                    <a:pt x="307" y="261"/>
                  </a:lnTo>
                  <a:lnTo>
                    <a:pt x="303" y="261"/>
                  </a:lnTo>
                  <a:lnTo>
                    <a:pt x="301" y="255"/>
                  </a:lnTo>
                  <a:lnTo>
                    <a:pt x="295" y="254"/>
                  </a:lnTo>
                  <a:lnTo>
                    <a:pt x="291" y="248"/>
                  </a:lnTo>
                  <a:lnTo>
                    <a:pt x="288" y="248"/>
                  </a:lnTo>
                  <a:lnTo>
                    <a:pt x="289" y="244"/>
                  </a:lnTo>
                  <a:lnTo>
                    <a:pt x="284" y="240"/>
                  </a:lnTo>
                  <a:lnTo>
                    <a:pt x="282" y="242"/>
                  </a:lnTo>
                  <a:lnTo>
                    <a:pt x="276" y="242"/>
                  </a:lnTo>
                  <a:lnTo>
                    <a:pt x="270" y="244"/>
                  </a:lnTo>
                  <a:lnTo>
                    <a:pt x="266" y="244"/>
                  </a:lnTo>
                  <a:lnTo>
                    <a:pt x="261" y="248"/>
                  </a:lnTo>
                  <a:lnTo>
                    <a:pt x="261" y="242"/>
                  </a:lnTo>
                  <a:lnTo>
                    <a:pt x="259" y="238"/>
                  </a:lnTo>
                  <a:lnTo>
                    <a:pt x="259" y="232"/>
                  </a:lnTo>
                  <a:lnTo>
                    <a:pt x="261" y="227"/>
                  </a:lnTo>
                  <a:lnTo>
                    <a:pt x="266" y="223"/>
                  </a:lnTo>
                  <a:lnTo>
                    <a:pt x="259" y="223"/>
                  </a:lnTo>
                  <a:lnTo>
                    <a:pt x="259" y="219"/>
                  </a:lnTo>
                  <a:lnTo>
                    <a:pt x="263" y="215"/>
                  </a:lnTo>
                  <a:lnTo>
                    <a:pt x="270" y="209"/>
                  </a:lnTo>
                  <a:lnTo>
                    <a:pt x="274" y="206"/>
                  </a:lnTo>
                  <a:lnTo>
                    <a:pt x="268" y="206"/>
                  </a:lnTo>
                  <a:lnTo>
                    <a:pt x="263" y="206"/>
                  </a:lnTo>
                  <a:lnTo>
                    <a:pt x="257" y="207"/>
                  </a:lnTo>
                  <a:lnTo>
                    <a:pt x="255" y="207"/>
                  </a:lnTo>
                  <a:lnTo>
                    <a:pt x="249" y="209"/>
                  </a:lnTo>
                  <a:lnTo>
                    <a:pt x="241" y="209"/>
                  </a:lnTo>
                  <a:lnTo>
                    <a:pt x="236" y="211"/>
                  </a:lnTo>
                  <a:lnTo>
                    <a:pt x="230" y="209"/>
                  </a:lnTo>
                  <a:lnTo>
                    <a:pt x="230" y="204"/>
                  </a:lnTo>
                  <a:lnTo>
                    <a:pt x="224" y="200"/>
                  </a:lnTo>
                  <a:lnTo>
                    <a:pt x="216" y="206"/>
                  </a:lnTo>
                  <a:lnTo>
                    <a:pt x="215" y="206"/>
                  </a:lnTo>
                  <a:lnTo>
                    <a:pt x="215" y="207"/>
                  </a:lnTo>
                  <a:lnTo>
                    <a:pt x="215" y="209"/>
                  </a:lnTo>
                  <a:lnTo>
                    <a:pt x="213" y="219"/>
                  </a:lnTo>
                  <a:lnTo>
                    <a:pt x="209" y="223"/>
                  </a:lnTo>
                  <a:lnTo>
                    <a:pt x="205" y="223"/>
                  </a:lnTo>
                  <a:lnTo>
                    <a:pt x="201" y="221"/>
                  </a:lnTo>
                  <a:lnTo>
                    <a:pt x="203" y="217"/>
                  </a:lnTo>
                  <a:lnTo>
                    <a:pt x="203" y="211"/>
                  </a:lnTo>
                  <a:lnTo>
                    <a:pt x="199" y="209"/>
                  </a:lnTo>
                  <a:lnTo>
                    <a:pt x="195" y="215"/>
                  </a:lnTo>
                  <a:lnTo>
                    <a:pt x="192" y="217"/>
                  </a:lnTo>
                  <a:lnTo>
                    <a:pt x="190" y="223"/>
                  </a:lnTo>
                  <a:lnTo>
                    <a:pt x="193" y="221"/>
                  </a:lnTo>
                  <a:lnTo>
                    <a:pt x="190" y="225"/>
                  </a:lnTo>
                  <a:lnTo>
                    <a:pt x="186" y="225"/>
                  </a:lnTo>
                  <a:lnTo>
                    <a:pt x="186" y="229"/>
                  </a:lnTo>
                  <a:lnTo>
                    <a:pt x="190" y="229"/>
                  </a:lnTo>
                  <a:lnTo>
                    <a:pt x="193" y="225"/>
                  </a:lnTo>
                  <a:lnTo>
                    <a:pt x="192" y="229"/>
                  </a:lnTo>
                  <a:lnTo>
                    <a:pt x="186" y="229"/>
                  </a:lnTo>
                  <a:lnTo>
                    <a:pt x="184" y="230"/>
                  </a:lnTo>
                  <a:lnTo>
                    <a:pt x="180" y="229"/>
                  </a:lnTo>
                  <a:lnTo>
                    <a:pt x="172" y="230"/>
                  </a:lnTo>
                  <a:lnTo>
                    <a:pt x="170" y="232"/>
                  </a:lnTo>
                  <a:lnTo>
                    <a:pt x="165" y="240"/>
                  </a:lnTo>
                  <a:lnTo>
                    <a:pt x="165" y="242"/>
                  </a:lnTo>
                  <a:lnTo>
                    <a:pt x="159" y="244"/>
                  </a:lnTo>
                  <a:lnTo>
                    <a:pt x="155" y="244"/>
                  </a:lnTo>
                  <a:lnTo>
                    <a:pt x="155" y="238"/>
                  </a:lnTo>
                  <a:lnTo>
                    <a:pt x="157" y="229"/>
                  </a:lnTo>
                  <a:lnTo>
                    <a:pt x="151" y="229"/>
                  </a:lnTo>
                  <a:lnTo>
                    <a:pt x="147" y="232"/>
                  </a:lnTo>
                  <a:lnTo>
                    <a:pt x="142" y="234"/>
                  </a:lnTo>
                  <a:lnTo>
                    <a:pt x="142" y="232"/>
                  </a:lnTo>
                  <a:lnTo>
                    <a:pt x="144" y="230"/>
                  </a:lnTo>
                  <a:lnTo>
                    <a:pt x="142" y="230"/>
                  </a:lnTo>
                  <a:lnTo>
                    <a:pt x="136" y="234"/>
                  </a:lnTo>
                  <a:lnTo>
                    <a:pt x="138" y="225"/>
                  </a:lnTo>
                  <a:lnTo>
                    <a:pt x="134" y="225"/>
                  </a:lnTo>
                  <a:lnTo>
                    <a:pt x="132" y="221"/>
                  </a:lnTo>
                  <a:lnTo>
                    <a:pt x="130" y="219"/>
                  </a:lnTo>
                  <a:lnTo>
                    <a:pt x="122" y="221"/>
                  </a:lnTo>
                  <a:lnTo>
                    <a:pt x="117" y="221"/>
                  </a:lnTo>
                  <a:lnTo>
                    <a:pt x="111" y="221"/>
                  </a:lnTo>
                  <a:lnTo>
                    <a:pt x="105" y="219"/>
                  </a:lnTo>
                  <a:lnTo>
                    <a:pt x="98" y="221"/>
                  </a:lnTo>
                  <a:lnTo>
                    <a:pt x="96" y="223"/>
                  </a:lnTo>
                  <a:lnTo>
                    <a:pt x="96" y="219"/>
                  </a:lnTo>
                  <a:lnTo>
                    <a:pt x="92" y="219"/>
                  </a:lnTo>
                  <a:lnTo>
                    <a:pt x="86" y="223"/>
                  </a:lnTo>
                  <a:lnTo>
                    <a:pt x="88" y="219"/>
                  </a:lnTo>
                  <a:lnTo>
                    <a:pt x="80" y="211"/>
                  </a:lnTo>
                  <a:lnTo>
                    <a:pt x="76" y="211"/>
                  </a:lnTo>
                  <a:lnTo>
                    <a:pt x="76" y="213"/>
                  </a:lnTo>
                  <a:lnTo>
                    <a:pt x="73" y="211"/>
                  </a:lnTo>
                  <a:lnTo>
                    <a:pt x="67" y="213"/>
                  </a:lnTo>
                  <a:lnTo>
                    <a:pt x="59" y="217"/>
                  </a:lnTo>
                  <a:lnTo>
                    <a:pt x="53" y="217"/>
                  </a:lnTo>
                  <a:lnTo>
                    <a:pt x="48" y="219"/>
                  </a:lnTo>
                  <a:lnTo>
                    <a:pt x="44" y="217"/>
                  </a:lnTo>
                  <a:lnTo>
                    <a:pt x="36" y="225"/>
                  </a:lnTo>
                  <a:lnTo>
                    <a:pt x="32" y="225"/>
                  </a:lnTo>
                  <a:lnTo>
                    <a:pt x="30" y="227"/>
                  </a:lnTo>
                  <a:lnTo>
                    <a:pt x="32" y="227"/>
                  </a:lnTo>
                  <a:lnTo>
                    <a:pt x="30" y="230"/>
                  </a:lnTo>
                  <a:lnTo>
                    <a:pt x="25" y="232"/>
                  </a:lnTo>
                  <a:lnTo>
                    <a:pt x="26" y="236"/>
                  </a:lnTo>
                  <a:lnTo>
                    <a:pt x="25" y="238"/>
                  </a:lnTo>
                  <a:lnTo>
                    <a:pt x="21" y="242"/>
                  </a:lnTo>
                  <a:lnTo>
                    <a:pt x="19" y="242"/>
                  </a:lnTo>
                  <a:lnTo>
                    <a:pt x="23" y="248"/>
                  </a:lnTo>
                  <a:lnTo>
                    <a:pt x="25" y="250"/>
                  </a:lnTo>
                  <a:lnTo>
                    <a:pt x="28" y="254"/>
                  </a:lnTo>
                  <a:lnTo>
                    <a:pt x="30" y="254"/>
                  </a:lnTo>
                  <a:lnTo>
                    <a:pt x="32" y="257"/>
                  </a:lnTo>
                  <a:lnTo>
                    <a:pt x="23" y="261"/>
                  </a:lnTo>
                  <a:lnTo>
                    <a:pt x="19" y="259"/>
                  </a:lnTo>
                  <a:lnTo>
                    <a:pt x="17" y="263"/>
                  </a:lnTo>
                  <a:lnTo>
                    <a:pt x="19" y="267"/>
                  </a:lnTo>
                  <a:lnTo>
                    <a:pt x="17" y="271"/>
                  </a:lnTo>
                  <a:lnTo>
                    <a:pt x="11" y="273"/>
                  </a:lnTo>
                  <a:lnTo>
                    <a:pt x="13" y="271"/>
                  </a:lnTo>
                  <a:lnTo>
                    <a:pt x="11" y="269"/>
                  </a:lnTo>
                  <a:lnTo>
                    <a:pt x="13" y="269"/>
                  </a:lnTo>
                  <a:lnTo>
                    <a:pt x="11" y="265"/>
                  </a:lnTo>
                  <a:lnTo>
                    <a:pt x="13" y="265"/>
                  </a:lnTo>
                  <a:lnTo>
                    <a:pt x="15" y="263"/>
                  </a:lnTo>
                  <a:lnTo>
                    <a:pt x="13" y="261"/>
                  </a:lnTo>
                  <a:lnTo>
                    <a:pt x="15" y="261"/>
                  </a:lnTo>
                  <a:lnTo>
                    <a:pt x="15" y="259"/>
                  </a:lnTo>
                  <a:lnTo>
                    <a:pt x="17" y="259"/>
                  </a:lnTo>
                  <a:lnTo>
                    <a:pt x="15" y="257"/>
                  </a:lnTo>
                  <a:lnTo>
                    <a:pt x="17" y="255"/>
                  </a:lnTo>
                  <a:lnTo>
                    <a:pt x="15" y="255"/>
                  </a:lnTo>
                  <a:lnTo>
                    <a:pt x="17" y="252"/>
                  </a:lnTo>
                  <a:lnTo>
                    <a:pt x="13" y="248"/>
                  </a:lnTo>
                  <a:lnTo>
                    <a:pt x="9" y="240"/>
                  </a:lnTo>
                  <a:lnTo>
                    <a:pt x="9" y="236"/>
                  </a:lnTo>
                  <a:lnTo>
                    <a:pt x="9" y="230"/>
                  </a:lnTo>
                  <a:lnTo>
                    <a:pt x="11" y="225"/>
                  </a:lnTo>
                  <a:lnTo>
                    <a:pt x="15" y="219"/>
                  </a:lnTo>
                  <a:lnTo>
                    <a:pt x="13" y="217"/>
                  </a:lnTo>
                  <a:lnTo>
                    <a:pt x="9" y="217"/>
                  </a:lnTo>
                  <a:lnTo>
                    <a:pt x="13" y="215"/>
                  </a:lnTo>
                  <a:lnTo>
                    <a:pt x="13" y="213"/>
                  </a:lnTo>
                  <a:lnTo>
                    <a:pt x="9" y="209"/>
                  </a:lnTo>
                  <a:lnTo>
                    <a:pt x="5" y="207"/>
                  </a:lnTo>
                  <a:lnTo>
                    <a:pt x="5" y="206"/>
                  </a:lnTo>
                  <a:lnTo>
                    <a:pt x="7" y="204"/>
                  </a:lnTo>
                  <a:lnTo>
                    <a:pt x="7" y="202"/>
                  </a:lnTo>
                  <a:lnTo>
                    <a:pt x="3" y="198"/>
                  </a:lnTo>
                  <a:lnTo>
                    <a:pt x="3" y="194"/>
                  </a:lnTo>
                  <a:lnTo>
                    <a:pt x="0" y="194"/>
                  </a:lnTo>
                  <a:lnTo>
                    <a:pt x="0" y="192"/>
                  </a:lnTo>
                  <a:lnTo>
                    <a:pt x="3" y="190"/>
                  </a:lnTo>
                  <a:lnTo>
                    <a:pt x="0" y="190"/>
                  </a:lnTo>
                  <a:lnTo>
                    <a:pt x="2" y="186"/>
                  </a:lnTo>
                  <a:lnTo>
                    <a:pt x="0" y="184"/>
                  </a:lnTo>
                  <a:lnTo>
                    <a:pt x="3" y="184"/>
                  </a:lnTo>
                  <a:lnTo>
                    <a:pt x="2" y="181"/>
                  </a:lnTo>
                  <a:lnTo>
                    <a:pt x="5" y="182"/>
                  </a:lnTo>
                  <a:lnTo>
                    <a:pt x="5" y="179"/>
                  </a:lnTo>
                  <a:lnTo>
                    <a:pt x="7" y="179"/>
                  </a:lnTo>
                  <a:lnTo>
                    <a:pt x="7" y="175"/>
                  </a:lnTo>
                  <a:lnTo>
                    <a:pt x="13" y="171"/>
                  </a:lnTo>
                  <a:lnTo>
                    <a:pt x="15" y="171"/>
                  </a:lnTo>
                  <a:lnTo>
                    <a:pt x="17" y="169"/>
                  </a:lnTo>
                  <a:lnTo>
                    <a:pt x="15" y="165"/>
                  </a:lnTo>
                  <a:lnTo>
                    <a:pt x="17" y="165"/>
                  </a:lnTo>
                  <a:lnTo>
                    <a:pt x="15" y="163"/>
                  </a:lnTo>
                  <a:lnTo>
                    <a:pt x="19" y="154"/>
                  </a:lnTo>
                  <a:lnTo>
                    <a:pt x="21" y="154"/>
                  </a:lnTo>
                  <a:lnTo>
                    <a:pt x="19" y="148"/>
                  </a:lnTo>
                  <a:lnTo>
                    <a:pt x="19" y="140"/>
                  </a:lnTo>
                  <a:lnTo>
                    <a:pt x="17" y="136"/>
                  </a:lnTo>
                  <a:lnTo>
                    <a:pt x="17" y="133"/>
                  </a:lnTo>
                  <a:lnTo>
                    <a:pt x="21" y="134"/>
                  </a:lnTo>
                  <a:lnTo>
                    <a:pt x="28" y="134"/>
                  </a:lnTo>
                  <a:lnTo>
                    <a:pt x="32" y="133"/>
                  </a:lnTo>
                  <a:lnTo>
                    <a:pt x="36" y="134"/>
                  </a:lnTo>
                  <a:lnTo>
                    <a:pt x="42" y="133"/>
                  </a:lnTo>
                  <a:lnTo>
                    <a:pt x="50" y="129"/>
                  </a:lnTo>
                  <a:lnTo>
                    <a:pt x="51" y="129"/>
                  </a:lnTo>
                  <a:lnTo>
                    <a:pt x="51" y="125"/>
                  </a:lnTo>
                  <a:lnTo>
                    <a:pt x="55" y="119"/>
                  </a:lnTo>
                  <a:lnTo>
                    <a:pt x="63" y="121"/>
                  </a:lnTo>
                  <a:lnTo>
                    <a:pt x="69" y="119"/>
                  </a:lnTo>
                  <a:lnTo>
                    <a:pt x="71" y="115"/>
                  </a:lnTo>
                  <a:lnTo>
                    <a:pt x="76" y="115"/>
                  </a:lnTo>
                  <a:lnTo>
                    <a:pt x="82" y="119"/>
                  </a:lnTo>
                  <a:lnTo>
                    <a:pt x="88" y="123"/>
                  </a:lnTo>
                  <a:lnTo>
                    <a:pt x="90" y="125"/>
                  </a:lnTo>
                  <a:lnTo>
                    <a:pt x="98" y="127"/>
                  </a:lnTo>
                  <a:lnTo>
                    <a:pt x="99" y="129"/>
                  </a:lnTo>
                  <a:lnTo>
                    <a:pt x="103" y="127"/>
                  </a:lnTo>
                  <a:lnTo>
                    <a:pt x="105" y="131"/>
                  </a:lnTo>
                  <a:lnTo>
                    <a:pt x="111" y="129"/>
                  </a:lnTo>
                  <a:lnTo>
                    <a:pt x="121" y="129"/>
                  </a:lnTo>
                  <a:lnTo>
                    <a:pt x="122" y="129"/>
                  </a:lnTo>
                  <a:lnTo>
                    <a:pt x="132" y="127"/>
                  </a:lnTo>
                  <a:lnTo>
                    <a:pt x="134" y="129"/>
                  </a:lnTo>
                  <a:lnTo>
                    <a:pt x="136" y="127"/>
                  </a:lnTo>
                  <a:lnTo>
                    <a:pt x="144" y="129"/>
                  </a:lnTo>
                  <a:lnTo>
                    <a:pt x="147" y="123"/>
                  </a:lnTo>
                  <a:lnTo>
                    <a:pt x="153" y="125"/>
                  </a:lnTo>
                  <a:lnTo>
                    <a:pt x="163" y="125"/>
                  </a:lnTo>
                  <a:lnTo>
                    <a:pt x="172" y="129"/>
                  </a:lnTo>
                  <a:lnTo>
                    <a:pt x="178" y="127"/>
                  </a:lnTo>
                  <a:lnTo>
                    <a:pt x="180" y="121"/>
                  </a:lnTo>
                  <a:lnTo>
                    <a:pt x="188" y="125"/>
                  </a:lnTo>
                  <a:lnTo>
                    <a:pt x="190" y="127"/>
                  </a:lnTo>
                  <a:lnTo>
                    <a:pt x="201" y="125"/>
                  </a:lnTo>
                  <a:lnTo>
                    <a:pt x="203" y="123"/>
                  </a:lnTo>
                  <a:lnTo>
                    <a:pt x="211" y="125"/>
                  </a:lnTo>
                  <a:lnTo>
                    <a:pt x="215" y="125"/>
                  </a:lnTo>
                  <a:lnTo>
                    <a:pt x="222" y="121"/>
                  </a:lnTo>
                  <a:lnTo>
                    <a:pt x="226" y="119"/>
                  </a:lnTo>
                  <a:lnTo>
                    <a:pt x="230" y="113"/>
                  </a:lnTo>
                  <a:lnTo>
                    <a:pt x="234" y="113"/>
                  </a:lnTo>
                  <a:lnTo>
                    <a:pt x="240" y="117"/>
                  </a:lnTo>
                  <a:lnTo>
                    <a:pt x="245" y="121"/>
                  </a:lnTo>
                  <a:lnTo>
                    <a:pt x="251" y="121"/>
                  </a:lnTo>
                  <a:lnTo>
                    <a:pt x="255" y="119"/>
                  </a:lnTo>
                  <a:lnTo>
                    <a:pt x="257" y="115"/>
                  </a:lnTo>
                  <a:lnTo>
                    <a:pt x="259" y="117"/>
                  </a:lnTo>
                  <a:lnTo>
                    <a:pt x="264" y="117"/>
                  </a:lnTo>
                  <a:lnTo>
                    <a:pt x="270" y="113"/>
                  </a:lnTo>
                  <a:lnTo>
                    <a:pt x="276" y="115"/>
                  </a:lnTo>
                  <a:lnTo>
                    <a:pt x="276" y="113"/>
                  </a:lnTo>
                  <a:lnTo>
                    <a:pt x="280" y="111"/>
                  </a:lnTo>
                  <a:lnTo>
                    <a:pt x="288" y="113"/>
                  </a:lnTo>
                  <a:lnTo>
                    <a:pt x="293" y="109"/>
                  </a:lnTo>
                  <a:lnTo>
                    <a:pt x="297" y="108"/>
                  </a:lnTo>
                  <a:lnTo>
                    <a:pt x="307" y="109"/>
                  </a:lnTo>
                  <a:lnTo>
                    <a:pt x="312" y="106"/>
                  </a:lnTo>
                  <a:lnTo>
                    <a:pt x="312" y="102"/>
                  </a:lnTo>
                  <a:lnTo>
                    <a:pt x="314" y="100"/>
                  </a:lnTo>
                  <a:lnTo>
                    <a:pt x="320" y="102"/>
                  </a:lnTo>
                  <a:lnTo>
                    <a:pt x="328" y="102"/>
                  </a:lnTo>
                  <a:lnTo>
                    <a:pt x="337" y="104"/>
                  </a:lnTo>
                  <a:lnTo>
                    <a:pt x="341" y="106"/>
                  </a:lnTo>
                  <a:lnTo>
                    <a:pt x="341" y="108"/>
                  </a:lnTo>
                  <a:lnTo>
                    <a:pt x="343" y="109"/>
                  </a:lnTo>
                  <a:lnTo>
                    <a:pt x="353" y="113"/>
                  </a:lnTo>
                  <a:lnTo>
                    <a:pt x="360" y="113"/>
                  </a:lnTo>
                  <a:lnTo>
                    <a:pt x="362" y="113"/>
                  </a:lnTo>
                  <a:lnTo>
                    <a:pt x="370" y="111"/>
                  </a:lnTo>
                  <a:lnTo>
                    <a:pt x="374" y="109"/>
                  </a:lnTo>
                  <a:lnTo>
                    <a:pt x="378" y="109"/>
                  </a:lnTo>
                  <a:lnTo>
                    <a:pt x="387" y="109"/>
                  </a:lnTo>
                  <a:lnTo>
                    <a:pt x="391" y="109"/>
                  </a:lnTo>
                  <a:lnTo>
                    <a:pt x="399" y="109"/>
                  </a:lnTo>
                  <a:lnTo>
                    <a:pt x="403" y="111"/>
                  </a:lnTo>
                  <a:lnTo>
                    <a:pt x="407" y="109"/>
                  </a:lnTo>
                  <a:lnTo>
                    <a:pt x="412" y="109"/>
                  </a:lnTo>
                  <a:lnTo>
                    <a:pt x="422" y="108"/>
                  </a:lnTo>
                  <a:lnTo>
                    <a:pt x="428" y="102"/>
                  </a:lnTo>
                  <a:lnTo>
                    <a:pt x="431" y="100"/>
                  </a:lnTo>
                  <a:lnTo>
                    <a:pt x="431" y="98"/>
                  </a:lnTo>
                  <a:lnTo>
                    <a:pt x="433" y="100"/>
                  </a:lnTo>
                  <a:lnTo>
                    <a:pt x="433" y="98"/>
                  </a:lnTo>
                  <a:lnTo>
                    <a:pt x="433" y="100"/>
                  </a:lnTo>
                  <a:lnTo>
                    <a:pt x="435" y="98"/>
                  </a:lnTo>
                  <a:lnTo>
                    <a:pt x="439" y="98"/>
                  </a:lnTo>
                  <a:lnTo>
                    <a:pt x="437" y="92"/>
                  </a:lnTo>
                  <a:lnTo>
                    <a:pt x="435" y="92"/>
                  </a:lnTo>
                  <a:lnTo>
                    <a:pt x="437" y="88"/>
                  </a:lnTo>
                  <a:lnTo>
                    <a:pt x="441" y="85"/>
                  </a:lnTo>
                  <a:lnTo>
                    <a:pt x="445" y="79"/>
                  </a:lnTo>
                  <a:lnTo>
                    <a:pt x="451" y="75"/>
                  </a:lnTo>
                  <a:lnTo>
                    <a:pt x="453" y="71"/>
                  </a:lnTo>
                  <a:lnTo>
                    <a:pt x="456" y="69"/>
                  </a:lnTo>
                  <a:lnTo>
                    <a:pt x="464" y="65"/>
                  </a:lnTo>
                  <a:lnTo>
                    <a:pt x="466" y="60"/>
                  </a:lnTo>
                  <a:lnTo>
                    <a:pt x="474" y="54"/>
                  </a:lnTo>
                  <a:lnTo>
                    <a:pt x="474" y="52"/>
                  </a:lnTo>
                  <a:lnTo>
                    <a:pt x="481" y="50"/>
                  </a:lnTo>
                  <a:lnTo>
                    <a:pt x="483" y="48"/>
                  </a:lnTo>
                  <a:lnTo>
                    <a:pt x="483" y="44"/>
                  </a:lnTo>
                  <a:lnTo>
                    <a:pt x="481" y="42"/>
                  </a:lnTo>
                  <a:lnTo>
                    <a:pt x="481" y="40"/>
                  </a:lnTo>
                  <a:lnTo>
                    <a:pt x="479" y="38"/>
                  </a:lnTo>
                  <a:lnTo>
                    <a:pt x="483" y="35"/>
                  </a:lnTo>
                  <a:lnTo>
                    <a:pt x="485" y="36"/>
                  </a:lnTo>
                  <a:lnTo>
                    <a:pt x="483" y="38"/>
                  </a:lnTo>
                  <a:lnTo>
                    <a:pt x="485" y="40"/>
                  </a:lnTo>
                  <a:lnTo>
                    <a:pt x="489" y="38"/>
                  </a:lnTo>
                  <a:lnTo>
                    <a:pt x="489" y="40"/>
                  </a:lnTo>
                  <a:lnTo>
                    <a:pt x="497" y="42"/>
                  </a:lnTo>
                  <a:lnTo>
                    <a:pt x="502" y="38"/>
                  </a:lnTo>
                  <a:lnTo>
                    <a:pt x="506" y="44"/>
                  </a:lnTo>
                  <a:lnTo>
                    <a:pt x="512" y="40"/>
                  </a:lnTo>
                  <a:lnTo>
                    <a:pt x="518" y="38"/>
                  </a:lnTo>
                  <a:lnTo>
                    <a:pt x="520" y="38"/>
                  </a:lnTo>
                  <a:lnTo>
                    <a:pt x="526" y="36"/>
                  </a:lnTo>
                  <a:lnTo>
                    <a:pt x="529" y="35"/>
                  </a:lnTo>
                  <a:lnTo>
                    <a:pt x="529" y="33"/>
                  </a:lnTo>
                  <a:lnTo>
                    <a:pt x="535" y="33"/>
                  </a:lnTo>
                  <a:lnTo>
                    <a:pt x="541" y="29"/>
                  </a:lnTo>
                  <a:lnTo>
                    <a:pt x="545" y="29"/>
                  </a:lnTo>
                  <a:lnTo>
                    <a:pt x="549" y="23"/>
                  </a:lnTo>
                  <a:lnTo>
                    <a:pt x="550" y="25"/>
                  </a:lnTo>
                  <a:lnTo>
                    <a:pt x="556" y="23"/>
                  </a:lnTo>
                  <a:lnTo>
                    <a:pt x="564" y="21"/>
                  </a:lnTo>
                  <a:lnTo>
                    <a:pt x="568" y="21"/>
                  </a:lnTo>
                  <a:lnTo>
                    <a:pt x="572" y="17"/>
                  </a:lnTo>
                  <a:lnTo>
                    <a:pt x="585" y="13"/>
                  </a:lnTo>
                  <a:lnTo>
                    <a:pt x="589" y="12"/>
                  </a:lnTo>
                  <a:lnTo>
                    <a:pt x="597" y="10"/>
                  </a:lnTo>
                  <a:lnTo>
                    <a:pt x="604" y="13"/>
                  </a:lnTo>
                  <a:lnTo>
                    <a:pt x="612" y="12"/>
                  </a:lnTo>
                  <a:lnTo>
                    <a:pt x="618" y="10"/>
                  </a:lnTo>
                  <a:lnTo>
                    <a:pt x="623" y="4"/>
                  </a:lnTo>
                  <a:lnTo>
                    <a:pt x="627" y="0"/>
                  </a:lnTo>
                  <a:lnTo>
                    <a:pt x="633" y="0"/>
                  </a:lnTo>
                  <a:lnTo>
                    <a:pt x="641" y="0"/>
                  </a:lnTo>
                  <a:lnTo>
                    <a:pt x="650" y="0"/>
                  </a:lnTo>
                  <a:lnTo>
                    <a:pt x="658" y="0"/>
                  </a:lnTo>
                  <a:lnTo>
                    <a:pt x="660" y="0"/>
                  </a:lnTo>
                  <a:lnTo>
                    <a:pt x="664" y="0"/>
                  </a:lnTo>
                  <a:lnTo>
                    <a:pt x="666" y="0"/>
                  </a:lnTo>
                  <a:lnTo>
                    <a:pt x="662" y="8"/>
                  </a:lnTo>
                  <a:lnTo>
                    <a:pt x="662" y="10"/>
                  </a:lnTo>
                  <a:lnTo>
                    <a:pt x="658" y="12"/>
                  </a:lnTo>
                  <a:lnTo>
                    <a:pt x="656" y="13"/>
                  </a:lnTo>
                  <a:lnTo>
                    <a:pt x="652" y="15"/>
                  </a:lnTo>
                  <a:lnTo>
                    <a:pt x="646" y="23"/>
                  </a:lnTo>
                  <a:lnTo>
                    <a:pt x="643" y="29"/>
                  </a:lnTo>
                  <a:lnTo>
                    <a:pt x="646" y="31"/>
                  </a:lnTo>
                  <a:lnTo>
                    <a:pt x="645" y="33"/>
                  </a:lnTo>
                  <a:lnTo>
                    <a:pt x="646" y="35"/>
                  </a:lnTo>
                  <a:lnTo>
                    <a:pt x="645" y="36"/>
                  </a:lnTo>
                  <a:lnTo>
                    <a:pt x="646" y="40"/>
                  </a:lnTo>
                  <a:lnTo>
                    <a:pt x="650" y="40"/>
                  </a:lnTo>
                  <a:lnTo>
                    <a:pt x="648" y="42"/>
                  </a:lnTo>
                  <a:lnTo>
                    <a:pt x="650" y="44"/>
                  </a:lnTo>
                  <a:lnTo>
                    <a:pt x="656" y="46"/>
                  </a:lnTo>
                  <a:lnTo>
                    <a:pt x="656" y="52"/>
                  </a:lnTo>
                  <a:lnTo>
                    <a:pt x="654" y="60"/>
                  </a:lnTo>
                  <a:lnTo>
                    <a:pt x="656" y="58"/>
                  </a:lnTo>
                  <a:lnTo>
                    <a:pt x="658" y="60"/>
                  </a:lnTo>
                  <a:lnTo>
                    <a:pt x="660" y="58"/>
                  </a:lnTo>
                  <a:lnTo>
                    <a:pt x="664" y="60"/>
                  </a:lnTo>
                  <a:lnTo>
                    <a:pt x="664" y="58"/>
                  </a:lnTo>
                  <a:lnTo>
                    <a:pt x="664" y="60"/>
                  </a:lnTo>
                  <a:lnTo>
                    <a:pt x="666" y="58"/>
                  </a:lnTo>
                  <a:lnTo>
                    <a:pt x="669" y="65"/>
                  </a:lnTo>
                  <a:lnTo>
                    <a:pt x="664" y="71"/>
                  </a:lnTo>
                  <a:lnTo>
                    <a:pt x="658" y="73"/>
                  </a:lnTo>
                  <a:lnTo>
                    <a:pt x="658" y="75"/>
                  </a:lnTo>
                  <a:lnTo>
                    <a:pt x="654" y="73"/>
                  </a:lnTo>
                  <a:lnTo>
                    <a:pt x="648" y="73"/>
                  </a:lnTo>
                  <a:lnTo>
                    <a:pt x="639" y="77"/>
                  </a:lnTo>
                  <a:lnTo>
                    <a:pt x="635" y="77"/>
                  </a:lnTo>
                  <a:lnTo>
                    <a:pt x="633" y="79"/>
                  </a:lnTo>
                  <a:lnTo>
                    <a:pt x="625" y="81"/>
                  </a:lnTo>
                  <a:lnTo>
                    <a:pt x="620" y="75"/>
                  </a:lnTo>
                  <a:lnTo>
                    <a:pt x="616" y="77"/>
                  </a:lnTo>
                  <a:lnTo>
                    <a:pt x="612" y="83"/>
                  </a:lnTo>
                  <a:lnTo>
                    <a:pt x="612" y="86"/>
                  </a:lnTo>
                  <a:lnTo>
                    <a:pt x="610" y="92"/>
                  </a:lnTo>
                  <a:lnTo>
                    <a:pt x="600" y="92"/>
                  </a:lnTo>
                  <a:lnTo>
                    <a:pt x="593" y="96"/>
                  </a:lnTo>
                  <a:lnTo>
                    <a:pt x="589" y="102"/>
                  </a:lnTo>
                  <a:lnTo>
                    <a:pt x="587" y="100"/>
                  </a:lnTo>
                  <a:lnTo>
                    <a:pt x="583" y="10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6" name="Freeform 42">
              <a:extLst>
                <a:ext uri="{FF2B5EF4-FFF2-40B4-BE49-F238E27FC236}">
                  <a16:creationId xmlns:a16="http://schemas.microsoft.com/office/drawing/2014/main" id="{2799D335-CB56-4B88-9CB1-A719BFF6D70B}"/>
                </a:ext>
              </a:extLst>
            </p:cNvPr>
            <p:cNvSpPr>
              <a:spLocks/>
            </p:cNvSpPr>
            <p:nvPr/>
          </p:nvSpPr>
          <p:spPr bwMode="gray">
            <a:xfrm>
              <a:off x="7739065" y="2933700"/>
              <a:ext cx="323850" cy="317499"/>
            </a:xfrm>
            <a:custGeom>
              <a:avLst/>
              <a:gdLst>
                <a:gd name="T0" fmla="*/ 202 w 204"/>
                <a:gd name="T1" fmla="*/ 8 h 200"/>
                <a:gd name="T2" fmla="*/ 204 w 204"/>
                <a:gd name="T3" fmla="*/ 17 h 200"/>
                <a:gd name="T4" fmla="*/ 202 w 204"/>
                <a:gd name="T5" fmla="*/ 27 h 200"/>
                <a:gd name="T6" fmla="*/ 204 w 204"/>
                <a:gd name="T7" fmla="*/ 38 h 200"/>
                <a:gd name="T8" fmla="*/ 194 w 204"/>
                <a:gd name="T9" fmla="*/ 50 h 200"/>
                <a:gd name="T10" fmla="*/ 185 w 204"/>
                <a:gd name="T11" fmla="*/ 65 h 200"/>
                <a:gd name="T12" fmla="*/ 187 w 204"/>
                <a:gd name="T13" fmla="*/ 75 h 200"/>
                <a:gd name="T14" fmla="*/ 190 w 204"/>
                <a:gd name="T15" fmla="*/ 90 h 200"/>
                <a:gd name="T16" fmla="*/ 190 w 204"/>
                <a:gd name="T17" fmla="*/ 100 h 200"/>
                <a:gd name="T18" fmla="*/ 198 w 204"/>
                <a:gd name="T19" fmla="*/ 106 h 200"/>
                <a:gd name="T20" fmla="*/ 187 w 204"/>
                <a:gd name="T21" fmla="*/ 119 h 200"/>
                <a:gd name="T22" fmla="*/ 179 w 204"/>
                <a:gd name="T23" fmla="*/ 127 h 200"/>
                <a:gd name="T24" fmla="*/ 177 w 204"/>
                <a:gd name="T25" fmla="*/ 144 h 200"/>
                <a:gd name="T26" fmla="*/ 169 w 204"/>
                <a:gd name="T27" fmla="*/ 157 h 200"/>
                <a:gd name="T28" fmla="*/ 160 w 204"/>
                <a:gd name="T29" fmla="*/ 169 h 200"/>
                <a:gd name="T30" fmla="*/ 146 w 204"/>
                <a:gd name="T31" fmla="*/ 173 h 200"/>
                <a:gd name="T32" fmla="*/ 131 w 204"/>
                <a:gd name="T33" fmla="*/ 163 h 200"/>
                <a:gd name="T34" fmla="*/ 133 w 204"/>
                <a:gd name="T35" fmla="*/ 152 h 200"/>
                <a:gd name="T36" fmla="*/ 131 w 204"/>
                <a:gd name="T37" fmla="*/ 150 h 200"/>
                <a:gd name="T38" fmla="*/ 118 w 204"/>
                <a:gd name="T39" fmla="*/ 157 h 200"/>
                <a:gd name="T40" fmla="*/ 104 w 204"/>
                <a:gd name="T41" fmla="*/ 169 h 200"/>
                <a:gd name="T42" fmla="*/ 91 w 204"/>
                <a:gd name="T43" fmla="*/ 165 h 200"/>
                <a:gd name="T44" fmla="*/ 87 w 204"/>
                <a:gd name="T45" fmla="*/ 165 h 200"/>
                <a:gd name="T46" fmla="*/ 73 w 204"/>
                <a:gd name="T47" fmla="*/ 157 h 200"/>
                <a:gd name="T48" fmla="*/ 68 w 204"/>
                <a:gd name="T49" fmla="*/ 161 h 200"/>
                <a:gd name="T50" fmla="*/ 54 w 204"/>
                <a:gd name="T51" fmla="*/ 161 h 200"/>
                <a:gd name="T52" fmla="*/ 47 w 204"/>
                <a:gd name="T53" fmla="*/ 167 h 200"/>
                <a:gd name="T54" fmla="*/ 47 w 204"/>
                <a:gd name="T55" fmla="*/ 177 h 200"/>
                <a:gd name="T56" fmla="*/ 39 w 204"/>
                <a:gd name="T57" fmla="*/ 182 h 200"/>
                <a:gd name="T58" fmla="*/ 33 w 204"/>
                <a:gd name="T59" fmla="*/ 192 h 200"/>
                <a:gd name="T60" fmla="*/ 25 w 204"/>
                <a:gd name="T61" fmla="*/ 196 h 200"/>
                <a:gd name="T62" fmla="*/ 12 w 204"/>
                <a:gd name="T63" fmla="*/ 190 h 200"/>
                <a:gd name="T64" fmla="*/ 14 w 204"/>
                <a:gd name="T65" fmla="*/ 175 h 200"/>
                <a:gd name="T66" fmla="*/ 0 w 204"/>
                <a:gd name="T67" fmla="*/ 163 h 200"/>
                <a:gd name="T68" fmla="*/ 10 w 204"/>
                <a:gd name="T69" fmla="*/ 154 h 200"/>
                <a:gd name="T70" fmla="*/ 18 w 204"/>
                <a:gd name="T71" fmla="*/ 150 h 200"/>
                <a:gd name="T72" fmla="*/ 24 w 204"/>
                <a:gd name="T73" fmla="*/ 142 h 200"/>
                <a:gd name="T74" fmla="*/ 39 w 204"/>
                <a:gd name="T75" fmla="*/ 132 h 200"/>
                <a:gd name="T76" fmla="*/ 39 w 204"/>
                <a:gd name="T77" fmla="*/ 125 h 200"/>
                <a:gd name="T78" fmla="*/ 47 w 204"/>
                <a:gd name="T79" fmla="*/ 117 h 200"/>
                <a:gd name="T80" fmla="*/ 48 w 204"/>
                <a:gd name="T81" fmla="*/ 130 h 200"/>
                <a:gd name="T82" fmla="*/ 58 w 204"/>
                <a:gd name="T83" fmla="*/ 130 h 200"/>
                <a:gd name="T84" fmla="*/ 68 w 204"/>
                <a:gd name="T85" fmla="*/ 115 h 200"/>
                <a:gd name="T86" fmla="*/ 70 w 204"/>
                <a:gd name="T87" fmla="*/ 104 h 200"/>
                <a:gd name="T88" fmla="*/ 73 w 204"/>
                <a:gd name="T89" fmla="*/ 98 h 200"/>
                <a:gd name="T90" fmla="*/ 77 w 204"/>
                <a:gd name="T91" fmla="*/ 86 h 200"/>
                <a:gd name="T92" fmla="*/ 91 w 204"/>
                <a:gd name="T93" fmla="*/ 77 h 200"/>
                <a:gd name="T94" fmla="*/ 98 w 204"/>
                <a:gd name="T95" fmla="*/ 58 h 200"/>
                <a:gd name="T96" fmla="*/ 102 w 204"/>
                <a:gd name="T97" fmla="*/ 59 h 200"/>
                <a:gd name="T98" fmla="*/ 110 w 204"/>
                <a:gd name="T99" fmla="*/ 59 h 200"/>
                <a:gd name="T100" fmla="*/ 114 w 204"/>
                <a:gd name="T101" fmla="*/ 56 h 200"/>
                <a:gd name="T102" fmla="*/ 116 w 204"/>
                <a:gd name="T103" fmla="*/ 48 h 200"/>
                <a:gd name="T104" fmla="*/ 125 w 204"/>
                <a:gd name="T105" fmla="*/ 42 h 200"/>
                <a:gd name="T106" fmla="*/ 133 w 204"/>
                <a:gd name="T107" fmla="*/ 36 h 200"/>
                <a:gd name="T108" fmla="*/ 137 w 204"/>
                <a:gd name="T109" fmla="*/ 38 h 200"/>
                <a:gd name="T110" fmla="*/ 139 w 204"/>
                <a:gd name="T111" fmla="*/ 36 h 200"/>
                <a:gd name="T112" fmla="*/ 152 w 204"/>
                <a:gd name="T113" fmla="*/ 31 h 200"/>
                <a:gd name="T114" fmla="*/ 160 w 204"/>
                <a:gd name="T115" fmla="*/ 23 h 200"/>
                <a:gd name="T116" fmla="*/ 171 w 204"/>
                <a:gd name="T117" fmla="*/ 9 h 200"/>
                <a:gd name="T118" fmla="*/ 181 w 204"/>
                <a:gd name="T119" fmla="*/ 13 h 200"/>
                <a:gd name="T120" fmla="*/ 194 w 204"/>
                <a:gd name="T121" fmla="*/ 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4" h="200">
                  <a:moveTo>
                    <a:pt x="200" y="2"/>
                  </a:moveTo>
                  <a:lnTo>
                    <a:pt x="200" y="6"/>
                  </a:lnTo>
                  <a:lnTo>
                    <a:pt x="202" y="8"/>
                  </a:lnTo>
                  <a:lnTo>
                    <a:pt x="202" y="11"/>
                  </a:lnTo>
                  <a:lnTo>
                    <a:pt x="204" y="13"/>
                  </a:lnTo>
                  <a:lnTo>
                    <a:pt x="204" y="17"/>
                  </a:lnTo>
                  <a:lnTo>
                    <a:pt x="198" y="21"/>
                  </a:lnTo>
                  <a:lnTo>
                    <a:pt x="200" y="21"/>
                  </a:lnTo>
                  <a:lnTo>
                    <a:pt x="202" y="27"/>
                  </a:lnTo>
                  <a:lnTo>
                    <a:pt x="204" y="29"/>
                  </a:lnTo>
                  <a:lnTo>
                    <a:pt x="202" y="33"/>
                  </a:lnTo>
                  <a:lnTo>
                    <a:pt x="204" y="38"/>
                  </a:lnTo>
                  <a:lnTo>
                    <a:pt x="202" y="42"/>
                  </a:lnTo>
                  <a:lnTo>
                    <a:pt x="194" y="46"/>
                  </a:lnTo>
                  <a:lnTo>
                    <a:pt x="194" y="50"/>
                  </a:lnTo>
                  <a:lnTo>
                    <a:pt x="190" y="54"/>
                  </a:lnTo>
                  <a:lnTo>
                    <a:pt x="190" y="58"/>
                  </a:lnTo>
                  <a:lnTo>
                    <a:pt x="185" y="65"/>
                  </a:lnTo>
                  <a:lnTo>
                    <a:pt x="190" y="67"/>
                  </a:lnTo>
                  <a:lnTo>
                    <a:pt x="189" y="71"/>
                  </a:lnTo>
                  <a:lnTo>
                    <a:pt x="187" y="75"/>
                  </a:lnTo>
                  <a:lnTo>
                    <a:pt x="185" y="81"/>
                  </a:lnTo>
                  <a:lnTo>
                    <a:pt x="189" y="88"/>
                  </a:lnTo>
                  <a:lnTo>
                    <a:pt x="190" y="90"/>
                  </a:lnTo>
                  <a:lnTo>
                    <a:pt x="189" y="96"/>
                  </a:lnTo>
                  <a:lnTo>
                    <a:pt x="190" y="98"/>
                  </a:lnTo>
                  <a:lnTo>
                    <a:pt x="190" y="100"/>
                  </a:lnTo>
                  <a:lnTo>
                    <a:pt x="190" y="102"/>
                  </a:lnTo>
                  <a:lnTo>
                    <a:pt x="196" y="104"/>
                  </a:lnTo>
                  <a:lnTo>
                    <a:pt x="198" y="106"/>
                  </a:lnTo>
                  <a:lnTo>
                    <a:pt x="194" y="111"/>
                  </a:lnTo>
                  <a:lnTo>
                    <a:pt x="190" y="115"/>
                  </a:lnTo>
                  <a:lnTo>
                    <a:pt x="187" y="119"/>
                  </a:lnTo>
                  <a:lnTo>
                    <a:pt x="183" y="119"/>
                  </a:lnTo>
                  <a:lnTo>
                    <a:pt x="179" y="125"/>
                  </a:lnTo>
                  <a:lnTo>
                    <a:pt x="179" y="127"/>
                  </a:lnTo>
                  <a:lnTo>
                    <a:pt x="183" y="136"/>
                  </a:lnTo>
                  <a:lnTo>
                    <a:pt x="183" y="142"/>
                  </a:lnTo>
                  <a:lnTo>
                    <a:pt x="177" y="144"/>
                  </a:lnTo>
                  <a:lnTo>
                    <a:pt x="177" y="148"/>
                  </a:lnTo>
                  <a:lnTo>
                    <a:pt x="171" y="154"/>
                  </a:lnTo>
                  <a:lnTo>
                    <a:pt x="169" y="157"/>
                  </a:lnTo>
                  <a:lnTo>
                    <a:pt x="167" y="161"/>
                  </a:lnTo>
                  <a:lnTo>
                    <a:pt x="160" y="163"/>
                  </a:lnTo>
                  <a:lnTo>
                    <a:pt x="160" y="169"/>
                  </a:lnTo>
                  <a:lnTo>
                    <a:pt x="154" y="167"/>
                  </a:lnTo>
                  <a:lnTo>
                    <a:pt x="148" y="169"/>
                  </a:lnTo>
                  <a:lnTo>
                    <a:pt x="146" y="173"/>
                  </a:lnTo>
                  <a:lnTo>
                    <a:pt x="137" y="171"/>
                  </a:lnTo>
                  <a:lnTo>
                    <a:pt x="129" y="167"/>
                  </a:lnTo>
                  <a:lnTo>
                    <a:pt x="131" y="163"/>
                  </a:lnTo>
                  <a:lnTo>
                    <a:pt x="131" y="159"/>
                  </a:lnTo>
                  <a:lnTo>
                    <a:pt x="135" y="154"/>
                  </a:lnTo>
                  <a:lnTo>
                    <a:pt x="133" y="152"/>
                  </a:lnTo>
                  <a:lnTo>
                    <a:pt x="135" y="148"/>
                  </a:lnTo>
                  <a:lnTo>
                    <a:pt x="133" y="146"/>
                  </a:lnTo>
                  <a:lnTo>
                    <a:pt x="131" y="150"/>
                  </a:lnTo>
                  <a:lnTo>
                    <a:pt x="125" y="155"/>
                  </a:lnTo>
                  <a:lnTo>
                    <a:pt x="121" y="155"/>
                  </a:lnTo>
                  <a:lnTo>
                    <a:pt x="118" y="157"/>
                  </a:lnTo>
                  <a:lnTo>
                    <a:pt x="116" y="163"/>
                  </a:lnTo>
                  <a:lnTo>
                    <a:pt x="112" y="163"/>
                  </a:lnTo>
                  <a:lnTo>
                    <a:pt x="104" y="169"/>
                  </a:lnTo>
                  <a:lnTo>
                    <a:pt x="102" y="167"/>
                  </a:lnTo>
                  <a:lnTo>
                    <a:pt x="95" y="169"/>
                  </a:lnTo>
                  <a:lnTo>
                    <a:pt x="91" y="165"/>
                  </a:lnTo>
                  <a:lnTo>
                    <a:pt x="93" y="161"/>
                  </a:lnTo>
                  <a:lnTo>
                    <a:pt x="89" y="161"/>
                  </a:lnTo>
                  <a:lnTo>
                    <a:pt x="87" y="165"/>
                  </a:lnTo>
                  <a:lnTo>
                    <a:pt x="81" y="165"/>
                  </a:lnTo>
                  <a:lnTo>
                    <a:pt x="81" y="161"/>
                  </a:lnTo>
                  <a:lnTo>
                    <a:pt x="73" y="157"/>
                  </a:lnTo>
                  <a:lnTo>
                    <a:pt x="71" y="161"/>
                  </a:lnTo>
                  <a:lnTo>
                    <a:pt x="70" y="159"/>
                  </a:lnTo>
                  <a:lnTo>
                    <a:pt x="68" y="161"/>
                  </a:lnTo>
                  <a:lnTo>
                    <a:pt x="60" y="161"/>
                  </a:lnTo>
                  <a:lnTo>
                    <a:pt x="56" y="161"/>
                  </a:lnTo>
                  <a:lnTo>
                    <a:pt x="54" y="161"/>
                  </a:lnTo>
                  <a:lnTo>
                    <a:pt x="52" y="163"/>
                  </a:lnTo>
                  <a:lnTo>
                    <a:pt x="47" y="163"/>
                  </a:lnTo>
                  <a:lnTo>
                    <a:pt x="47" y="167"/>
                  </a:lnTo>
                  <a:lnTo>
                    <a:pt x="50" y="167"/>
                  </a:lnTo>
                  <a:lnTo>
                    <a:pt x="50" y="171"/>
                  </a:lnTo>
                  <a:lnTo>
                    <a:pt x="47" y="177"/>
                  </a:lnTo>
                  <a:lnTo>
                    <a:pt x="45" y="179"/>
                  </a:lnTo>
                  <a:lnTo>
                    <a:pt x="41" y="182"/>
                  </a:lnTo>
                  <a:lnTo>
                    <a:pt x="39" y="182"/>
                  </a:lnTo>
                  <a:lnTo>
                    <a:pt x="37" y="186"/>
                  </a:lnTo>
                  <a:lnTo>
                    <a:pt x="35" y="186"/>
                  </a:lnTo>
                  <a:lnTo>
                    <a:pt x="33" y="192"/>
                  </a:lnTo>
                  <a:lnTo>
                    <a:pt x="29" y="200"/>
                  </a:lnTo>
                  <a:lnTo>
                    <a:pt x="27" y="200"/>
                  </a:lnTo>
                  <a:lnTo>
                    <a:pt x="25" y="196"/>
                  </a:lnTo>
                  <a:lnTo>
                    <a:pt x="18" y="196"/>
                  </a:lnTo>
                  <a:lnTo>
                    <a:pt x="18" y="192"/>
                  </a:lnTo>
                  <a:lnTo>
                    <a:pt x="12" y="190"/>
                  </a:lnTo>
                  <a:lnTo>
                    <a:pt x="12" y="184"/>
                  </a:lnTo>
                  <a:lnTo>
                    <a:pt x="16" y="180"/>
                  </a:lnTo>
                  <a:lnTo>
                    <a:pt x="14" y="175"/>
                  </a:lnTo>
                  <a:lnTo>
                    <a:pt x="6" y="173"/>
                  </a:lnTo>
                  <a:lnTo>
                    <a:pt x="6" y="169"/>
                  </a:lnTo>
                  <a:lnTo>
                    <a:pt x="0" y="163"/>
                  </a:lnTo>
                  <a:lnTo>
                    <a:pt x="4" y="161"/>
                  </a:lnTo>
                  <a:lnTo>
                    <a:pt x="10" y="155"/>
                  </a:lnTo>
                  <a:lnTo>
                    <a:pt x="10" y="154"/>
                  </a:lnTo>
                  <a:lnTo>
                    <a:pt x="14" y="154"/>
                  </a:lnTo>
                  <a:lnTo>
                    <a:pt x="14" y="152"/>
                  </a:lnTo>
                  <a:lnTo>
                    <a:pt x="18" y="150"/>
                  </a:lnTo>
                  <a:lnTo>
                    <a:pt x="22" y="146"/>
                  </a:lnTo>
                  <a:lnTo>
                    <a:pt x="24" y="146"/>
                  </a:lnTo>
                  <a:lnTo>
                    <a:pt x="24" y="142"/>
                  </a:lnTo>
                  <a:lnTo>
                    <a:pt x="31" y="138"/>
                  </a:lnTo>
                  <a:lnTo>
                    <a:pt x="33" y="132"/>
                  </a:lnTo>
                  <a:lnTo>
                    <a:pt x="39" y="132"/>
                  </a:lnTo>
                  <a:lnTo>
                    <a:pt x="41" y="129"/>
                  </a:lnTo>
                  <a:lnTo>
                    <a:pt x="41" y="130"/>
                  </a:lnTo>
                  <a:lnTo>
                    <a:pt x="39" y="125"/>
                  </a:lnTo>
                  <a:lnTo>
                    <a:pt x="47" y="119"/>
                  </a:lnTo>
                  <a:lnTo>
                    <a:pt x="48" y="119"/>
                  </a:lnTo>
                  <a:lnTo>
                    <a:pt x="47" y="117"/>
                  </a:lnTo>
                  <a:lnTo>
                    <a:pt x="48" y="117"/>
                  </a:lnTo>
                  <a:lnTo>
                    <a:pt x="50" y="123"/>
                  </a:lnTo>
                  <a:lnTo>
                    <a:pt x="48" y="130"/>
                  </a:lnTo>
                  <a:lnTo>
                    <a:pt x="50" y="134"/>
                  </a:lnTo>
                  <a:lnTo>
                    <a:pt x="56" y="129"/>
                  </a:lnTo>
                  <a:lnTo>
                    <a:pt x="58" y="130"/>
                  </a:lnTo>
                  <a:lnTo>
                    <a:pt x="66" y="125"/>
                  </a:lnTo>
                  <a:lnTo>
                    <a:pt x="70" y="121"/>
                  </a:lnTo>
                  <a:lnTo>
                    <a:pt x="68" y="115"/>
                  </a:lnTo>
                  <a:lnTo>
                    <a:pt x="68" y="109"/>
                  </a:lnTo>
                  <a:lnTo>
                    <a:pt x="71" y="107"/>
                  </a:lnTo>
                  <a:lnTo>
                    <a:pt x="70" y="104"/>
                  </a:lnTo>
                  <a:lnTo>
                    <a:pt x="71" y="102"/>
                  </a:lnTo>
                  <a:lnTo>
                    <a:pt x="71" y="100"/>
                  </a:lnTo>
                  <a:lnTo>
                    <a:pt x="73" y="98"/>
                  </a:lnTo>
                  <a:lnTo>
                    <a:pt x="71" y="96"/>
                  </a:lnTo>
                  <a:lnTo>
                    <a:pt x="75" y="92"/>
                  </a:lnTo>
                  <a:lnTo>
                    <a:pt x="77" y="86"/>
                  </a:lnTo>
                  <a:lnTo>
                    <a:pt x="79" y="86"/>
                  </a:lnTo>
                  <a:lnTo>
                    <a:pt x="83" y="79"/>
                  </a:lnTo>
                  <a:lnTo>
                    <a:pt x="91" y="77"/>
                  </a:lnTo>
                  <a:lnTo>
                    <a:pt x="91" y="67"/>
                  </a:lnTo>
                  <a:lnTo>
                    <a:pt x="95" y="59"/>
                  </a:lnTo>
                  <a:lnTo>
                    <a:pt x="98" y="58"/>
                  </a:lnTo>
                  <a:lnTo>
                    <a:pt x="100" y="54"/>
                  </a:lnTo>
                  <a:lnTo>
                    <a:pt x="104" y="52"/>
                  </a:lnTo>
                  <a:lnTo>
                    <a:pt x="102" y="59"/>
                  </a:lnTo>
                  <a:lnTo>
                    <a:pt x="106" y="63"/>
                  </a:lnTo>
                  <a:lnTo>
                    <a:pt x="108" y="61"/>
                  </a:lnTo>
                  <a:lnTo>
                    <a:pt x="110" y="59"/>
                  </a:lnTo>
                  <a:lnTo>
                    <a:pt x="110" y="58"/>
                  </a:lnTo>
                  <a:lnTo>
                    <a:pt x="112" y="58"/>
                  </a:lnTo>
                  <a:lnTo>
                    <a:pt x="114" y="56"/>
                  </a:lnTo>
                  <a:lnTo>
                    <a:pt x="116" y="56"/>
                  </a:lnTo>
                  <a:lnTo>
                    <a:pt x="118" y="50"/>
                  </a:lnTo>
                  <a:lnTo>
                    <a:pt x="116" y="48"/>
                  </a:lnTo>
                  <a:lnTo>
                    <a:pt x="121" y="44"/>
                  </a:lnTo>
                  <a:lnTo>
                    <a:pt x="121" y="42"/>
                  </a:lnTo>
                  <a:lnTo>
                    <a:pt x="125" y="42"/>
                  </a:lnTo>
                  <a:lnTo>
                    <a:pt x="127" y="38"/>
                  </a:lnTo>
                  <a:lnTo>
                    <a:pt x="131" y="36"/>
                  </a:lnTo>
                  <a:lnTo>
                    <a:pt x="133" y="36"/>
                  </a:lnTo>
                  <a:lnTo>
                    <a:pt x="133" y="40"/>
                  </a:lnTo>
                  <a:lnTo>
                    <a:pt x="133" y="38"/>
                  </a:lnTo>
                  <a:lnTo>
                    <a:pt x="137" y="38"/>
                  </a:lnTo>
                  <a:lnTo>
                    <a:pt x="135" y="34"/>
                  </a:lnTo>
                  <a:lnTo>
                    <a:pt x="137" y="33"/>
                  </a:lnTo>
                  <a:lnTo>
                    <a:pt x="139" y="36"/>
                  </a:lnTo>
                  <a:lnTo>
                    <a:pt x="146" y="33"/>
                  </a:lnTo>
                  <a:lnTo>
                    <a:pt x="150" y="29"/>
                  </a:lnTo>
                  <a:lnTo>
                    <a:pt x="152" y="31"/>
                  </a:lnTo>
                  <a:lnTo>
                    <a:pt x="158" y="27"/>
                  </a:lnTo>
                  <a:lnTo>
                    <a:pt x="158" y="25"/>
                  </a:lnTo>
                  <a:lnTo>
                    <a:pt x="160" y="23"/>
                  </a:lnTo>
                  <a:lnTo>
                    <a:pt x="160" y="21"/>
                  </a:lnTo>
                  <a:lnTo>
                    <a:pt x="166" y="13"/>
                  </a:lnTo>
                  <a:lnTo>
                    <a:pt x="171" y="9"/>
                  </a:lnTo>
                  <a:lnTo>
                    <a:pt x="175" y="11"/>
                  </a:lnTo>
                  <a:lnTo>
                    <a:pt x="177" y="13"/>
                  </a:lnTo>
                  <a:lnTo>
                    <a:pt x="181" y="13"/>
                  </a:lnTo>
                  <a:lnTo>
                    <a:pt x="189" y="9"/>
                  </a:lnTo>
                  <a:lnTo>
                    <a:pt x="190" y="6"/>
                  </a:lnTo>
                  <a:lnTo>
                    <a:pt x="194" y="4"/>
                  </a:lnTo>
                  <a:lnTo>
                    <a:pt x="198" y="0"/>
                  </a:lnTo>
                  <a:lnTo>
                    <a:pt x="200" y="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7" name="Freeform 43">
              <a:extLst>
                <a:ext uri="{FF2B5EF4-FFF2-40B4-BE49-F238E27FC236}">
                  <a16:creationId xmlns:a16="http://schemas.microsoft.com/office/drawing/2014/main" id="{E1513CCB-5F1C-48DB-B9E9-62860CE6EBF2}"/>
                </a:ext>
              </a:extLst>
            </p:cNvPr>
            <p:cNvSpPr>
              <a:spLocks/>
            </p:cNvSpPr>
            <p:nvPr/>
          </p:nvSpPr>
          <p:spPr bwMode="gray">
            <a:xfrm>
              <a:off x="7675564" y="3165475"/>
              <a:ext cx="304800" cy="320676"/>
            </a:xfrm>
            <a:custGeom>
              <a:avLst/>
              <a:gdLst>
                <a:gd name="T0" fmla="*/ 183 w 192"/>
                <a:gd name="T1" fmla="*/ 34 h 202"/>
                <a:gd name="T2" fmla="*/ 179 w 192"/>
                <a:gd name="T3" fmla="*/ 50 h 202"/>
                <a:gd name="T4" fmla="*/ 192 w 192"/>
                <a:gd name="T5" fmla="*/ 54 h 202"/>
                <a:gd name="T6" fmla="*/ 190 w 192"/>
                <a:gd name="T7" fmla="*/ 73 h 202"/>
                <a:gd name="T8" fmla="*/ 184 w 192"/>
                <a:gd name="T9" fmla="*/ 88 h 202"/>
                <a:gd name="T10" fmla="*/ 177 w 192"/>
                <a:gd name="T11" fmla="*/ 102 h 202"/>
                <a:gd name="T12" fmla="*/ 173 w 192"/>
                <a:gd name="T13" fmla="*/ 109 h 202"/>
                <a:gd name="T14" fmla="*/ 163 w 192"/>
                <a:gd name="T15" fmla="*/ 121 h 202"/>
                <a:gd name="T16" fmla="*/ 154 w 192"/>
                <a:gd name="T17" fmla="*/ 132 h 202"/>
                <a:gd name="T18" fmla="*/ 148 w 192"/>
                <a:gd name="T19" fmla="*/ 142 h 202"/>
                <a:gd name="T20" fmla="*/ 144 w 192"/>
                <a:gd name="T21" fmla="*/ 148 h 202"/>
                <a:gd name="T22" fmla="*/ 138 w 192"/>
                <a:gd name="T23" fmla="*/ 165 h 202"/>
                <a:gd name="T24" fmla="*/ 135 w 192"/>
                <a:gd name="T25" fmla="*/ 179 h 202"/>
                <a:gd name="T26" fmla="*/ 131 w 192"/>
                <a:gd name="T27" fmla="*/ 188 h 202"/>
                <a:gd name="T28" fmla="*/ 127 w 192"/>
                <a:gd name="T29" fmla="*/ 200 h 202"/>
                <a:gd name="T30" fmla="*/ 119 w 192"/>
                <a:gd name="T31" fmla="*/ 196 h 202"/>
                <a:gd name="T32" fmla="*/ 106 w 192"/>
                <a:gd name="T33" fmla="*/ 192 h 202"/>
                <a:gd name="T34" fmla="*/ 88 w 192"/>
                <a:gd name="T35" fmla="*/ 192 h 202"/>
                <a:gd name="T36" fmla="*/ 79 w 192"/>
                <a:gd name="T37" fmla="*/ 182 h 202"/>
                <a:gd name="T38" fmla="*/ 67 w 192"/>
                <a:gd name="T39" fmla="*/ 188 h 202"/>
                <a:gd name="T40" fmla="*/ 62 w 192"/>
                <a:gd name="T41" fmla="*/ 188 h 202"/>
                <a:gd name="T42" fmla="*/ 52 w 192"/>
                <a:gd name="T43" fmla="*/ 184 h 202"/>
                <a:gd name="T44" fmla="*/ 39 w 192"/>
                <a:gd name="T45" fmla="*/ 175 h 202"/>
                <a:gd name="T46" fmla="*/ 35 w 192"/>
                <a:gd name="T47" fmla="*/ 179 h 202"/>
                <a:gd name="T48" fmla="*/ 31 w 192"/>
                <a:gd name="T49" fmla="*/ 177 h 202"/>
                <a:gd name="T50" fmla="*/ 21 w 192"/>
                <a:gd name="T51" fmla="*/ 179 h 202"/>
                <a:gd name="T52" fmla="*/ 12 w 192"/>
                <a:gd name="T53" fmla="*/ 173 h 202"/>
                <a:gd name="T54" fmla="*/ 4 w 192"/>
                <a:gd name="T55" fmla="*/ 167 h 202"/>
                <a:gd name="T56" fmla="*/ 4 w 192"/>
                <a:gd name="T57" fmla="*/ 154 h 202"/>
                <a:gd name="T58" fmla="*/ 6 w 192"/>
                <a:gd name="T59" fmla="*/ 142 h 202"/>
                <a:gd name="T60" fmla="*/ 10 w 192"/>
                <a:gd name="T61" fmla="*/ 132 h 202"/>
                <a:gd name="T62" fmla="*/ 12 w 192"/>
                <a:gd name="T63" fmla="*/ 125 h 202"/>
                <a:gd name="T64" fmla="*/ 12 w 192"/>
                <a:gd name="T65" fmla="*/ 119 h 202"/>
                <a:gd name="T66" fmla="*/ 16 w 192"/>
                <a:gd name="T67" fmla="*/ 104 h 202"/>
                <a:gd name="T68" fmla="*/ 21 w 192"/>
                <a:gd name="T69" fmla="*/ 100 h 202"/>
                <a:gd name="T70" fmla="*/ 29 w 192"/>
                <a:gd name="T71" fmla="*/ 90 h 202"/>
                <a:gd name="T72" fmla="*/ 29 w 192"/>
                <a:gd name="T73" fmla="*/ 82 h 202"/>
                <a:gd name="T74" fmla="*/ 33 w 192"/>
                <a:gd name="T75" fmla="*/ 75 h 202"/>
                <a:gd name="T76" fmla="*/ 33 w 192"/>
                <a:gd name="T77" fmla="*/ 71 h 202"/>
                <a:gd name="T78" fmla="*/ 42 w 192"/>
                <a:gd name="T79" fmla="*/ 57 h 202"/>
                <a:gd name="T80" fmla="*/ 58 w 192"/>
                <a:gd name="T81" fmla="*/ 46 h 202"/>
                <a:gd name="T82" fmla="*/ 67 w 192"/>
                <a:gd name="T83" fmla="*/ 54 h 202"/>
                <a:gd name="T84" fmla="*/ 75 w 192"/>
                <a:gd name="T85" fmla="*/ 40 h 202"/>
                <a:gd name="T86" fmla="*/ 81 w 192"/>
                <a:gd name="T87" fmla="*/ 36 h 202"/>
                <a:gd name="T88" fmla="*/ 90 w 192"/>
                <a:gd name="T89" fmla="*/ 25 h 202"/>
                <a:gd name="T90" fmla="*/ 87 w 192"/>
                <a:gd name="T91" fmla="*/ 17 h 202"/>
                <a:gd name="T92" fmla="*/ 96 w 192"/>
                <a:gd name="T93" fmla="*/ 15 h 202"/>
                <a:gd name="T94" fmla="*/ 110 w 192"/>
                <a:gd name="T95" fmla="*/ 13 h 202"/>
                <a:gd name="T96" fmla="*/ 121 w 192"/>
                <a:gd name="T97" fmla="*/ 15 h 202"/>
                <a:gd name="T98" fmla="*/ 129 w 192"/>
                <a:gd name="T99" fmla="*/ 15 h 202"/>
                <a:gd name="T100" fmla="*/ 135 w 192"/>
                <a:gd name="T101" fmla="*/ 23 h 202"/>
                <a:gd name="T102" fmla="*/ 152 w 192"/>
                <a:gd name="T103" fmla="*/ 17 h 202"/>
                <a:gd name="T104" fmla="*/ 161 w 192"/>
                <a:gd name="T105" fmla="*/ 9 h 202"/>
                <a:gd name="T106" fmla="*/ 173 w 192"/>
                <a:gd name="T107" fmla="*/ 0 h 202"/>
                <a:gd name="T108" fmla="*/ 175 w 192"/>
                <a:gd name="T109" fmla="*/ 8 h 202"/>
                <a:gd name="T110" fmla="*/ 169 w 192"/>
                <a:gd name="T111" fmla="*/ 2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202">
                  <a:moveTo>
                    <a:pt x="186" y="27"/>
                  </a:moveTo>
                  <a:lnTo>
                    <a:pt x="183" y="31"/>
                  </a:lnTo>
                  <a:lnTo>
                    <a:pt x="183" y="34"/>
                  </a:lnTo>
                  <a:lnTo>
                    <a:pt x="177" y="40"/>
                  </a:lnTo>
                  <a:lnTo>
                    <a:pt x="175" y="46"/>
                  </a:lnTo>
                  <a:lnTo>
                    <a:pt x="179" y="50"/>
                  </a:lnTo>
                  <a:lnTo>
                    <a:pt x="181" y="50"/>
                  </a:lnTo>
                  <a:lnTo>
                    <a:pt x="186" y="52"/>
                  </a:lnTo>
                  <a:lnTo>
                    <a:pt x="192" y="54"/>
                  </a:lnTo>
                  <a:lnTo>
                    <a:pt x="192" y="61"/>
                  </a:lnTo>
                  <a:lnTo>
                    <a:pt x="190" y="63"/>
                  </a:lnTo>
                  <a:lnTo>
                    <a:pt x="190" y="73"/>
                  </a:lnTo>
                  <a:lnTo>
                    <a:pt x="186" y="79"/>
                  </a:lnTo>
                  <a:lnTo>
                    <a:pt x="186" y="82"/>
                  </a:lnTo>
                  <a:lnTo>
                    <a:pt x="184" y="88"/>
                  </a:lnTo>
                  <a:lnTo>
                    <a:pt x="177" y="94"/>
                  </a:lnTo>
                  <a:lnTo>
                    <a:pt x="177" y="98"/>
                  </a:lnTo>
                  <a:lnTo>
                    <a:pt x="177" y="102"/>
                  </a:lnTo>
                  <a:lnTo>
                    <a:pt x="175" y="107"/>
                  </a:lnTo>
                  <a:lnTo>
                    <a:pt x="173" y="107"/>
                  </a:lnTo>
                  <a:lnTo>
                    <a:pt x="173" y="109"/>
                  </a:lnTo>
                  <a:lnTo>
                    <a:pt x="169" y="107"/>
                  </a:lnTo>
                  <a:lnTo>
                    <a:pt x="167" y="115"/>
                  </a:lnTo>
                  <a:lnTo>
                    <a:pt x="163" y="121"/>
                  </a:lnTo>
                  <a:lnTo>
                    <a:pt x="159" y="125"/>
                  </a:lnTo>
                  <a:lnTo>
                    <a:pt x="156" y="132"/>
                  </a:lnTo>
                  <a:lnTo>
                    <a:pt x="154" y="132"/>
                  </a:lnTo>
                  <a:lnTo>
                    <a:pt x="154" y="138"/>
                  </a:lnTo>
                  <a:lnTo>
                    <a:pt x="152" y="140"/>
                  </a:lnTo>
                  <a:lnTo>
                    <a:pt x="148" y="142"/>
                  </a:lnTo>
                  <a:lnTo>
                    <a:pt x="150" y="144"/>
                  </a:lnTo>
                  <a:lnTo>
                    <a:pt x="148" y="148"/>
                  </a:lnTo>
                  <a:lnTo>
                    <a:pt x="144" y="148"/>
                  </a:lnTo>
                  <a:lnTo>
                    <a:pt x="144" y="154"/>
                  </a:lnTo>
                  <a:lnTo>
                    <a:pt x="140" y="159"/>
                  </a:lnTo>
                  <a:lnTo>
                    <a:pt x="138" y="165"/>
                  </a:lnTo>
                  <a:lnTo>
                    <a:pt x="136" y="167"/>
                  </a:lnTo>
                  <a:lnTo>
                    <a:pt x="136" y="175"/>
                  </a:lnTo>
                  <a:lnTo>
                    <a:pt x="135" y="179"/>
                  </a:lnTo>
                  <a:lnTo>
                    <a:pt x="135" y="177"/>
                  </a:lnTo>
                  <a:lnTo>
                    <a:pt x="135" y="180"/>
                  </a:lnTo>
                  <a:lnTo>
                    <a:pt x="131" y="188"/>
                  </a:lnTo>
                  <a:lnTo>
                    <a:pt x="131" y="190"/>
                  </a:lnTo>
                  <a:lnTo>
                    <a:pt x="127" y="192"/>
                  </a:lnTo>
                  <a:lnTo>
                    <a:pt x="127" y="200"/>
                  </a:lnTo>
                  <a:lnTo>
                    <a:pt x="125" y="202"/>
                  </a:lnTo>
                  <a:lnTo>
                    <a:pt x="123" y="202"/>
                  </a:lnTo>
                  <a:lnTo>
                    <a:pt x="119" y="196"/>
                  </a:lnTo>
                  <a:lnTo>
                    <a:pt x="115" y="196"/>
                  </a:lnTo>
                  <a:lnTo>
                    <a:pt x="111" y="192"/>
                  </a:lnTo>
                  <a:lnTo>
                    <a:pt x="106" y="192"/>
                  </a:lnTo>
                  <a:lnTo>
                    <a:pt x="102" y="190"/>
                  </a:lnTo>
                  <a:lnTo>
                    <a:pt x="92" y="192"/>
                  </a:lnTo>
                  <a:lnTo>
                    <a:pt x="88" y="192"/>
                  </a:lnTo>
                  <a:lnTo>
                    <a:pt x="85" y="184"/>
                  </a:lnTo>
                  <a:lnTo>
                    <a:pt x="79" y="184"/>
                  </a:lnTo>
                  <a:lnTo>
                    <a:pt x="79" y="182"/>
                  </a:lnTo>
                  <a:lnTo>
                    <a:pt x="75" y="184"/>
                  </a:lnTo>
                  <a:lnTo>
                    <a:pt x="69" y="182"/>
                  </a:lnTo>
                  <a:lnTo>
                    <a:pt x="67" y="188"/>
                  </a:lnTo>
                  <a:lnTo>
                    <a:pt x="65" y="188"/>
                  </a:lnTo>
                  <a:lnTo>
                    <a:pt x="64" y="186"/>
                  </a:lnTo>
                  <a:lnTo>
                    <a:pt x="62" y="188"/>
                  </a:lnTo>
                  <a:lnTo>
                    <a:pt x="56" y="190"/>
                  </a:lnTo>
                  <a:lnTo>
                    <a:pt x="52" y="186"/>
                  </a:lnTo>
                  <a:lnTo>
                    <a:pt x="52" y="184"/>
                  </a:lnTo>
                  <a:lnTo>
                    <a:pt x="50" y="182"/>
                  </a:lnTo>
                  <a:lnTo>
                    <a:pt x="46" y="175"/>
                  </a:lnTo>
                  <a:lnTo>
                    <a:pt x="39" y="175"/>
                  </a:lnTo>
                  <a:lnTo>
                    <a:pt x="40" y="179"/>
                  </a:lnTo>
                  <a:lnTo>
                    <a:pt x="39" y="179"/>
                  </a:lnTo>
                  <a:lnTo>
                    <a:pt x="35" y="179"/>
                  </a:lnTo>
                  <a:lnTo>
                    <a:pt x="31" y="182"/>
                  </a:lnTo>
                  <a:lnTo>
                    <a:pt x="31" y="179"/>
                  </a:lnTo>
                  <a:lnTo>
                    <a:pt x="31" y="177"/>
                  </a:lnTo>
                  <a:lnTo>
                    <a:pt x="27" y="175"/>
                  </a:lnTo>
                  <a:lnTo>
                    <a:pt x="25" y="179"/>
                  </a:lnTo>
                  <a:lnTo>
                    <a:pt x="21" y="179"/>
                  </a:lnTo>
                  <a:lnTo>
                    <a:pt x="19" y="175"/>
                  </a:lnTo>
                  <a:lnTo>
                    <a:pt x="14" y="180"/>
                  </a:lnTo>
                  <a:lnTo>
                    <a:pt x="12" y="173"/>
                  </a:lnTo>
                  <a:lnTo>
                    <a:pt x="8" y="175"/>
                  </a:lnTo>
                  <a:lnTo>
                    <a:pt x="0" y="173"/>
                  </a:lnTo>
                  <a:lnTo>
                    <a:pt x="4" y="167"/>
                  </a:lnTo>
                  <a:lnTo>
                    <a:pt x="4" y="163"/>
                  </a:lnTo>
                  <a:lnTo>
                    <a:pt x="6" y="161"/>
                  </a:lnTo>
                  <a:lnTo>
                    <a:pt x="4" y="154"/>
                  </a:lnTo>
                  <a:lnTo>
                    <a:pt x="8" y="148"/>
                  </a:lnTo>
                  <a:lnTo>
                    <a:pt x="6" y="146"/>
                  </a:lnTo>
                  <a:lnTo>
                    <a:pt x="6" y="142"/>
                  </a:lnTo>
                  <a:lnTo>
                    <a:pt x="6" y="140"/>
                  </a:lnTo>
                  <a:lnTo>
                    <a:pt x="8" y="138"/>
                  </a:lnTo>
                  <a:lnTo>
                    <a:pt x="10" y="132"/>
                  </a:lnTo>
                  <a:lnTo>
                    <a:pt x="8" y="130"/>
                  </a:lnTo>
                  <a:lnTo>
                    <a:pt x="10" y="125"/>
                  </a:lnTo>
                  <a:lnTo>
                    <a:pt x="12" y="125"/>
                  </a:lnTo>
                  <a:lnTo>
                    <a:pt x="10" y="123"/>
                  </a:lnTo>
                  <a:lnTo>
                    <a:pt x="16" y="121"/>
                  </a:lnTo>
                  <a:lnTo>
                    <a:pt x="12" y="119"/>
                  </a:lnTo>
                  <a:lnTo>
                    <a:pt x="16" y="111"/>
                  </a:lnTo>
                  <a:lnTo>
                    <a:pt x="12" y="107"/>
                  </a:lnTo>
                  <a:lnTo>
                    <a:pt x="16" y="104"/>
                  </a:lnTo>
                  <a:lnTo>
                    <a:pt x="16" y="96"/>
                  </a:lnTo>
                  <a:lnTo>
                    <a:pt x="19" y="96"/>
                  </a:lnTo>
                  <a:lnTo>
                    <a:pt x="21" y="100"/>
                  </a:lnTo>
                  <a:lnTo>
                    <a:pt x="25" y="96"/>
                  </a:lnTo>
                  <a:lnTo>
                    <a:pt x="25" y="92"/>
                  </a:lnTo>
                  <a:lnTo>
                    <a:pt x="29" y="90"/>
                  </a:lnTo>
                  <a:lnTo>
                    <a:pt x="29" y="86"/>
                  </a:lnTo>
                  <a:lnTo>
                    <a:pt x="31" y="84"/>
                  </a:lnTo>
                  <a:lnTo>
                    <a:pt x="29" y="82"/>
                  </a:lnTo>
                  <a:lnTo>
                    <a:pt x="33" y="81"/>
                  </a:lnTo>
                  <a:lnTo>
                    <a:pt x="31" y="79"/>
                  </a:lnTo>
                  <a:lnTo>
                    <a:pt x="33" y="75"/>
                  </a:lnTo>
                  <a:lnTo>
                    <a:pt x="31" y="77"/>
                  </a:lnTo>
                  <a:lnTo>
                    <a:pt x="31" y="73"/>
                  </a:lnTo>
                  <a:lnTo>
                    <a:pt x="33" y="71"/>
                  </a:lnTo>
                  <a:lnTo>
                    <a:pt x="37" y="71"/>
                  </a:lnTo>
                  <a:lnTo>
                    <a:pt x="42" y="63"/>
                  </a:lnTo>
                  <a:lnTo>
                    <a:pt x="42" y="57"/>
                  </a:lnTo>
                  <a:lnTo>
                    <a:pt x="46" y="50"/>
                  </a:lnTo>
                  <a:lnTo>
                    <a:pt x="52" y="44"/>
                  </a:lnTo>
                  <a:lnTo>
                    <a:pt x="58" y="46"/>
                  </a:lnTo>
                  <a:lnTo>
                    <a:pt x="58" y="50"/>
                  </a:lnTo>
                  <a:lnTo>
                    <a:pt x="65" y="50"/>
                  </a:lnTo>
                  <a:lnTo>
                    <a:pt x="67" y="54"/>
                  </a:lnTo>
                  <a:lnTo>
                    <a:pt x="69" y="54"/>
                  </a:lnTo>
                  <a:lnTo>
                    <a:pt x="73" y="46"/>
                  </a:lnTo>
                  <a:lnTo>
                    <a:pt x="75" y="40"/>
                  </a:lnTo>
                  <a:lnTo>
                    <a:pt x="77" y="40"/>
                  </a:lnTo>
                  <a:lnTo>
                    <a:pt x="79" y="36"/>
                  </a:lnTo>
                  <a:lnTo>
                    <a:pt x="81" y="36"/>
                  </a:lnTo>
                  <a:lnTo>
                    <a:pt x="85" y="33"/>
                  </a:lnTo>
                  <a:lnTo>
                    <a:pt x="87" y="31"/>
                  </a:lnTo>
                  <a:lnTo>
                    <a:pt x="90" y="25"/>
                  </a:lnTo>
                  <a:lnTo>
                    <a:pt x="90" y="21"/>
                  </a:lnTo>
                  <a:lnTo>
                    <a:pt x="87" y="21"/>
                  </a:lnTo>
                  <a:lnTo>
                    <a:pt x="87" y="17"/>
                  </a:lnTo>
                  <a:lnTo>
                    <a:pt x="92" y="17"/>
                  </a:lnTo>
                  <a:lnTo>
                    <a:pt x="94" y="15"/>
                  </a:lnTo>
                  <a:lnTo>
                    <a:pt x="96" y="15"/>
                  </a:lnTo>
                  <a:lnTo>
                    <a:pt x="100" y="15"/>
                  </a:lnTo>
                  <a:lnTo>
                    <a:pt x="108" y="15"/>
                  </a:lnTo>
                  <a:lnTo>
                    <a:pt x="110" y="13"/>
                  </a:lnTo>
                  <a:lnTo>
                    <a:pt x="111" y="15"/>
                  </a:lnTo>
                  <a:lnTo>
                    <a:pt x="113" y="11"/>
                  </a:lnTo>
                  <a:lnTo>
                    <a:pt x="121" y="15"/>
                  </a:lnTo>
                  <a:lnTo>
                    <a:pt x="121" y="19"/>
                  </a:lnTo>
                  <a:lnTo>
                    <a:pt x="127" y="19"/>
                  </a:lnTo>
                  <a:lnTo>
                    <a:pt x="129" y="15"/>
                  </a:lnTo>
                  <a:lnTo>
                    <a:pt x="133" y="15"/>
                  </a:lnTo>
                  <a:lnTo>
                    <a:pt x="131" y="19"/>
                  </a:lnTo>
                  <a:lnTo>
                    <a:pt x="135" y="23"/>
                  </a:lnTo>
                  <a:lnTo>
                    <a:pt x="142" y="21"/>
                  </a:lnTo>
                  <a:lnTo>
                    <a:pt x="144" y="23"/>
                  </a:lnTo>
                  <a:lnTo>
                    <a:pt x="152" y="17"/>
                  </a:lnTo>
                  <a:lnTo>
                    <a:pt x="156" y="17"/>
                  </a:lnTo>
                  <a:lnTo>
                    <a:pt x="158" y="11"/>
                  </a:lnTo>
                  <a:lnTo>
                    <a:pt x="161" y="9"/>
                  </a:lnTo>
                  <a:lnTo>
                    <a:pt x="165" y="9"/>
                  </a:lnTo>
                  <a:lnTo>
                    <a:pt x="171" y="4"/>
                  </a:lnTo>
                  <a:lnTo>
                    <a:pt x="173" y="0"/>
                  </a:lnTo>
                  <a:lnTo>
                    <a:pt x="175" y="2"/>
                  </a:lnTo>
                  <a:lnTo>
                    <a:pt x="173" y="6"/>
                  </a:lnTo>
                  <a:lnTo>
                    <a:pt x="175" y="8"/>
                  </a:lnTo>
                  <a:lnTo>
                    <a:pt x="171" y="13"/>
                  </a:lnTo>
                  <a:lnTo>
                    <a:pt x="171" y="17"/>
                  </a:lnTo>
                  <a:lnTo>
                    <a:pt x="169" y="21"/>
                  </a:lnTo>
                  <a:lnTo>
                    <a:pt x="177" y="25"/>
                  </a:lnTo>
                  <a:lnTo>
                    <a:pt x="186" y="2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8" name="Freeform 44">
              <a:extLst>
                <a:ext uri="{FF2B5EF4-FFF2-40B4-BE49-F238E27FC236}">
                  <a16:creationId xmlns:a16="http://schemas.microsoft.com/office/drawing/2014/main" id="{6B895922-D740-43EC-81C3-27B16E9E5D28}"/>
                </a:ext>
              </a:extLst>
            </p:cNvPr>
            <p:cNvSpPr>
              <a:spLocks/>
            </p:cNvSpPr>
            <p:nvPr/>
          </p:nvSpPr>
          <p:spPr bwMode="gray">
            <a:xfrm>
              <a:off x="7367589" y="3367088"/>
              <a:ext cx="201613" cy="274638"/>
            </a:xfrm>
            <a:custGeom>
              <a:avLst/>
              <a:gdLst>
                <a:gd name="T0" fmla="*/ 119 w 127"/>
                <a:gd name="T1" fmla="*/ 9 h 173"/>
                <a:gd name="T2" fmla="*/ 117 w 127"/>
                <a:gd name="T3" fmla="*/ 25 h 173"/>
                <a:gd name="T4" fmla="*/ 123 w 127"/>
                <a:gd name="T5" fmla="*/ 32 h 173"/>
                <a:gd name="T6" fmla="*/ 125 w 127"/>
                <a:gd name="T7" fmla="*/ 50 h 173"/>
                <a:gd name="T8" fmla="*/ 127 w 127"/>
                <a:gd name="T9" fmla="*/ 67 h 173"/>
                <a:gd name="T10" fmla="*/ 121 w 127"/>
                <a:gd name="T11" fmla="*/ 73 h 173"/>
                <a:gd name="T12" fmla="*/ 119 w 127"/>
                <a:gd name="T13" fmla="*/ 88 h 173"/>
                <a:gd name="T14" fmla="*/ 114 w 127"/>
                <a:gd name="T15" fmla="*/ 96 h 173"/>
                <a:gd name="T16" fmla="*/ 108 w 127"/>
                <a:gd name="T17" fmla="*/ 86 h 173"/>
                <a:gd name="T18" fmla="*/ 98 w 127"/>
                <a:gd name="T19" fmla="*/ 92 h 173"/>
                <a:gd name="T20" fmla="*/ 91 w 127"/>
                <a:gd name="T21" fmla="*/ 94 h 173"/>
                <a:gd name="T22" fmla="*/ 85 w 127"/>
                <a:gd name="T23" fmla="*/ 90 h 173"/>
                <a:gd name="T24" fmla="*/ 87 w 127"/>
                <a:gd name="T25" fmla="*/ 105 h 173"/>
                <a:gd name="T26" fmla="*/ 83 w 127"/>
                <a:gd name="T27" fmla="*/ 115 h 173"/>
                <a:gd name="T28" fmla="*/ 73 w 127"/>
                <a:gd name="T29" fmla="*/ 123 h 173"/>
                <a:gd name="T30" fmla="*/ 66 w 127"/>
                <a:gd name="T31" fmla="*/ 136 h 173"/>
                <a:gd name="T32" fmla="*/ 69 w 127"/>
                <a:gd name="T33" fmla="*/ 148 h 173"/>
                <a:gd name="T34" fmla="*/ 69 w 127"/>
                <a:gd name="T35" fmla="*/ 159 h 173"/>
                <a:gd name="T36" fmla="*/ 66 w 127"/>
                <a:gd name="T37" fmla="*/ 161 h 173"/>
                <a:gd name="T38" fmla="*/ 52 w 127"/>
                <a:gd name="T39" fmla="*/ 167 h 173"/>
                <a:gd name="T40" fmla="*/ 48 w 127"/>
                <a:gd name="T41" fmla="*/ 171 h 173"/>
                <a:gd name="T42" fmla="*/ 43 w 127"/>
                <a:gd name="T43" fmla="*/ 167 h 173"/>
                <a:gd name="T44" fmla="*/ 39 w 127"/>
                <a:gd name="T45" fmla="*/ 161 h 173"/>
                <a:gd name="T46" fmla="*/ 39 w 127"/>
                <a:gd name="T47" fmla="*/ 149 h 173"/>
                <a:gd name="T48" fmla="*/ 35 w 127"/>
                <a:gd name="T49" fmla="*/ 149 h 173"/>
                <a:gd name="T50" fmla="*/ 35 w 127"/>
                <a:gd name="T51" fmla="*/ 144 h 173"/>
                <a:gd name="T52" fmla="*/ 31 w 127"/>
                <a:gd name="T53" fmla="*/ 140 h 173"/>
                <a:gd name="T54" fmla="*/ 27 w 127"/>
                <a:gd name="T55" fmla="*/ 136 h 173"/>
                <a:gd name="T56" fmla="*/ 27 w 127"/>
                <a:gd name="T57" fmla="*/ 138 h 173"/>
                <a:gd name="T58" fmla="*/ 25 w 127"/>
                <a:gd name="T59" fmla="*/ 155 h 173"/>
                <a:gd name="T60" fmla="*/ 21 w 127"/>
                <a:gd name="T61" fmla="*/ 157 h 173"/>
                <a:gd name="T62" fmla="*/ 18 w 127"/>
                <a:gd name="T63" fmla="*/ 140 h 173"/>
                <a:gd name="T64" fmla="*/ 14 w 127"/>
                <a:gd name="T65" fmla="*/ 130 h 173"/>
                <a:gd name="T66" fmla="*/ 14 w 127"/>
                <a:gd name="T67" fmla="*/ 123 h 173"/>
                <a:gd name="T68" fmla="*/ 6 w 127"/>
                <a:gd name="T69" fmla="*/ 109 h 173"/>
                <a:gd name="T70" fmla="*/ 2 w 127"/>
                <a:gd name="T71" fmla="*/ 100 h 173"/>
                <a:gd name="T72" fmla="*/ 4 w 127"/>
                <a:gd name="T73" fmla="*/ 94 h 173"/>
                <a:gd name="T74" fmla="*/ 0 w 127"/>
                <a:gd name="T75" fmla="*/ 88 h 173"/>
                <a:gd name="T76" fmla="*/ 8 w 127"/>
                <a:gd name="T77" fmla="*/ 82 h 173"/>
                <a:gd name="T78" fmla="*/ 12 w 127"/>
                <a:gd name="T79" fmla="*/ 61 h 173"/>
                <a:gd name="T80" fmla="*/ 23 w 127"/>
                <a:gd name="T81" fmla="*/ 55 h 173"/>
                <a:gd name="T82" fmla="*/ 25 w 127"/>
                <a:gd name="T83" fmla="*/ 46 h 173"/>
                <a:gd name="T84" fmla="*/ 41 w 127"/>
                <a:gd name="T85" fmla="*/ 50 h 173"/>
                <a:gd name="T86" fmla="*/ 52 w 127"/>
                <a:gd name="T87" fmla="*/ 40 h 173"/>
                <a:gd name="T88" fmla="*/ 64 w 127"/>
                <a:gd name="T89" fmla="*/ 42 h 173"/>
                <a:gd name="T90" fmla="*/ 71 w 127"/>
                <a:gd name="T91" fmla="*/ 34 h 173"/>
                <a:gd name="T92" fmla="*/ 79 w 127"/>
                <a:gd name="T93" fmla="*/ 42 h 173"/>
                <a:gd name="T94" fmla="*/ 83 w 127"/>
                <a:gd name="T95" fmla="*/ 38 h 173"/>
                <a:gd name="T96" fmla="*/ 87 w 127"/>
                <a:gd name="T97" fmla="*/ 19 h 173"/>
                <a:gd name="T98" fmla="*/ 87 w 127"/>
                <a:gd name="T99" fmla="*/ 17 h 173"/>
                <a:gd name="T100" fmla="*/ 92 w 127"/>
                <a:gd name="T101" fmla="*/ 15 h 173"/>
                <a:gd name="T102" fmla="*/ 104 w 127"/>
                <a:gd name="T103" fmla="*/ 5 h 173"/>
                <a:gd name="T104" fmla="*/ 115 w 127"/>
                <a:gd name="T105" fmla="*/ 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7" h="173">
                  <a:moveTo>
                    <a:pt x="115" y="3"/>
                  </a:moveTo>
                  <a:lnTo>
                    <a:pt x="115" y="7"/>
                  </a:lnTo>
                  <a:lnTo>
                    <a:pt x="119" y="9"/>
                  </a:lnTo>
                  <a:lnTo>
                    <a:pt x="121" y="15"/>
                  </a:lnTo>
                  <a:lnTo>
                    <a:pt x="119" y="17"/>
                  </a:lnTo>
                  <a:lnTo>
                    <a:pt x="117" y="25"/>
                  </a:lnTo>
                  <a:lnTo>
                    <a:pt x="115" y="30"/>
                  </a:lnTo>
                  <a:lnTo>
                    <a:pt x="123" y="30"/>
                  </a:lnTo>
                  <a:lnTo>
                    <a:pt x="123" y="32"/>
                  </a:lnTo>
                  <a:lnTo>
                    <a:pt x="125" y="34"/>
                  </a:lnTo>
                  <a:lnTo>
                    <a:pt x="127" y="42"/>
                  </a:lnTo>
                  <a:lnTo>
                    <a:pt x="125" y="50"/>
                  </a:lnTo>
                  <a:lnTo>
                    <a:pt x="127" y="59"/>
                  </a:lnTo>
                  <a:lnTo>
                    <a:pt x="123" y="63"/>
                  </a:lnTo>
                  <a:lnTo>
                    <a:pt x="127" y="67"/>
                  </a:lnTo>
                  <a:lnTo>
                    <a:pt x="125" y="71"/>
                  </a:lnTo>
                  <a:lnTo>
                    <a:pt x="125" y="75"/>
                  </a:lnTo>
                  <a:lnTo>
                    <a:pt x="121" y="73"/>
                  </a:lnTo>
                  <a:lnTo>
                    <a:pt x="119" y="76"/>
                  </a:lnTo>
                  <a:lnTo>
                    <a:pt x="119" y="82"/>
                  </a:lnTo>
                  <a:lnTo>
                    <a:pt x="119" y="88"/>
                  </a:lnTo>
                  <a:lnTo>
                    <a:pt x="115" y="88"/>
                  </a:lnTo>
                  <a:lnTo>
                    <a:pt x="115" y="90"/>
                  </a:lnTo>
                  <a:lnTo>
                    <a:pt x="114" y="96"/>
                  </a:lnTo>
                  <a:lnTo>
                    <a:pt x="112" y="90"/>
                  </a:lnTo>
                  <a:lnTo>
                    <a:pt x="110" y="88"/>
                  </a:lnTo>
                  <a:lnTo>
                    <a:pt x="108" y="86"/>
                  </a:lnTo>
                  <a:lnTo>
                    <a:pt x="106" y="86"/>
                  </a:lnTo>
                  <a:lnTo>
                    <a:pt x="102" y="90"/>
                  </a:lnTo>
                  <a:lnTo>
                    <a:pt x="98" y="92"/>
                  </a:lnTo>
                  <a:lnTo>
                    <a:pt x="98" y="96"/>
                  </a:lnTo>
                  <a:lnTo>
                    <a:pt x="96" y="96"/>
                  </a:lnTo>
                  <a:lnTo>
                    <a:pt x="91" y="94"/>
                  </a:lnTo>
                  <a:lnTo>
                    <a:pt x="89" y="86"/>
                  </a:lnTo>
                  <a:lnTo>
                    <a:pt x="85" y="86"/>
                  </a:lnTo>
                  <a:lnTo>
                    <a:pt x="85" y="90"/>
                  </a:lnTo>
                  <a:lnTo>
                    <a:pt x="83" y="92"/>
                  </a:lnTo>
                  <a:lnTo>
                    <a:pt x="85" y="98"/>
                  </a:lnTo>
                  <a:lnTo>
                    <a:pt x="87" y="105"/>
                  </a:lnTo>
                  <a:lnTo>
                    <a:pt x="85" y="109"/>
                  </a:lnTo>
                  <a:lnTo>
                    <a:pt x="87" y="115"/>
                  </a:lnTo>
                  <a:lnTo>
                    <a:pt x="83" y="115"/>
                  </a:lnTo>
                  <a:lnTo>
                    <a:pt x="83" y="119"/>
                  </a:lnTo>
                  <a:lnTo>
                    <a:pt x="79" y="119"/>
                  </a:lnTo>
                  <a:lnTo>
                    <a:pt x="73" y="123"/>
                  </a:lnTo>
                  <a:lnTo>
                    <a:pt x="73" y="126"/>
                  </a:lnTo>
                  <a:lnTo>
                    <a:pt x="67" y="132"/>
                  </a:lnTo>
                  <a:lnTo>
                    <a:pt x="66" y="136"/>
                  </a:lnTo>
                  <a:lnTo>
                    <a:pt x="67" y="142"/>
                  </a:lnTo>
                  <a:lnTo>
                    <a:pt x="67" y="146"/>
                  </a:lnTo>
                  <a:lnTo>
                    <a:pt x="69" y="148"/>
                  </a:lnTo>
                  <a:lnTo>
                    <a:pt x="69" y="155"/>
                  </a:lnTo>
                  <a:lnTo>
                    <a:pt x="71" y="155"/>
                  </a:lnTo>
                  <a:lnTo>
                    <a:pt x="69" y="159"/>
                  </a:lnTo>
                  <a:lnTo>
                    <a:pt x="66" y="159"/>
                  </a:lnTo>
                  <a:lnTo>
                    <a:pt x="66" y="163"/>
                  </a:lnTo>
                  <a:lnTo>
                    <a:pt x="66" y="161"/>
                  </a:lnTo>
                  <a:lnTo>
                    <a:pt x="60" y="167"/>
                  </a:lnTo>
                  <a:lnTo>
                    <a:pt x="56" y="169"/>
                  </a:lnTo>
                  <a:lnTo>
                    <a:pt x="52" y="167"/>
                  </a:lnTo>
                  <a:lnTo>
                    <a:pt x="48" y="173"/>
                  </a:lnTo>
                  <a:lnTo>
                    <a:pt x="46" y="171"/>
                  </a:lnTo>
                  <a:lnTo>
                    <a:pt x="48" y="171"/>
                  </a:lnTo>
                  <a:lnTo>
                    <a:pt x="48" y="169"/>
                  </a:lnTo>
                  <a:lnTo>
                    <a:pt x="44" y="171"/>
                  </a:lnTo>
                  <a:lnTo>
                    <a:pt x="43" y="167"/>
                  </a:lnTo>
                  <a:lnTo>
                    <a:pt x="41" y="167"/>
                  </a:lnTo>
                  <a:lnTo>
                    <a:pt x="43" y="163"/>
                  </a:lnTo>
                  <a:lnTo>
                    <a:pt x="39" y="161"/>
                  </a:lnTo>
                  <a:lnTo>
                    <a:pt x="39" y="155"/>
                  </a:lnTo>
                  <a:lnTo>
                    <a:pt x="37" y="151"/>
                  </a:lnTo>
                  <a:lnTo>
                    <a:pt x="39" y="149"/>
                  </a:lnTo>
                  <a:lnTo>
                    <a:pt x="37" y="151"/>
                  </a:lnTo>
                  <a:lnTo>
                    <a:pt x="37" y="149"/>
                  </a:lnTo>
                  <a:lnTo>
                    <a:pt x="35" y="149"/>
                  </a:lnTo>
                  <a:lnTo>
                    <a:pt x="37" y="146"/>
                  </a:lnTo>
                  <a:lnTo>
                    <a:pt x="33" y="144"/>
                  </a:lnTo>
                  <a:lnTo>
                    <a:pt x="35" y="144"/>
                  </a:lnTo>
                  <a:lnTo>
                    <a:pt x="31" y="142"/>
                  </a:lnTo>
                  <a:lnTo>
                    <a:pt x="33" y="142"/>
                  </a:lnTo>
                  <a:lnTo>
                    <a:pt x="31" y="140"/>
                  </a:lnTo>
                  <a:lnTo>
                    <a:pt x="31" y="138"/>
                  </a:lnTo>
                  <a:lnTo>
                    <a:pt x="27" y="138"/>
                  </a:lnTo>
                  <a:lnTo>
                    <a:pt x="27" y="136"/>
                  </a:lnTo>
                  <a:lnTo>
                    <a:pt x="27" y="138"/>
                  </a:lnTo>
                  <a:lnTo>
                    <a:pt x="25" y="138"/>
                  </a:lnTo>
                  <a:lnTo>
                    <a:pt x="27" y="138"/>
                  </a:lnTo>
                  <a:lnTo>
                    <a:pt x="23" y="146"/>
                  </a:lnTo>
                  <a:lnTo>
                    <a:pt x="25" y="153"/>
                  </a:lnTo>
                  <a:lnTo>
                    <a:pt x="25" y="155"/>
                  </a:lnTo>
                  <a:lnTo>
                    <a:pt x="27" y="159"/>
                  </a:lnTo>
                  <a:lnTo>
                    <a:pt x="25" y="159"/>
                  </a:lnTo>
                  <a:lnTo>
                    <a:pt x="21" y="157"/>
                  </a:lnTo>
                  <a:lnTo>
                    <a:pt x="18" y="151"/>
                  </a:lnTo>
                  <a:lnTo>
                    <a:pt x="18" y="146"/>
                  </a:lnTo>
                  <a:lnTo>
                    <a:pt x="18" y="140"/>
                  </a:lnTo>
                  <a:lnTo>
                    <a:pt x="16" y="136"/>
                  </a:lnTo>
                  <a:lnTo>
                    <a:pt x="16" y="132"/>
                  </a:lnTo>
                  <a:lnTo>
                    <a:pt x="14" y="130"/>
                  </a:lnTo>
                  <a:lnTo>
                    <a:pt x="16" y="126"/>
                  </a:lnTo>
                  <a:lnTo>
                    <a:pt x="14" y="126"/>
                  </a:lnTo>
                  <a:lnTo>
                    <a:pt x="14" y="123"/>
                  </a:lnTo>
                  <a:lnTo>
                    <a:pt x="10" y="117"/>
                  </a:lnTo>
                  <a:lnTo>
                    <a:pt x="10" y="113"/>
                  </a:lnTo>
                  <a:lnTo>
                    <a:pt x="6" y="109"/>
                  </a:lnTo>
                  <a:lnTo>
                    <a:pt x="6" y="107"/>
                  </a:lnTo>
                  <a:lnTo>
                    <a:pt x="4" y="105"/>
                  </a:lnTo>
                  <a:lnTo>
                    <a:pt x="2" y="100"/>
                  </a:lnTo>
                  <a:lnTo>
                    <a:pt x="0" y="96"/>
                  </a:lnTo>
                  <a:lnTo>
                    <a:pt x="0" y="94"/>
                  </a:lnTo>
                  <a:lnTo>
                    <a:pt x="4" y="94"/>
                  </a:lnTo>
                  <a:lnTo>
                    <a:pt x="4" y="92"/>
                  </a:lnTo>
                  <a:lnTo>
                    <a:pt x="0" y="92"/>
                  </a:lnTo>
                  <a:lnTo>
                    <a:pt x="0" y="88"/>
                  </a:lnTo>
                  <a:lnTo>
                    <a:pt x="2" y="84"/>
                  </a:lnTo>
                  <a:lnTo>
                    <a:pt x="6" y="84"/>
                  </a:lnTo>
                  <a:lnTo>
                    <a:pt x="8" y="82"/>
                  </a:lnTo>
                  <a:lnTo>
                    <a:pt x="10" y="75"/>
                  </a:lnTo>
                  <a:lnTo>
                    <a:pt x="8" y="69"/>
                  </a:lnTo>
                  <a:lnTo>
                    <a:pt x="12" y="61"/>
                  </a:lnTo>
                  <a:lnTo>
                    <a:pt x="16" y="57"/>
                  </a:lnTo>
                  <a:lnTo>
                    <a:pt x="25" y="59"/>
                  </a:lnTo>
                  <a:lnTo>
                    <a:pt x="23" y="55"/>
                  </a:lnTo>
                  <a:lnTo>
                    <a:pt x="25" y="55"/>
                  </a:lnTo>
                  <a:lnTo>
                    <a:pt x="27" y="52"/>
                  </a:lnTo>
                  <a:lnTo>
                    <a:pt x="25" y="46"/>
                  </a:lnTo>
                  <a:lnTo>
                    <a:pt x="29" y="46"/>
                  </a:lnTo>
                  <a:lnTo>
                    <a:pt x="31" y="46"/>
                  </a:lnTo>
                  <a:lnTo>
                    <a:pt x="41" y="50"/>
                  </a:lnTo>
                  <a:lnTo>
                    <a:pt x="48" y="50"/>
                  </a:lnTo>
                  <a:lnTo>
                    <a:pt x="52" y="46"/>
                  </a:lnTo>
                  <a:lnTo>
                    <a:pt x="52" y="40"/>
                  </a:lnTo>
                  <a:lnTo>
                    <a:pt x="54" y="32"/>
                  </a:lnTo>
                  <a:lnTo>
                    <a:pt x="58" y="40"/>
                  </a:lnTo>
                  <a:lnTo>
                    <a:pt x="64" y="42"/>
                  </a:lnTo>
                  <a:lnTo>
                    <a:pt x="66" y="40"/>
                  </a:lnTo>
                  <a:lnTo>
                    <a:pt x="66" y="32"/>
                  </a:lnTo>
                  <a:lnTo>
                    <a:pt x="71" y="34"/>
                  </a:lnTo>
                  <a:lnTo>
                    <a:pt x="75" y="32"/>
                  </a:lnTo>
                  <a:lnTo>
                    <a:pt x="75" y="36"/>
                  </a:lnTo>
                  <a:lnTo>
                    <a:pt x="79" y="42"/>
                  </a:lnTo>
                  <a:lnTo>
                    <a:pt x="81" y="42"/>
                  </a:lnTo>
                  <a:lnTo>
                    <a:pt x="83" y="40"/>
                  </a:lnTo>
                  <a:lnTo>
                    <a:pt x="83" y="38"/>
                  </a:lnTo>
                  <a:lnTo>
                    <a:pt x="85" y="28"/>
                  </a:lnTo>
                  <a:lnTo>
                    <a:pt x="83" y="21"/>
                  </a:lnTo>
                  <a:lnTo>
                    <a:pt x="87" y="19"/>
                  </a:lnTo>
                  <a:lnTo>
                    <a:pt x="89" y="23"/>
                  </a:lnTo>
                  <a:lnTo>
                    <a:pt x="91" y="21"/>
                  </a:lnTo>
                  <a:lnTo>
                    <a:pt x="87" y="17"/>
                  </a:lnTo>
                  <a:lnTo>
                    <a:pt x="89" y="15"/>
                  </a:lnTo>
                  <a:lnTo>
                    <a:pt x="91" y="17"/>
                  </a:lnTo>
                  <a:lnTo>
                    <a:pt x="92" y="15"/>
                  </a:lnTo>
                  <a:lnTo>
                    <a:pt x="102" y="17"/>
                  </a:lnTo>
                  <a:lnTo>
                    <a:pt x="106" y="11"/>
                  </a:lnTo>
                  <a:lnTo>
                    <a:pt x="104" y="5"/>
                  </a:lnTo>
                  <a:lnTo>
                    <a:pt x="108" y="0"/>
                  </a:lnTo>
                  <a:lnTo>
                    <a:pt x="110" y="0"/>
                  </a:lnTo>
                  <a:lnTo>
                    <a:pt x="115" y="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49" name="Freeform 45">
              <a:extLst>
                <a:ext uri="{FF2B5EF4-FFF2-40B4-BE49-F238E27FC236}">
                  <a16:creationId xmlns:a16="http://schemas.microsoft.com/office/drawing/2014/main" id="{62740E87-1517-47E1-B7A2-11C5EF27F724}"/>
                </a:ext>
              </a:extLst>
            </p:cNvPr>
            <p:cNvSpPr>
              <a:spLocks/>
            </p:cNvSpPr>
            <p:nvPr/>
          </p:nvSpPr>
          <p:spPr bwMode="gray">
            <a:xfrm>
              <a:off x="7556501" y="3370263"/>
              <a:ext cx="198438" cy="441325"/>
            </a:xfrm>
            <a:custGeom>
              <a:avLst/>
              <a:gdLst>
                <a:gd name="T0" fmla="*/ 83 w 125"/>
                <a:gd name="T1" fmla="*/ 19 h 278"/>
                <a:gd name="T2" fmla="*/ 79 w 125"/>
                <a:gd name="T3" fmla="*/ 34 h 278"/>
                <a:gd name="T4" fmla="*/ 83 w 125"/>
                <a:gd name="T5" fmla="*/ 46 h 278"/>
                <a:gd name="T6" fmla="*/ 94 w 125"/>
                <a:gd name="T7" fmla="*/ 46 h 278"/>
                <a:gd name="T8" fmla="*/ 102 w 125"/>
                <a:gd name="T9" fmla="*/ 46 h 278"/>
                <a:gd name="T10" fmla="*/ 106 w 125"/>
                <a:gd name="T11" fmla="*/ 53 h 278"/>
                <a:gd name="T12" fmla="*/ 114 w 125"/>
                <a:gd name="T13" fmla="*/ 51 h 278"/>
                <a:gd name="T14" fmla="*/ 115 w 125"/>
                <a:gd name="T15" fmla="*/ 61 h 278"/>
                <a:gd name="T16" fmla="*/ 121 w 125"/>
                <a:gd name="T17" fmla="*/ 76 h 278"/>
                <a:gd name="T18" fmla="*/ 125 w 125"/>
                <a:gd name="T19" fmla="*/ 90 h 278"/>
                <a:gd name="T20" fmla="*/ 121 w 125"/>
                <a:gd name="T21" fmla="*/ 103 h 278"/>
                <a:gd name="T22" fmla="*/ 119 w 125"/>
                <a:gd name="T23" fmla="*/ 119 h 278"/>
                <a:gd name="T24" fmla="*/ 115 w 125"/>
                <a:gd name="T25" fmla="*/ 126 h 278"/>
                <a:gd name="T26" fmla="*/ 119 w 125"/>
                <a:gd name="T27" fmla="*/ 140 h 278"/>
                <a:gd name="T28" fmla="*/ 115 w 125"/>
                <a:gd name="T29" fmla="*/ 151 h 278"/>
                <a:gd name="T30" fmla="*/ 108 w 125"/>
                <a:gd name="T31" fmla="*/ 163 h 278"/>
                <a:gd name="T32" fmla="*/ 96 w 125"/>
                <a:gd name="T33" fmla="*/ 157 h 278"/>
                <a:gd name="T34" fmla="*/ 91 w 125"/>
                <a:gd name="T35" fmla="*/ 159 h 278"/>
                <a:gd name="T36" fmla="*/ 92 w 125"/>
                <a:gd name="T37" fmla="*/ 169 h 278"/>
                <a:gd name="T38" fmla="*/ 89 w 125"/>
                <a:gd name="T39" fmla="*/ 184 h 278"/>
                <a:gd name="T40" fmla="*/ 87 w 125"/>
                <a:gd name="T41" fmla="*/ 199 h 278"/>
                <a:gd name="T42" fmla="*/ 89 w 125"/>
                <a:gd name="T43" fmla="*/ 215 h 278"/>
                <a:gd name="T44" fmla="*/ 94 w 125"/>
                <a:gd name="T45" fmla="*/ 224 h 278"/>
                <a:gd name="T46" fmla="*/ 98 w 125"/>
                <a:gd name="T47" fmla="*/ 244 h 278"/>
                <a:gd name="T48" fmla="*/ 94 w 125"/>
                <a:gd name="T49" fmla="*/ 251 h 278"/>
                <a:gd name="T50" fmla="*/ 89 w 125"/>
                <a:gd name="T51" fmla="*/ 251 h 278"/>
                <a:gd name="T52" fmla="*/ 81 w 125"/>
                <a:gd name="T53" fmla="*/ 257 h 278"/>
                <a:gd name="T54" fmla="*/ 75 w 125"/>
                <a:gd name="T55" fmla="*/ 268 h 278"/>
                <a:gd name="T56" fmla="*/ 71 w 125"/>
                <a:gd name="T57" fmla="*/ 270 h 278"/>
                <a:gd name="T58" fmla="*/ 64 w 125"/>
                <a:gd name="T59" fmla="*/ 270 h 278"/>
                <a:gd name="T60" fmla="*/ 56 w 125"/>
                <a:gd name="T61" fmla="*/ 265 h 278"/>
                <a:gd name="T62" fmla="*/ 46 w 125"/>
                <a:gd name="T63" fmla="*/ 257 h 278"/>
                <a:gd name="T64" fmla="*/ 43 w 125"/>
                <a:gd name="T65" fmla="*/ 270 h 278"/>
                <a:gd name="T66" fmla="*/ 33 w 125"/>
                <a:gd name="T67" fmla="*/ 267 h 278"/>
                <a:gd name="T68" fmla="*/ 35 w 125"/>
                <a:gd name="T69" fmla="*/ 259 h 278"/>
                <a:gd name="T70" fmla="*/ 33 w 125"/>
                <a:gd name="T71" fmla="*/ 245 h 278"/>
                <a:gd name="T72" fmla="*/ 29 w 125"/>
                <a:gd name="T73" fmla="*/ 219 h 278"/>
                <a:gd name="T74" fmla="*/ 25 w 125"/>
                <a:gd name="T75" fmla="*/ 213 h 278"/>
                <a:gd name="T76" fmla="*/ 25 w 125"/>
                <a:gd name="T77" fmla="*/ 194 h 278"/>
                <a:gd name="T78" fmla="*/ 20 w 125"/>
                <a:gd name="T79" fmla="*/ 184 h 278"/>
                <a:gd name="T80" fmla="*/ 16 w 125"/>
                <a:gd name="T81" fmla="*/ 172 h 278"/>
                <a:gd name="T82" fmla="*/ 10 w 125"/>
                <a:gd name="T83" fmla="*/ 171 h 278"/>
                <a:gd name="T84" fmla="*/ 12 w 125"/>
                <a:gd name="T85" fmla="*/ 157 h 278"/>
                <a:gd name="T86" fmla="*/ 8 w 125"/>
                <a:gd name="T87" fmla="*/ 147 h 278"/>
                <a:gd name="T88" fmla="*/ 14 w 125"/>
                <a:gd name="T89" fmla="*/ 136 h 278"/>
                <a:gd name="T90" fmla="*/ 12 w 125"/>
                <a:gd name="T91" fmla="*/ 124 h 278"/>
                <a:gd name="T92" fmla="*/ 8 w 125"/>
                <a:gd name="T93" fmla="*/ 117 h 278"/>
                <a:gd name="T94" fmla="*/ 4 w 125"/>
                <a:gd name="T95" fmla="*/ 113 h 278"/>
                <a:gd name="T96" fmla="*/ 2 w 125"/>
                <a:gd name="T97" fmla="*/ 96 h 278"/>
                <a:gd name="T98" fmla="*/ 0 w 125"/>
                <a:gd name="T99" fmla="*/ 86 h 278"/>
                <a:gd name="T100" fmla="*/ 2 w 125"/>
                <a:gd name="T101" fmla="*/ 71 h 278"/>
                <a:gd name="T102" fmla="*/ 8 w 125"/>
                <a:gd name="T103" fmla="*/ 65 h 278"/>
                <a:gd name="T104" fmla="*/ 6 w 125"/>
                <a:gd name="T105" fmla="*/ 48 h 278"/>
                <a:gd name="T106" fmla="*/ 4 w 125"/>
                <a:gd name="T107" fmla="*/ 30 h 278"/>
                <a:gd name="T108" fmla="*/ 12 w 125"/>
                <a:gd name="T109" fmla="*/ 28 h 278"/>
                <a:gd name="T110" fmla="*/ 18 w 125"/>
                <a:gd name="T111" fmla="*/ 40 h 278"/>
                <a:gd name="T112" fmla="*/ 23 w 125"/>
                <a:gd name="T113" fmla="*/ 38 h 278"/>
                <a:gd name="T114" fmla="*/ 37 w 125"/>
                <a:gd name="T115" fmla="*/ 28 h 278"/>
                <a:gd name="T116" fmla="*/ 46 w 125"/>
                <a:gd name="T117" fmla="*/ 17 h 278"/>
                <a:gd name="T118" fmla="*/ 52 w 125"/>
                <a:gd name="T119" fmla="*/ 1 h 278"/>
                <a:gd name="T120" fmla="*/ 58 w 125"/>
                <a:gd name="T121" fmla="*/ 9 h 278"/>
                <a:gd name="T122" fmla="*/ 64 w 125"/>
                <a:gd name="T123" fmla="*/ 13 h 278"/>
                <a:gd name="T124" fmla="*/ 71 w 125"/>
                <a:gd name="T125" fmla="*/ 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 h="278">
                  <a:moveTo>
                    <a:pt x="81" y="13"/>
                  </a:moveTo>
                  <a:lnTo>
                    <a:pt x="81" y="17"/>
                  </a:lnTo>
                  <a:lnTo>
                    <a:pt x="83" y="19"/>
                  </a:lnTo>
                  <a:lnTo>
                    <a:pt x="79" y="25"/>
                  </a:lnTo>
                  <a:lnTo>
                    <a:pt x="81" y="32"/>
                  </a:lnTo>
                  <a:lnTo>
                    <a:pt x="79" y="34"/>
                  </a:lnTo>
                  <a:lnTo>
                    <a:pt x="79" y="38"/>
                  </a:lnTo>
                  <a:lnTo>
                    <a:pt x="75" y="44"/>
                  </a:lnTo>
                  <a:lnTo>
                    <a:pt x="83" y="46"/>
                  </a:lnTo>
                  <a:lnTo>
                    <a:pt x="87" y="44"/>
                  </a:lnTo>
                  <a:lnTo>
                    <a:pt x="89" y="51"/>
                  </a:lnTo>
                  <a:lnTo>
                    <a:pt x="94" y="46"/>
                  </a:lnTo>
                  <a:lnTo>
                    <a:pt x="96" y="50"/>
                  </a:lnTo>
                  <a:lnTo>
                    <a:pt x="100" y="50"/>
                  </a:lnTo>
                  <a:lnTo>
                    <a:pt x="102" y="46"/>
                  </a:lnTo>
                  <a:lnTo>
                    <a:pt x="106" y="48"/>
                  </a:lnTo>
                  <a:lnTo>
                    <a:pt x="106" y="50"/>
                  </a:lnTo>
                  <a:lnTo>
                    <a:pt x="106" y="53"/>
                  </a:lnTo>
                  <a:lnTo>
                    <a:pt x="110" y="50"/>
                  </a:lnTo>
                  <a:lnTo>
                    <a:pt x="114" y="50"/>
                  </a:lnTo>
                  <a:lnTo>
                    <a:pt x="114" y="51"/>
                  </a:lnTo>
                  <a:lnTo>
                    <a:pt x="115" y="53"/>
                  </a:lnTo>
                  <a:lnTo>
                    <a:pt x="114" y="57"/>
                  </a:lnTo>
                  <a:lnTo>
                    <a:pt x="115" y="61"/>
                  </a:lnTo>
                  <a:lnTo>
                    <a:pt x="121" y="63"/>
                  </a:lnTo>
                  <a:lnTo>
                    <a:pt x="119" y="73"/>
                  </a:lnTo>
                  <a:lnTo>
                    <a:pt x="121" y="76"/>
                  </a:lnTo>
                  <a:lnTo>
                    <a:pt x="121" y="82"/>
                  </a:lnTo>
                  <a:lnTo>
                    <a:pt x="121" y="88"/>
                  </a:lnTo>
                  <a:lnTo>
                    <a:pt x="125" y="90"/>
                  </a:lnTo>
                  <a:lnTo>
                    <a:pt x="123" y="94"/>
                  </a:lnTo>
                  <a:lnTo>
                    <a:pt x="123" y="99"/>
                  </a:lnTo>
                  <a:lnTo>
                    <a:pt x="121" y="103"/>
                  </a:lnTo>
                  <a:lnTo>
                    <a:pt x="123" y="105"/>
                  </a:lnTo>
                  <a:lnTo>
                    <a:pt x="119" y="109"/>
                  </a:lnTo>
                  <a:lnTo>
                    <a:pt x="119" y="119"/>
                  </a:lnTo>
                  <a:lnTo>
                    <a:pt x="121" y="122"/>
                  </a:lnTo>
                  <a:lnTo>
                    <a:pt x="119" y="124"/>
                  </a:lnTo>
                  <a:lnTo>
                    <a:pt x="115" y="126"/>
                  </a:lnTo>
                  <a:lnTo>
                    <a:pt x="117" y="128"/>
                  </a:lnTo>
                  <a:lnTo>
                    <a:pt x="117" y="136"/>
                  </a:lnTo>
                  <a:lnTo>
                    <a:pt x="119" y="140"/>
                  </a:lnTo>
                  <a:lnTo>
                    <a:pt x="117" y="147"/>
                  </a:lnTo>
                  <a:lnTo>
                    <a:pt x="119" y="149"/>
                  </a:lnTo>
                  <a:lnTo>
                    <a:pt x="115" y="151"/>
                  </a:lnTo>
                  <a:lnTo>
                    <a:pt x="114" y="155"/>
                  </a:lnTo>
                  <a:lnTo>
                    <a:pt x="115" y="157"/>
                  </a:lnTo>
                  <a:lnTo>
                    <a:pt x="108" y="163"/>
                  </a:lnTo>
                  <a:lnTo>
                    <a:pt x="102" y="163"/>
                  </a:lnTo>
                  <a:lnTo>
                    <a:pt x="100" y="159"/>
                  </a:lnTo>
                  <a:lnTo>
                    <a:pt x="96" y="157"/>
                  </a:lnTo>
                  <a:lnTo>
                    <a:pt x="94" y="159"/>
                  </a:lnTo>
                  <a:lnTo>
                    <a:pt x="92" y="157"/>
                  </a:lnTo>
                  <a:lnTo>
                    <a:pt x="91" y="159"/>
                  </a:lnTo>
                  <a:lnTo>
                    <a:pt x="91" y="163"/>
                  </a:lnTo>
                  <a:lnTo>
                    <a:pt x="92" y="165"/>
                  </a:lnTo>
                  <a:lnTo>
                    <a:pt x="92" y="169"/>
                  </a:lnTo>
                  <a:lnTo>
                    <a:pt x="94" y="174"/>
                  </a:lnTo>
                  <a:lnTo>
                    <a:pt x="91" y="174"/>
                  </a:lnTo>
                  <a:lnTo>
                    <a:pt x="89" y="184"/>
                  </a:lnTo>
                  <a:lnTo>
                    <a:pt x="87" y="186"/>
                  </a:lnTo>
                  <a:lnTo>
                    <a:pt x="89" y="192"/>
                  </a:lnTo>
                  <a:lnTo>
                    <a:pt x="87" y="199"/>
                  </a:lnTo>
                  <a:lnTo>
                    <a:pt x="89" y="203"/>
                  </a:lnTo>
                  <a:lnTo>
                    <a:pt x="92" y="209"/>
                  </a:lnTo>
                  <a:lnTo>
                    <a:pt x="89" y="215"/>
                  </a:lnTo>
                  <a:lnTo>
                    <a:pt x="91" y="217"/>
                  </a:lnTo>
                  <a:lnTo>
                    <a:pt x="92" y="222"/>
                  </a:lnTo>
                  <a:lnTo>
                    <a:pt x="94" y="224"/>
                  </a:lnTo>
                  <a:lnTo>
                    <a:pt x="96" y="226"/>
                  </a:lnTo>
                  <a:lnTo>
                    <a:pt x="96" y="236"/>
                  </a:lnTo>
                  <a:lnTo>
                    <a:pt x="98" y="244"/>
                  </a:lnTo>
                  <a:lnTo>
                    <a:pt x="96" y="245"/>
                  </a:lnTo>
                  <a:lnTo>
                    <a:pt x="92" y="245"/>
                  </a:lnTo>
                  <a:lnTo>
                    <a:pt x="94" y="251"/>
                  </a:lnTo>
                  <a:lnTo>
                    <a:pt x="92" y="253"/>
                  </a:lnTo>
                  <a:lnTo>
                    <a:pt x="91" y="253"/>
                  </a:lnTo>
                  <a:lnTo>
                    <a:pt x="89" y="251"/>
                  </a:lnTo>
                  <a:lnTo>
                    <a:pt x="81" y="251"/>
                  </a:lnTo>
                  <a:lnTo>
                    <a:pt x="81" y="255"/>
                  </a:lnTo>
                  <a:lnTo>
                    <a:pt x="81" y="257"/>
                  </a:lnTo>
                  <a:lnTo>
                    <a:pt x="83" y="261"/>
                  </a:lnTo>
                  <a:lnTo>
                    <a:pt x="77" y="263"/>
                  </a:lnTo>
                  <a:lnTo>
                    <a:pt x="75" y="268"/>
                  </a:lnTo>
                  <a:lnTo>
                    <a:pt x="77" y="274"/>
                  </a:lnTo>
                  <a:lnTo>
                    <a:pt x="73" y="274"/>
                  </a:lnTo>
                  <a:lnTo>
                    <a:pt x="71" y="270"/>
                  </a:lnTo>
                  <a:lnTo>
                    <a:pt x="66" y="278"/>
                  </a:lnTo>
                  <a:lnTo>
                    <a:pt x="64" y="272"/>
                  </a:lnTo>
                  <a:lnTo>
                    <a:pt x="64" y="270"/>
                  </a:lnTo>
                  <a:lnTo>
                    <a:pt x="64" y="268"/>
                  </a:lnTo>
                  <a:lnTo>
                    <a:pt x="60" y="265"/>
                  </a:lnTo>
                  <a:lnTo>
                    <a:pt x="56" y="265"/>
                  </a:lnTo>
                  <a:lnTo>
                    <a:pt x="56" y="261"/>
                  </a:lnTo>
                  <a:lnTo>
                    <a:pt x="52" y="261"/>
                  </a:lnTo>
                  <a:lnTo>
                    <a:pt x="46" y="257"/>
                  </a:lnTo>
                  <a:lnTo>
                    <a:pt x="44" y="257"/>
                  </a:lnTo>
                  <a:lnTo>
                    <a:pt x="43" y="263"/>
                  </a:lnTo>
                  <a:lnTo>
                    <a:pt x="43" y="270"/>
                  </a:lnTo>
                  <a:lnTo>
                    <a:pt x="39" y="270"/>
                  </a:lnTo>
                  <a:lnTo>
                    <a:pt x="35" y="274"/>
                  </a:lnTo>
                  <a:lnTo>
                    <a:pt x="33" y="267"/>
                  </a:lnTo>
                  <a:lnTo>
                    <a:pt x="29" y="259"/>
                  </a:lnTo>
                  <a:lnTo>
                    <a:pt x="31" y="257"/>
                  </a:lnTo>
                  <a:lnTo>
                    <a:pt x="35" y="259"/>
                  </a:lnTo>
                  <a:lnTo>
                    <a:pt x="35" y="255"/>
                  </a:lnTo>
                  <a:lnTo>
                    <a:pt x="33" y="249"/>
                  </a:lnTo>
                  <a:lnTo>
                    <a:pt x="33" y="245"/>
                  </a:lnTo>
                  <a:lnTo>
                    <a:pt x="31" y="238"/>
                  </a:lnTo>
                  <a:lnTo>
                    <a:pt x="29" y="228"/>
                  </a:lnTo>
                  <a:lnTo>
                    <a:pt x="29" y="219"/>
                  </a:lnTo>
                  <a:lnTo>
                    <a:pt x="27" y="219"/>
                  </a:lnTo>
                  <a:lnTo>
                    <a:pt x="29" y="217"/>
                  </a:lnTo>
                  <a:lnTo>
                    <a:pt x="25" y="213"/>
                  </a:lnTo>
                  <a:lnTo>
                    <a:pt x="27" y="211"/>
                  </a:lnTo>
                  <a:lnTo>
                    <a:pt x="27" y="201"/>
                  </a:lnTo>
                  <a:lnTo>
                    <a:pt x="25" y="194"/>
                  </a:lnTo>
                  <a:lnTo>
                    <a:pt x="21" y="192"/>
                  </a:lnTo>
                  <a:lnTo>
                    <a:pt x="21" y="186"/>
                  </a:lnTo>
                  <a:lnTo>
                    <a:pt x="20" y="184"/>
                  </a:lnTo>
                  <a:lnTo>
                    <a:pt x="20" y="180"/>
                  </a:lnTo>
                  <a:lnTo>
                    <a:pt x="18" y="176"/>
                  </a:lnTo>
                  <a:lnTo>
                    <a:pt x="16" y="172"/>
                  </a:lnTo>
                  <a:lnTo>
                    <a:pt x="14" y="174"/>
                  </a:lnTo>
                  <a:lnTo>
                    <a:pt x="14" y="172"/>
                  </a:lnTo>
                  <a:lnTo>
                    <a:pt x="10" y="171"/>
                  </a:lnTo>
                  <a:lnTo>
                    <a:pt x="12" y="165"/>
                  </a:lnTo>
                  <a:lnTo>
                    <a:pt x="12" y="161"/>
                  </a:lnTo>
                  <a:lnTo>
                    <a:pt x="12" y="157"/>
                  </a:lnTo>
                  <a:lnTo>
                    <a:pt x="8" y="153"/>
                  </a:lnTo>
                  <a:lnTo>
                    <a:pt x="10" y="151"/>
                  </a:lnTo>
                  <a:lnTo>
                    <a:pt x="8" y="147"/>
                  </a:lnTo>
                  <a:lnTo>
                    <a:pt x="8" y="140"/>
                  </a:lnTo>
                  <a:lnTo>
                    <a:pt x="12" y="134"/>
                  </a:lnTo>
                  <a:lnTo>
                    <a:pt x="14" y="136"/>
                  </a:lnTo>
                  <a:lnTo>
                    <a:pt x="12" y="130"/>
                  </a:lnTo>
                  <a:lnTo>
                    <a:pt x="10" y="128"/>
                  </a:lnTo>
                  <a:lnTo>
                    <a:pt x="12" y="124"/>
                  </a:lnTo>
                  <a:lnTo>
                    <a:pt x="10" y="124"/>
                  </a:lnTo>
                  <a:lnTo>
                    <a:pt x="10" y="119"/>
                  </a:lnTo>
                  <a:lnTo>
                    <a:pt x="8" y="117"/>
                  </a:lnTo>
                  <a:lnTo>
                    <a:pt x="6" y="117"/>
                  </a:lnTo>
                  <a:lnTo>
                    <a:pt x="6" y="113"/>
                  </a:lnTo>
                  <a:lnTo>
                    <a:pt x="4" y="113"/>
                  </a:lnTo>
                  <a:lnTo>
                    <a:pt x="4" y="103"/>
                  </a:lnTo>
                  <a:lnTo>
                    <a:pt x="2" y="99"/>
                  </a:lnTo>
                  <a:lnTo>
                    <a:pt x="2" y="96"/>
                  </a:lnTo>
                  <a:lnTo>
                    <a:pt x="0" y="94"/>
                  </a:lnTo>
                  <a:lnTo>
                    <a:pt x="2" y="88"/>
                  </a:lnTo>
                  <a:lnTo>
                    <a:pt x="0" y="86"/>
                  </a:lnTo>
                  <a:lnTo>
                    <a:pt x="0" y="80"/>
                  </a:lnTo>
                  <a:lnTo>
                    <a:pt x="0" y="74"/>
                  </a:lnTo>
                  <a:lnTo>
                    <a:pt x="2" y="71"/>
                  </a:lnTo>
                  <a:lnTo>
                    <a:pt x="6" y="73"/>
                  </a:lnTo>
                  <a:lnTo>
                    <a:pt x="6" y="69"/>
                  </a:lnTo>
                  <a:lnTo>
                    <a:pt x="8" y="65"/>
                  </a:lnTo>
                  <a:lnTo>
                    <a:pt x="4" y="61"/>
                  </a:lnTo>
                  <a:lnTo>
                    <a:pt x="8" y="57"/>
                  </a:lnTo>
                  <a:lnTo>
                    <a:pt x="6" y="48"/>
                  </a:lnTo>
                  <a:lnTo>
                    <a:pt x="8" y="40"/>
                  </a:lnTo>
                  <a:lnTo>
                    <a:pt x="6" y="32"/>
                  </a:lnTo>
                  <a:lnTo>
                    <a:pt x="4" y="30"/>
                  </a:lnTo>
                  <a:lnTo>
                    <a:pt x="4" y="28"/>
                  </a:lnTo>
                  <a:lnTo>
                    <a:pt x="6" y="28"/>
                  </a:lnTo>
                  <a:lnTo>
                    <a:pt x="12" y="28"/>
                  </a:lnTo>
                  <a:lnTo>
                    <a:pt x="18" y="28"/>
                  </a:lnTo>
                  <a:lnTo>
                    <a:pt x="16" y="34"/>
                  </a:lnTo>
                  <a:lnTo>
                    <a:pt x="18" y="40"/>
                  </a:lnTo>
                  <a:lnTo>
                    <a:pt x="21" y="40"/>
                  </a:lnTo>
                  <a:lnTo>
                    <a:pt x="23" y="40"/>
                  </a:lnTo>
                  <a:lnTo>
                    <a:pt x="23" y="38"/>
                  </a:lnTo>
                  <a:lnTo>
                    <a:pt x="29" y="36"/>
                  </a:lnTo>
                  <a:lnTo>
                    <a:pt x="31" y="28"/>
                  </a:lnTo>
                  <a:lnTo>
                    <a:pt x="37" y="28"/>
                  </a:lnTo>
                  <a:lnTo>
                    <a:pt x="39" y="19"/>
                  </a:lnTo>
                  <a:lnTo>
                    <a:pt x="41" y="21"/>
                  </a:lnTo>
                  <a:lnTo>
                    <a:pt x="46" y="17"/>
                  </a:lnTo>
                  <a:lnTo>
                    <a:pt x="46" y="15"/>
                  </a:lnTo>
                  <a:lnTo>
                    <a:pt x="48" y="11"/>
                  </a:lnTo>
                  <a:lnTo>
                    <a:pt x="52" y="1"/>
                  </a:lnTo>
                  <a:lnTo>
                    <a:pt x="54" y="0"/>
                  </a:lnTo>
                  <a:lnTo>
                    <a:pt x="56" y="5"/>
                  </a:lnTo>
                  <a:lnTo>
                    <a:pt x="58" y="9"/>
                  </a:lnTo>
                  <a:lnTo>
                    <a:pt x="60" y="11"/>
                  </a:lnTo>
                  <a:lnTo>
                    <a:pt x="60" y="15"/>
                  </a:lnTo>
                  <a:lnTo>
                    <a:pt x="64" y="13"/>
                  </a:lnTo>
                  <a:lnTo>
                    <a:pt x="69" y="13"/>
                  </a:lnTo>
                  <a:lnTo>
                    <a:pt x="69" y="11"/>
                  </a:lnTo>
                  <a:lnTo>
                    <a:pt x="71" y="13"/>
                  </a:lnTo>
                  <a:lnTo>
                    <a:pt x="77" y="11"/>
                  </a:lnTo>
                  <a:lnTo>
                    <a:pt x="81" y="1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grpSp>
          <p:nvGrpSpPr>
            <p:cNvPr id="50" name="Group 49">
              <a:extLst>
                <a:ext uri="{FF2B5EF4-FFF2-40B4-BE49-F238E27FC236}">
                  <a16:creationId xmlns:a16="http://schemas.microsoft.com/office/drawing/2014/main" id="{D05A6885-2418-4108-B7FC-68E96EE20EAB}"/>
                </a:ext>
              </a:extLst>
            </p:cNvPr>
            <p:cNvGrpSpPr/>
            <p:nvPr/>
          </p:nvGrpSpPr>
          <p:grpSpPr bwMode="gray">
            <a:xfrm>
              <a:off x="4324350" y="1201737"/>
              <a:ext cx="4103688" cy="1798639"/>
              <a:chOff x="4324350" y="1201737"/>
              <a:chExt cx="4103688" cy="1798639"/>
            </a:xfrm>
          </p:grpSpPr>
          <p:sp>
            <p:nvSpPr>
              <p:cNvPr id="51" name="Freeform 233">
                <a:extLst>
                  <a:ext uri="{FF2B5EF4-FFF2-40B4-BE49-F238E27FC236}">
                    <a16:creationId xmlns:a16="http://schemas.microsoft.com/office/drawing/2014/main" id="{EF817B02-41B9-43B7-8428-A79E2283204F}"/>
                  </a:ext>
                </a:extLst>
              </p:cNvPr>
              <p:cNvSpPr>
                <a:spLocks/>
              </p:cNvSpPr>
              <p:nvPr/>
            </p:nvSpPr>
            <p:spPr bwMode="gray">
              <a:xfrm>
                <a:off x="5219700" y="1390650"/>
                <a:ext cx="396875" cy="603250"/>
              </a:xfrm>
              <a:custGeom>
                <a:avLst/>
                <a:gdLst>
                  <a:gd name="T0" fmla="*/ 23 w 250"/>
                  <a:gd name="T1" fmla="*/ 38 h 380"/>
                  <a:gd name="T2" fmla="*/ 42 w 250"/>
                  <a:gd name="T3" fmla="*/ 29 h 380"/>
                  <a:gd name="T4" fmla="*/ 65 w 250"/>
                  <a:gd name="T5" fmla="*/ 19 h 380"/>
                  <a:gd name="T6" fmla="*/ 94 w 250"/>
                  <a:gd name="T7" fmla="*/ 6 h 380"/>
                  <a:gd name="T8" fmla="*/ 123 w 250"/>
                  <a:gd name="T9" fmla="*/ 6 h 380"/>
                  <a:gd name="T10" fmla="*/ 154 w 250"/>
                  <a:gd name="T11" fmla="*/ 2 h 380"/>
                  <a:gd name="T12" fmla="*/ 161 w 250"/>
                  <a:gd name="T13" fmla="*/ 13 h 380"/>
                  <a:gd name="T14" fmla="*/ 179 w 250"/>
                  <a:gd name="T15" fmla="*/ 25 h 380"/>
                  <a:gd name="T16" fmla="*/ 196 w 250"/>
                  <a:gd name="T17" fmla="*/ 44 h 380"/>
                  <a:gd name="T18" fmla="*/ 209 w 250"/>
                  <a:gd name="T19" fmla="*/ 48 h 380"/>
                  <a:gd name="T20" fmla="*/ 227 w 250"/>
                  <a:gd name="T21" fmla="*/ 61 h 380"/>
                  <a:gd name="T22" fmla="*/ 244 w 250"/>
                  <a:gd name="T23" fmla="*/ 52 h 380"/>
                  <a:gd name="T24" fmla="*/ 242 w 250"/>
                  <a:gd name="T25" fmla="*/ 73 h 380"/>
                  <a:gd name="T26" fmla="*/ 236 w 250"/>
                  <a:gd name="T27" fmla="*/ 92 h 380"/>
                  <a:gd name="T28" fmla="*/ 231 w 250"/>
                  <a:gd name="T29" fmla="*/ 113 h 380"/>
                  <a:gd name="T30" fmla="*/ 219 w 250"/>
                  <a:gd name="T31" fmla="*/ 132 h 380"/>
                  <a:gd name="T32" fmla="*/ 208 w 250"/>
                  <a:gd name="T33" fmla="*/ 144 h 380"/>
                  <a:gd name="T34" fmla="*/ 183 w 250"/>
                  <a:gd name="T35" fmla="*/ 161 h 380"/>
                  <a:gd name="T36" fmla="*/ 171 w 250"/>
                  <a:gd name="T37" fmla="*/ 171 h 380"/>
                  <a:gd name="T38" fmla="*/ 158 w 250"/>
                  <a:gd name="T39" fmla="*/ 169 h 380"/>
                  <a:gd name="T40" fmla="*/ 158 w 250"/>
                  <a:gd name="T41" fmla="*/ 192 h 380"/>
                  <a:gd name="T42" fmla="*/ 144 w 250"/>
                  <a:gd name="T43" fmla="*/ 217 h 380"/>
                  <a:gd name="T44" fmla="*/ 123 w 250"/>
                  <a:gd name="T45" fmla="*/ 215 h 380"/>
                  <a:gd name="T46" fmla="*/ 92 w 250"/>
                  <a:gd name="T47" fmla="*/ 217 h 380"/>
                  <a:gd name="T48" fmla="*/ 104 w 250"/>
                  <a:gd name="T49" fmla="*/ 248 h 380"/>
                  <a:gd name="T50" fmla="*/ 102 w 250"/>
                  <a:gd name="T51" fmla="*/ 257 h 380"/>
                  <a:gd name="T52" fmla="*/ 94 w 250"/>
                  <a:gd name="T53" fmla="*/ 269 h 380"/>
                  <a:gd name="T54" fmla="*/ 98 w 250"/>
                  <a:gd name="T55" fmla="*/ 288 h 380"/>
                  <a:gd name="T56" fmla="*/ 106 w 250"/>
                  <a:gd name="T57" fmla="*/ 300 h 380"/>
                  <a:gd name="T58" fmla="*/ 131 w 250"/>
                  <a:gd name="T59" fmla="*/ 305 h 380"/>
                  <a:gd name="T60" fmla="*/ 138 w 250"/>
                  <a:gd name="T61" fmla="*/ 313 h 380"/>
                  <a:gd name="T62" fmla="*/ 136 w 250"/>
                  <a:gd name="T63" fmla="*/ 332 h 380"/>
                  <a:gd name="T64" fmla="*/ 154 w 250"/>
                  <a:gd name="T65" fmla="*/ 357 h 380"/>
                  <a:gd name="T66" fmla="*/ 136 w 250"/>
                  <a:gd name="T67" fmla="*/ 373 h 380"/>
                  <a:gd name="T68" fmla="*/ 125 w 250"/>
                  <a:gd name="T69" fmla="*/ 369 h 380"/>
                  <a:gd name="T70" fmla="*/ 125 w 250"/>
                  <a:gd name="T71" fmla="*/ 348 h 380"/>
                  <a:gd name="T72" fmla="*/ 123 w 250"/>
                  <a:gd name="T73" fmla="*/ 330 h 380"/>
                  <a:gd name="T74" fmla="*/ 115 w 250"/>
                  <a:gd name="T75" fmla="*/ 307 h 380"/>
                  <a:gd name="T76" fmla="*/ 102 w 250"/>
                  <a:gd name="T77" fmla="*/ 296 h 380"/>
                  <a:gd name="T78" fmla="*/ 89 w 250"/>
                  <a:gd name="T79" fmla="*/ 280 h 380"/>
                  <a:gd name="T80" fmla="*/ 71 w 250"/>
                  <a:gd name="T81" fmla="*/ 263 h 380"/>
                  <a:gd name="T82" fmla="*/ 75 w 250"/>
                  <a:gd name="T83" fmla="*/ 248 h 380"/>
                  <a:gd name="T84" fmla="*/ 75 w 250"/>
                  <a:gd name="T85" fmla="*/ 229 h 380"/>
                  <a:gd name="T86" fmla="*/ 71 w 250"/>
                  <a:gd name="T87" fmla="*/ 213 h 380"/>
                  <a:gd name="T88" fmla="*/ 81 w 250"/>
                  <a:gd name="T89" fmla="*/ 202 h 380"/>
                  <a:gd name="T90" fmla="*/ 94 w 250"/>
                  <a:gd name="T91" fmla="*/ 200 h 380"/>
                  <a:gd name="T92" fmla="*/ 106 w 250"/>
                  <a:gd name="T93" fmla="*/ 182 h 380"/>
                  <a:gd name="T94" fmla="*/ 92 w 250"/>
                  <a:gd name="T95" fmla="*/ 177 h 380"/>
                  <a:gd name="T96" fmla="*/ 79 w 250"/>
                  <a:gd name="T97" fmla="*/ 163 h 380"/>
                  <a:gd name="T98" fmla="*/ 62 w 250"/>
                  <a:gd name="T99" fmla="*/ 161 h 380"/>
                  <a:gd name="T100" fmla="*/ 46 w 250"/>
                  <a:gd name="T101" fmla="*/ 157 h 380"/>
                  <a:gd name="T102" fmla="*/ 29 w 250"/>
                  <a:gd name="T103" fmla="*/ 148 h 380"/>
                  <a:gd name="T104" fmla="*/ 25 w 250"/>
                  <a:gd name="T105" fmla="*/ 132 h 380"/>
                  <a:gd name="T106" fmla="*/ 21 w 250"/>
                  <a:gd name="T107" fmla="*/ 115 h 380"/>
                  <a:gd name="T108" fmla="*/ 17 w 250"/>
                  <a:gd name="T109" fmla="*/ 100 h 380"/>
                  <a:gd name="T110" fmla="*/ 8 w 250"/>
                  <a:gd name="T111" fmla="*/ 96 h 380"/>
                  <a:gd name="T112" fmla="*/ 6 w 250"/>
                  <a:gd name="T113" fmla="*/ 77 h 380"/>
                  <a:gd name="T114" fmla="*/ 10 w 250"/>
                  <a:gd name="T115" fmla="*/ 54 h 380"/>
                  <a:gd name="T116" fmla="*/ 0 w 250"/>
                  <a:gd name="T117"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0" h="380">
                    <a:moveTo>
                      <a:pt x="0" y="48"/>
                    </a:moveTo>
                    <a:lnTo>
                      <a:pt x="19" y="48"/>
                    </a:lnTo>
                    <a:lnTo>
                      <a:pt x="21" y="46"/>
                    </a:lnTo>
                    <a:lnTo>
                      <a:pt x="23" y="38"/>
                    </a:lnTo>
                    <a:lnTo>
                      <a:pt x="25" y="36"/>
                    </a:lnTo>
                    <a:lnTo>
                      <a:pt x="29" y="35"/>
                    </a:lnTo>
                    <a:lnTo>
                      <a:pt x="33" y="35"/>
                    </a:lnTo>
                    <a:lnTo>
                      <a:pt x="42" y="29"/>
                    </a:lnTo>
                    <a:lnTo>
                      <a:pt x="50" y="25"/>
                    </a:lnTo>
                    <a:lnTo>
                      <a:pt x="52" y="23"/>
                    </a:lnTo>
                    <a:lnTo>
                      <a:pt x="62" y="21"/>
                    </a:lnTo>
                    <a:lnTo>
                      <a:pt x="65" y="19"/>
                    </a:lnTo>
                    <a:lnTo>
                      <a:pt x="75" y="13"/>
                    </a:lnTo>
                    <a:lnTo>
                      <a:pt x="81" y="8"/>
                    </a:lnTo>
                    <a:lnTo>
                      <a:pt x="92" y="6"/>
                    </a:lnTo>
                    <a:lnTo>
                      <a:pt x="94" y="6"/>
                    </a:lnTo>
                    <a:lnTo>
                      <a:pt x="100" y="8"/>
                    </a:lnTo>
                    <a:lnTo>
                      <a:pt x="106" y="8"/>
                    </a:lnTo>
                    <a:lnTo>
                      <a:pt x="113" y="8"/>
                    </a:lnTo>
                    <a:lnTo>
                      <a:pt x="123" y="6"/>
                    </a:lnTo>
                    <a:lnTo>
                      <a:pt x="129" y="6"/>
                    </a:lnTo>
                    <a:lnTo>
                      <a:pt x="136" y="6"/>
                    </a:lnTo>
                    <a:lnTo>
                      <a:pt x="142" y="0"/>
                    </a:lnTo>
                    <a:lnTo>
                      <a:pt x="154" y="2"/>
                    </a:lnTo>
                    <a:lnTo>
                      <a:pt x="156" y="0"/>
                    </a:lnTo>
                    <a:lnTo>
                      <a:pt x="158" y="2"/>
                    </a:lnTo>
                    <a:lnTo>
                      <a:pt x="158" y="11"/>
                    </a:lnTo>
                    <a:lnTo>
                      <a:pt x="161" y="13"/>
                    </a:lnTo>
                    <a:lnTo>
                      <a:pt x="167" y="11"/>
                    </a:lnTo>
                    <a:lnTo>
                      <a:pt x="169" y="13"/>
                    </a:lnTo>
                    <a:lnTo>
                      <a:pt x="175" y="19"/>
                    </a:lnTo>
                    <a:lnTo>
                      <a:pt x="179" y="25"/>
                    </a:lnTo>
                    <a:lnTo>
                      <a:pt x="181" y="31"/>
                    </a:lnTo>
                    <a:lnTo>
                      <a:pt x="183" y="35"/>
                    </a:lnTo>
                    <a:lnTo>
                      <a:pt x="192" y="36"/>
                    </a:lnTo>
                    <a:lnTo>
                      <a:pt x="196" y="44"/>
                    </a:lnTo>
                    <a:lnTo>
                      <a:pt x="200" y="44"/>
                    </a:lnTo>
                    <a:lnTo>
                      <a:pt x="206" y="42"/>
                    </a:lnTo>
                    <a:lnTo>
                      <a:pt x="208" y="44"/>
                    </a:lnTo>
                    <a:lnTo>
                      <a:pt x="209" y="48"/>
                    </a:lnTo>
                    <a:lnTo>
                      <a:pt x="211" y="52"/>
                    </a:lnTo>
                    <a:lnTo>
                      <a:pt x="213" y="58"/>
                    </a:lnTo>
                    <a:lnTo>
                      <a:pt x="217" y="63"/>
                    </a:lnTo>
                    <a:lnTo>
                      <a:pt x="227" y="61"/>
                    </a:lnTo>
                    <a:lnTo>
                      <a:pt x="227" y="56"/>
                    </a:lnTo>
                    <a:lnTo>
                      <a:pt x="232" y="54"/>
                    </a:lnTo>
                    <a:lnTo>
                      <a:pt x="234" y="48"/>
                    </a:lnTo>
                    <a:lnTo>
                      <a:pt x="244" y="52"/>
                    </a:lnTo>
                    <a:lnTo>
                      <a:pt x="250" y="58"/>
                    </a:lnTo>
                    <a:lnTo>
                      <a:pt x="248" y="61"/>
                    </a:lnTo>
                    <a:lnTo>
                      <a:pt x="244" y="67"/>
                    </a:lnTo>
                    <a:lnTo>
                      <a:pt x="242" y="73"/>
                    </a:lnTo>
                    <a:lnTo>
                      <a:pt x="242" y="77"/>
                    </a:lnTo>
                    <a:lnTo>
                      <a:pt x="240" y="84"/>
                    </a:lnTo>
                    <a:lnTo>
                      <a:pt x="240" y="86"/>
                    </a:lnTo>
                    <a:lnTo>
                      <a:pt x="236" y="92"/>
                    </a:lnTo>
                    <a:lnTo>
                      <a:pt x="234" y="96"/>
                    </a:lnTo>
                    <a:lnTo>
                      <a:pt x="232" y="100"/>
                    </a:lnTo>
                    <a:lnTo>
                      <a:pt x="231" y="108"/>
                    </a:lnTo>
                    <a:lnTo>
                      <a:pt x="231" y="113"/>
                    </a:lnTo>
                    <a:lnTo>
                      <a:pt x="231" y="119"/>
                    </a:lnTo>
                    <a:lnTo>
                      <a:pt x="229" y="125"/>
                    </a:lnTo>
                    <a:lnTo>
                      <a:pt x="223" y="129"/>
                    </a:lnTo>
                    <a:lnTo>
                      <a:pt x="219" y="132"/>
                    </a:lnTo>
                    <a:lnTo>
                      <a:pt x="215" y="138"/>
                    </a:lnTo>
                    <a:lnTo>
                      <a:pt x="215" y="144"/>
                    </a:lnTo>
                    <a:lnTo>
                      <a:pt x="213" y="144"/>
                    </a:lnTo>
                    <a:lnTo>
                      <a:pt x="208" y="144"/>
                    </a:lnTo>
                    <a:lnTo>
                      <a:pt x="198" y="146"/>
                    </a:lnTo>
                    <a:lnTo>
                      <a:pt x="192" y="154"/>
                    </a:lnTo>
                    <a:lnTo>
                      <a:pt x="183" y="157"/>
                    </a:lnTo>
                    <a:lnTo>
                      <a:pt x="183" y="161"/>
                    </a:lnTo>
                    <a:lnTo>
                      <a:pt x="181" y="163"/>
                    </a:lnTo>
                    <a:lnTo>
                      <a:pt x="183" y="167"/>
                    </a:lnTo>
                    <a:lnTo>
                      <a:pt x="181" y="169"/>
                    </a:lnTo>
                    <a:lnTo>
                      <a:pt x="171" y="171"/>
                    </a:lnTo>
                    <a:lnTo>
                      <a:pt x="167" y="169"/>
                    </a:lnTo>
                    <a:lnTo>
                      <a:pt x="161" y="165"/>
                    </a:lnTo>
                    <a:lnTo>
                      <a:pt x="158" y="167"/>
                    </a:lnTo>
                    <a:lnTo>
                      <a:pt x="158" y="169"/>
                    </a:lnTo>
                    <a:lnTo>
                      <a:pt x="161" y="173"/>
                    </a:lnTo>
                    <a:lnTo>
                      <a:pt x="163" y="180"/>
                    </a:lnTo>
                    <a:lnTo>
                      <a:pt x="163" y="184"/>
                    </a:lnTo>
                    <a:lnTo>
                      <a:pt x="158" y="192"/>
                    </a:lnTo>
                    <a:lnTo>
                      <a:pt x="156" y="202"/>
                    </a:lnTo>
                    <a:lnTo>
                      <a:pt x="150" y="205"/>
                    </a:lnTo>
                    <a:lnTo>
                      <a:pt x="146" y="215"/>
                    </a:lnTo>
                    <a:lnTo>
                      <a:pt x="144" y="217"/>
                    </a:lnTo>
                    <a:lnTo>
                      <a:pt x="142" y="217"/>
                    </a:lnTo>
                    <a:lnTo>
                      <a:pt x="131" y="215"/>
                    </a:lnTo>
                    <a:lnTo>
                      <a:pt x="129" y="215"/>
                    </a:lnTo>
                    <a:lnTo>
                      <a:pt x="123" y="215"/>
                    </a:lnTo>
                    <a:lnTo>
                      <a:pt x="113" y="217"/>
                    </a:lnTo>
                    <a:lnTo>
                      <a:pt x="108" y="217"/>
                    </a:lnTo>
                    <a:lnTo>
                      <a:pt x="100" y="213"/>
                    </a:lnTo>
                    <a:lnTo>
                      <a:pt x="92" y="217"/>
                    </a:lnTo>
                    <a:lnTo>
                      <a:pt x="92" y="221"/>
                    </a:lnTo>
                    <a:lnTo>
                      <a:pt x="98" y="232"/>
                    </a:lnTo>
                    <a:lnTo>
                      <a:pt x="100" y="238"/>
                    </a:lnTo>
                    <a:lnTo>
                      <a:pt x="104" y="248"/>
                    </a:lnTo>
                    <a:lnTo>
                      <a:pt x="108" y="253"/>
                    </a:lnTo>
                    <a:lnTo>
                      <a:pt x="110" y="255"/>
                    </a:lnTo>
                    <a:lnTo>
                      <a:pt x="108" y="257"/>
                    </a:lnTo>
                    <a:lnTo>
                      <a:pt x="102" y="257"/>
                    </a:lnTo>
                    <a:lnTo>
                      <a:pt x="96" y="259"/>
                    </a:lnTo>
                    <a:lnTo>
                      <a:pt x="92" y="259"/>
                    </a:lnTo>
                    <a:lnTo>
                      <a:pt x="89" y="261"/>
                    </a:lnTo>
                    <a:lnTo>
                      <a:pt x="94" y="269"/>
                    </a:lnTo>
                    <a:lnTo>
                      <a:pt x="92" y="273"/>
                    </a:lnTo>
                    <a:lnTo>
                      <a:pt x="92" y="278"/>
                    </a:lnTo>
                    <a:lnTo>
                      <a:pt x="92" y="282"/>
                    </a:lnTo>
                    <a:lnTo>
                      <a:pt x="98" y="288"/>
                    </a:lnTo>
                    <a:lnTo>
                      <a:pt x="100" y="288"/>
                    </a:lnTo>
                    <a:lnTo>
                      <a:pt x="102" y="290"/>
                    </a:lnTo>
                    <a:lnTo>
                      <a:pt x="106" y="292"/>
                    </a:lnTo>
                    <a:lnTo>
                      <a:pt x="106" y="300"/>
                    </a:lnTo>
                    <a:lnTo>
                      <a:pt x="112" y="303"/>
                    </a:lnTo>
                    <a:lnTo>
                      <a:pt x="117" y="303"/>
                    </a:lnTo>
                    <a:lnTo>
                      <a:pt x="119" y="303"/>
                    </a:lnTo>
                    <a:lnTo>
                      <a:pt x="131" y="305"/>
                    </a:lnTo>
                    <a:lnTo>
                      <a:pt x="138" y="305"/>
                    </a:lnTo>
                    <a:lnTo>
                      <a:pt x="140" y="305"/>
                    </a:lnTo>
                    <a:lnTo>
                      <a:pt x="140" y="309"/>
                    </a:lnTo>
                    <a:lnTo>
                      <a:pt x="138" y="313"/>
                    </a:lnTo>
                    <a:lnTo>
                      <a:pt x="135" y="319"/>
                    </a:lnTo>
                    <a:lnTo>
                      <a:pt x="135" y="321"/>
                    </a:lnTo>
                    <a:lnTo>
                      <a:pt x="133" y="326"/>
                    </a:lnTo>
                    <a:lnTo>
                      <a:pt x="136" y="332"/>
                    </a:lnTo>
                    <a:lnTo>
                      <a:pt x="144" y="336"/>
                    </a:lnTo>
                    <a:lnTo>
                      <a:pt x="146" y="346"/>
                    </a:lnTo>
                    <a:lnTo>
                      <a:pt x="150" y="350"/>
                    </a:lnTo>
                    <a:lnTo>
                      <a:pt x="154" y="357"/>
                    </a:lnTo>
                    <a:lnTo>
                      <a:pt x="154" y="361"/>
                    </a:lnTo>
                    <a:lnTo>
                      <a:pt x="152" y="367"/>
                    </a:lnTo>
                    <a:lnTo>
                      <a:pt x="142" y="371"/>
                    </a:lnTo>
                    <a:lnTo>
                      <a:pt x="136" y="373"/>
                    </a:lnTo>
                    <a:lnTo>
                      <a:pt x="131" y="376"/>
                    </a:lnTo>
                    <a:lnTo>
                      <a:pt x="127" y="380"/>
                    </a:lnTo>
                    <a:lnTo>
                      <a:pt x="121" y="376"/>
                    </a:lnTo>
                    <a:lnTo>
                      <a:pt x="125" y="369"/>
                    </a:lnTo>
                    <a:lnTo>
                      <a:pt x="125" y="365"/>
                    </a:lnTo>
                    <a:lnTo>
                      <a:pt x="123" y="359"/>
                    </a:lnTo>
                    <a:lnTo>
                      <a:pt x="127" y="355"/>
                    </a:lnTo>
                    <a:lnTo>
                      <a:pt x="125" y="348"/>
                    </a:lnTo>
                    <a:lnTo>
                      <a:pt x="119" y="348"/>
                    </a:lnTo>
                    <a:lnTo>
                      <a:pt x="121" y="342"/>
                    </a:lnTo>
                    <a:lnTo>
                      <a:pt x="119" y="336"/>
                    </a:lnTo>
                    <a:lnTo>
                      <a:pt x="123" y="330"/>
                    </a:lnTo>
                    <a:lnTo>
                      <a:pt x="115" y="326"/>
                    </a:lnTo>
                    <a:lnTo>
                      <a:pt x="113" y="323"/>
                    </a:lnTo>
                    <a:lnTo>
                      <a:pt x="112" y="313"/>
                    </a:lnTo>
                    <a:lnTo>
                      <a:pt x="115" y="307"/>
                    </a:lnTo>
                    <a:lnTo>
                      <a:pt x="112" y="303"/>
                    </a:lnTo>
                    <a:lnTo>
                      <a:pt x="106" y="300"/>
                    </a:lnTo>
                    <a:lnTo>
                      <a:pt x="106" y="298"/>
                    </a:lnTo>
                    <a:lnTo>
                      <a:pt x="102" y="296"/>
                    </a:lnTo>
                    <a:lnTo>
                      <a:pt x="100" y="290"/>
                    </a:lnTo>
                    <a:lnTo>
                      <a:pt x="96" y="290"/>
                    </a:lnTo>
                    <a:lnTo>
                      <a:pt x="92" y="282"/>
                    </a:lnTo>
                    <a:lnTo>
                      <a:pt x="89" y="280"/>
                    </a:lnTo>
                    <a:lnTo>
                      <a:pt x="83" y="278"/>
                    </a:lnTo>
                    <a:lnTo>
                      <a:pt x="79" y="273"/>
                    </a:lnTo>
                    <a:lnTo>
                      <a:pt x="75" y="269"/>
                    </a:lnTo>
                    <a:lnTo>
                      <a:pt x="71" y="263"/>
                    </a:lnTo>
                    <a:lnTo>
                      <a:pt x="75" y="257"/>
                    </a:lnTo>
                    <a:lnTo>
                      <a:pt x="69" y="257"/>
                    </a:lnTo>
                    <a:lnTo>
                      <a:pt x="67" y="253"/>
                    </a:lnTo>
                    <a:lnTo>
                      <a:pt x="75" y="248"/>
                    </a:lnTo>
                    <a:lnTo>
                      <a:pt x="77" y="244"/>
                    </a:lnTo>
                    <a:lnTo>
                      <a:pt x="75" y="240"/>
                    </a:lnTo>
                    <a:lnTo>
                      <a:pt x="77" y="234"/>
                    </a:lnTo>
                    <a:lnTo>
                      <a:pt x="75" y="229"/>
                    </a:lnTo>
                    <a:lnTo>
                      <a:pt x="77" y="227"/>
                    </a:lnTo>
                    <a:lnTo>
                      <a:pt x="73" y="225"/>
                    </a:lnTo>
                    <a:lnTo>
                      <a:pt x="75" y="217"/>
                    </a:lnTo>
                    <a:lnTo>
                      <a:pt x="71" y="213"/>
                    </a:lnTo>
                    <a:lnTo>
                      <a:pt x="65" y="213"/>
                    </a:lnTo>
                    <a:lnTo>
                      <a:pt x="67" y="207"/>
                    </a:lnTo>
                    <a:lnTo>
                      <a:pt x="75" y="205"/>
                    </a:lnTo>
                    <a:lnTo>
                      <a:pt x="81" y="202"/>
                    </a:lnTo>
                    <a:lnTo>
                      <a:pt x="85" y="204"/>
                    </a:lnTo>
                    <a:lnTo>
                      <a:pt x="89" y="198"/>
                    </a:lnTo>
                    <a:lnTo>
                      <a:pt x="92" y="202"/>
                    </a:lnTo>
                    <a:lnTo>
                      <a:pt x="94" y="200"/>
                    </a:lnTo>
                    <a:lnTo>
                      <a:pt x="96" y="192"/>
                    </a:lnTo>
                    <a:lnTo>
                      <a:pt x="98" y="190"/>
                    </a:lnTo>
                    <a:lnTo>
                      <a:pt x="102" y="182"/>
                    </a:lnTo>
                    <a:lnTo>
                      <a:pt x="106" y="182"/>
                    </a:lnTo>
                    <a:lnTo>
                      <a:pt x="108" y="180"/>
                    </a:lnTo>
                    <a:lnTo>
                      <a:pt x="102" y="179"/>
                    </a:lnTo>
                    <a:lnTo>
                      <a:pt x="98" y="175"/>
                    </a:lnTo>
                    <a:lnTo>
                      <a:pt x="92" y="177"/>
                    </a:lnTo>
                    <a:lnTo>
                      <a:pt x="89" y="171"/>
                    </a:lnTo>
                    <a:lnTo>
                      <a:pt x="79" y="169"/>
                    </a:lnTo>
                    <a:lnTo>
                      <a:pt x="77" y="167"/>
                    </a:lnTo>
                    <a:lnTo>
                      <a:pt x="79" y="163"/>
                    </a:lnTo>
                    <a:lnTo>
                      <a:pt x="75" y="161"/>
                    </a:lnTo>
                    <a:lnTo>
                      <a:pt x="73" y="159"/>
                    </a:lnTo>
                    <a:lnTo>
                      <a:pt x="64" y="157"/>
                    </a:lnTo>
                    <a:lnTo>
                      <a:pt x="62" y="161"/>
                    </a:lnTo>
                    <a:lnTo>
                      <a:pt x="58" y="159"/>
                    </a:lnTo>
                    <a:lnTo>
                      <a:pt x="58" y="154"/>
                    </a:lnTo>
                    <a:lnTo>
                      <a:pt x="52" y="154"/>
                    </a:lnTo>
                    <a:lnTo>
                      <a:pt x="46" y="157"/>
                    </a:lnTo>
                    <a:lnTo>
                      <a:pt x="44" y="152"/>
                    </a:lnTo>
                    <a:lnTo>
                      <a:pt x="41" y="150"/>
                    </a:lnTo>
                    <a:lnTo>
                      <a:pt x="37" y="152"/>
                    </a:lnTo>
                    <a:lnTo>
                      <a:pt x="29" y="148"/>
                    </a:lnTo>
                    <a:lnTo>
                      <a:pt x="29" y="144"/>
                    </a:lnTo>
                    <a:lnTo>
                      <a:pt x="29" y="140"/>
                    </a:lnTo>
                    <a:lnTo>
                      <a:pt x="23" y="136"/>
                    </a:lnTo>
                    <a:lnTo>
                      <a:pt x="25" y="132"/>
                    </a:lnTo>
                    <a:lnTo>
                      <a:pt x="25" y="123"/>
                    </a:lnTo>
                    <a:lnTo>
                      <a:pt x="27" y="121"/>
                    </a:lnTo>
                    <a:lnTo>
                      <a:pt x="23" y="119"/>
                    </a:lnTo>
                    <a:lnTo>
                      <a:pt x="21" y="115"/>
                    </a:lnTo>
                    <a:lnTo>
                      <a:pt x="23" y="111"/>
                    </a:lnTo>
                    <a:lnTo>
                      <a:pt x="19" y="109"/>
                    </a:lnTo>
                    <a:lnTo>
                      <a:pt x="16" y="104"/>
                    </a:lnTo>
                    <a:lnTo>
                      <a:pt x="17" y="100"/>
                    </a:lnTo>
                    <a:lnTo>
                      <a:pt x="17" y="98"/>
                    </a:lnTo>
                    <a:lnTo>
                      <a:pt x="16" y="96"/>
                    </a:lnTo>
                    <a:lnTo>
                      <a:pt x="12" y="98"/>
                    </a:lnTo>
                    <a:lnTo>
                      <a:pt x="8" y="96"/>
                    </a:lnTo>
                    <a:lnTo>
                      <a:pt x="10" y="88"/>
                    </a:lnTo>
                    <a:lnTo>
                      <a:pt x="4" y="83"/>
                    </a:lnTo>
                    <a:lnTo>
                      <a:pt x="6" y="79"/>
                    </a:lnTo>
                    <a:lnTo>
                      <a:pt x="6" y="77"/>
                    </a:lnTo>
                    <a:lnTo>
                      <a:pt x="6" y="67"/>
                    </a:lnTo>
                    <a:lnTo>
                      <a:pt x="16" y="61"/>
                    </a:lnTo>
                    <a:lnTo>
                      <a:pt x="19" y="54"/>
                    </a:lnTo>
                    <a:lnTo>
                      <a:pt x="10" y="54"/>
                    </a:lnTo>
                    <a:lnTo>
                      <a:pt x="8" y="58"/>
                    </a:lnTo>
                    <a:lnTo>
                      <a:pt x="6" y="54"/>
                    </a:lnTo>
                    <a:lnTo>
                      <a:pt x="2" y="54"/>
                    </a:lnTo>
                    <a:lnTo>
                      <a:pt x="0" y="48"/>
                    </a:lnTo>
                    <a:close/>
                  </a:path>
                </a:pathLst>
              </a:custGeom>
              <a:solidFill>
                <a:srgbClr val="D0D0D0"/>
              </a:solidFill>
              <a:ln w="6350">
                <a:solidFill>
                  <a:schemeClr val="bg1">
                    <a:lumMod val="65000"/>
                  </a:schemeClr>
                </a:solidFill>
                <a:prstDash val="dash"/>
              </a:ln>
            </p:spPr>
            <p:txBody>
              <a:bodyPr vert="horz" wrap="square" lIns="91440" tIns="45720" rIns="91440" bIns="45720" numCol="1" anchor="t" anchorCtr="0" compatLnSpc="1">
                <a:prstTxWarp prst="textNoShape">
                  <a:avLst/>
                </a:prstTxWarp>
              </a:bodyPr>
              <a:lstStyle/>
              <a:p>
                <a:endParaRPr lang="en-US" dirty="0"/>
              </a:p>
            </p:txBody>
          </p:sp>
          <p:sp>
            <p:nvSpPr>
              <p:cNvPr id="52" name="Freeform 234">
                <a:extLst>
                  <a:ext uri="{FF2B5EF4-FFF2-40B4-BE49-F238E27FC236}">
                    <a16:creationId xmlns:a16="http://schemas.microsoft.com/office/drawing/2014/main" id="{98A42C5C-393F-49CC-A03E-44EF9892A539}"/>
                  </a:ext>
                </a:extLst>
              </p:cNvPr>
              <p:cNvSpPr>
                <a:spLocks/>
              </p:cNvSpPr>
              <p:nvPr/>
            </p:nvSpPr>
            <p:spPr bwMode="gray">
              <a:xfrm>
                <a:off x="7443788" y="2516188"/>
                <a:ext cx="984250" cy="484188"/>
              </a:xfrm>
              <a:custGeom>
                <a:avLst/>
                <a:gdLst>
                  <a:gd name="T0" fmla="*/ 390 w 620"/>
                  <a:gd name="T1" fmla="*/ 276 h 305"/>
                  <a:gd name="T2" fmla="*/ 403 w 620"/>
                  <a:gd name="T3" fmla="*/ 255 h 305"/>
                  <a:gd name="T4" fmla="*/ 438 w 620"/>
                  <a:gd name="T5" fmla="*/ 240 h 305"/>
                  <a:gd name="T6" fmla="*/ 469 w 620"/>
                  <a:gd name="T7" fmla="*/ 221 h 305"/>
                  <a:gd name="T8" fmla="*/ 459 w 620"/>
                  <a:gd name="T9" fmla="*/ 215 h 305"/>
                  <a:gd name="T10" fmla="*/ 448 w 620"/>
                  <a:gd name="T11" fmla="*/ 196 h 305"/>
                  <a:gd name="T12" fmla="*/ 465 w 620"/>
                  <a:gd name="T13" fmla="*/ 171 h 305"/>
                  <a:gd name="T14" fmla="*/ 430 w 620"/>
                  <a:gd name="T15" fmla="*/ 163 h 305"/>
                  <a:gd name="T16" fmla="*/ 375 w 620"/>
                  <a:gd name="T17" fmla="*/ 180 h 305"/>
                  <a:gd name="T18" fmla="*/ 338 w 620"/>
                  <a:gd name="T19" fmla="*/ 196 h 305"/>
                  <a:gd name="T20" fmla="*/ 305 w 620"/>
                  <a:gd name="T21" fmla="*/ 201 h 305"/>
                  <a:gd name="T22" fmla="*/ 282 w 620"/>
                  <a:gd name="T23" fmla="*/ 201 h 305"/>
                  <a:gd name="T24" fmla="*/ 269 w 620"/>
                  <a:gd name="T25" fmla="*/ 223 h 305"/>
                  <a:gd name="T26" fmla="*/ 238 w 620"/>
                  <a:gd name="T27" fmla="*/ 255 h 305"/>
                  <a:gd name="T28" fmla="*/ 234 w 620"/>
                  <a:gd name="T29" fmla="*/ 263 h 305"/>
                  <a:gd name="T30" fmla="*/ 190 w 620"/>
                  <a:gd name="T31" fmla="*/ 272 h 305"/>
                  <a:gd name="T32" fmla="*/ 144 w 620"/>
                  <a:gd name="T33" fmla="*/ 271 h 305"/>
                  <a:gd name="T34" fmla="*/ 110 w 620"/>
                  <a:gd name="T35" fmla="*/ 272 h 305"/>
                  <a:gd name="T36" fmla="*/ 67 w 620"/>
                  <a:gd name="T37" fmla="*/ 280 h 305"/>
                  <a:gd name="T38" fmla="*/ 50 w 620"/>
                  <a:gd name="T39" fmla="*/ 255 h 305"/>
                  <a:gd name="T40" fmla="*/ 60 w 620"/>
                  <a:gd name="T41" fmla="*/ 236 h 305"/>
                  <a:gd name="T42" fmla="*/ 35 w 620"/>
                  <a:gd name="T43" fmla="*/ 217 h 305"/>
                  <a:gd name="T44" fmla="*/ 10 w 620"/>
                  <a:gd name="T45" fmla="*/ 213 h 305"/>
                  <a:gd name="T46" fmla="*/ 10 w 620"/>
                  <a:gd name="T47" fmla="*/ 184 h 305"/>
                  <a:gd name="T48" fmla="*/ 14 w 620"/>
                  <a:gd name="T49" fmla="*/ 175 h 305"/>
                  <a:gd name="T50" fmla="*/ 60 w 620"/>
                  <a:gd name="T51" fmla="*/ 184 h 305"/>
                  <a:gd name="T52" fmla="*/ 87 w 620"/>
                  <a:gd name="T53" fmla="*/ 175 h 305"/>
                  <a:gd name="T54" fmla="*/ 125 w 620"/>
                  <a:gd name="T55" fmla="*/ 163 h 305"/>
                  <a:gd name="T56" fmla="*/ 137 w 620"/>
                  <a:gd name="T57" fmla="*/ 140 h 305"/>
                  <a:gd name="T58" fmla="*/ 169 w 620"/>
                  <a:gd name="T59" fmla="*/ 119 h 305"/>
                  <a:gd name="T60" fmla="*/ 183 w 620"/>
                  <a:gd name="T61" fmla="*/ 94 h 305"/>
                  <a:gd name="T62" fmla="*/ 223 w 620"/>
                  <a:gd name="T63" fmla="*/ 88 h 305"/>
                  <a:gd name="T64" fmla="*/ 252 w 620"/>
                  <a:gd name="T65" fmla="*/ 75 h 305"/>
                  <a:gd name="T66" fmla="*/ 281 w 620"/>
                  <a:gd name="T67" fmla="*/ 57 h 305"/>
                  <a:gd name="T68" fmla="*/ 302 w 620"/>
                  <a:gd name="T69" fmla="*/ 34 h 305"/>
                  <a:gd name="T70" fmla="*/ 329 w 620"/>
                  <a:gd name="T71" fmla="*/ 19 h 305"/>
                  <a:gd name="T72" fmla="*/ 363 w 620"/>
                  <a:gd name="T73" fmla="*/ 32 h 305"/>
                  <a:gd name="T74" fmla="*/ 380 w 620"/>
                  <a:gd name="T75" fmla="*/ 40 h 305"/>
                  <a:gd name="T76" fmla="*/ 413 w 620"/>
                  <a:gd name="T77" fmla="*/ 30 h 305"/>
                  <a:gd name="T78" fmla="*/ 432 w 620"/>
                  <a:gd name="T79" fmla="*/ 25 h 305"/>
                  <a:gd name="T80" fmla="*/ 457 w 620"/>
                  <a:gd name="T81" fmla="*/ 15 h 305"/>
                  <a:gd name="T82" fmla="*/ 484 w 620"/>
                  <a:gd name="T83" fmla="*/ 2 h 305"/>
                  <a:gd name="T84" fmla="*/ 511 w 620"/>
                  <a:gd name="T85" fmla="*/ 30 h 305"/>
                  <a:gd name="T86" fmla="*/ 494 w 620"/>
                  <a:gd name="T87" fmla="*/ 55 h 305"/>
                  <a:gd name="T88" fmla="*/ 507 w 620"/>
                  <a:gd name="T89" fmla="*/ 50 h 305"/>
                  <a:gd name="T90" fmla="*/ 528 w 620"/>
                  <a:gd name="T91" fmla="*/ 63 h 305"/>
                  <a:gd name="T92" fmla="*/ 524 w 620"/>
                  <a:gd name="T93" fmla="*/ 90 h 305"/>
                  <a:gd name="T94" fmla="*/ 501 w 620"/>
                  <a:gd name="T95" fmla="*/ 115 h 305"/>
                  <a:gd name="T96" fmla="*/ 534 w 620"/>
                  <a:gd name="T97" fmla="*/ 109 h 305"/>
                  <a:gd name="T98" fmla="*/ 576 w 620"/>
                  <a:gd name="T99" fmla="*/ 127 h 305"/>
                  <a:gd name="T100" fmla="*/ 609 w 620"/>
                  <a:gd name="T101" fmla="*/ 132 h 305"/>
                  <a:gd name="T102" fmla="*/ 616 w 620"/>
                  <a:gd name="T103" fmla="*/ 153 h 305"/>
                  <a:gd name="T104" fmla="*/ 597 w 620"/>
                  <a:gd name="T105" fmla="*/ 176 h 305"/>
                  <a:gd name="T106" fmla="*/ 570 w 620"/>
                  <a:gd name="T107" fmla="*/ 199 h 305"/>
                  <a:gd name="T108" fmla="*/ 580 w 620"/>
                  <a:gd name="T109" fmla="*/ 234 h 305"/>
                  <a:gd name="T110" fmla="*/ 586 w 620"/>
                  <a:gd name="T111" fmla="*/ 257 h 305"/>
                  <a:gd name="T112" fmla="*/ 555 w 620"/>
                  <a:gd name="T113" fmla="*/ 230 h 305"/>
                  <a:gd name="T114" fmla="*/ 509 w 620"/>
                  <a:gd name="T115" fmla="*/ 236 h 305"/>
                  <a:gd name="T116" fmla="*/ 467 w 620"/>
                  <a:gd name="T117" fmla="*/ 259 h 305"/>
                  <a:gd name="T118" fmla="*/ 436 w 620"/>
                  <a:gd name="T119" fmla="*/ 278 h 305"/>
                  <a:gd name="T120" fmla="*/ 401 w 620"/>
                  <a:gd name="T121" fmla="*/ 30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0" h="305">
                    <a:moveTo>
                      <a:pt x="390" y="301"/>
                    </a:moveTo>
                    <a:lnTo>
                      <a:pt x="388" y="296"/>
                    </a:lnTo>
                    <a:lnTo>
                      <a:pt x="390" y="292"/>
                    </a:lnTo>
                    <a:lnTo>
                      <a:pt x="388" y="290"/>
                    </a:lnTo>
                    <a:lnTo>
                      <a:pt x="386" y="284"/>
                    </a:lnTo>
                    <a:lnTo>
                      <a:pt x="384" y="284"/>
                    </a:lnTo>
                    <a:lnTo>
                      <a:pt x="390" y="280"/>
                    </a:lnTo>
                    <a:lnTo>
                      <a:pt x="390" y="276"/>
                    </a:lnTo>
                    <a:lnTo>
                      <a:pt x="388" y="274"/>
                    </a:lnTo>
                    <a:lnTo>
                      <a:pt x="388" y="271"/>
                    </a:lnTo>
                    <a:lnTo>
                      <a:pt x="386" y="269"/>
                    </a:lnTo>
                    <a:lnTo>
                      <a:pt x="386" y="265"/>
                    </a:lnTo>
                    <a:lnTo>
                      <a:pt x="390" y="263"/>
                    </a:lnTo>
                    <a:lnTo>
                      <a:pt x="392" y="265"/>
                    </a:lnTo>
                    <a:lnTo>
                      <a:pt x="396" y="259"/>
                    </a:lnTo>
                    <a:lnTo>
                      <a:pt x="403" y="255"/>
                    </a:lnTo>
                    <a:lnTo>
                      <a:pt x="413" y="255"/>
                    </a:lnTo>
                    <a:lnTo>
                      <a:pt x="415" y="249"/>
                    </a:lnTo>
                    <a:lnTo>
                      <a:pt x="415" y="246"/>
                    </a:lnTo>
                    <a:lnTo>
                      <a:pt x="419" y="240"/>
                    </a:lnTo>
                    <a:lnTo>
                      <a:pt x="423" y="238"/>
                    </a:lnTo>
                    <a:lnTo>
                      <a:pt x="428" y="244"/>
                    </a:lnTo>
                    <a:lnTo>
                      <a:pt x="436" y="242"/>
                    </a:lnTo>
                    <a:lnTo>
                      <a:pt x="438" y="240"/>
                    </a:lnTo>
                    <a:lnTo>
                      <a:pt x="442" y="240"/>
                    </a:lnTo>
                    <a:lnTo>
                      <a:pt x="451" y="236"/>
                    </a:lnTo>
                    <a:lnTo>
                      <a:pt x="457" y="236"/>
                    </a:lnTo>
                    <a:lnTo>
                      <a:pt x="461" y="238"/>
                    </a:lnTo>
                    <a:lnTo>
                      <a:pt x="461" y="236"/>
                    </a:lnTo>
                    <a:lnTo>
                      <a:pt x="467" y="234"/>
                    </a:lnTo>
                    <a:lnTo>
                      <a:pt x="472" y="228"/>
                    </a:lnTo>
                    <a:lnTo>
                      <a:pt x="469" y="221"/>
                    </a:lnTo>
                    <a:lnTo>
                      <a:pt x="467" y="223"/>
                    </a:lnTo>
                    <a:lnTo>
                      <a:pt x="467" y="221"/>
                    </a:lnTo>
                    <a:lnTo>
                      <a:pt x="467" y="223"/>
                    </a:lnTo>
                    <a:lnTo>
                      <a:pt x="463" y="221"/>
                    </a:lnTo>
                    <a:lnTo>
                      <a:pt x="461" y="223"/>
                    </a:lnTo>
                    <a:lnTo>
                      <a:pt x="459" y="221"/>
                    </a:lnTo>
                    <a:lnTo>
                      <a:pt x="457" y="223"/>
                    </a:lnTo>
                    <a:lnTo>
                      <a:pt x="459" y="215"/>
                    </a:lnTo>
                    <a:lnTo>
                      <a:pt x="459" y="209"/>
                    </a:lnTo>
                    <a:lnTo>
                      <a:pt x="453" y="207"/>
                    </a:lnTo>
                    <a:lnTo>
                      <a:pt x="451" y="205"/>
                    </a:lnTo>
                    <a:lnTo>
                      <a:pt x="453" y="203"/>
                    </a:lnTo>
                    <a:lnTo>
                      <a:pt x="449" y="203"/>
                    </a:lnTo>
                    <a:lnTo>
                      <a:pt x="448" y="199"/>
                    </a:lnTo>
                    <a:lnTo>
                      <a:pt x="449" y="198"/>
                    </a:lnTo>
                    <a:lnTo>
                      <a:pt x="448" y="196"/>
                    </a:lnTo>
                    <a:lnTo>
                      <a:pt x="449" y="194"/>
                    </a:lnTo>
                    <a:lnTo>
                      <a:pt x="446" y="192"/>
                    </a:lnTo>
                    <a:lnTo>
                      <a:pt x="449" y="186"/>
                    </a:lnTo>
                    <a:lnTo>
                      <a:pt x="455" y="178"/>
                    </a:lnTo>
                    <a:lnTo>
                      <a:pt x="459" y="176"/>
                    </a:lnTo>
                    <a:lnTo>
                      <a:pt x="461" y="175"/>
                    </a:lnTo>
                    <a:lnTo>
                      <a:pt x="465" y="173"/>
                    </a:lnTo>
                    <a:lnTo>
                      <a:pt x="465" y="171"/>
                    </a:lnTo>
                    <a:lnTo>
                      <a:pt x="469" y="163"/>
                    </a:lnTo>
                    <a:lnTo>
                      <a:pt x="467" y="163"/>
                    </a:lnTo>
                    <a:lnTo>
                      <a:pt x="463" y="163"/>
                    </a:lnTo>
                    <a:lnTo>
                      <a:pt x="461" y="163"/>
                    </a:lnTo>
                    <a:lnTo>
                      <a:pt x="453" y="163"/>
                    </a:lnTo>
                    <a:lnTo>
                      <a:pt x="444" y="163"/>
                    </a:lnTo>
                    <a:lnTo>
                      <a:pt x="436" y="163"/>
                    </a:lnTo>
                    <a:lnTo>
                      <a:pt x="430" y="163"/>
                    </a:lnTo>
                    <a:lnTo>
                      <a:pt x="426" y="167"/>
                    </a:lnTo>
                    <a:lnTo>
                      <a:pt x="421" y="173"/>
                    </a:lnTo>
                    <a:lnTo>
                      <a:pt x="415" y="175"/>
                    </a:lnTo>
                    <a:lnTo>
                      <a:pt x="407" y="176"/>
                    </a:lnTo>
                    <a:lnTo>
                      <a:pt x="400" y="173"/>
                    </a:lnTo>
                    <a:lnTo>
                      <a:pt x="392" y="175"/>
                    </a:lnTo>
                    <a:lnTo>
                      <a:pt x="388" y="176"/>
                    </a:lnTo>
                    <a:lnTo>
                      <a:pt x="375" y="180"/>
                    </a:lnTo>
                    <a:lnTo>
                      <a:pt x="371" y="184"/>
                    </a:lnTo>
                    <a:lnTo>
                      <a:pt x="367" y="184"/>
                    </a:lnTo>
                    <a:lnTo>
                      <a:pt x="359" y="186"/>
                    </a:lnTo>
                    <a:lnTo>
                      <a:pt x="353" y="188"/>
                    </a:lnTo>
                    <a:lnTo>
                      <a:pt x="352" y="186"/>
                    </a:lnTo>
                    <a:lnTo>
                      <a:pt x="348" y="192"/>
                    </a:lnTo>
                    <a:lnTo>
                      <a:pt x="344" y="192"/>
                    </a:lnTo>
                    <a:lnTo>
                      <a:pt x="338" y="196"/>
                    </a:lnTo>
                    <a:lnTo>
                      <a:pt x="332" y="196"/>
                    </a:lnTo>
                    <a:lnTo>
                      <a:pt x="332" y="198"/>
                    </a:lnTo>
                    <a:lnTo>
                      <a:pt x="329" y="199"/>
                    </a:lnTo>
                    <a:lnTo>
                      <a:pt x="323" y="201"/>
                    </a:lnTo>
                    <a:lnTo>
                      <a:pt x="321" y="201"/>
                    </a:lnTo>
                    <a:lnTo>
                      <a:pt x="315" y="203"/>
                    </a:lnTo>
                    <a:lnTo>
                      <a:pt x="309" y="207"/>
                    </a:lnTo>
                    <a:lnTo>
                      <a:pt x="305" y="201"/>
                    </a:lnTo>
                    <a:lnTo>
                      <a:pt x="300" y="205"/>
                    </a:lnTo>
                    <a:lnTo>
                      <a:pt x="292" y="203"/>
                    </a:lnTo>
                    <a:lnTo>
                      <a:pt x="292" y="201"/>
                    </a:lnTo>
                    <a:lnTo>
                      <a:pt x="288" y="203"/>
                    </a:lnTo>
                    <a:lnTo>
                      <a:pt x="286" y="201"/>
                    </a:lnTo>
                    <a:lnTo>
                      <a:pt x="288" y="199"/>
                    </a:lnTo>
                    <a:lnTo>
                      <a:pt x="286" y="198"/>
                    </a:lnTo>
                    <a:lnTo>
                      <a:pt x="282" y="201"/>
                    </a:lnTo>
                    <a:lnTo>
                      <a:pt x="284" y="203"/>
                    </a:lnTo>
                    <a:lnTo>
                      <a:pt x="284" y="205"/>
                    </a:lnTo>
                    <a:lnTo>
                      <a:pt x="286" y="207"/>
                    </a:lnTo>
                    <a:lnTo>
                      <a:pt x="286" y="211"/>
                    </a:lnTo>
                    <a:lnTo>
                      <a:pt x="284" y="213"/>
                    </a:lnTo>
                    <a:lnTo>
                      <a:pt x="277" y="215"/>
                    </a:lnTo>
                    <a:lnTo>
                      <a:pt x="277" y="217"/>
                    </a:lnTo>
                    <a:lnTo>
                      <a:pt x="269" y="223"/>
                    </a:lnTo>
                    <a:lnTo>
                      <a:pt x="267" y="228"/>
                    </a:lnTo>
                    <a:lnTo>
                      <a:pt x="259" y="232"/>
                    </a:lnTo>
                    <a:lnTo>
                      <a:pt x="256" y="234"/>
                    </a:lnTo>
                    <a:lnTo>
                      <a:pt x="254" y="238"/>
                    </a:lnTo>
                    <a:lnTo>
                      <a:pt x="248" y="242"/>
                    </a:lnTo>
                    <a:lnTo>
                      <a:pt x="244" y="248"/>
                    </a:lnTo>
                    <a:lnTo>
                      <a:pt x="240" y="251"/>
                    </a:lnTo>
                    <a:lnTo>
                      <a:pt x="238" y="255"/>
                    </a:lnTo>
                    <a:lnTo>
                      <a:pt x="240" y="255"/>
                    </a:lnTo>
                    <a:lnTo>
                      <a:pt x="242" y="261"/>
                    </a:lnTo>
                    <a:lnTo>
                      <a:pt x="238" y="261"/>
                    </a:lnTo>
                    <a:lnTo>
                      <a:pt x="236" y="263"/>
                    </a:lnTo>
                    <a:lnTo>
                      <a:pt x="236" y="261"/>
                    </a:lnTo>
                    <a:lnTo>
                      <a:pt x="236" y="263"/>
                    </a:lnTo>
                    <a:lnTo>
                      <a:pt x="234" y="261"/>
                    </a:lnTo>
                    <a:lnTo>
                      <a:pt x="234" y="263"/>
                    </a:lnTo>
                    <a:lnTo>
                      <a:pt x="231" y="265"/>
                    </a:lnTo>
                    <a:lnTo>
                      <a:pt x="225" y="271"/>
                    </a:lnTo>
                    <a:lnTo>
                      <a:pt x="215" y="272"/>
                    </a:lnTo>
                    <a:lnTo>
                      <a:pt x="210" y="272"/>
                    </a:lnTo>
                    <a:lnTo>
                      <a:pt x="206" y="274"/>
                    </a:lnTo>
                    <a:lnTo>
                      <a:pt x="202" y="272"/>
                    </a:lnTo>
                    <a:lnTo>
                      <a:pt x="194" y="272"/>
                    </a:lnTo>
                    <a:lnTo>
                      <a:pt x="190" y="272"/>
                    </a:lnTo>
                    <a:lnTo>
                      <a:pt x="181" y="272"/>
                    </a:lnTo>
                    <a:lnTo>
                      <a:pt x="177" y="272"/>
                    </a:lnTo>
                    <a:lnTo>
                      <a:pt x="173" y="274"/>
                    </a:lnTo>
                    <a:lnTo>
                      <a:pt x="165" y="276"/>
                    </a:lnTo>
                    <a:lnTo>
                      <a:pt x="163" y="276"/>
                    </a:lnTo>
                    <a:lnTo>
                      <a:pt x="156" y="276"/>
                    </a:lnTo>
                    <a:lnTo>
                      <a:pt x="146" y="272"/>
                    </a:lnTo>
                    <a:lnTo>
                      <a:pt x="144" y="271"/>
                    </a:lnTo>
                    <a:lnTo>
                      <a:pt x="144" y="269"/>
                    </a:lnTo>
                    <a:lnTo>
                      <a:pt x="140" y="267"/>
                    </a:lnTo>
                    <a:lnTo>
                      <a:pt x="131" y="265"/>
                    </a:lnTo>
                    <a:lnTo>
                      <a:pt x="123" y="265"/>
                    </a:lnTo>
                    <a:lnTo>
                      <a:pt x="117" y="263"/>
                    </a:lnTo>
                    <a:lnTo>
                      <a:pt x="115" y="265"/>
                    </a:lnTo>
                    <a:lnTo>
                      <a:pt x="115" y="269"/>
                    </a:lnTo>
                    <a:lnTo>
                      <a:pt x="110" y="272"/>
                    </a:lnTo>
                    <a:lnTo>
                      <a:pt x="100" y="271"/>
                    </a:lnTo>
                    <a:lnTo>
                      <a:pt x="96" y="272"/>
                    </a:lnTo>
                    <a:lnTo>
                      <a:pt x="91" y="276"/>
                    </a:lnTo>
                    <a:lnTo>
                      <a:pt x="83" y="274"/>
                    </a:lnTo>
                    <a:lnTo>
                      <a:pt x="79" y="276"/>
                    </a:lnTo>
                    <a:lnTo>
                      <a:pt x="79" y="278"/>
                    </a:lnTo>
                    <a:lnTo>
                      <a:pt x="73" y="276"/>
                    </a:lnTo>
                    <a:lnTo>
                      <a:pt x="67" y="280"/>
                    </a:lnTo>
                    <a:lnTo>
                      <a:pt x="62" y="280"/>
                    </a:lnTo>
                    <a:lnTo>
                      <a:pt x="60" y="278"/>
                    </a:lnTo>
                    <a:lnTo>
                      <a:pt x="60" y="272"/>
                    </a:lnTo>
                    <a:lnTo>
                      <a:pt x="58" y="269"/>
                    </a:lnTo>
                    <a:lnTo>
                      <a:pt x="54" y="265"/>
                    </a:lnTo>
                    <a:lnTo>
                      <a:pt x="56" y="263"/>
                    </a:lnTo>
                    <a:lnTo>
                      <a:pt x="50" y="261"/>
                    </a:lnTo>
                    <a:lnTo>
                      <a:pt x="50" y="255"/>
                    </a:lnTo>
                    <a:lnTo>
                      <a:pt x="50" y="253"/>
                    </a:lnTo>
                    <a:lnTo>
                      <a:pt x="50" y="249"/>
                    </a:lnTo>
                    <a:lnTo>
                      <a:pt x="56" y="244"/>
                    </a:lnTo>
                    <a:lnTo>
                      <a:pt x="54" y="242"/>
                    </a:lnTo>
                    <a:lnTo>
                      <a:pt x="52" y="240"/>
                    </a:lnTo>
                    <a:lnTo>
                      <a:pt x="56" y="238"/>
                    </a:lnTo>
                    <a:lnTo>
                      <a:pt x="60" y="238"/>
                    </a:lnTo>
                    <a:lnTo>
                      <a:pt x="60" y="236"/>
                    </a:lnTo>
                    <a:lnTo>
                      <a:pt x="56" y="234"/>
                    </a:lnTo>
                    <a:lnTo>
                      <a:pt x="52" y="228"/>
                    </a:lnTo>
                    <a:lnTo>
                      <a:pt x="54" y="224"/>
                    </a:lnTo>
                    <a:lnTo>
                      <a:pt x="50" y="219"/>
                    </a:lnTo>
                    <a:lnTo>
                      <a:pt x="50" y="215"/>
                    </a:lnTo>
                    <a:lnTo>
                      <a:pt x="43" y="217"/>
                    </a:lnTo>
                    <a:lnTo>
                      <a:pt x="39" y="217"/>
                    </a:lnTo>
                    <a:lnTo>
                      <a:pt x="35" y="217"/>
                    </a:lnTo>
                    <a:lnTo>
                      <a:pt x="31" y="215"/>
                    </a:lnTo>
                    <a:lnTo>
                      <a:pt x="29" y="217"/>
                    </a:lnTo>
                    <a:lnTo>
                      <a:pt x="23" y="217"/>
                    </a:lnTo>
                    <a:lnTo>
                      <a:pt x="18" y="215"/>
                    </a:lnTo>
                    <a:lnTo>
                      <a:pt x="18" y="213"/>
                    </a:lnTo>
                    <a:lnTo>
                      <a:pt x="16" y="213"/>
                    </a:lnTo>
                    <a:lnTo>
                      <a:pt x="12" y="215"/>
                    </a:lnTo>
                    <a:lnTo>
                      <a:pt x="10" y="213"/>
                    </a:lnTo>
                    <a:lnTo>
                      <a:pt x="8" y="211"/>
                    </a:lnTo>
                    <a:lnTo>
                      <a:pt x="8" y="209"/>
                    </a:lnTo>
                    <a:lnTo>
                      <a:pt x="4" y="209"/>
                    </a:lnTo>
                    <a:lnTo>
                      <a:pt x="2" y="203"/>
                    </a:lnTo>
                    <a:lnTo>
                      <a:pt x="4" y="201"/>
                    </a:lnTo>
                    <a:lnTo>
                      <a:pt x="2" y="198"/>
                    </a:lnTo>
                    <a:lnTo>
                      <a:pt x="10" y="192"/>
                    </a:lnTo>
                    <a:lnTo>
                      <a:pt x="10" y="184"/>
                    </a:lnTo>
                    <a:lnTo>
                      <a:pt x="8" y="178"/>
                    </a:lnTo>
                    <a:lnTo>
                      <a:pt x="2" y="178"/>
                    </a:lnTo>
                    <a:lnTo>
                      <a:pt x="0" y="175"/>
                    </a:lnTo>
                    <a:lnTo>
                      <a:pt x="4" y="175"/>
                    </a:lnTo>
                    <a:lnTo>
                      <a:pt x="4" y="173"/>
                    </a:lnTo>
                    <a:lnTo>
                      <a:pt x="6" y="175"/>
                    </a:lnTo>
                    <a:lnTo>
                      <a:pt x="6" y="173"/>
                    </a:lnTo>
                    <a:lnTo>
                      <a:pt x="14" y="175"/>
                    </a:lnTo>
                    <a:lnTo>
                      <a:pt x="18" y="180"/>
                    </a:lnTo>
                    <a:lnTo>
                      <a:pt x="27" y="180"/>
                    </a:lnTo>
                    <a:lnTo>
                      <a:pt x="35" y="186"/>
                    </a:lnTo>
                    <a:lnTo>
                      <a:pt x="37" y="188"/>
                    </a:lnTo>
                    <a:lnTo>
                      <a:pt x="41" y="188"/>
                    </a:lnTo>
                    <a:lnTo>
                      <a:pt x="50" y="190"/>
                    </a:lnTo>
                    <a:lnTo>
                      <a:pt x="52" y="190"/>
                    </a:lnTo>
                    <a:lnTo>
                      <a:pt x="60" y="184"/>
                    </a:lnTo>
                    <a:lnTo>
                      <a:pt x="64" y="180"/>
                    </a:lnTo>
                    <a:lnTo>
                      <a:pt x="69" y="178"/>
                    </a:lnTo>
                    <a:lnTo>
                      <a:pt x="75" y="176"/>
                    </a:lnTo>
                    <a:lnTo>
                      <a:pt x="75" y="173"/>
                    </a:lnTo>
                    <a:lnTo>
                      <a:pt x="77" y="173"/>
                    </a:lnTo>
                    <a:lnTo>
                      <a:pt x="81" y="182"/>
                    </a:lnTo>
                    <a:lnTo>
                      <a:pt x="85" y="180"/>
                    </a:lnTo>
                    <a:lnTo>
                      <a:pt x="87" y="175"/>
                    </a:lnTo>
                    <a:lnTo>
                      <a:pt x="91" y="180"/>
                    </a:lnTo>
                    <a:lnTo>
                      <a:pt x="92" y="175"/>
                    </a:lnTo>
                    <a:lnTo>
                      <a:pt x="98" y="178"/>
                    </a:lnTo>
                    <a:lnTo>
                      <a:pt x="102" y="175"/>
                    </a:lnTo>
                    <a:lnTo>
                      <a:pt x="106" y="175"/>
                    </a:lnTo>
                    <a:lnTo>
                      <a:pt x="112" y="169"/>
                    </a:lnTo>
                    <a:lnTo>
                      <a:pt x="117" y="167"/>
                    </a:lnTo>
                    <a:lnTo>
                      <a:pt x="125" y="163"/>
                    </a:lnTo>
                    <a:lnTo>
                      <a:pt x="125" y="155"/>
                    </a:lnTo>
                    <a:lnTo>
                      <a:pt x="119" y="151"/>
                    </a:lnTo>
                    <a:lnTo>
                      <a:pt x="121" y="142"/>
                    </a:lnTo>
                    <a:lnTo>
                      <a:pt x="125" y="142"/>
                    </a:lnTo>
                    <a:lnTo>
                      <a:pt x="127" y="142"/>
                    </a:lnTo>
                    <a:lnTo>
                      <a:pt x="129" y="142"/>
                    </a:lnTo>
                    <a:lnTo>
                      <a:pt x="133" y="138"/>
                    </a:lnTo>
                    <a:lnTo>
                      <a:pt x="137" y="140"/>
                    </a:lnTo>
                    <a:lnTo>
                      <a:pt x="142" y="138"/>
                    </a:lnTo>
                    <a:lnTo>
                      <a:pt x="146" y="138"/>
                    </a:lnTo>
                    <a:lnTo>
                      <a:pt x="148" y="136"/>
                    </a:lnTo>
                    <a:lnTo>
                      <a:pt x="148" y="130"/>
                    </a:lnTo>
                    <a:lnTo>
                      <a:pt x="154" y="130"/>
                    </a:lnTo>
                    <a:lnTo>
                      <a:pt x="156" y="127"/>
                    </a:lnTo>
                    <a:lnTo>
                      <a:pt x="162" y="127"/>
                    </a:lnTo>
                    <a:lnTo>
                      <a:pt x="169" y="119"/>
                    </a:lnTo>
                    <a:lnTo>
                      <a:pt x="173" y="123"/>
                    </a:lnTo>
                    <a:lnTo>
                      <a:pt x="179" y="121"/>
                    </a:lnTo>
                    <a:lnTo>
                      <a:pt x="179" y="119"/>
                    </a:lnTo>
                    <a:lnTo>
                      <a:pt x="181" y="111"/>
                    </a:lnTo>
                    <a:lnTo>
                      <a:pt x="179" y="103"/>
                    </a:lnTo>
                    <a:lnTo>
                      <a:pt x="179" y="100"/>
                    </a:lnTo>
                    <a:lnTo>
                      <a:pt x="181" y="96"/>
                    </a:lnTo>
                    <a:lnTo>
                      <a:pt x="183" y="94"/>
                    </a:lnTo>
                    <a:lnTo>
                      <a:pt x="188" y="88"/>
                    </a:lnTo>
                    <a:lnTo>
                      <a:pt x="192" y="86"/>
                    </a:lnTo>
                    <a:lnTo>
                      <a:pt x="196" y="88"/>
                    </a:lnTo>
                    <a:lnTo>
                      <a:pt x="200" y="86"/>
                    </a:lnTo>
                    <a:lnTo>
                      <a:pt x="210" y="86"/>
                    </a:lnTo>
                    <a:lnTo>
                      <a:pt x="219" y="84"/>
                    </a:lnTo>
                    <a:lnTo>
                      <a:pt x="221" y="84"/>
                    </a:lnTo>
                    <a:lnTo>
                      <a:pt x="223" y="88"/>
                    </a:lnTo>
                    <a:lnTo>
                      <a:pt x="225" y="86"/>
                    </a:lnTo>
                    <a:lnTo>
                      <a:pt x="231" y="86"/>
                    </a:lnTo>
                    <a:lnTo>
                      <a:pt x="238" y="80"/>
                    </a:lnTo>
                    <a:lnTo>
                      <a:pt x="238" y="78"/>
                    </a:lnTo>
                    <a:lnTo>
                      <a:pt x="244" y="78"/>
                    </a:lnTo>
                    <a:lnTo>
                      <a:pt x="250" y="77"/>
                    </a:lnTo>
                    <a:lnTo>
                      <a:pt x="252" y="78"/>
                    </a:lnTo>
                    <a:lnTo>
                      <a:pt x="252" y="75"/>
                    </a:lnTo>
                    <a:lnTo>
                      <a:pt x="259" y="71"/>
                    </a:lnTo>
                    <a:lnTo>
                      <a:pt x="261" y="73"/>
                    </a:lnTo>
                    <a:lnTo>
                      <a:pt x="263" y="73"/>
                    </a:lnTo>
                    <a:lnTo>
                      <a:pt x="263" y="67"/>
                    </a:lnTo>
                    <a:lnTo>
                      <a:pt x="267" y="63"/>
                    </a:lnTo>
                    <a:lnTo>
                      <a:pt x="277" y="61"/>
                    </a:lnTo>
                    <a:lnTo>
                      <a:pt x="281" y="59"/>
                    </a:lnTo>
                    <a:lnTo>
                      <a:pt x="281" y="57"/>
                    </a:lnTo>
                    <a:lnTo>
                      <a:pt x="288" y="57"/>
                    </a:lnTo>
                    <a:lnTo>
                      <a:pt x="294" y="52"/>
                    </a:lnTo>
                    <a:lnTo>
                      <a:pt x="300" y="48"/>
                    </a:lnTo>
                    <a:lnTo>
                      <a:pt x="296" y="46"/>
                    </a:lnTo>
                    <a:lnTo>
                      <a:pt x="296" y="42"/>
                    </a:lnTo>
                    <a:lnTo>
                      <a:pt x="290" y="40"/>
                    </a:lnTo>
                    <a:lnTo>
                      <a:pt x="292" y="34"/>
                    </a:lnTo>
                    <a:lnTo>
                      <a:pt x="302" y="34"/>
                    </a:lnTo>
                    <a:lnTo>
                      <a:pt x="304" y="30"/>
                    </a:lnTo>
                    <a:lnTo>
                      <a:pt x="309" y="30"/>
                    </a:lnTo>
                    <a:lnTo>
                      <a:pt x="309" y="29"/>
                    </a:lnTo>
                    <a:lnTo>
                      <a:pt x="313" y="29"/>
                    </a:lnTo>
                    <a:lnTo>
                      <a:pt x="315" y="25"/>
                    </a:lnTo>
                    <a:lnTo>
                      <a:pt x="319" y="27"/>
                    </a:lnTo>
                    <a:lnTo>
                      <a:pt x="325" y="21"/>
                    </a:lnTo>
                    <a:lnTo>
                      <a:pt x="329" y="19"/>
                    </a:lnTo>
                    <a:lnTo>
                      <a:pt x="336" y="15"/>
                    </a:lnTo>
                    <a:lnTo>
                      <a:pt x="340" y="19"/>
                    </a:lnTo>
                    <a:lnTo>
                      <a:pt x="342" y="25"/>
                    </a:lnTo>
                    <a:lnTo>
                      <a:pt x="346" y="29"/>
                    </a:lnTo>
                    <a:lnTo>
                      <a:pt x="346" y="32"/>
                    </a:lnTo>
                    <a:lnTo>
                      <a:pt x="355" y="30"/>
                    </a:lnTo>
                    <a:lnTo>
                      <a:pt x="357" y="32"/>
                    </a:lnTo>
                    <a:lnTo>
                      <a:pt x="363" y="32"/>
                    </a:lnTo>
                    <a:lnTo>
                      <a:pt x="367" y="36"/>
                    </a:lnTo>
                    <a:lnTo>
                      <a:pt x="369" y="38"/>
                    </a:lnTo>
                    <a:lnTo>
                      <a:pt x="369" y="34"/>
                    </a:lnTo>
                    <a:lnTo>
                      <a:pt x="367" y="32"/>
                    </a:lnTo>
                    <a:lnTo>
                      <a:pt x="367" y="30"/>
                    </a:lnTo>
                    <a:lnTo>
                      <a:pt x="371" y="34"/>
                    </a:lnTo>
                    <a:lnTo>
                      <a:pt x="378" y="34"/>
                    </a:lnTo>
                    <a:lnTo>
                      <a:pt x="380" y="40"/>
                    </a:lnTo>
                    <a:lnTo>
                      <a:pt x="390" y="38"/>
                    </a:lnTo>
                    <a:lnTo>
                      <a:pt x="396" y="42"/>
                    </a:lnTo>
                    <a:lnTo>
                      <a:pt x="396" y="38"/>
                    </a:lnTo>
                    <a:lnTo>
                      <a:pt x="400" y="36"/>
                    </a:lnTo>
                    <a:lnTo>
                      <a:pt x="407" y="36"/>
                    </a:lnTo>
                    <a:lnTo>
                      <a:pt x="411" y="36"/>
                    </a:lnTo>
                    <a:lnTo>
                      <a:pt x="411" y="30"/>
                    </a:lnTo>
                    <a:lnTo>
                      <a:pt x="413" y="30"/>
                    </a:lnTo>
                    <a:lnTo>
                      <a:pt x="417" y="30"/>
                    </a:lnTo>
                    <a:lnTo>
                      <a:pt x="415" y="34"/>
                    </a:lnTo>
                    <a:lnTo>
                      <a:pt x="421" y="36"/>
                    </a:lnTo>
                    <a:lnTo>
                      <a:pt x="423" y="34"/>
                    </a:lnTo>
                    <a:lnTo>
                      <a:pt x="421" y="30"/>
                    </a:lnTo>
                    <a:lnTo>
                      <a:pt x="428" y="30"/>
                    </a:lnTo>
                    <a:lnTo>
                      <a:pt x="430" y="30"/>
                    </a:lnTo>
                    <a:lnTo>
                      <a:pt x="432" y="25"/>
                    </a:lnTo>
                    <a:lnTo>
                      <a:pt x="436" y="27"/>
                    </a:lnTo>
                    <a:lnTo>
                      <a:pt x="440" y="27"/>
                    </a:lnTo>
                    <a:lnTo>
                      <a:pt x="442" y="29"/>
                    </a:lnTo>
                    <a:lnTo>
                      <a:pt x="446" y="27"/>
                    </a:lnTo>
                    <a:lnTo>
                      <a:pt x="446" y="17"/>
                    </a:lnTo>
                    <a:lnTo>
                      <a:pt x="448" y="15"/>
                    </a:lnTo>
                    <a:lnTo>
                      <a:pt x="455" y="11"/>
                    </a:lnTo>
                    <a:lnTo>
                      <a:pt x="457" y="15"/>
                    </a:lnTo>
                    <a:lnTo>
                      <a:pt x="459" y="15"/>
                    </a:lnTo>
                    <a:lnTo>
                      <a:pt x="463" y="15"/>
                    </a:lnTo>
                    <a:lnTo>
                      <a:pt x="469" y="11"/>
                    </a:lnTo>
                    <a:lnTo>
                      <a:pt x="472" y="9"/>
                    </a:lnTo>
                    <a:lnTo>
                      <a:pt x="476" y="5"/>
                    </a:lnTo>
                    <a:lnTo>
                      <a:pt x="476" y="0"/>
                    </a:lnTo>
                    <a:lnTo>
                      <a:pt x="480" y="0"/>
                    </a:lnTo>
                    <a:lnTo>
                      <a:pt x="484" y="2"/>
                    </a:lnTo>
                    <a:lnTo>
                      <a:pt x="486" y="5"/>
                    </a:lnTo>
                    <a:lnTo>
                      <a:pt x="492" y="11"/>
                    </a:lnTo>
                    <a:lnTo>
                      <a:pt x="494" y="17"/>
                    </a:lnTo>
                    <a:lnTo>
                      <a:pt x="499" y="25"/>
                    </a:lnTo>
                    <a:lnTo>
                      <a:pt x="503" y="25"/>
                    </a:lnTo>
                    <a:lnTo>
                      <a:pt x="511" y="19"/>
                    </a:lnTo>
                    <a:lnTo>
                      <a:pt x="515" y="23"/>
                    </a:lnTo>
                    <a:lnTo>
                      <a:pt x="511" y="30"/>
                    </a:lnTo>
                    <a:lnTo>
                      <a:pt x="499" y="32"/>
                    </a:lnTo>
                    <a:lnTo>
                      <a:pt x="495" y="34"/>
                    </a:lnTo>
                    <a:lnTo>
                      <a:pt x="494" y="40"/>
                    </a:lnTo>
                    <a:lnTo>
                      <a:pt x="486" y="42"/>
                    </a:lnTo>
                    <a:lnTo>
                      <a:pt x="490" y="44"/>
                    </a:lnTo>
                    <a:lnTo>
                      <a:pt x="490" y="50"/>
                    </a:lnTo>
                    <a:lnTo>
                      <a:pt x="494" y="54"/>
                    </a:lnTo>
                    <a:lnTo>
                      <a:pt x="494" y="55"/>
                    </a:lnTo>
                    <a:lnTo>
                      <a:pt x="490" y="55"/>
                    </a:lnTo>
                    <a:lnTo>
                      <a:pt x="490" y="59"/>
                    </a:lnTo>
                    <a:lnTo>
                      <a:pt x="492" y="61"/>
                    </a:lnTo>
                    <a:lnTo>
                      <a:pt x="497" y="59"/>
                    </a:lnTo>
                    <a:lnTo>
                      <a:pt x="499" y="55"/>
                    </a:lnTo>
                    <a:lnTo>
                      <a:pt x="501" y="55"/>
                    </a:lnTo>
                    <a:lnTo>
                      <a:pt x="503" y="52"/>
                    </a:lnTo>
                    <a:lnTo>
                      <a:pt x="507" y="50"/>
                    </a:lnTo>
                    <a:lnTo>
                      <a:pt x="511" y="46"/>
                    </a:lnTo>
                    <a:lnTo>
                      <a:pt x="520" y="46"/>
                    </a:lnTo>
                    <a:lnTo>
                      <a:pt x="526" y="42"/>
                    </a:lnTo>
                    <a:lnTo>
                      <a:pt x="528" y="44"/>
                    </a:lnTo>
                    <a:lnTo>
                      <a:pt x="524" y="50"/>
                    </a:lnTo>
                    <a:lnTo>
                      <a:pt x="522" y="54"/>
                    </a:lnTo>
                    <a:lnTo>
                      <a:pt x="528" y="55"/>
                    </a:lnTo>
                    <a:lnTo>
                      <a:pt x="528" y="63"/>
                    </a:lnTo>
                    <a:lnTo>
                      <a:pt x="532" y="67"/>
                    </a:lnTo>
                    <a:lnTo>
                      <a:pt x="538" y="75"/>
                    </a:lnTo>
                    <a:lnTo>
                      <a:pt x="536" y="80"/>
                    </a:lnTo>
                    <a:lnTo>
                      <a:pt x="530" y="80"/>
                    </a:lnTo>
                    <a:lnTo>
                      <a:pt x="528" y="84"/>
                    </a:lnTo>
                    <a:lnTo>
                      <a:pt x="524" y="84"/>
                    </a:lnTo>
                    <a:lnTo>
                      <a:pt x="522" y="84"/>
                    </a:lnTo>
                    <a:lnTo>
                      <a:pt x="524" y="90"/>
                    </a:lnTo>
                    <a:lnTo>
                      <a:pt x="517" y="90"/>
                    </a:lnTo>
                    <a:lnTo>
                      <a:pt x="517" y="96"/>
                    </a:lnTo>
                    <a:lnTo>
                      <a:pt x="517" y="98"/>
                    </a:lnTo>
                    <a:lnTo>
                      <a:pt x="509" y="100"/>
                    </a:lnTo>
                    <a:lnTo>
                      <a:pt x="505" y="103"/>
                    </a:lnTo>
                    <a:lnTo>
                      <a:pt x="509" y="107"/>
                    </a:lnTo>
                    <a:lnTo>
                      <a:pt x="509" y="109"/>
                    </a:lnTo>
                    <a:lnTo>
                      <a:pt x="501" y="115"/>
                    </a:lnTo>
                    <a:lnTo>
                      <a:pt x="507" y="117"/>
                    </a:lnTo>
                    <a:lnTo>
                      <a:pt x="513" y="117"/>
                    </a:lnTo>
                    <a:lnTo>
                      <a:pt x="515" y="123"/>
                    </a:lnTo>
                    <a:lnTo>
                      <a:pt x="517" y="123"/>
                    </a:lnTo>
                    <a:lnTo>
                      <a:pt x="519" y="119"/>
                    </a:lnTo>
                    <a:lnTo>
                      <a:pt x="522" y="115"/>
                    </a:lnTo>
                    <a:lnTo>
                      <a:pt x="526" y="115"/>
                    </a:lnTo>
                    <a:lnTo>
                      <a:pt x="534" y="109"/>
                    </a:lnTo>
                    <a:lnTo>
                      <a:pt x="542" y="109"/>
                    </a:lnTo>
                    <a:lnTo>
                      <a:pt x="545" y="111"/>
                    </a:lnTo>
                    <a:lnTo>
                      <a:pt x="551" y="115"/>
                    </a:lnTo>
                    <a:lnTo>
                      <a:pt x="553" y="119"/>
                    </a:lnTo>
                    <a:lnTo>
                      <a:pt x="561" y="121"/>
                    </a:lnTo>
                    <a:lnTo>
                      <a:pt x="565" y="117"/>
                    </a:lnTo>
                    <a:lnTo>
                      <a:pt x="568" y="123"/>
                    </a:lnTo>
                    <a:lnTo>
                      <a:pt x="576" y="127"/>
                    </a:lnTo>
                    <a:lnTo>
                      <a:pt x="584" y="123"/>
                    </a:lnTo>
                    <a:lnTo>
                      <a:pt x="588" y="121"/>
                    </a:lnTo>
                    <a:lnTo>
                      <a:pt x="590" y="125"/>
                    </a:lnTo>
                    <a:lnTo>
                      <a:pt x="597" y="128"/>
                    </a:lnTo>
                    <a:lnTo>
                      <a:pt x="599" y="128"/>
                    </a:lnTo>
                    <a:lnTo>
                      <a:pt x="603" y="130"/>
                    </a:lnTo>
                    <a:lnTo>
                      <a:pt x="607" y="130"/>
                    </a:lnTo>
                    <a:lnTo>
                      <a:pt x="609" y="132"/>
                    </a:lnTo>
                    <a:lnTo>
                      <a:pt x="616" y="136"/>
                    </a:lnTo>
                    <a:lnTo>
                      <a:pt x="616" y="142"/>
                    </a:lnTo>
                    <a:lnTo>
                      <a:pt x="613" y="144"/>
                    </a:lnTo>
                    <a:lnTo>
                      <a:pt x="614" y="146"/>
                    </a:lnTo>
                    <a:lnTo>
                      <a:pt x="609" y="151"/>
                    </a:lnTo>
                    <a:lnTo>
                      <a:pt x="611" y="153"/>
                    </a:lnTo>
                    <a:lnTo>
                      <a:pt x="618" y="151"/>
                    </a:lnTo>
                    <a:lnTo>
                      <a:pt x="616" y="153"/>
                    </a:lnTo>
                    <a:lnTo>
                      <a:pt x="618" y="157"/>
                    </a:lnTo>
                    <a:lnTo>
                      <a:pt x="620" y="157"/>
                    </a:lnTo>
                    <a:lnTo>
                      <a:pt x="616" y="165"/>
                    </a:lnTo>
                    <a:lnTo>
                      <a:pt x="618" y="171"/>
                    </a:lnTo>
                    <a:lnTo>
                      <a:pt x="614" y="173"/>
                    </a:lnTo>
                    <a:lnTo>
                      <a:pt x="609" y="169"/>
                    </a:lnTo>
                    <a:lnTo>
                      <a:pt x="603" y="171"/>
                    </a:lnTo>
                    <a:lnTo>
                      <a:pt x="597" y="176"/>
                    </a:lnTo>
                    <a:lnTo>
                      <a:pt x="595" y="178"/>
                    </a:lnTo>
                    <a:lnTo>
                      <a:pt x="588" y="184"/>
                    </a:lnTo>
                    <a:lnTo>
                      <a:pt x="588" y="188"/>
                    </a:lnTo>
                    <a:lnTo>
                      <a:pt x="584" y="186"/>
                    </a:lnTo>
                    <a:lnTo>
                      <a:pt x="580" y="186"/>
                    </a:lnTo>
                    <a:lnTo>
                      <a:pt x="576" y="194"/>
                    </a:lnTo>
                    <a:lnTo>
                      <a:pt x="570" y="196"/>
                    </a:lnTo>
                    <a:lnTo>
                      <a:pt x="570" y="199"/>
                    </a:lnTo>
                    <a:lnTo>
                      <a:pt x="566" y="201"/>
                    </a:lnTo>
                    <a:lnTo>
                      <a:pt x="566" y="205"/>
                    </a:lnTo>
                    <a:lnTo>
                      <a:pt x="570" y="211"/>
                    </a:lnTo>
                    <a:lnTo>
                      <a:pt x="566" y="219"/>
                    </a:lnTo>
                    <a:lnTo>
                      <a:pt x="572" y="223"/>
                    </a:lnTo>
                    <a:lnTo>
                      <a:pt x="572" y="226"/>
                    </a:lnTo>
                    <a:lnTo>
                      <a:pt x="578" y="234"/>
                    </a:lnTo>
                    <a:lnTo>
                      <a:pt x="580" y="234"/>
                    </a:lnTo>
                    <a:lnTo>
                      <a:pt x="584" y="240"/>
                    </a:lnTo>
                    <a:lnTo>
                      <a:pt x="588" y="242"/>
                    </a:lnTo>
                    <a:lnTo>
                      <a:pt x="588" y="244"/>
                    </a:lnTo>
                    <a:lnTo>
                      <a:pt x="593" y="251"/>
                    </a:lnTo>
                    <a:lnTo>
                      <a:pt x="595" y="255"/>
                    </a:lnTo>
                    <a:lnTo>
                      <a:pt x="591" y="257"/>
                    </a:lnTo>
                    <a:lnTo>
                      <a:pt x="588" y="257"/>
                    </a:lnTo>
                    <a:lnTo>
                      <a:pt x="586" y="257"/>
                    </a:lnTo>
                    <a:lnTo>
                      <a:pt x="582" y="255"/>
                    </a:lnTo>
                    <a:lnTo>
                      <a:pt x="576" y="251"/>
                    </a:lnTo>
                    <a:lnTo>
                      <a:pt x="566" y="249"/>
                    </a:lnTo>
                    <a:lnTo>
                      <a:pt x="563" y="248"/>
                    </a:lnTo>
                    <a:lnTo>
                      <a:pt x="565" y="240"/>
                    </a:lnTo>
                    <a:lnTo>
                      <a:pt x="561" y="238"/>
                    </a:lnTo>
                    <a:lnTo>
                      <a:pt x="561" y="236"/>
                    </a:lnTo>
                    <a:lnTo>
                      <a:pt x="555" y="230"/>
                    </a:lnTo>
                    <a:lnTo>
                      <a:pt x="547" y="228"/>
                    </a:lnTo>
                    <a:lnTo>
                      <a:pt x="542" y="230"/>
                    </a:lnTo>
                    <a:lnTo>
                      <a:pt x="536" y="228"/>
                    </a:lnTo>
                    <a:lnTo>
                      <a:pt x="534" y="234"/>
                    </a:lnTo>
                    <a:lnTo>
                      <a:pt x="526" y="236"/>
                    </a:lnTo>
                    <a:lnTo>
                      <a:pt x="517" y="234"/>
                    </a:lnTo>
                    <a:lnTo>
                      <a:pt x="515" y="236"/>
                    </a:lnTo>
                    <a:lnTo>
                      <a:pt x="509" y="236"/>
                    </a:lnTo>
                    <a:lnTo>
                      <a:pt x="503" y="238"/>
                    </a:lnTo>
                    <a:lnTo>
                      <a:pt x="497" y="238"/>
                    </a:lnTo>
                    <a:lnTo>
                      <a:pt x="490" y="240"/>
                    </a:lnTo>
                    <a:lnTo>
                      <a:pt x="480" y="244"/>
                    </a:lnTo>
                    <a:lnTo>
                      <a:pt x="474" y="248"/>
                    </a:lnTo>
                    <a:lnTo>
                      <a:pt x="472" y="251"/>
                    </a:lnTo>
                    <a:lnTo>
                      <a:pt x="471" y="253"/>
                    </a:lnTo>
                    <a:lnTo>
                      <a:pt x="467" y="259"/>
                    </a:lnTo>
                    <a:lnTo>
                      <a:pt x="465" y="263"/>
                    </a:lnTo>
                    <a:lnTo>
                      <a:pt x="457" y="267"/>
                    </a:lnTo>
                    <a:lnTo>
                      <a:pt x="451" y="265"/>
                    </a:lnTo>
                    <a:lnTo>
                      <a:pt x="448" y="269"/>
                    </a:lnTo>
                    <a:lnTo>
                      <a:pt x="446" y="272"/>
                    </a:lnTo>
                    <a:lnTo>
                      <a:pt x="444" y="278"/>
                    </a:lnTo>
                    <a:lnTo>
                      <a:pt x="442" y="280"/>
                    </a:lnTo>
                    <a:lnTo>
                      <a:pt x="436" y="278"/>
                    </a:lnTo>
                    <a:lnTo>
                      <a:pt x="432" y="282"/>
                    </a:lnTo>
                    <a:lnTo>
                      <a:pt x="428" y="288"/>
                    </a:lnTo>
                    <a:lnTo>
                      <a:pt x="423" y="286"/>
                    </a:lnTo>
                    <a:lnTo>
                      <a:pt x="419" y="288"/>
                    </a:lnTo>
                    <a:lnTo>
                      <a:pt x="417" y="294"/>
                    </a:lnTo>
                    <a:lnTo>
                      <a:pt x="411" y="299"/>
                    </a:lnTo>
                    <a:lnTo>
                      <a:pt x="403" y="303"/>
                    </a:lnTo>
                    <a:lnTo>
                      <a:pt x="401" y="301"/>
                    </a:lnTo>
                    <a:lnTo>
                      <a:pt x="396" y="305"/>
                    </a:lnTo>
                    <a:lnTo>
                      <a:pt x="392" y="303"/>
                    </a:lnTo>
                    <a:lnTo>
                      <a:pt x="392" y="301"/>
                    </a:lnTo>
                    <a:lnTo>
                      <a:pt x="390" y="301"/>
                    </a:lnTo>
                    <a:close/>
                  </a:path>
                </a:pathLst>
              </a:custGeom>
              <a:solidFill>
                <a:srgbClr val="D0D0D0"/>
              </a:solidFill>
              <a:ln w="6350">
                <a:solidFill>
                  <a:schemeClr val="bg1">
                    <a:lumMod val="65000"/>
                  </a:schemeClr>
                </a:solidFill>
                <a:prstDash val="dash"/>
              </a:ln>
            </p:spPr>
            <p:txBody>
              <a:bodyPr vert="horz" wrap="square" lIns="91440" tIns="45720" rIns="91440" bIns="45720" numCol="1" anchor="t" anchorCtr="0" compatLnSpc="1">
                <a:prstTxWarp prst="textNoShape">
                  <a:avLst/>
                </a:prstTxWarp>
              </a:bodyPr>
              <a:lstStyle/>
              <a:p>
                <a:endParaRPr lang="en-US" dirty="0"/>
              </a:p>
            </p:txBody>
          </p:sp>
          <p:sp>
            <p:nvSpPr>
              <p:cNvPr id="53" name="Freeform: Shape 52">
                <a:extLst>
                  <a:ext uri="{FF2B5EF4-FFF2-40B4-BE49-F238E27FC236}">
                    <a16:creationId xmlns:a16="http://schemas.microsoft.com/office/drawing/2014/main" id="{AB7E5B1B-9FED-45E8-87B6-7A2C6906B2D8}"/>
                  </a:ext>
                </a:extLst>
              </p:cNvPr>
              <p:cNvSpPr/>
              <p:nvPr/>
            </p:nvSpPr>
            <p:spPr bwMode="gray">
              <a:xfrm>
                <a:off x="4324350" y="1201737"/>
                <a:ext cx="825500" cy="744538"/>
              </a:xfrm>
              <a:custGeom>
                <a:avLst/>
                <a:gdLst>
                  <a:gd name="connsiteX0" fmla="*/ 374650 w 825500"/>
                  <a:gd name="connsiteY0" fmla="*/ 0 h 744538"/>
                  <a:gd name="connsiteX1" fmla="*/ 381000 w 825500"/>
                  <a:gd name="connsiteY1" fmla="*/ 12700 h 744538"/>
                  <a:gd name="connsiteX2" fmla="*/ 387350 w 825500"/>
                  <a:gd name="connsiteY2" fmla="*/ 12700 h 744538"/>
                  <a:gd name="connsiteX3" fmla="*/ 390525 w 825500"/>
                  <a:gd name="connsiteY3" fmla="*/ 6350 h 744538"/>
                  <a:gd name="connsiteX4" fmla="*/ 398462 w 825500"/>
                  <a:gd name="connsiteY4" fmla="*/ 6350 h 744538"/>
                  <a:gd name="connsiteX5" fmla="*/ 398462 w 825500"/>
                  <a:gd name="connsiteY5" fmla="*/ 12700 h 744538"/>
                  <a:gd name="connsiteX6" fmla="*/ 404812 w 825500"/>
                  <a:gd name="connsiteY6" fmla="*/ 26987 h 744538"/>
                  <a:gd name="connsiteX7" fmla="*/ 411162 w 825500"/>
                  <a:gd name="connsiteY7" fmla="*/ 26987 h 744538"/>
                  <a:gd name="connsiteX8" fmla="*/ 411162 w 825500"/>
                  <a:gd name="connsiteY8" fmla="*/ 20637 h 744538"/>
                  <a:gd name="connsiteX9" fmla="*/ 417512 w 825500"/>
                  <a:gd name="connsiteY9" fmla="*/ 17462 h 744538"/>
                  <a:gd name="connsiteX10" fmla="*/ 430212 w 825500"/>
                  <a:gd name="connsiteY10" fmla="*/ 12700 h 744538"/>
                  <a:gd name="connsiteX11" fmla="*/ 441325 w 825500"/>
                  <a:gd name="connsiteY11" fmla="*/ 12700 h 744538"/>
                  <a:gd name="connsiteX12" fmla="*/ 447675 w 825500"/>
                  <a:gd name="connsiteY12" fmla="*/ 9525 h 744538"/>
                  <a:gd name="connsiteX13" fmla="*/ 450850 w 825500"/>
                  <a:gd name="connsiteY13" fmla="*/ 12700 h 744538"/>
                  <a:gd name="connsiteX14" fmla="*/ 450850 w 825500"/>
                  <a:gd name="connsiteY14" fmla="*/ 17462 h 744538"/>
                  <a:gd name="connsiteX15" fmla="*/ 463550 w 825500"/>
                  <a:gd name="connsiteY15" fmla="*/ 20637 h 744538"/>
                  <a:gd name="connsiteX16" fmla="*/ 471487 w 825500"/>
                  <a:gd name="connsiteY16" fmla="*/ 17462 h 744538"/>
                  <a:gd name="connsiteX17" fmla="*/ 484187 w 825500"/>
                  <a:gd name="connsiteY17" fmla="*/ 23812 h 744538"/>
                  <a:gd name="connsiteX18" fmla="*/ 490537 w 825500"/>
                  <a:gd name="connsiteY18" fmla="*/ 20637 h 744538"/>
                  <a:gd name="connsiteX19" fmla="*/ 487362 w 825500"/>
                  <a:gd name="connsiteY19" fmla="*/ 30162 h 744538"/>
                  <a:gd name="connsiteX20" fmla="*/ 493712 w 825500"/>
                  <a:gd name="connsiteY20" fmla="*/ 33337 h 744538"/>
                  <a:gd name="connsiteX21" fmla="*/ 493712 w 825500"/>
                  <a:gd name="connsiteY21" fmla="*/ 42862 h 744538"/>
                  <a:gd name="connsiteX22" fmla="*/ 490537 w 825500"/>
                  <a:gd name="connsiteY22" fmla="*/ 50800 h 744538"/>
                  <a:gd name="connsiteX23" fmla="*/ 496887 w 825500"/>
                  <a:gd name="connsiteY23" fmla="*/ 60325 h 744538"/>
                  <a:gd name="connsiteX24" fmla="*/ 500062 w 825500"/>
                  <a:gd name="connsiteY24" fmla="*/ 63500 h 744538"/>
                  <a:gd name="connsiteX25" fmla="*/ 503237 w 825500"/>
                  <a:gd name="connsiteY25" fmla="*/ 60325 h 744538"/>
                  <a:gd name="connsiteX26" fmla="*/ 508000 w 825500"/>
                  <a:gd name="connsiteY26" fmla="*/ 63500 h 744538"/>
                  <a:gd name="connsiteX27" fmla="*/ 508000 w 825500"/>
                  <a:gd name="connsiteY27" fmla="*/ 53975 h 744538"/>
                  <a:gd name="connsiteX28" fmla="*/ 527050 w 825500"/>
                  <a:gd name="connsiteY28" fmla="*/ 53975 h 744538"/>
                  <a:gd name="connsiteX29" fmla="*/ 536575 w 825500"/>
                  <a:gd name="connsiteY29" fmla="*/ 57150 h 744538"/>
                  <a:gd name="connsiteX30" fmla="*/ 542925 w 825500"/>
                  <a:gd name="connsiteY30" fmla="*/ 57150 h 744538"/>
                  <a:gd name="connsiteX31" fmla="*/ 554038 w 825500"/>
                  <a:gd name="connsiteY31" fmla="*/ 63500 h 744538"/>
                  <a:gd name="connsiteX32" fmla="*/ 560388 w 825500"/>
                  <a:gd name="connsiteY32" fmla="*/ 69850 h 744538"/>
                  <a:gd name="connsiteX33" fmla="*/ 563563 w 825500"/>
                  <a:gd name="connsiteY33" fmla="*/ 73025 h 744538"/>
                  <a:gd name="connsiteX34" fmla="*/ 566738 w 825500"/>
                  <a:gd name="connsiteY34" fmla="*/ 76200 h 744538"/>
                  <a:gd name="connsiteX35" fmla="*/ 576263 w 825500"/>
                  <a:gd name="connsiteY35" fmla="*/ 82550 h 744538"/>
                  <a:gd name="connsiteX36" fmla="*/ 573088 w 825500"/>
                  <a:gd name="connsiteY36" fmla="*/ 88900 h 744538"/>
                  <a:gd name="connsiteX37" fmla="*/ 576263 w 825500"/>
                  <a:gd name="connsiteY37" fmla="*/ 90487 h 744538"/>
                  <a:gd name="connsiteX38" fmla="*/ 606425 w 825500"/>
                  <a:gd name="connsiteY38" fmla="*/ 103188 h 744538"/>
                  <a:gd name="connsiteX39" fmla="*/ 623888 w 825500"/>
                  <a:gd name="connsiteY39" fmla="*/ 119063 h 744538"/>
                  <a:gd name="connsiteX40" fmla="*/ 630238 w 825500"/>
                  <a:gd name="connsiteY40" fmla="*/ 122238 h 744538"/>
                  <a:gd name="connsiteX41" fmla="*/ 636588 w 825500"/>
                  <a:gd name="connsiteY41" fmla="*/ 122238 h 744538"/>
                  <a:gd name="connsiteX42" fmla="*/ 655638 w 825500"/>
                  <a:gd name="connsiteY42" fmla="*/ 125413 h 744538"/>
                  <a:gd name="connsiteX43" fmla="*/ 658813 w 825500"/>
                  <a:gd name="connsiteY43" fmla="*/ 133350 h 744538"/>
                  <a:gd name="connsiteX44" fmla="*/ 669925 w 825500"/>
                  <a:gd name="connsiteY44" fmla="*/ 149225 h 744538"/>
                  <a:gd name="connsiteX45" fmla="*/ 688975 w 825500"/>
                  <a:gd name="connsiteY45" fmla="*/ 155575 h 744538"/>
                  <a:gd name="connsiteX46" fmla="*/ 703263 w 825500"/>
                  <a:gd name="connsiteY46" fmla="*/ 165100 h 744538"/>
                  <a:gd name="connsiteX47" fmla="*/ 712788 w 825500"/>
                  <a:gd name="connsiteY47" fmla="*/ 169863 h 744538"/>
                  <a:gd name="connsiteX48" fmla="*/ 709613 w 825500"/>
                  <a:gd name="connsiteY48" fmla="*/ 179388 h 744538"/>
                  <a:gd name="connsiteX49" fmla="*/ 703263 w 825500"/>
                  <a:gd name="connsiteY49" fmla="*/ 188913 h 744538"/>
                  <a:gd name="connsiteX50" fmla="*/ 703263 w 825500"/>
                  <a:gd name="connsiteY50" fmla="*/ 195263 h 744538"/>
                  <a:gd name="connsiteX51" fmla="*/ 731838 w 825500"/>
                  <a:gd name="connsiteY51" fmla="*/ 215900 h 744538"/>
                  <a:gd name="connsiteX52" fmla="*/ 746125 w 825500"/>
                  <a:gd name="connsiteY52" fmla="*/ 222250 h 744538"/>
                  <a:gd name="connsiteX53" fmla="*/ 765175 w 825500"/>
                  <a:gd name="connsiteY53" fmla="*/ 222250 h 744538"/>
                  <a:gd name="connsiteX54" fmla="*/ 776288 w 825500"/>
                  <a:gd name="connsiteY54" fmla="*/ 222250 h 744538"/>
                  <a:gd name="connsiteX55" fmla="*/ 785813 w 825500"/>
                  <a:gd name="connsiteY55" fmla="*/ 231775 h 744538"/>
                  <a:gd name="connsiteX56" fmla="*/ 801688 w 825500"/>
                  <a:gd name="connsiteY56" fmla="*/ 234950 h 744538"/>
                  <a:gd name="connsiteX57" fmla="*/ 809625 w 825500"/>
                  <a:gd name="connsiteY57" fmla="*/ 234950 h 744538"/>
                  <a:gd name="connsiteX58" fmla="*/ 819150 w 825500"/>
                  <a:gd name="connsiteY58" fmla="*/ 244475 h 744538"/>
                  <a:gd name="connsiteX59" fmla="*/ 819150 w 825500"/>
                  <a:gd name="connsiteY59" fmla="*/ 252413 h 744538"/>
                  <a:gd name="connsiteX60" fmla="*/ 825500 w 825500"/>
                  <a:gd name="connsiteY60" fmla="*/ 258763 h 744538"/>
                  <a:gd name="connsiteX61" fmla="*/ 822325 w 825500"/>
                  <a:gd name="connsiteY61" fmla="*/ 265113 h 744538"/>
                  <a:gd name="connsiteX62" fmla="*/ 809625 w 825500"/>
                  <a:gd name="connsiteY62" fmla="*/ 258763 h 744538"/>
                  <a:gd name="connsiteX63" fmla="*/ 804863 w 825500"/>
                  <a:gd name="connsiteY63" fmla="*/ 258763 h 744538"/>
                  <a:gd name="connsiteX64" fmla="*/ 798513 w 825500"/>
                  <a:gd name="connsiteY64" fmla="*/ 261938 h 744538"/>
                  <a:gd name="connsiteX65" fmla="*/ 795338 w 825500"/>
                  <a:gd name="connsiteY65" fmla="*/ 271463 h 744538"/>
                  <a:gd name="connsiteX66" fmla="*/ 795338 w 825500"/>
                  <a:gd name="connsiteY66" fmla="*/ 268288 h 744538"/>
                  <a:gd name="connsiteX67" fmla="*/ 789623 w 825500"/>
                  <a:gd name="connsiteY67" fmla="*/ 265430 h 744538"/>
                  <a:gd name="connsiteX68" fmla="*/ 792956 w 825500"/>
                  <a:gd name="connsiteY68" fmla="*/ 269875 h 744538"/>
                  <a:gd name="connsiteX69" fmla="*/ 791789 w 825500"/>
                  <a:gd name="connsiteY69" fmla="*/ 270576 h 744538"/>
                  <a:gd name="connsiteX70" fmla="*/ 795338 w 825500"/>
                  <a:gd name="connsiteY70" fmla="*/ 271463 h 744538"/>
                  <a:gd name="connsiteX71" fmla="*/ 795338 w 825500"/>
                  <a:gd name="connsiteY71" fmla="*/ 274638 h 744538"/>
                  <a:gd name="connsiteX72" fmla="*/ 788988 w 825500"/>
                  <a:gd name="connsiteY72" fmla="*/ 288925 h 744538"/>
                  <a:gd name="connsiteX73" fmla="*/ 782638 w 825500"/>
                  <a:gd name="connsiteY73" fmla="*/ 301625 h 744538"/>
                  <a:gd name="connsiteX74" fmla="*/ 779463 w 825500"/>
                  <a:gd name="connsiteY74" fmla="*/ 314325 h 744538"/>
                  <a:gd name="connsiteX75" fmla="*/ 773113 w 825500"/>
                  <a:gd name="connsiteY75" fmla="*/ 325438 h 744538"/>
                  <a:gd name="connsiteX76" fmla="*/ 773113 w 825500"/>
                  <a:gd name="connsiteY76" fmla="*/ 338138 h 744538"/>
                  <a:gd name="connsiteX77" fmla="*/ 771525 w 825500"/>
                  <a:gd name="connsiteY77" fmla="*/ 344488 h 744538"/>
                  <a:gd name="connsiteX78" fmla="*/ 762000 w 825500"/>
                  <a:gd name="connsiteY78" fmla="*/ 357188 h 744538"/>
                  <a:gd name="connsiteX79" fmla="*/ 758825 w 825500"/>
                  <a:gd name="connsiteY79" fmla="*/ 357188 h 744538"/>
                  <a:gd name="connsiteX80" fmla="*/ 755650 w 825500"/>
                  <a:gd name="connsiteY80" fmla="*/ 357188 h 744538"/>
                  <a:gd name="connsiteX81" fmla="*/ 739775 w 825500"/>
                  <a:gd name="connsiteY81" fmla="*/ 357188 h 744538"/>
                  <a:gd name="connsiteX82" fmla="*/ 739775 w 825500"/>
                  <a:gd name="connsiteY82" fmla="*/ 368300 h 744538"/>
                  <a:gd name="connsiteX83" fmla="*/ 733425 w 825500"/>
                  <a:gd name="connsiteY83" fmla="*/ 371475 h 744538"/>
                  <a:gd name="connsiteX84" fmla="*/ 728663 w 825500"/>
                  <a:gd name="connsiteY84" fmla="*/ 371475 h 744538"/>
                  <a:gd name="connsiteX85" fmla="*/ 715963 w 825500"/>
                  <a:gd name="connsiteY85" fmla="*/ 365125 h 744538"/>
                  <a:gd name="connsiteX86" fmla="*/ 706438 w 825500"/>
                  <a:gd name="connsiteY86" fmla="*/ 371475 h 744538"/>
                  <a:gd name="connsiteX87" fmla="*/ 696913 w 825500"/>
                  <a:gd name="connsiteY87" fmla="*/ 374650 h 744538"/>
                  <a:gd name="connsiteX88" fmla="*/ 695325 w 825500"/>
                  <a:gd name="connsiteY88" fmla="*/ 374650 h 744538"/>
                  <a:gd name="connsiteX89" fmla="*/ 695325 w 825500"/>
                  <a:gd name="connsiteY89" fmla="*/ 387350 h 744538"/>
                  <a:gd name="connsiteX90" fmla="*/ 692150 w 825500"/>
                  <a:gd name="connsiteY90" fmla="*/ 393700 h 744538"/>
                  <a:gd name="connsiteX91" fmla="*/ 679450 w 825500"/>
                  <a:gd name="connsiteY91" fmla="*/ 404813 h 744538"/>
                  <a:gd name="connsiteX92" fmla="*/ 673100 w 825500"/>
                  <a:gd name="connsiteY92" fmla="*/ 404813 h 744538"/>
                  <a:gd name="connsiteX93" fmla="*/ 660400 w 825500"/>
                  <a:gd name="connsiteY93" fmla="*/ 401638 h 744538"/>
                  <a:gd name="connsiteX94" fmla="*/ 649288 w 825500"/>
                  <a:gd name="connsiteY94" fmla="*/ 396875 h 744538"/>
                  <a:gd name="connsiteX95" fmla="*/ 636588 w 825500"/>
                  <a:gd name="connsiteY95" fmla="*/ 404813 h 744538"/>
                  <a:gd name="connsiteX96" fmla="*/ 619125 w 825500"/>
                  <a:gd name="connsiteY96" fmla="*/ 407988 h 744538"/>
                  <a:gd name="connsiteX97" fmla="*/ 609600 w 825500"/>
                  <a:gd name="connsiteY97" fmla="*/ 417513 h 744538"/>
                  <a:gd name="connsiteX98" fmla="*/ 596900 w 825500"/>
                  <a:gd name="connsiteY98" fmla="*/ 423863 h 744538"/>
                  <a:gd name="connsiteX99" fmla="*/ 587375 w 825500"/>
                  <a:gd name="connsiteY99" fmla="*/ 420688 h 744538"/>
                  <a:gd name="connsiteX100" fmla="*/ 579438 w 825500"/>
                  <a:gd name="connsiteY100" fmla="*/ 414338 h 744538"/>
                  <a:gd name="connsiteX101" fmla="*/ 576263 w 825500"/>
                  <a:gd name="connsiteY101" fmla="*/ 414338 h 744538"/>
                  <a:gd name="connsiteX102" fmla="*/ 563563 w 825500"/>
                  <a:gd name="connsiteY102" fmla="*/ 427038 h 744538"/>
                  <a:gd name="connsiteX103" fmla="*/ 557213 w 825500"/>
                  <a:gd name="connsiteY103" fmla="*/ 427038 h 744538"/>
                  <a:gd name="connsiteX104" fmla="*/ 542925 w 825500"/>
                  <a:gd name="connsiteY104" fmla="*/ 433388 h 744538"/>
                  <a:gd name="connsiteX105" fmla="*/ 527050 w 825500"/>
                  <a:gd name="connsiteY105" fmla="*/ 444500 h 744538"/>
                  <a:gd name="connsiteX106" fmla="*/ 520700 w 825500"/>
                  <a:gd name="connsiteY106" fmla="*/ 444500 h 744538"/>
                  <a:gd name="connsiteX107" fmla="*/ 508000 w 825500"/>
                  <a:gd name="connsiteY107" fmla="*/ 441325 h 744538"/>
                  <a:gd name="connsiteX108" fmla="*/ 500062 w 825500"/>
                  <a:gd name="connsiteY108" fmla="*/ 438150 h 744538"/>
                  <a:gd name="connsiteX109" fmla="*/ 481012 w 825500"/>
                  <a:gd name="connsiteY109" fmla="*/ 438150 h 744538"/>
                  <a:gd name="connsiteX110" fmla="*/ 474662 w 825500"/>
                  <a:gd name="connsiteY110" fmla="*/ 438150 h 744538"/>
                  <a:gd name="connsiteX111" fmla="*/ 457200 w 825500"/>
                  <a:gd name="connsiteY111" fmla="*/ 438150 h 744538"/>
                  <a:gd name="connsiteX112" fmla="*/ 457200 w 825500"/>
                  <a:gd name="connsiteY112" fmla="*/ 436563 h 744538"/>
                  <a:gd name="connsiteX113" fmla="*/ 441325 w 825500"/>
                  <a:gd name="connsiteY113" fmla="*/ 427038 h 744538"/>
                  <a:gd name="connsiteX114" fmla="*/ 444500 w 825500"/>
                  <a:gd name="connsiteY114" fmla="*/ 423863 h 744538"/>
                  <a:gd name="connsiteX115" fmla="*/ 438150 w 825500"/>
                  <a:gd name="connsiteY115" fmla="*/ 420688 h 744538"/>
                  <a:gd name="connsiteX116" fmla="*/ 423862 w 825500"/>
                  <a:gd name="connsiteY116" fmla="*/ 420688 h 744538"/>
                  <a:gd name="connsiteX117" fmla="*/ 411162 w 825500"/>
                  <a:gd name="connsiteY117" fmla="*/ 423863 h 744538"/>
                  <a:gd name="connsiteX118" fmla="*/ 404812 w 825500"/>
                  <a:gd name="connsiteY118" fmla="*/ 423863 h 744538"/>
                  <a:gd name="connsiteX119" fmla="*/ 390525 w 825500"/>
                  <a:gd name="connsiteY119" fmla="*/ 417513 h 744538"/>
                  <a:gd name="connsiteX120" fmla="*/ 387350 w 825500"/>
                  <a:gd name="connsiteY120" fmla="*/ 417513 h 744538"/>
                  <a:gd name="connsiteX121" fmla="*/ 381000 w 825500"/>
                  <a:gd name="connsiteY121" fmla="*/ 414338 h 744538"/>
                  <a:gd name="connsiteX122" fmla="*/ 365125 w 825500"/>
                  <a:gd name="connsiteY122" fmla="*/ 417513 h 744538"/>
                  <a:gd name="connsiteX123" fmla="*/ 354012 w 825500"/>
                  <a:gd name="connsiteY123" fmla="*/ 414338 h 744538"/>
                  <a:gd name="connsiteX124" fmla="*/ 341312 w 825500"/>
                  <a:gd name="connsiteY124" fmla="*/ 411163 h 744538"/>
                  <a:gd name="connsiteX125" fmla="*/ 334962 w 825500"/>
                  <a:gd name="connsiteY125" fmla="*/ 401638 h 744538"/>
                  <a:gd name="connsiteX126" fmla="*/ 317500 w 825500"/>
                  <a:gd name="connsiteY126" fmla="*/ 401638 h 744538"/>
                  <a:gd name="connsiteX127" fmla="*/ 314325 w 825500"/>
                  <a:gd name="connsiteY127" fmla="*/ 398463 h 744538"/>
                  <a:gd name="connsiteX128" fmla="*/ 295275 w 825500"/>
                  <a:gd name="connsiteY128" fmla="*/ 396875 h 744538"/>
                  <a:gd name="connsiteX129" fmla="*/ 288925 w 825500"/>
                  <a:gd name="connsiteY129" fmla="*/ 396875 h 744538"/>
                  <a:gd name="connsiteX130" fmla="*/ 277812 w 825500"/>
                  <a:gd name="connsiteY130" fmla="*/ 407988 h 744538"/>
                  <a:gd name="connsiteX131" fmla="*/ 261937 w 825500"/>
                  <a:gd name="connsiteY131" fmla="*/ 414338 h 744538"/>
                  <a:gd name="connsiteX132" fmla="*/ 255587 w 825500"/>
                  <a:gd name="connsiteY132" fmla="*/ 420688 h 744538"/>
                  <a:gd name="connsiteX133" fmla="*/ 252412 w 825500"/>
                  <a:gd name="connsiteY133" fmla="*/ 417513 h 744538"/>
                  <a:gd name="connsiteX134" fmla="*/ 242887 w 825500"/>
                  <a:gd name="connsiteY134" fmla="*/ 417513 h 744538"/>
                  <a:gd name="connsiteX135" fmla="*/ 234950 w 825500"/>
                  <a:gd name="connsiteY135" fmla="*/ 414338 h 744538"/>
                  <a:gd name="connsiteX136" fmla="*/ 228600 w 825500"/>
                  <a:gd name="connsiteY136" fmla="*/ 417513 h 744538"/>
                  <a:gd name="connsiteX137" fmla="*/ 225425 w 825500"/>
                  <a:gd name="connsiteY137" fmla="*/ 420688 h 744538"/>
                  <a:gd name="connsiteX138" fmla="*/ 222250 w 825500"/>
                  <a:gd name="connsiteY138" fmla="*/ 420688 h 744538"/>
                  <a:gd name="connsiteX139" fmla="*/ 222250 w 825500"/>
                  <a:gd name="connsiteY139" fmla="*/ 430213 h 744538"/>
                  <a:gd name="connsiteX140" fmla="*/ 222250 w 825500"/>
                  <a:gd name="connsiteY140" fmla="*/ 433388 h 744538"/>
                  <a:gd name="connsiteX141" fmla="*/ 215900 w 825500"/>
                  <a:gd name="connsiteY141" fmla="*/ 444500 h 744538"/>
                  <a:gd name="connsiteX142" fmla="*/ 206375 w 825500"/>
                  <a:gd name="connsiteY142" fmla="*/ 454025 h 744538"/>
                  <a:gd name="connsiteX143" fmla="*/ 201612 w 825500"/>
                  <a:gd name="connsiteY143" fmla="*/ 454025 h 744538"/>
                  <a:gd name="connsiteX144" fmla="*/ 192087 w 825500"/>
                  <a:gd name="connsiteY144" fmla="*/ 466725 h 744538"/>
                  <a:gd name="connsiteX145" fmla="*/ 198437 w 825500"/>
                  <a:gd name="connsiteY145" fmla="*/ 469900 h 744538"/>
                  <a:gd name="connsiteX146" fmla="*/ 209550 w 825500"/>
                  <a:gd name="connsiteY146" fmla="*/ 469900 h 744538"/>
                  <a:gd name="connsiteX147" fmla="*/ 215900 w 825500"/>
                  <a:gd name="connsiteY147" fmla="*/ 473075 h 744538"/>
                  <a:gd name="connsiteX148" fmla="*/ 219075 w 825500"/>
                  <a:gd name="connsiteY148" fmla="*/ 473075 h 744538"/>
                  <a:gd name="connsiteX149" fmla="*/ 234950 w 825500"/>
                  <a:gd name="connsiteY149" fmla="*/ 481013 h 744538"/>
                  <a:gd name="connsiteX150" fmla="*/ 238125 w 825500"/>
                  <a:gd name="connsiteY150" fmla="*/ 484188 h 744538"/>
                  <a:gd name="connsiteX151" fmla="*/ 238125 w 825500"/>
                  <a:gd name="connsiteY151" fmla="*/ 490538 h 744538"/>
                  <a:gd name="connsiteX152" fmla="*/ 234950 w 825500"/>
                  <a:gd name="connsiteY152" fmla="*/ 490538 h 744538"/>
                  <a:gd name="connsiteX153" fmla="*/ 231775 w 825500"/>
                  <a:gd name="connsiteY153" fmla="*/ 493713 h 744538"/>
                  <a:gd name="connsiteX154" fmla="*/ 231775 w 825500"/>
                  <a:gd name="connsiteY154" fmla="*/ 500063 h 744538"/>
                  <a:gd name="connsiteX155" fmla="*/ 215900 w 825500"/>
                  <a:gd name="connsiteY155" fmla="*/ 506413 h 744538"/>
                  <a:gd name="connsiteX156" fmla="*/ 212725 w 825500"/>
                  <a:gd name="connsiteY156" fmla="*/ 514350 h 744538"/>
                  <a:gd name="connsiteX157" fmla="*/ 219075 w 825500"/>
                  <a:gd name="connsiteY157" fmla="*/ 527050 h 744538"/>
                  <a:gd name="connsiteX158" fmla="*/ 222250 w 825500"/>
                  <a:gd name="connsiteY158" fmla="*/ 530225 h 744538"/>
                  <a:gd name="connsiteX159" fmla="*/ 228600 w 825500"/>
                  <a:gd name="connsiteY159" fmla="*/ 530225 h 744538"/>
                  <a:gd name="connsiteX160" fmla="*/ 238125 w 825500"/>
                  <a:gd name="connsiteY160" fmla="*/ 527050 h 744538"/>
                  <a:gd name="connsiteX161" fmla="*/ 252412 w 825500"/>
                  <a:gd name="connsiteY161" fmla="*/ 527050 h 744538"/>
                  <a:gd name="connsiteX162" fmla="*/ 258762 w 825500"/>
                  <a:gd name="connsiteY162" fmla="*/ 527050 h 744538"/>
                  <a:gd name="connsiteX163" fmla="*/ 271462 w 825500"/>
                  <a:gd name="connsiteY163" fmla="*/ 530225 h 744538"/>
                  <a:gd name="connsiteX164" fmla="*/ 274637 w 825500"/>
                  <a:gd name="connsiteY164" fmla="*/ 533400 h 744538"/>
                  <a:gd name="connsiteX165" fmla="*/ 274637 w 825500"/>
                  <a:gd name="connsiteY165" fmla="*/ 549275 h 744538"/>
                  <a:gd name="connsiteX166" fmla="*/ 265112 w 825500"/>
                  <a:gd name="connsiteY166" fmla="*/ 554038 h 744538"/>
                  <a:gd name="connsiteX167" fmla="*/ 252412 w 825500"/>
                  <a:gd name="connsiteY167" fmla="*/ 560388 h 744538"/>
                  <a:gd name="connsiteX168" fmla="*/ 234950 w 825500"/>
                  <a:gd name="connsiteY168" fmla="*/ 563563 h 744538"/>
                  <a:gd name="connsiteX169" fmla="*/ 228600 w 825500"/>
                  <a:gd name="connsiteY169" fmla="*/ 573088 h 744538"/>
                  <a:gd name="connsiteX170" fmla="*/ 215900 w 825500"/>
                  <a:gd name="connsiteY170" fmla="*/ 579438 h 744538"/>
                  <a:gd name="connsiteX171" fmla="*/ 219075 w 825500"/>
                  <a:gd name="connsiteY171" fmla="*/ 590550 h 744538"/>
                  <a:gd name="connsiteX172" fmla="*/ 228600 w 825500"/>
                  <a:gd name="connsiteY172" fmla="*/ 600075 h 744538"/>
                  <a:gd name="connsiteX173" fmla="*/ 231775 w 825500"/>
                  <a:gd name="connsiteY173" fmla="*/ 609601 h 744538"/>
                  <a:gd name="connsiteX174" fmla="*/ 234950 w 825500"/>
                  <a:gd name="connsiteY174" fmla="*/ 609601 h 744538"/>
                  <a:gd name="connsiteX175" fmla="*/ 241300 w 825500"/>
                  <a:gd name="connsiteY175" fmla="*/ 603250 h 744538"/>
                  <a:gd name="connsiteX176" fmla="*/ 242887 w 825500"/>
                  <a:gd name="connsiteY176" fmla="*/ 606426 h 744538"/>
                  <a:gd name="connsiteX177" fmla="*/ 246062 w 825500"/>
                  <a:gd name="connsiteY177" fmla="*/ 612776 h 744538"/>
                  <a:gd name="connsiteX178" fmla="*/ 252412 w 825500"/>
                  <a:gd name="connsiteY178" fmla="*/ 619126 h 744538"/>
                  <a:gd name="connsiteX179" fmla="*/ 252412 w 825500"/>
                  <a:gd name="connsiteY179" fmla="*/ 630238 h 744538"/>
                  <a:gd name="connsiteX180" fmla="*/ 255587 w 825500"/>
                  <a:gd name="connsiteY180" fmla="*/ 636588 h 744538"/>
                  <a:gd name="connsiteX181" fmla="*/ 246062 w 825500"/>
                  <a:gd name="connsiteY181" fmla="*/ 649288 h 744538"/>
                  <a:gd name="connsiteX182" fmla="*/ 241300 w 825500"/>
                  <a:gd name="connsiteY182" fmla="*/ 655638 h 744538"/>
                  <a:gd name="connsiteX183" fmla="*/ 234950 w 825500"/>
                  <a:gd name="connsiteY183" fmla="*/ 658813 h 744538"/>
                  <a:gd name="connsiteX184" fmla="*/ 225425 w 825500"/>
                  <a:gd name="connsiteY184" fmla="*/ 658813 h 744538"/>
                  <a:gd name="connsiteX185" fmla="*/ 222250 w 825500"/>
                  <a:gd name="connsiteY185" fmla="*/ 661988 h 744538"/>
                  <a:gd name="connsiteX186" fmla="*/ 222250 w 825500"/>
                  <a:gd name="connsiteY186" fmla="*/ 668338 h 744538"/>
                  <a:gd name="connsiteX187" fmla="*/ 225425 w 825500"/>
                  <a:gd name="connsiteY187" fmla="*/ 669926 h 744538"/>
                  <a:gd name="connsiteX188" fmla="*/ 241300 w 825500"/>
                  <a:gd name="connsiteY188" fmla="*/ 673101 h 744538"/>
                  <a:gd name="connsiteX189" fmla="*/ 242887 w 825500"/>
                  <a:gd name="connsiteY189" fmla="*/ 676276 h 744538"/>
                  <a:gd name="connsiteX190" fmla="*/ 249237 w 825500"/>
                  <a:gd name="connsiteY190" fmla="*/ 685801 h 744538"/>
                  <a:gd name="connsiteX191" fmla="*/ 255587 w 825500"/>
                  <a:gd name="connsiteY191" fmla="*/ 692151 h 744538"/>
                  <a:gd name="connsiteX192" fmla="*/ 268287 w 825500"/>
                  <a:gd name="connsiteY192" fmla="*/ 695326 h 744538"/>
                  <a:gd name="connsiteX193" fmla="*/ 280987 w 825500"/>
                  <a:gd name="connsiteY193" fmla="*/ 704851 h 744538"/>
                  <a:gd name="connsiteX194" fmla="*/ 285750 w 825500"/>
                  <a:gd name="connsiteY194" fmla="*/ 704851 h 744538"/>
                  <a:gd name="connsiteX195" fmla="*/ 285750 w 825500"/>
                  <a:gd name="connsiteY195" fmla="*/ 715963 h 744538"/>
                  <a:gd name="connsiteX196" fmla="*/ 288925 w 825500"/>
                  <a:gd name="connsiteY196" fmla="*/ 719138 h 744538"/>
                  <a:gd name="connsiteX197" fmla="*/ 285750 w 825500"/>
                  <a:gd name="connsiteY197" fmla="*/ 719138 h 744538"/>
                  <a:gd name="connsiteX198" fmla="*/ 288925 w 825500"/>
                  <a:gd name="connsiteY198" fmla="*/ 722313 h 744538"/>
                  <a:gd name="connsiteX199" fmla="*/ 285750 w 825500"/>
                  <a:gd name="connsiteY199" fmla="*/ 728663 h 744538"/>
                  <a:gd name="connsiteX200" fmla="*/ 288925 w 825500"/>
                  <a:gd name="connsiteY200" fmla="*/ 731838 h 744538"/>
                  <a:gd name="connsiteX201" fmla="*/ 288925 w 825500"/>
                  <a:gd name="connsiteY201" fmla="*/ 741363 h 744538"/>
                  <a:gd name="connsiteX202" fmla="*/ 274637 w 825500"/>
                  <a:gd name="connsiteY202" fmla="*/ 744538 h 744538"/>
                  <a:gd name="connsiteX203" fmla="*/ 268287 w 825500"/>
                  <a:gd name="connsiteY203" fmla="*/ 741363 h 744538"/>
                  <a:gd name="connsiteX204" fmla="*/ 265112 w 825500"/>
                  <a:gd name="connsiteY204" fmla="*/ 735013 h 744538"/>
                  <a:gd name="connsiteX205" fmla="*/ 252412 w 825500"/>
                  <a:gd name="connsiteY205" fmla="*/ 731838 h 744538"/>
                  <a:gd name="connsiteX206" fmla="*/ 252412 w 825500"/>
                  <a:gd name="connsiteY206" fmla="*/ 728663 h 744538"/>
                  <a:gd name="connsiteX207" fmla="*/ 246062 w 825500"/>
                  <a:gd name="connsiteY207" fmla="*/ 725488 h 744538"/>
                  <a:gd name="connsiteX208" fmla="*/ 242887 w 825500"/>
                  <a:gd name="connsiteY208" fmla="*/ 722313 h 744538"/>
                  <a:gd name="connsiteX209" fmla="*/ 228600 w 825500"/>
                  <a:gd name="connsiteY209" fmla="*/ 719138 h 744538"/>
                  <a:gd name="connsiteX210" fmla="*/ 225425 w 825500"/>
                  <a:gd name="connsiteY210" fmla="*/ 715963 h 744538"/>
                  <a:gd name="connsiteX211" fmla="*/ 215900 w 825500"/>
                  <a:gd name="connsiteY211" fmla="*/ 715963 h 744538"/>
                  <a:gd name="connsiteX212" fmla="*/ 219075 w 825500"/>
                  <a:gd name="connsiteY212" fmla="*/ 712788 h 744538"/>
                  <a:gd name="connsiteX213" fmla="*/ 212725 w 825500"/>
                  <a:gd name="connsiteY213" fmla="*/ 709613 h 744538"/>
                  <a:gd name="connsiteX214" fmla="*/ 212725 w 825500"/>
                  <a:gd name="connsiteY214" fmla="*/ 706438 h 744538"/>
                  <a:gd name="connsiteX215" fmla="*/ 206375 w 825500"/>
                  <a:gd name="connsiteY215" fmla="*/ 706438 h 744538"/>
                  <a:gd name="connsiteX216" fmla="*/ 201612 w 825500"/>
                  <a:gd name="connsiteY216" fmla="*/ 704851 h 744538"/>
                  <a:gd name="connsiteX217" fmla="*/ 188912 w 825500"/>
                  <a:gd name="connsiteY217" fmla="*/ 704851 h 744538"/>
                  <a:gd name="connsiteX218" fmla="*/ 182562 w 825500"/>
                  <a:gd name="connsiteY218" fmla="*/ 704851 h 744538"/>
                  <a:gd name="connsiteX219" fmla="*/ 176212 w 825500"/>
                  <a:gd name="connsiteY219" fmla="*/ 695326 h 744538"/>
                  <a:gd name="connsiteX220" fmla="*/ 169862 w 825500"/>
                  <a:gd name="connsiteY220" fmla="*/ 688976 h 744538"/>
                  <a:gd name="connsiteX221" fmla="*/ 161925 w 825500"/>
                  <a:gd name="connsiteY221" fmla="*/ 682626 h 744538"/>
                  <a:gd name="connsiteX222" fmla="*/ 165100 w 825500"/>
                  <a:gd name="connsiteY222" fmla="*/ 669926 h 744538"/>
                  <a:gd name="connsiteX223" fmla="*/ 161925 w 825500"/>
                  <a:gd name="connsiteY223" fmla="*/ 668338 h 744538"/>
                  <a:gd name="connsiteX224" fmla="*/ 158750 w 825500"/>
                  <a:gd name="connsiteY224" fmla="*/ 669926 h 744538"/>
                  <a:gd name="connsiteX225" fmla="*/ 161925 w 825500"/>
                  <a:gd name="connsiteY225" fmla="*/ 665163 h 744538"/>
                  <a:gd name="connsiteX226" fmla="*/ 155575 w 825500"/>
                  <a:gd name="connsiteY226" fmla="*/ 661988 h 744538"/>
                  <a:gd name="connsiteX227" fmla="*/ 152400 w 825500"/>
                  <a:gd name="connsiteY227" fmla="*/ 649288 h 744538"/>
                  <a:gd name="connsiteX228" fmla="*/ 152400 w 825500"/>
                  <a:gd name="connsiteY228" fmla="*/ 642938 h 744538"/>
                  <a:gd name="connsiteX229" fmla="*/ 149225 w 825500"/>
                  <a:gd name="connsiteY229" fmla="*/ 639763 h 744538"/>
                  <a:gd name="connsiteX230" fmla="*/ 155575 w 825500"/>
                  <a:gd name="connsiteY230" fmla="*/ 630238 h 744538"/>
                  <a:gd name="connsiteX231" fmla="*/ 152400 w 825500"/>
                  <a:gd name="connsiteY231" fmla="*/ 630238 h 744538"/>
                  <a:gd name="connsiteX232" fmla="*/ 155575 w 825500"/>
                  <a:gd name="connsiteY232" fmla="*/ 628651 h 744538"/>
                  <a:gd name="connsiteX233" fmla="*/ 161925 w 825500"/>
                  <a:gd name="connsiteY233" fmla="*/ 628651 h 744538"/>
                  <a:gd name="connsiteX234" fmla="*/ 155575 w 825500"/>
                  <a:gd name="connsiteY234" fmla="*/ 619126 h 744538"/>
                  <a:gd name="connsiteX235" fmla="*/ 161925 w 825500"/>
                  <a:gd name="connsiteY235" fmla="*/ 612776 h 744538"/>
                  <a:gd name="connsiteX236" fmla="*/ 158750 w 825500"/>
                  <a:gd name="connsiteY236" fmla="*/ 600075 h 744538"/>
                  <a:gd name="connsiteX237" fmla="*/ 152400 w 825500"/>
                  <a:gd name="connsiteY237" fmla="*/ 596900 h 744538"/>
                  <a:gd name="connsiteX238" fmla="*/ 155575 w 825500"/>
                  <a:gd name="connsiteY238" fmla="*/ 593725 h 744538"/>
                  <a:gd name="connsiteX239" fmla="*/ 152400 w 825500"/>
                  <a:gd name="connsiteY239" fmla="*/ 590550 h 744538"/>
                  <a:gd name="connsiteX240" fmla="*/ 158750 w 825500"/>
                  <a:gd name="connsiteY240" fmla="*/ 579438 h 744538"/>
                  <a:gd name="connsiteX241" fmla="*/ 152400 w 825500"/>
                  <a:gd name="connsiteY241" fmla="*/ 569913 h 744538"/>
                  <a:gd name="connsiteX242" fmla="*/ 158750 w 825500"/>
                  <a:gd name="connsiteY242" fmla="*/ 557213 h 744538"/>
                  <a:gd name="connsiteX243" fmla="*/ 158750 w 825500"/>
                  <a:gd name="connsiteY243" fmla="*/ 552450 h 744538"/>
                  <a:gd name="connsiteX244" fmla="*/ 152400 w 825500"/>
                  <a:gd name="connsiteY244" fmla="*/ 542925 h 744538"/>
                  <a:gd name="connsiteX245" fmla="*/ 146050 w 825500"/>
                  <a:gd name="connsiteY245" fmla="*/ 533400 h 744538"/>
                  <a:gd name="connsiteX246" fmla="*/ 146050 w 825500"/>
                  <a:gd name="connsiteY246" fmla="*/ 527050 h 744538"/>
                  <a:gd name="connsiteX247" fmla="*/ 146050 w 825500"/>
                  <a:gd name="connsiteY247" fmla="*/ 520700 h 744538"/>
                  <a:gd name="connsiteX248" fmla="*/ 142875 w 825500"/>
                  <a:gd name="connsiteY248" fmla="*/ 512763 h 744538"/>
                  <a:gd name="connsiteX249" fmla="*/ 146050 w 825500"/>
                  <a:gd name="connsiteY249" fmla="*/ 496888 h 744538"/>
                  <a:gd name="connsiteX250" fmla="*/ 142875 w 825500"/>
                  <a:gd name="connsiteY250" fmla="*/ 487363 h 744538"/>
                  <a:gd name="connsiteX251" fmla="*/ 142875 w 825500"/>
                  <a:gd name="connsiteY251" fmla="*/ 481013 h 744538"/>
                  <a:gd name="connsiteX252" fmla="*/ 139700 w 825500"/>
                  <a:gd name="connsiteY252" fmla="*/ 484188 h 744538"/>
                  <a:gd name="connsiteX253" fmla="*/ 136525 w 825500"/>
                  <a:gd name="connsiteY253" fmla="*/ 473075 h 744538"/>
                  <a:gd name="connsiteX254" fmla="*/ 133350 w 825500"/>
                  <a:gd name="connsiteY254" fmla="*/ 473075 h 744538"/>
                  <a:gd name="connsiteX255" fmla="*/ 130175 w 825500"/>
                  <a:gd name="connsiteY255" fmla="*/ 469900 h 744538"/>
                  <a:gd name="connsiteX256" fmla="*/ 136525 w 825500"/>
                  <a:gd name="connsiteY256" fmla="*/ 457200 h 744538"/>
                  <a:gd name="connsiteX257" fmla="*/ 136525 w 825500"/>
                  <a:gd name="connsiteY257" fmla="*/ 441325 h 744538"/>
                  <a:gd name="connsiteX258" fmla="*/ 142875 w 825500"/>
                  <a:gd name="connsiteY258" fmla="*/ 436563 h 744538"/>
                  <a:gd name="connsiteX259" fmla="*/ 155575 w 825500"/>
                  <a:gd name="connsiteY259" fmla="*/ 433388 h 744538"/>
                  <a:gd name="connsiteX260" fmla="*/ 161925 w 825500"/>
                  <a:gd name="connsiteY260" fmla="*/ 430213 h 744538"/>
                  <a:gd name="connsiteX261" fmla="*/ 168275 w 825500"/>
                  <a:gd name="connsiteY261" fmla="*/ 433388 h 744538"/>
                  <a:gd name="connsiteX262" fmla="*/ 176212 w 825500"/>
                  <a:gd name="connsiteY262" fmla="*/ 436563 h 744538"/>
                  <a:gd name="connsiteX263" fmla="*/ 176212 w 825500"/>
                  <a:gd name="connsiteY263" fmla="*/ 430213 h 744538"/>
                  <a:gd name="connsiteX264" fmla="*/ 182562 w 825500"/>
                  <a:gd name="connsiteY264" fmla="*/ 420688 h 744538"/>
                  <a:gd name="connsiteX265" fmla="*/ 179387 w 825500"/>
                  <a:gd name="connsiteY265" fmla="*/ 417513 h 744538"/>
                  <a:gd name="connsiteX266" fmla="*/ 185737 w 825500"/>
                  <a:gd name="connsiteY266" fmla="*/ 407988 h 744538"/>
                  <a:gd name="connsiteX267" fmla="*/ 188912 w 825500"/>
                  <a:gd name="connsiteY267" fmla="*/ 398463 h 744538"/>
                  <a:gd name="connsiteX268" fmla="*/ 198437 w 825500"/>
                  <a:gd name="connsiteY268" fmla="*/ 396875 h 744538"/>
                  <a:gd name="connsiteX269" fmla="*/ 206375 w 825500"/>
                  <a:gd name="connsiteY269" fmla="*/ 396875 h 744538"/>
                  <a:gd name="connsiteX270" fmla="*/ 209550 w 825500"/>
                  <a:gd name="connsiteY270" fmla="*/ 393700 h 744538"/>
                  <a:gd name="connsiteX271" fmla="*/ 222250 w 825500"/>
                  <a:gd name="connsiteY271" fmla="*/ 393700 h 744538"/>
                  <a:gd name="connsiteX272" fmla="*/ 225425 w 825500"/>
                  <a:gd name="connsiteY272" fmla="*/ 390525 h 744538"/>
                  <a:gd name="connsiteX273" fmla="*/ 228600 w 825500"/>
                  <a:gd name="connsiteY273" fmla="*/ 387350 h 744538"/>
                  <a:gd name="connsiteX274" fmla="*/ 231775 w 825500"/>
                  <a:gd name="connsiteY274" fmla="*/ 384175 h 744538"/>
                  <a:gd name="connsiteX275" fmla="*/ 242887 w 825500"/>
                  <a:gd name="connsiteY275" fmla="*/ 377825 h 744538"/>
                  <a:gd name="connsiteX276" fmla="*/ 242887 w 825500"/>
                  <a:gd name="connsiteY276" fmla="*/ 374650 h 744538"/>
                  <a:gd name="connsiteX277" fmla="*/ 249237 w 825500"/>
                  <a:gd name="connsiteY277" fmla="*/ 371475 h 744538"/>
                  <a:gd name="connsiteX278" fmla="*/ 246062 w 825500"/>
                  <a:gd name="connsiteY278" fmla="*/ 368300 h 744538"/>
                  <a:gd name="connsiteX279" fmla="*/ 246062 w 825500"/>
                  <a:gd name="connsiteY279" fmla="*/ 361950 h 744538"/>
                  <a:gd name="connsiteX280" fmla="*/ 255587 w 825500"/>
                  <a:gd name="connsiteY280" fmla="*/ 357188 h 744538"/>
                  <a:gd name="connsiteX281" fmla="*/ 249237 w 825500"/>
                  <a:gd name="connsiteY281" fmla="*/ 350838 h 744538"/>
                  <a:gd name="connsiteX282" fmla="*/ 255587 w 825500"/>
                  <a:gd name="connsiteY282" fmla="*/ 341313 h 744538"/>
                  <a:gd name="connsiteX283" fmla="*/ 261937 w 825500"/>
                  <a:gd name="connsiteY283" fmla="*/ 341313 h 744538"/>
                  <a:gd name="connsiteX284" fmla="*/ 255587 w 825500"/>
                  <a:gd name="connsiteY284" fmla="*/ 338138 h 744538"/>
                  <a:gd name="connsiteX285" fmla="*/ 255587 w 825500"/>
                  <a:gd name="connsiteY285" fmla="*/ 334963 h 744538"/>
                  <a:gd name="connsiteX286" fmla="*/ 252412 w 825500"/>
                  <a:gd name="connsiteY286" fmla="*/ 334963 h 744538"/>
                  <a:gd name="connsiteX287" fmla="*/ 242887 w 825500"/>
                  <a:gd name="connsiteY287" fmla="*/ 334963 h 744538"/>
                  <a:gd name="connsiteX288" fmla="*/ 241300 w 825500"/>
                  <a:gd name="connsiteY288" fmla="*/ 328613 h 744538"/>
                  <a:gd name="connsiteX289" fmla="*/ 231775 w 825500"/>
                  <a:gd name="connsiteY289" fmla="*/ 331788 h 744538"/>
                  <a:gd name="connsiteX290" fmla="*/ 225425 w 825500"/>
                  <a:gd name="connsiteY290" fmla="*/ 322263 h 744538"/>
                  <a:gd name="connsiteX291" fmla="*/ 219075 w 825500"/>
                  <a:gd name="connsiteY291" fmla="*/ 325438 h 744538"/>
                  <a:gd name="connsiteX292" fmla="*/ 209550 w 825500"/>
                  <a:gd name="connsiteY292" fmla="*/ 320675 h 744538"/>
                  <a:gd name="connsiteX293" fmla="*/ 198437 w 825500"/>
                  <a:gd name="connsiteY293" fmla="*/ 322263 h 744538"/>
                  <a:gd name="connsiteX294" fmla="*/ 195262 w 825500"/>
                  <a:gd name="connsiteY294" fmla="*/ 314325 h 744538"/>
                  <a:gd name="connsiteX295" fmla="*/ 188912 w 825500"/>
                  <a:gd name="connsiteY295" fmla="*/ 304800 h 744538"/>
                  <a:gd name="connsiteX296" fmla="*/ 195262 w 825500"/>
                  <a:gd name="connsiteY296" fmla="*/ 292100 h 744538"/>
                  <a:gd name="connsiteX297" fmla="*/ 201612 w 825500"/>
                  <a:gd name="connsiteY297" fmla="*/ 282575 h 744538"/>
                  <a:gd name="connsiteX298" fmla="*/ 201612 w 825500"/>
                  <a:gd name="connsiteY298" fmla="*/ 280988 h 744538"/>
                  <a:gd name="connsiteX299" fmla="*/ 206375 w 825500"/>
                  <a:gd name="connsiteY299" fmla="*/ 274638 h 744538"/>
                  <a:gd name="connsiteX300" fmla="*/ 209550 w 825500"/>
                  <a:gd name="connsiteY300" fmla="*/ 271463 h 744538"/>
                  <a:gd name="connsiteX301" fmla="*/ 201612 w 825500"/>
                  <a:gd name="connsiteY301" fmla="*/ 271463 h 744538"/>
                  <a:gd name="connsiteX302" fmla="*/ 198437 w 825500"/>
                  <a:gd name="connsiteY302" fmla="*/ 268288 h 744538"/>
                  <a:gd name="connsiteX303" fmla="*/ 188912 w 825500"/>
                  <a:gd name="connsiteY303" fmla="*/ 268288 h 744538"/>
                  <a:gd name="connsiteX304" fmla="*/ 179387 w 825500"/>
                  <a:gd name="connsiteY304" fmla="*/ 265113 h 744538"/>
                  <a:gd name="connsiteX305" fmla="*/ 169862 w 825500"/>
                  <a:gd name="connsiteY305" fmla="*/ 268288 h 744538"/>
                  <a:gd name="connsiteX306" fmla="*/ 165100 w 825500"/>
                  <a:gd name="connsiteY306" fmla="*/ 265113 h 744538"/>
                  <a:gd name="connsiteX307" fmla="*/ 149225 w 825500"/>
                  <a:gd name="connsiteY307" fmla="*/ 268288 h 744538"/>
                  <a:gd name="connsiteX308" fmla="*/ 149225 w 825500"/>
                  <a:gd name="connsiteY308" fmla="*/ 261938 h 744538"/>
                  <a:gd name="connsiteX309" fmla="*/ 136525 w 825500"/>
                  <a:gd name="connsiteY309" fmla="*/ 255588 h 744538"/>
                  <a:gd name="connsiteX310" fmla="*/ 133350 w 825500"/>
                  <a:gd name="connsiteY310" fmla="*/ 246063 h 744538"/>
                  <a:gd name="connsiteX311" fmla="*/ 125412 w 825500"/>
                  <a:gd name="connsiteY311" fmla="*/ 244475 h 744538"/>
                  <a:gd name="connsiteX312" fmla="*/ 119062 w 825500"/>
                  <a:gd name="connsiteY312" fmla="*/ 246063 h 744538"/>
                  <a:gd name="connsiteX313" fmla="*/ 109537 w 825500"/>
                  <a:gd name="connsiteY313" fmla="*/ 241300 h 744538"/>
                  <a:gd name="connsiteX314" fmla="*/ 115887 w 825500"/>
                  <a:gd name="connsiteY314" fmla="*/ 228600 h 744538"/>
                  <a:gd name="connsiteX315" fmla="*/ 112712 w 825500"/>
                  <a:gd name="connsiteY315" fmla="*/ 215900 h 744538"/>
                  <a:gd name="connsiteX316" fmla="*/ 112712 w 825500"/>
                  <a:gd name="connsiteY316" fmla="*/ 212725 h 744538"/>
                  <a:gd name="connsiteX317" fmla="*/ 106362 w 825500"/>
                  <a:gd name="connsiteY317" fmla="*/ 215900 h 744538"/>
                  <a:gd name="connsiteX318" fmla="*/ 96837 w 825500"/>
                  <a:gd name="connsiteY318" fmla="*/ 209550 h 744538"/>
                  <a:gd name="connsiteX319" fmla="*/ 85725 w 825500"/>
                  <a:gd name="connsiteY319" fmla="*/ 215900 h 744538"/>
                  <a:gd name="connsiteX320" fmla="*/ 76200 w 825500"/>
                  <a:gd name="connsiteY320" fmla="*/ 209550 h 744538"/>
                  <a:gd name="connsiteX321" fmla="*/ 76200 w 825500"/>
                  <a:gd name="connsiteY321" fmla="*/ 212725 h 744538"/>
                  <a:gd name="connsiteX322" fmla="*/ 79375 w 825500"/>
                  <a:gd name="connsiteY322" fmla="*/ 215900 h 744538"/>
                  <a:gd name="connsiteX323" fmla="*/ 73025 w 825500"/>
                  <a:gd name="connsiteY323" fmla="*/ 215900 h 744538"/>
                  <a:gd name="connsiteX324" fmla="*/ 63500 w 825500"/>
                  <a:gd name="connsiteY324" fmla="*/ 219075 h 744538"/>
                  <a:gd name="connsiteX325" fmla="*/ 60325 w 825500"/>
                  <a:gd name="connsiteY325" fmla="*/ 212725 h 744538"/>
                  <a:gd name="connsiteX326" fmla="*/ 52387 w 825500"/>
                  <a:gd name="connsiteY326" fmla="*/ 206375 h 744538"/>
                  <a:gd name="connsiteX327" fmla="*/ 49212 w 825500"/>
                  <a:gd name="connsiteY327" fmla="*/ 215900 h 744538"/>
                  <a:gd name="connsiteX328" fmla="*/ 39687 w 825500"/>
                  <a:gd name="connsiteY328" fmla="*/ 219075 h 744538"/>
                  <a:gd name="connsiteX329" fmla="*/ 36512 w 825500"/>
                  <a:gd name="connsiteY329" fmla="*/ 212725 h 744538"/>
                  <a:gd name="connsiteX330" fmla="*/ 30162 w 825500"/>
                  <a:gd name="connsiteY330" fmla="*/ 212725 h 744538"/>
                  <a:gd name="connsiteX331" fmla="*/ 23812 w 825500"/>
                  <a:gd name="connsiteY331" fmla="*/ 215900 h 744538"/>
                  <a:gd name="connsiteX332" fmla="*/ 17462 w 825500"/>
                  <a:gd name="connsiteY332" fmla="*/ 209550 h 744538"/>
                  <a:gd name="connsiteX333" fmla="*/ 12700 w 825500"/>
                  <a:gd name="connsiteY333" fmla="*/ 212725 h 744538"/>
                  <a:gd name="connsiteX334" fmla="*/ 12700 w 825500"/>
                  <a:gd name="connsiteY334" fmla="*/ 209550 h 744538"/>
                  <a:gd name="connsiteX335" fmla="*/ 3175 w 825500"/>
                  <a:gd name="connsiteY335" fmla="*/ 206375 h 744538"/>
                  <a:gd name="connsiteX336" fmla="*/ 0 w 825500"/>
                  <a:gd name="connsiteY336" fmla="*/ 201613 h 744538"/>
                  <a:gd name="connsiteX337" fmla="*/ 9525 w 825500"/>
                  <a:gd name="connsiteY337" fmla="*/ 195263 h 744538"/>
                  <a:gd name="connsiteX338" fmla="*/ 12700 w 825500"/>
                  <a:gd name="connsiteY338" fmla="*/ 185738 h 744538"/>
                  <a:gd name="connsiteX339" fmla="*/ 6350 w 825500"/>
                  <a:gd name="connsiteY339" fmla="*/ 173038 h 744538"/>
                  <a:gd name="connsiteX340" fmla="*/ 6350 w 825500"/>
                  <a:gd name="connsiteY340" fmla="*/ 166688 h 744538"/>
                  <a:gd name="connsiteX341" fmla="*/ 12700 w 825500"/>
                  <a:gd name="connsiteY341" fmla="*/ 165100 h 744538"/>
                  <a:gd name="connsiteX342" fmla="*/ 12700 w 825500"/>
                  <a:gd name="connsiteY342" fmla="*/ 152400 h 744538"/>
                  <a:gd name="connsiteX343" fmla="*/ 15875 w 825500"/>
                  <a:gd name="connsiteY343" fmla="*/ 149225 h 744538"/>
                  <a:gd name="connsiteX344" fmla="*/ 17462 w 825500"/>
                  <a:gd name="connsiteY344" fmla="*/ 142875 h 744538"/>
                  <a:gd name="connsiteX345" fmla="*/ 20637 w 825500"/>
                  <a:gd name="connsiteY345" fmla="*/ 139700 h 744538"/>
                  <a:gd name="connsiteX346" fmla="*/ 33337 w 825500"/>
                  <a:gd name="connsiteY346" fmla="*/ 146050 h 744538"/>
                  <a:gd name="connsiteX347" fmla="*/ 33337 w 825500"/>
                  <a:gd name="connsiteY347" fmla="*/ 139700 h 744538"/>
                  <a:gd name="connsiteX348" fmla="*/ 42862 w 825500"/>
                  <a:gd name="connsiteY348" fmla="*/ 136525 h 744538"/>
                  <a:gd name="connsiteX349" fmla="*/ 46037 w 825500"/>
                  <a:gd name="connsiteY349" fmla="*/ 136525 h 744538"/>
                  <a:gd name="connsiteX350" fmla="*/ 57150 w 825500"/>
                  <a:gd name="connsiteY350" fmla="*/ 125413 h 744538"/>
                  <a:gd name="connsiteX351" fmla="*/ 63500 w 825500"/>
                  <a:gd name="connsiteY351" fmla="*/ 125413 h 744538"/>
                  <a:gd name="connsiteX352" fmla="*/ 66675 w 825500"/>
                  <a:gd name="connsiteY352" fmla="*/ 122238 h 744538"/>
                  <a:gd name="connsiteX353" fmla="*/ 63500 w 825500"/>
                  <a:gd name="connsiteY353" fmla="*/ 112713 h 744538"/>
                  <a:gd name="connsiteX354" fmla="*/ 73025 w 825500"/>
                  <a:gd name="connsiteY354" fmla="*/ 109538 h 744538"/>
                  <a:gd name="connsiteX355" fmla="*/ 85725 w 825500"/>
                  <a:gd name="connsiteY355" fmla="*/ 109538 h 744538"/>
                  <a:gd name="connsiteX356" fmla="*/ 88900 w 825500"/>
                  <a:gd name="connsiteY356" fmla="*/ 100013 h 744538"/>
                  <a:gd name="connsiteX357" fmla="*/ 96837 w 825500"/>
                  <a:gd name="connsiteY357" fmla="*/ 93662 h 744538"/>
                  <a:gd name="connsiteX358" fmla="*/ 106362 w 825500"/>
                  <a:gd name="connsiteY358" fmla="*/ 82550 h 744538"/>
                  <a:gd name="connsiteX359" fmla="*/ 103187 w 825500"/>
                  <a:gd name="connsiteY359" fmla="*/ 79375 h 744538"/>
                  <a:gd name="connsiteX360" fmla="*/ 100012 w 825500"/>
                  <a:gd name="connsiteY360" fmla="*/ 66675 h 744538"/>
                  <a:gd name="connsiteX361" fmla="*/ 109537 w 825500"/>
                  <a:gd name="connsiteY361" fmla="*/ 69850 h 744538"/>
                  <a:gd name="connsiteX362" fmla="*/ 122237 w 825500"/>
                  <a:gd name="connsiteY362" fmla="*/ 63500 h 744538"/>
                  <a:gd name="connsiteX363" fmla="*/ 125412 w 825500"/>
                  <a:gd name="connsiteY363" fmla="*/ 66675 h 744538"/>
                  <a:gd name="connsiteX364" fmla="*/ 130175 w 825500"/>
                  <a:gd name="connsiteY364" fmla="*/ 66675 h 744538"/>
                  <a:gd name="connsiteX365" fmla="*/ 130175 w 825500"/>
                  <a:gd name="connsiteY365" fmla="*/ 63500 h 744538"/>
                  <a:gd name="connsiteX366" fmla="*/ 139700 w 825500"/>
                  <a:gd name="connsiteY366" fmla="*/ 66675 h 744538"/>
                  <a:gd name="connsiteX367" fmla="*/ 149225 w 825500"/>
                  <a:gd name="connsiteY367" fmla="*/ 63500 h 744538"/>
                  <a:gd name="connsiteX368" fmla="*/ 149225 w 825500"/>
                  <a:gd name="connsiteY368" fmla="*/ 60325 h 744538"/>
                  <a:gd name="connsiteX369" fmla="*/ 161925 w 825500"/>
                  <a:gd name="connsiteY369" fmla="*/ 57150 h 744538"/>
                  <a:gd name="connsiteX370" fmla="*/ 173037 w 825500"/>
                  <a:gd name="connsiteY370" fmla="*/ 63500 h 744538"/>
                  <a:gd name="connsiteX371" fmla="*/ 185737 w 825500"/>
                  <a:gd name="connsiteY371" fmla="*/ 63500 h 744538"/>
                  <a:gd name="connsiteX372" fmla="*/ 188912 w 825500"/>
                  <a:gd name="connsiteY372" fmla="*/ 66675 h 744538"/>
                  <a:gd name="connsiteX373" fmla="*/ 204787 w 825500"/>
                  <a:gd name="connsiteY373" fmla="*/ 69850 h 744538"/>
                  <a:gd name="connsiteX374" fmla="*/ 209550 w 825500"/>
                  <a:gd name="connsiteY374" fmla="*/ 63500 h 744538"/>
                  <a:gd name="connsiteX375" fmla="*/ 219075 w 825500"/>
                  <a:gd name="connsiteY375" fmla="*/ 66675 h 744538"/>
                  <a:gd name="connsiteX376" fmla="*/ 228600 w 825500"/>
                  <a:gd name="connsiteY376" fmla="*/ 63500 h 744538"/>
                  <a:gd name="connsiteX377" fmla="*/ 234950 w 825500"/>
                  <a:gd name="connsiteY377" fmla="*/ 66675 h 744538"/>
                  <a:gd name="connsiteX378" fmla="*/ 238125 w 825500"/>
                  <a:gd name="connsiteY378" fmla="*/ 66675 h 744538"/>
                  <a:gd name="connsiteX379" fmla="*/ 238125 w 825500"/>
                  <a:gd name="connsiteY379" fmla="*/ 60325 h 744538"/>
                  <a:gd name="connsiteX380" fmla="*/ 234950 w 825500"/>
                  <a:gd name="connsiteY380" fmla="*/ 60325 h 744538"/>
                  <a:gd name="connsiteX381" fmla="*/ 238125 w 825500"/>
                  <a:gd name="connsiteY381" fmla="*/ 57150 h 744538"/>
                  <a:gd name="connsiteX382" fmla="*/ 234950 w 825500"/>
                  <a:gd name="connsiteY382" fmla="*/ 53975 h 744538"/>
                  <a:gd name="connsiteX383" fmla="*/ 225425 w 825500"/>
                  <a:gd name="connsiteY383" fmla="*/ 50800 h 744538"/>
                  <a:gd name="connsiteX384" fmla="*/ 222250 w 825500"/>
                  <a:gd name="connsiteY384" fmla="*/ 46037 h 744538"/>
                  <a:gd name="connsiteX385" fmla="*/ 219075 w 825500"/>
                  <a:gd name="connsiteY385" fmla="*/ 49212 h 744538"/>
                  <a:gd name="connsiteX386" fmla="*/ 206375 w 825500"/>
                  <a:gd name="connsiteY386" fmla="*/ 42862 h 744538"/>
                  <a:gd name="connsiteX387" fmla="*/ 209550 w 825500"/>
                  <a:gd name="connsiteY387" fmla="*/ 39687 h 744538"/>
                  <a:gd name="connsiteX388" fmla="*/ 204787 w 825500"/>
                  <a:gd name="connsiteY388" fmla="*/ 36512 h 744538"/>
                  <a:gd name="connsiteX389" fmla="*/ 204787 w 825500"/>
                  <a:gd name="connsiteY389" fmla="*/ 30162 h 744538"/>
                  <a:gd name="connsiteX390" fmla="*/ 219075 w 825500"/>
                  <a:gd name="connsiteY390" fmla="*/ 30162 h 744538"/>
                  <a:gd name="connsiteX391" fmla="*/ 228600 w 825500"/>
                  <a:gd name="connsiteY391" fmla="*/ 33337 h 744538"/>
                  <a:gd name="connsiteX392" fmla="*/ 234950 w 825500"/>
                  <a:gd name="connsiteY392" fmla="*/ 26987 h 744538"/>
                  <a:gd name="connsiteX393" fmla="*/ 241300 w 825500"/>
                  <a:gd name="connsiteY393" fmla="*/ 30162 h 744538"/>
                  <a:gd name="connsiteX394" fmla="*/ 242887 w 825500"/>
                  <a:gd name="connsiteY394" fmla="*/ 33337 h 744538"/>
                  <a:gd name="connsiteX395" fmla="*/ 241300 w 825500"/>
                  <a:gd name="connsiteY395" fmla="*/ 36512 h 744538"/>
                  <a:gd name="connsiteX396" fmla="*/ 246062 w 825500"/>
                  <a:gd name="connsiteY396" fmla="*/ 36512 h 744538"/>
                  <a:gd name="connsiteX397" fmla="*/ 252412 w 825500"/>
                  <a:gd name="connsiteY397" fmla="*/ 42862 h 744538"/>
                  <a:gd name="connsiteX398" fmla="*/ 265112 w 825500"/>
                  <a:gd name="connsiteY398" fmla="*/ 46037 h 744538"/>
                  <a:gd name="connsiteX399" fmla="*/ 268287 w 825500"/>
                  <a:gd name="connsiteY399" fmla="*/ 42862 h 744538"/>
                  <a:gd name="connsiteX400" fmla="*/ 277812 w 825500"/>
                  <a:gd name="connsiteY400" fmla="*/ 42862 h 744538"/>
                  <a:gd name="connsiteX401" fmla="*/ 282575 w 825500"/>
                  <a:gd name="connsiteY401" fmla="*/ 33337 h 744538"/>
                  <a:gd name="connsiteX402" fmla="*/ 285750 w 825500"/>
                  <a:gd name="connsiteY402" fmla="*/ 30162 h 744538"/>
                  <a:gd name="connsiteX403" fmla="*/ 298450 w 825500"/>
                  <a:gd name="connsiteY403" fmla="*/ 33337 h 744538"/>
                  <a:gd name="connsiteX404" fmla="*/ 307975 w 825500"/>
                  <a:gd name="connsiteY404" fmla="*/ 30162 h 744538"/>
                  <a:gd name="connsiteX405" fmla="*/ 317500 w 825500"/>
                  <a:gd name="connsiteY405" fmla="*/ 20637 h 744538"/>
                  <a:gd name="connsiteX406" fmla="*/ 328612 w 825500"/>
                  <a:gd name="connsiteY406" fmla="*/ 17462 h 744538"/>
                  <a:gd name="connsiteX407" fmla="*/ 328612 w 825500"/>
                  <a:gd name="connsiteY407" fmla="*/ 12700 h 744538"/>
                  <a:gd name="connsiteX408" fmla="*/ 341312 w 825500"/>
                  <a:gd name="connsiteY408" fmla="*/ 17462 h 744538"/>
                  <a:gd name="connsiteX409" fmla="*/ 341312 w 825500"/>
                  <a:gd name="connsiteY409" fmla="*/ 20637 h 744538"/>
                  <a:gd name="connsiteX410" fmla="*/ 347662 w 825500"/>
                  <a:gd name="connsiteY410" fmla="*/ 20637 h 744538"/>
                  <a:gd name="connsiteX411" fmla="*/ 344487 w 825500"/>
                  <a:gd name="connsiteY411" fmla="*/ 12700 h 744538"/>
                  <a:gd name="connsiteX412" fmla="*/ 358775 w 825500"/>
                  <a:gd name="connsiteY412" fmla="*/ 9525 h 74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Lst>
                <a:rect l="l" t="t" r="r" b="b"/>
                <a:pathLst>
                  <a:path w="825500" h="744538">
                    <a:moveTo>
                      <a:pt x="374650" y="0"/>
                    </a:moveTo>
                    <a:lnTo>
                      <a:pt x="381000" y="12700"/>
                    </a:lnTo>
                    <a:lnTo>
                      <a:pt x="387350" y="12700"/>
                    </a:lnTo>
                    <a:lnTo>
                      <a:pt x="390525" y="6350"/>
                    </a:lnTo>
                    <a:lnTo>
                      <a:pt x="398462" y="6350"/>
                    </a:lnTo>
                    <a:lnTo>
                      <a:pt x="398462" y="12700"/>
                    </a:lnTo>
                    <a:lnTo>
                      <a:pt x="404812" y="26987"/>
                    </a:lnTo>
                    <a:lnTo>
                      <a:pt x="411162" y="26987"/>
                    </a:lnTo>
                    <a:lnTo>
                      <a:pt x="411162" y="20637"/>
                    </a:lnTo>
                    <a:lnTo>
                      <a:pt x="417512" y="17462"/>
                    </a:lnTo>
                    <a:lnTo>
                      <a:pt x="430212" y="12700"/>
                    </a:lnTo>
                    <a:lnTo>
                      <a:pt x="441325" y="12700"/>
                    </a:lnTo>
                    <a:lnTo>
                      <a:pt x="447675" y="9525"/>
                    </a:lnTo>
                    <a:lnTo>
                      <a:pt x="450850" y="12700"/>
                    </a:lnTo>
                    <a:lnTo>
                      <a:pt x="450850" y="17462"/>
                    </a:lnTo>
                    <a:lnTo>
                      <a:pt x="463550" y="20637"/>
                    </a:lnTo>
                    <a:lnTo>
                      <a:pt x="471487" y="17462"/>
                    </a:lnTo>
                    <a:lnTo>
                      <a:pt x="484187" y="23812"/>
                    </a:lnTo>
                    <a:lnTo>
                      <a:pt x="490537" y="20637"/>
                    </a:lnTo>
                    <a:lnTo>
                      <a:pt x="487362" y="30162"/>
                    </a:lnTo>
                    <a:lnTo>
                      <a:pt x="493712" y="33337"/>
                    </a:lnTo>
                    <a:lnTo>
                      <a:pt x="493712" y="42862"/>
                    </a:lnTo>
                    <a:lnTo>
                      <a:pt x="490537" y="50800"/>
                    </a:lnTo>
                    <a:lnTo>
                      <a:pt x="496887" y="60325"/>
                    </a:lnTo>
                    <a:lnTo>
                      <a:pt x="500062" y="63500"/>
                    </a:lnTo>
                    <a:lnTo>
                      <a:pt x="503237" y="60325"/>
                    </a:lnTo>
                    <a:lnTo>
                      <a:pt x="508000" y="63500"/>
                    </a:lnTo>
                    <a:lnTo>
                      <a:pt x="508000" y="53975"/>
                    </a:lnTo>
                    <a:lnTo>
                      <a:pt x="527050" y="53975"/>
                    </a:lnTo>
                    <a:lnTo>
                      <a:pt x="536575" y="57150"/>
                    </a:lnTo>
                    <a:lnTo>
                      <a:pt x="542925" y="57150"/>
                    </a:lnTo>
                    <a:lnTo>
                      <a:pt x="554038" y="63500"/>
                    </a:lnTo>
                    <a:lnTo>
                      <a:pt x="560388" y="69850"/>
                    </a:lnTo>
                    <a:lnTo>
                      <a:pt x="563563" y="73025"/>
                    </a:lnTo>
                    <a:lnTo>
                      <a:pt x="566738" y="76200"/>
                    </a:lnTo>
                    <a:lnTo>
                      <a:pt x="576263" y="82550"/>
                    </a:lnTo>
                    <a:lnTo>
                      <a:pt x="573088" y="88900"/>
                    </a:lnTo>
                    <a:lnTo>
                      <a:pt x="576263" y="90487"/>
                    </a:lnTo>
                    <a:lnTo>
                      <a:pt x="606425" y="103188"/>
                    </a:lnTo>
                    <a:lnTo>
                      <a:pt x="623888" y="119063"/>
                    </a:lnTo>
                    <a:lnTo>
                      <a:pt x="630238" y="122238"/>
                    </a:lnTo>
                    <a:lnTo>
                      <a:pt x="636588" y="122238"/>
                    </a:lnTo>
                    <a:lnTo>
                      <a:pt x="655638" y="125413"/>
                    </a:lnTo>
                    <a:lnTo>
                      <a:pt x="658813" y="133350"/>
                    </a:lnTo>
                    <a:lnTo>
                      <a:pt x="669925" y="149225"/>
                    </a:lnTo>
                    <a:lnTo>
                      <a:pt x="688975" y="155575"/>
                    </a:lnTo>
                    <a:lnTo>
                      <a:pt x="703263" y="165100"/>
                    </a:lnTo>
                    <a:lnTo>
                      <a:pt x="712788" y="169863"/>
                    </a:lnTo>
                    <a:lnTo>
                      <a:pt x="709613" y="179388"/>
                    </a:lnTo>
                    <a:lnTo>
                      <a:pt x="703263" y="188913"/>
                    </a:lnTo>
                    <a:lnTo>
                      <a:pt x="703263" y="195263"/>
                    </a:lnTo>
                    <a:lnTo>
                      <a:pt x="731838" y="215900"/>
                    </a:lnTo>
                    <a:lnTo>
                      <a:pt x="746125" y="222250"/>
                    </a:lnTo>
                    <a:lnTo>
                      <a:pt x="765175" y="222250"/>
                    </a:lnTo>
                    <a:lnTo>
                      <a:pt x="776288" y="222250"/>
                    </a:lnTo>
                    <a:lnTo>
                      <a:pt x="785813" y="231775"/>
                    </a:lnTo>
                    <a:lnTo>
                      <a:pt x="801688" y="234950"/>
                    </a:lnTo>
                    <a:lnTo>
                      <a:pt x="809625" y="234950"/>
                    </a:lnTo>
                    <a:lnTo>
                      <a:pt x="819150" y="244475"/>
                    </a:lnTo>
                    <a:lnTo>
                      <a:pt x="819150" y="252413"/>
                    </a:lnTo>
                    <a:lnTo>
                      <a:pt x="825500" y="258763"/>
                    </a:lnTo>
                    <a:lnTo>
                      <a:pt x="822325" y="265113"/>
                    </a:lnTo>
                    <a:lnTo>
                      <a:pt x="809625" y="258763"/>
                    </a:lnTo>
                    <a:lnTo>
                      <a:pt x="804863" y="258763"/>
                    </a:lnTo>
                    <a:lnTo>
                      <a:pt x="798513" y="261938"/>
                    </a:lnTo>
                    <a:lnTo>
                      <a:pt x="795338" y="271463"/>
                    </a:lnTo>
                    <a:lnTo>
                      <a:pt x="795338" y="268288"/>
                    </a:lnTo>
                    <a:lnTo>
                      <a:pt x="789623" y="265430"/>
                    </a:lnTo>
                    <a:lnTo>
                      <a:pt x="792956" y="269875"/>
                    </a:lnTo>
                    <a:lnTo>
                      <a:pt x="791789" y="270576"/>
                    </a:lnTo>
                    <a:lnTo>
                      <a:pt x="795338" y="271463"/>
                    </a:lnTo>
                    <a:lnTo>
                      <a:pt x="795338" y="274638"/>
                    </a:lnTo>
                    <a:lnTo>
                      <a:pt x="788988" y="288925"/>
                    </a:lnTo>
                    <a:lnTo>
                      <a:pt x="782638" y="301625"/>
                    </a:lnTo>
                    <a:lnTo>
                      <a:pt x="779463" y="314325"/>
                    </a:lnTo>
                    <a:lnTo>
                      <a:pt x="773113" y="325438"/>
                    </a:lnTo>
                    <a:lnTo>
                      <a:pt x="773113" y="338138"/>
                    </a:lnTo>
                    <a:lnTo>
                      <a:pt x="771525" y="344488"/>
                    </a:lnTo>
                    <a:lnTo>
                      <a:pt x="762000" y="357188"/>
                    </a:lnTo>
                    <a:lnTo>
                      <a:pt x="758825" y="357188"/>
                    </a:lnTo>
                    <a:lnTo>
                      <a:pt x="755650" y="357188"/>
                    </a:lnTo>
                    <a:lnTo>
                      <a:pt x="739775" y="357188"/>
                    </a:lnTo>
                    <a:lnTo>
                      <a:pt x="739775" y="368300"/>
                    </a:lnTo>
                    <a:lnTo>
                      <a:pt x="733425" y="371475"/>
                    </a:lnTo>
                    <a:lnTo>
                      <a:pt x="728663" y="371475"/>
                    </a:lnTo>
                    <a:lnTo>
                      <a:pt x="715963" y="365125"/>
                    </a:lnTo>
                    <a:lnTo>
                      <a:pt x="706438" y="371475"/>
                    </a:lnTo>
                    <a:lnTo>
                      <a:pt x="696913" y="374650"/>
                    </a:lnTo>
                    <a:lnTo>
                      <a:pt x="695325" y="374650"/>
                    </a:lnTo>
                    <a:lnTo>
                      <a:pt x="695325" y="387350"/>
                    </a:lnTo>
                    <a:lnTo>
                      <a:pt x="692150" y="393700"/>
                    </a:lnTo>
                    <a:lnTo>
                      <a:pt x="679450" y="404813"/>
                    </a:lnTo>
                    <a:lnTo>
                      <a:pt x="673100" y="404813"/>
                    </a:lnTo>
                    <a:lnTo>
                      <a:pt x="660400" y="401638"/>
                    </a:lnTo>
                    <a:lnTo>
                      <a:pt x="649288" y="396875"/>
                    </a:lnTo>
                    <a:lnTo>
                      <a:pt x="636588" y="404813"/>
                    </a:lnTo>
                    <a:lnTo>
                      <a:pt x="619125" y="407988"/>
                    </a:lnTo>
                    <a:lnTo>
                      <a:pt x="609600" y="417513"/>
                    </a:lnTo>
                    <a:lnTo>
                      <a:pt x="596900" y="423863"/>
                    </a:lnTo>
                    <a:lnTo>
                      <a:pt x="587375" y="420688"/>
                    </a:lnTo>
                    <a:lnTo>
                      <a:pt x="579438" y="414338"/>
                    </a:lnTo>
                    <a:lnTo>
                      <a:pt x="576263" y="414338"/>
                    </a:lnTo>
                    <a:lnTo>
                      <a:pt x="563563" y="427038"/>
                    </a:lnTo>
                    <a:lnTo>
                      <a:pt x="557213" y="427038"/>
                    </a:lnTo>
                    <a:lnTo>
                      <a:pt x="542925" y="433388"/>
                    </a:lnTo>
                    <a:lnTo>
                      <a:pt x="527050" y="444500"/>
                    </a:lnTo>
                    <a:lnTo>
                      <a:pt x="520700" y="444500"/>
                    </a:lnTo>
                    <a:lnTo>
                      <a:pt x="508000" y="441325"/>
                    </a:lnTo>
                    <a:lnTo>
                      <a:pt x="500062" y="438150"/>
                    </a:lnTo>
                    <a:lnTo>
                      <a:pt x="481012" y="438150"/>
                    </a:lnTo>
                    <a:lnTo>
                      <a:pt x="474662" y="438150"/>
                    </a:lnTo>
                    <a:lnTo>
                      <a:pt x="457200" y="438150"/>
                    </a:lnTo>
                    <a:lnTo>
                      <a:pt x="457200" y="436563"/>
                    </a:lnTo>
                    <a:lnTo>
                      <a:pt x="441325" y="427038"/>
                    </a:lnTo>
                    <a:lnTo>
                      <a:pt x="444500" y="423863"/>
                    </a:lnTo>
                    <a:lnTo>
                      <a:pt x="438150" y="420688"/>
                    </a:lnTo>
                    <a:lnTo>
                      <a:pt x="423862" y="420688"/>
                    </a:lnTo>
                    <a:lnTo>
                      <a:pt x="411162" y="423863"/>
                    </a:lnTo>
                    <a:lnTo>
                      <a:pt x="404812" y="423863"/>
                    </a:lnTo>
                    <a:lnTo>
                      <a:pt x="390525" y="417513"/>
                    </a:lnTo>
                    <a:lnTo>
                      <a:pt x="387350" y="417513"/>
                    </a:lnTo>
                    <a:lnTo>
                      <a:pt x="381000" y="414338"/>
                    </a:lnTo>
                    <a:lnTo>
                      <a:pt x="365125" y="417513"/>
                    </a:lnTo>
                    <a:lnTo>
                      <a:pt x="354012" y="414338"/>
                    </a:lnTo>
                    <a:lnTo>
                      <a:pt x="341312" y="411163"/>
                    </a:lnTo>
                    <a:lnTo>
                      <a:pt x="334962" y="401638"/>
                    </a:lnTo>
                    <a:lnTo>
                      <a:pt x="317500" y="401638"/>
                    </a:lnTo>
                    <a:lnTo>
                      <a:pt x="314325" y="398463"/>
                    </a:lnTo>
                    <a:lnTo>
                      <a:pt x="295275" y="396875"/>
                    </a:lnTo>
                    <a:lnTo>
                      <a:pt x="288925" y="396875"/>
                    </a:lnTo>
                    <a:lnTo>
                      <a:pt x="277812" y="407988"/>
                    </a:lnTo>
                    <a:lnTo>
                      <a:pt x="261937" y="414338"/>
                    </a:lnTo>
                    <a:lnTo>
                      <a:pt x="255587" y="420688"/>
                    </a:lnTo>
                    <a:lnTo>
                      <a:pt x="252412" y="417513"/>
                    </a:lnTo>
                    <a:lnTo>
                      <a:pt x="242887" y="417513"/>
                    </a:lnTo>
                    <a:lnTo>
                      <a:pt x="234950" y="414338"/>
                    </a:lnTo>
                    <a:lnTo>
                      <a:pt x="228600" y="417513"/>
                    </a:lnTo>
                    <a:lnTo>
                      <a:pt x="225425" y="420688"/>
                    </a:lnTo>
                    <a:lnTo>
                      <a:pt x="222250" y="420688"/>
                    </a:lnTo>
                    <a:lnTo>
                      <a:pt x="222250" y="430213"/>
                    </a:lnTo>
                    <a:lnTo>
                      <a:pt x="222250" y="433388"/>
                    </a:lnTo>
                    <a:lnTo>
                      <a:pt x="215900" y="444500"/>
                    </a:lnTo>
                    <a:lnTo>
                      <a:pt x="206375" y="454025"/>
                    </a:lnTo>
                    <a:lnTo>
                      <a:pt x="201612" y="454025"/>
                    </a:lnTo>
                    <a:lnTo>
                      <a:pt x="192087" y="466725"/>
                    </a:lnTo>
                    <a:lnTo>
                      <a:pt x="198437" y="469900"/>
                    </a:lnTo>
                    <a:lnTo>
                      <a:pt x="209550" y="469900"/>
                    </a:lnTo>
                    <a:lnTo>
                      <a:pt x="215900" y="473075"/>
                    </a:lnTo>
                    <a:lnTo>
                      <a:pt x="219075" y="473075"/>
                    </a:lnTo>
                    <a:lnTo>
                      <a:pt x="234950" y="481013"/>
                    </a:lnTo>
                    <a:lnTo>
                      <a:pt x="238125" y="484188"/>
                    </a:lnTo>
                    <a:lnTo>
                      <a:pt x="238125" y="490538"/>
                    </a:lnTo>
                    <a:lnTo>
                      <a:pt x="234950" y="490538"/>
                    </a:lnTo>
                    <a:lnTo>
                      <a:pt x="231775" y="493713"/>
                    </a:lnTo>
                    <a:lnTo>
                      <a:pt x="231775" y="500063"/>
                    </a:lnTo>
                    <a:lnTo>
                      <a:pt x="215900" y="506413"/>
                    </a:lnTo>
                    <a:lnTo>
                      <a:pt x="212725" y="514350"/>
                    </a:lnTo>
                    <a:lnTo>
                      <a:pt x="219075" y="527050"/>
                    </a:lnTo>
                    <a:lnTo>
                      <a:pt x="222250" y="530225"/>
                    </a:lnTo>
                    <a:lnTo>
                      <a:pt x="228600" y="530225"/>
                    </a:lnTo>
                    <a:lnTo>
                      <a:pt x="238125" y="527050"/>
                    </a:lnTo>
                    <a:lnTo>
                      <a:pt x="252412" y="527050"/>
                    </a:lnTo>
                    <a:lnTo>
                      <a:pt x="258762" y="527050"/>
                    </a:lnTo>
                    <a:lnTo>
                      <a:pt x="271462" y="530225"/>
                    </a:lnTo>
                    <a:lnTo>
                      <a:pt x="274637" y="533400"/>
                    </a:lnTo>
                    <a:lnTo>
                      <a:pt x="274637" y="549275"/>
                    </a:lnTo>
                    <a:lnTo>
                      <a:pt x="265112" y="554038"/>
                    </a:lnTo>
                    <a:lnTo>
                      <a:pt x="252412" y="560388"/>
                    </a:lnTo>
                    <a:lnTo>
                      <a:pt x="234950" y="563563"/>
                    </a:lnTo>
                    <a:lnTo>
                      <a:pt x="228600" y="573088"/>
                    </a:lnTo>
                    <a:lnTo>
                      <a:pt x="215900" y="579438"/>
                    </a:lnTo>
                    <a:lnTo>
                      <a:pt x="219075" y="590550"/>
                    </a:lnTo>
                    <a:lnTo>
                      <a:pt x="228600" y="600075"/>
                    </a:lnTo>
                    <a:lnTo>
                      <a:pt x="231775" y="609601"/>
                    </a:lnTo>
                    <a:lnTo>
                      <a:pt x="234950" y="609601"/>
                    </a:lnTo>
                    <a:lnTo>
                      <a:pt x="241300" y="603250"/>
                    </a:lnTo>
                    <a:lnTo>
                      <a:pt x="242887" y="606426"/>
                    </a:lnTo>
                    <a:lnTo>
                      <a:pt x="246062" y="612776"/>
                    </a:lnTo>
                    <a:lnTo>
                      <a:pt x="252412" y="619126"/>
                    </a:lnTo>
                    <a:lnTo>
                      <a:pt x="252412" y="630238"/>
                    </a:lnTo>
                    <a:lnTo>
                      <a:pt x="255587" y="636588"/>
                    </a:lnTo>
                    <a:lnTo>
                      <a:pt x="246062" y="649288"/>
                    </a:lnTo>
                    <a:lnTo>
                      <a:pt x="241300" y="655638"/>
                    </a:lnTo>
                    <a:lnTo>
                      <a:pt x="234950" y="658813"/>
                    </a:lnTo>
                    <a:lnTo>
                      <a:pt x="225425" y="658813"/>
                    </a:lnTo>
                    <a:lnTo>
                      <a:pt x="222250" y="661988"/>
                    </a:lnTo>
                    <a:lnTo>
                      <a:pt x="222250" y="668338"/>
                    </a:lnTo>
                    <a:lnTo>
                      <a:pt x="225425" y="669926"/>
                    </a:lnTo>
                    <a:lnTo>
                      <a:pt x="241300" y="673101"/>
                    </a:lnTo>
                    <a:lnTo>
                      <a:pt x="242887" y="676276"/>
                    </a:lnTo>
                    <a:lnTo>
                      <a:pt x="249237" y="685801"/>
                    </a:lnTo>
                    <a:lnTo>
                      <a:pt x="255587" y="692151"/>
                    </a:lnTo>
                    <a:lnTo>
                      <a:pt x="268287" y="695326"/>
                    </a:lnTo>
                    <a:lnTo>
                      <a:pt x="280987" y="704851"/>
                    </a:lnTo>
                    <a:lnTo>
                      <a:pt x="285750" y="704851"/>
                    </a:lnTo>
                    <a:lnTo>
                      <a:pt x="285750" y="715963"/>
                    </a:lnTo>
                    <a:lnTo>
                      <a:pt x="288925" y="719138"/>
                    </a:lnTo>
                    <a:lnTo>
                      <a:pt x="285750" y="719138"/>
                    </a:lnTo>
                    <a:lnTo>
                      <a:pt x="288925" y="722313"/>
                    </a:lnTo>
                    <a:lnTo>
                      <a:pt x="285750" y="728663"/>
                    </a:lnTo>
                    <a:lnTo>
                      <a:pt x="288925" y="731838"/>
                    </a:lnTo>
                    <a:lnTo>
                      <a:pt x="288925" y="741363"/>
                    </a:lnTo>
                    <a:lnTo>
                      <a:pt x="274637" y="744538"/>
                    </a:lnTo>
                    <a:lnTo>
                      <a:pt x="268287" y="741363"/>
                    </a:lnTo>
                    <a:lnTo>
                      <a:pt x="265112" y="735013"/>
                    </a:lnTo>
                    <a:lnTo>
                      <a:pt x="252412" y="731838"/>
                    </a:lnTo>
                    <a:lnTo>
                      <a:pt x="252412" y="728663"/>
                    </a:lnTo>
                    <a:lnTo>
                      <a:pt x="246062" y="725488"/>
                    </a:lnTo>
                    <a:lnTo>
                      <a:pt x="242887" y="722313"/>
                    </a:lnTo>
                    <a:lnTo>
                      <a:pt x="228600" y="719138"/>
                    </a:lnTo>
                    <a:lnTo>
                      <a:pt x="225425" y="715963"/>
                    </a:lnTo>
                    <a:lnTo>
                      <a:pt x="215900" y="715963"/>
                    </a:lnTo>
                    <a:lnTo>
                      <a:pt x="219075" y="712788"/>
                    </a:lnTo>
                    <a:lnTo>
                      <a:pt x="212725" y="709613"/>
                    </a:lnTo>
                    <a:lnTo>
                      <a:pt x="212725" y="706438"/>
                    </a:lnTo>
                    <a:lnTo>
                      <a:pt x="206375" y="706438"/>
                    </a:lnTo>
                    <a:lnTo>
                      <a:pt x="201612" y="704851"/>
                    </a:lnTo>
                    <a:lnTo>
                      <a:pt x="188912" y="704851"/>
                    </a:lnTo>
                    <a:lnTo>
                      <a:pt x="182562" y="704851"/>
                    </a:lnTo>
                    <a:lnTo>
                      <a:pt x="176212" y="695326"/>
                    </a:lnTo>
                    <a:lnTo>
                      <a:pt x="169862" y="688976"/>
                    </a:lnTo>
                    <a:lnTo>
                      <a:pt x="161925" y="682626"/>
                    </a:lnTo>
                    <a:lnTo>
                      <a:pt x="165100" y="669926"/>
                    </a:lnTo>
                    <a:lnTo>
                      <a:pt x="161925" y="668338"/>
                    </a:lnTo>
                    <a:lnTo>
                      <a:pt x="158750" y="669926"/>
                    </a:lnTo>
                    <a:lnTo>
                      <a:pt x="161925" y="665163"/>
                    </a:lnTo>
                    <a:lnTo>
                      <a:pt x="155575" y="661988"/>
                    </a:lnTo>
                    <a:lnTo>
                      <a:pt x="152400" y="649288"/>
                    </a:lnTo>
                    <a:lnTo>
                      <a:pt x="152400" y="642938"/>
                    </a:lnTo>
                    <a:lnTo>
                      <a:pt x="149225" y="639763"/>
                    </a:lnTo>
                    <a:lnTo>
                      <a:pt x="155575" y="630238"/>
                    </a:lnTo>
                    <a:lnTo>
                      <a:pt x="152400" y="630238"/>
                    </a:lnTo>
                    <a:lnTo>
                      <a:pt x="155575" y="628651"/>
                    </a:lnTo>
                    <a:lnTo>
                      <a:pt x="161925" y="628651"/>
                    </a:lnTo>
                    <a:lnTo>
                      <a:pt x="155575" y="619126"/>
                    </a:lnTo>
                    <a:lnTo>
                      <a:pt x="161925" y="612776"/>
                    </a:lnTo>
                    <a:lnTo>
                      <a:pt x="158750" y="600075"/>
                    </a:lnTo>
                    <a:lnTo>
                      <a:pt x="152400" y="596900"/>
                    </a:lnTo>
                    <a:lnTo>
                      <a:pt x="155575" y="593725"/>
                    </a:lnTo>
                    <a:lnTo>
                      <a:pt x="152400" y="590550"/>
                    </a:lnTo>
                    <a:lnTo>
                      <a:pt x="158750" y="579438"/>
                    </a:lnTo>
                    <a:lnTo>
                      <a:pt x="152400" y="569913"/>
                    </a:lnTo>
                    <a:lnTo>
                      <a:pt x="158750" y="557213"/>
                    </a:lnTo>
                    <a:lnTo>
                      <a:pt x="158750" y="552450"/>
                    </a:lnTo>
                    <a:lnTo>
                      <a:pt x="152400" y="542925"/>
                    </a:lnTo>
                    <a:lnTo>
                      <a:pt x="146050" y="533400"/>
                    </a:lnTo>
                    <a:lnTo>
                      <a:pt x="146050" y="527050"/>
                    </a:lnTo>
                    <a:lnTo>
                      <a:pt x="146050" y="520700"/>
                    </a:lnTo>
                    <a:lnTo>
                      <a:pt x="142875" y="512763"/>
                    </a:lnTo>
                    <a:lnTo>
                      <a:pt x="146050" y="496888"/>
                    </a:lnTo>
                    <a:lnTo>
                      <a:pt x="142875" y="487363"/>
                    </a:lnTo>
                    <a:lnTo>
                      <a:pt x="142875" y="481013"/>
                    </a:lnTo>
                    <a:lnTo>
                      <a:pt x="139700" y="484188"/>
                    </a:lnTo>
                    <a:lnTo>
                      <a:pt x="136525" y="473075"/>
                    </a:lnTo>
                    <a:lnTo>
                      <a:pt x="133350" y="473075"/>
                    </a:lnTo>
                    <a:lnTo>
                      <a:pt x="130175" y="469900"/>
                    </a:lnTo>
                    <a:lnTo>
                      <a:pt x="136525" y="457200"/>
                    </a:lnTo>
                    <a:lnTo>
                      <a:pt x="136525" y="441325"/>
                    </a:lnTo>
                    <a:lnTo>
                      <a:pt x="142875" y="436563"/>
                    </a:lnTo>
                    <a:lnTo>
                      <a:pt x="155575" y="433388"/>
                    </a:lnTo>
                    <a:lnTo>
                      <a:pt x="161925" y="430213"/>
                    </a:lnTo>
                    <a:lnTo>
                      <a:pt x="168275" y="433388"/>
                    </a:lnTo>
                    <a:lnTo>
                      <a:pt x="176212" y="436563"/>
                    </a:lnTo>
                    <a:lnTo>
                      <a:pt x="176212" y="430213"/>
                    </a:lnTo>
                    <a:lnTo>
                      <a:pt x="182562" y="420688"/>
                    </a:lnTo>
                    <a:lnTo>
                      <a:pt x="179387" y="417513"/>
                    </a:lnTo>
                    <a:lnTo>
                      <a:pt x="185737" y="407988"/>
                    </a:lnTo>
                    <a:lnTo>
                      <a:pt x="188912" y="398463"/>
                    </a:lnTo>
                    <a:lnTo>
                      <a:pt x="198437" y="396875"/>
                    </a:lnTo>
                    <a:lnTo>
                      <a:pt x="206375" y="396875"/>
                    </a:lnTo>
                    <a:lnTo>
                      <a:pt x="209550" y="393700"/>
                    </a:lnTo>
                    <a:lnTo>
                      <a:pt x="222250" y="393700"/>
                    </a:lnTo>
                    <a:lnTo>
                      <a:pt x="225425" y="390525"/>
                    </a:lnTo>
                    <a:lnTo>
                      <a:pt x="228600" y="387350"/>
                    </a:lnTo>
                    <a:lnTo>
                      <a:pt x="231775" y="384175"/>
                    </a:lnTo>
                    <a:lnTo>
                      <a:pt x="242887" y="377825"/>
                    </a:lnTo>
                    <a:lnTo>
                      <a:pt x="242887" y="374650"/>
                    </a:lnTo>
                    <a:lnTo>
                      <a:pt x="249237" y="371475"/>
                    </a:lnTo>
                    <a:lnTo>
                      <a:pt x="246062" y="368300"/>
                    </a:lnTo>
                    <a:lnTo>
                      <a:pt x="246062" y="361950"/>
                    </a:lnTo>
                    <a:lnTo>
                      <a:pt x="255587" y="357188"/>
                    </a:lnTo>
                    <a:lnTo>
                      <a:pt x="249237" y="350838"/>
                    </a:lnTo>
                    <a:lnTo>
                      <a:pt x="255587" y="341313"/>
                    </a:lnTo>
                    <a:lnTo>
                      <a:pt x="261937" y="341313"/>
                    </a:lnTo>
                    <a:lnTo>
                      <a:pt x="255587" y="338138"/>
                    </a:lnTo>
                    <a:lnTo>
                      <a:pt x="255587" y="334963"/>
                    </a:lnTo>
                    <a:lnTo>
                      <a:pt x="252412" y="334963"/>
                    </a:lnTo>
                    <a:lnTo>
                      <a:pt x="242887" y="334963"/>
                    </a:lnTo>
                    <a:lnTo>
                      <a:pt x="241300" y="328613"/>
                    </a:lnTo>
                    <a:lnTo>
                      <a:pt x="231775" y="331788"/>
                    </a:lnTo>
                    <a:lnTo>
                      <a:pt x="225425" y="322263"/>
                    </a:lnTo>
                    <a:lnTo>
                      <a:pt x="219075" y="325438"/>
                    </a:lnTo>
                    <a:lnTo>
                      <a:pt x="209550" y="320675"/>
                    </a:lnTo>
                    <a:lnTo>
                      <a:pt x="198437" y="322263"/>
                    </a:lnTo>
                    <a:lnTo>
                      <a:pt x="195262" y="314325"/>
                    </a:lnTo>
                    <a:lnTo>
                      <a:pt x="188912" y="304800"/>
                    </a:lnTo>
                    <a:lnTo>
                      <a:pt x="195262" y="292100"/>
                    </a:lnTo>
                    <a:lnTo>
                      <a:pt x="201612" y="282575"/>
                    </a:lnTo>
                    <a:lnTo>
                      <a:pt x="201612" y="280988"/>
                    </a:lnTo>
                    <a:lnTo>
                      <a:pt x="206375" y="274638"/>
                    </a:lnTo>
                    <a:lnTo>
                      <a:pt x="209550" y="271463"/>
                    </a:lnTo>
                    <a:lnTo>
                      <a:pt x="201612" y="271463"/>
                    </a:lnTo>
                    <a:lnTo>
                      <a:pt x="198437" y="268288"/>
                    </a:lnTo>
                    <a:lnTo>
                      <a:pt x="188912" y="268288"/>
                    </a:lnTo>
                    <a:lnTo>
                      <a:pt x="179387" y="265113"/>
                    </a:lnTo>
                    <a:lnTo>
                      <a:pt x="169862" y="268288"/>
                    </a:lnTo>
                    <a:lnTo>
                      <a:pt x="165100" y="265113"/>
                    </a:lnTo>
                    <a:lnTo>
                      <a:pt x="149225" y="268288"/>
                    </a:lnTo>
                    <a:lnTo>
                      <a:pt x="149225" y="261938"/>
                    </a:lnTo>
                    <a:lnTo>
                      <a:pt x="136525" y="255588"/>
                    </a:lnTo>
                    <a:lnTo>
                      <a:pt x="133350" y="246063"/>
                    </a:lnTo>
                    <a:lnTo>
                      <a:pt x="125412" y="244475"/>
                    </a:lnTo>
                    <a:lnTo>
                      <a:pt x="119062" y="246063"/>
                    </a:lnTo>
                    <a:lnTo>
                      <a:pt x="109537" y="241300"/>
                    </a:lnTo>
                    <a:lnTo>
                      <a:pt x="115887" y="228600"/>
                    </a:lnTo>
                    <a:lnTo>
                      <a:pt x="112712" y="215900"/>
                    </a:lnTo>
                    <a:lnTo>
                      <a:pt x="112712" y="212725"/>
                    </a:lnTo>
                    <a:lnTo>
                      <a:pt x="106362" y="215900"/>
                    </a:lnTo>
                    <a:lnTo>
                      <a:pt x="96837" y="209550"/>
                    </a:lnTo>
                    <a:lnTo>
                      <a:pt x="85725" y="215900"/>
                    </a:lnTo>
                    <a:lnTo>
                      <a:pt x="76200" y="209550"/>
                    </a:lnTo>
                    <a:lnTo>
                      <a:pt x="76200" y="212725"/>
                    </a:lnTo>
                    <a:lnTo>
                      <a:pt x="79375" y="215900"/>
                    </a:lnTo>
                    <a:lnTo>
                      <a:pt x="73025" y="215900"/>
                    </a:lnTo>
                    <a:lnTo>
                      <a:pt x="63500" y="219075"/>
                    </a:lnTo>
                    <a:lnTo>
                      <a:pt x="60325" y="212725"/>
                    </a:lnTo>
                    <a:lnTo>
                      <a:pt x="52387" y="206375"/>
                    </a:lnTo>
                    <a:lnTo>
                      <a:pt x="49212" y="215900"/>
                    </a:lnTo>
                    <a:lnTo>
                      <a:pt x="39687" y="219075"/>
                    </a:lnTo>
                    <a:lnTo>
                      <a:pt x="36512" y="212725"/>
                    </a:lnTo>
                    <a:lnTo>
                      <a:pt x="30162" y="212725"/>
                    </a:lnTo>
                    <a:lnTo>
                      <a:pt x="23812" y="215900"/>
                    </a:lnTo>
                    <a:lnTo>
                      <a:pt x="17462" y="209550"/>
                    </a:lnTo>
                    <a:lnTo>
                      <a:pt x="12700" y="212725"/>
                    </a:lnTo>
                    <a:lnTo>
                      <a:pt x="12700" y="209550"/>
                    </a:lnTo>
                    <a:lnTo>
                      <a:pt x="3175" y="206375"/>
                    </a:lnTo>
                    <a:lnTo>
                      <a:pt x="0" y="201613"/>
                    </a:lnTo>
                    <a:lnTo>
                      <a:pt x="9525" y="195263"/>
                    </a:lnTo>
                    <a:lnTo>
                      <a:pt x="12700" y="185738"/>
                    </a:lnTo>
                    <a:lnTo>
                      <a:pt x="6350" y="173038"/>
                    </a:lnTo>
                    <a:lnTo>
                      <a:pt x="6350" y="166688"/>
                    </a:lnTo>
                    <a:lnTo>
                      <a:pt x="12700" y="165100"/>
                    </a:lnTo>
                    <a:lnTo>
                      <a:pt x="12700" y="152400"/>
                    </a:lnTo>
                    <a:lnTo>
                      <a:pt x="15875" y="149225"/>
                    </a:lnTo>
                    <a:lnTo>
                      <a:pt x="17462" y="142875"/>
                    </a:lnTo>
                    <a:lnTo>
                      <a:pt x="20637" y="139700"/>
                    </a:lnTo>
                    <a:lnTo>
                      <a:pt x="33337" y="146050"/>
                    </a:lnTo>
                    <a:lnTo>
                      <a:pt x="33337" y="139700"/>
                    </a:lnTo>
                    <a:lnTo>
                      <a:pt x="42862" y="136525"/>
                    </a:lnTo>
                    <a:lnTo>
                      <a:pt x="46037" y="136525"/>
                    </a:lnTo>
                    <a:lnTo>
                      <a:pt x="57150" y="125413"/>
                    </a:lnTo>
                    <a:lnTo>
                      <a:pt x="63500" y="125413"/>
                    </a:lnTo>
                    <a:lnTo>
                      <a:pt x="66675" y="122238"/>
                    </a:lnTo>
                    <a:lnTo>
                      <a:pt x="63500" y="112713"/>
                    </a:lnTo>
                    <a:lnTo>
                      <a:pt x="73025" y="109538"/>
                    </a:lnTo>
                    <a:lnTo>
                      <a:pt x="85725" y="109538"/>
                    </a:lnTo>
                    <a:lnTo>
                      <a:pt x="88900" y="100013"/>
                    </a:lnTo>
                    <a:lnTo>
                      <a:pt x="96837" y="93662"/>
                    </a:lnTo>
                    <a:lnTo>
                      <a:pt x="106362" y="82550"/>
                    </a:lnTo>
                    <a:lnTo>
                      <a:pt x="103187" y="79375"/>
                    </a:lnTo>
                    <a:lnTo>
                      <a:pt x="100012" y="66675"/>
                    </a:lnTo>
                    <a:lnTo>
                      <a:pt x="109537" y="69850"/>
                    </a:lnTo>
                    <a:lnTo>
                      <a:pt x="122237" y="63500"/>
                    </a:lnTo>
                    <a:lnTo>
                      <a:pt x="125412" y="66675"/>
                    </a:lnTo>
                    <a:lnTo>
                      <a:pt x="130175" y="66675"/>
                    </a:lnTo>
                    <a:lnTo>
                      <a:pt x="130175" y="63500"/>
                    </a:lnTo>
                    <a:lnTo>
                      <a:pt x="139700" y="66675"/>
                    </a:lnTo>
                    <a:lnTo>
                      <a:pt x="149225" y="63500"/>
                    </a:lnTo>
                    <a:lnTo>
                      <a:pt x="149225" y="60325"/>
                    </a:lnTo>
                    <a:lnTo>
                      <a:pt x="161925" y="57150"/>
                    </a:lnTo>
                    <a:lnTo>
                      <a:pt x="173037" y="63500"/>
                    </a:lnTo>
                    <a:lnTo>
                      <a:pt x="185737" y="63500"/>
                    </a:lnTo>
                    <a:lnTo>
                      <a:pt x="188912" y="66675"/>
                    </a:lnTo>
                    <a:lnTo>
                      <a:pt x="204787" y="69850"/>
                    </a:lnTo>
                    <a:lnTo>
                      <a:pt x="209550" y="63500"/>
                    </a:lnTo>
                    <a:lnTo>
                      <a:pt x="219075" y="66675"/>
                    </a:lnTo>
                    <a:lnTo>
                      <a:pt x="228600" y="63500"/>
                    </a:lnTo>
                    <a:lnTo>
                      <a:pt x="234950" y="66675"/>
                    </a:lnTo>
                    <a:lnTo>
                      <a:pt x="238125" y="66675"/>
                    </a:lnTo>
                    <a:lnTo>
                      <a:pt x="238125" y="60325"/>
                    </a:lnTo>
                    <a:lnTo>
                      <a:pt x="234950" y="60325"/>
                    </a:lnTo>
                    <a:lnTo>
                      <a:pt x="238125" y="57150"/>
                    </a:lnTo>
                    <a:lnTo>
                      <a:pt x="234950" y="53975"/>
                    </a:lnTo>
                    <a:lnTo>
                      <a:pt x="225425" y="50800"/>
                    </a:lnTo>
                    <a:lnTo>
                      <a:pt x="222250" y="46037"/>
                    </a:lnTo>
                    <a:lnTo>
                      <a:pt x="219075" y="49212"/>
                    </a:lnTo>
                    <a:lnTo>
                      <a:pt x="206375" y="42862"/>
                    </a:lnTo>
                    <a:lnTo>
                      <a:pt x="209550" y="39687"/>
                    </a:lnTo>
                    <a:lnTo>
                      <a:pt x="204787" y="36512"/>
                    </a:lnTo>
                    <a:lnTo>
                      <a:pt x="204787" y="30162"/>
                    </a:lnTo>
                    <a:lnTo>
                      <a:pt x="219075" y="30162"/>
                    </a:lnTo>
                    <a:lnTo>
                      <a:pt x="228600" y="33337"/>
                    </a:lnTo>
                    <a:lnTo>
                      <a:pt x="234950" y="26987"/>
                    </a:lnTo>
                    <a:lnTo>
                      <a:pt x="241300" y="30162"/>
                    </a:lnTo>
                    <a:lnTo>
                      <a:pt x="242887" y="33337"/>
                    </a:lnTo>
                    <a:lnTo>
                      <a:pt x="241300" y="36512"/>
                    </a:lnTo>
                    <a:lnTo>
                      <a:pt x="246062" y="36512"/>
                    </a:lnTo>
                    <a:lnTo>
                      <a:pt x="252412" y="42862"/>
                    </a:lnTo>
                    <a:lnTo>
                      <a:pt x="265112" y="46037"/>
                    </a:lnTo>
                    <a:lnTo>
                      <a:pt x="268287" y="42862"/>
                    </a:lnTo>
                    <a:lnTo>
                      <a:pt x="277812" y="42862"/>
                    </a:lnTo>
                    <a:lnTo>
                      <a:pt x="282575" y="33337"/>
                    </a:lnTo>
                    <a:lnTo>
                      <a:pt x="285750" y="30162"/>
                    </a:lnTo>
                    <a:lnTo>
                      <a:pt x="298450" y="33337"/>
                    </a:lnTo>
                    <a:lnTo>
                      <a:pt x="307975" y="30162"/>
                    </a:lnTo>
                    <a:lnTo>
                      <a:pt x="317500" y="20637"/>
                    </a:lnTo>
                    <a:lnTo>
                      <a:pt x="328612" y="17462"/>
                    </a:lnTo>
                    <a:lnTo>
                      <a:pt x="328612" y="12700"/>
                    </a:lnTo>
                    <a:lnTo>
                      <a:pt x="341312" y="17462"/>
                    </a:lnTo>
                    <a:lnTo>
                      <a:pt x="341312" y="20637"/>
                    </a:lnTo>
                    <a:lnTo>
                      <a:pt x="347662" y="20637"/>
                    </a:lnTo>
                    <a:lnTo>
                      <a:pt x="344487" y="12700"/>
                    </a:lnTo>
                    <a:lnTo>
                      <a:pt x="358775" y="9525"/>
                    </a:lnTo>
                    <a:close/>
                  </a:path>
                </a:pathLst>
              </a:custGeom>
              <a:solidFill>
                <a:srgbClr val="D0D0D0"/>
              </a:solidFill>
              <a:ln w="6350">
                <a:solidFill>
                  <a:schemeClr val="bg1">
                    <a:lumMod val="65000"/>
                  </a:schemeClr>
                </a:solidFill>
                <a:prstDash val="dash"/>
              </a:ln>
            </p:spPr>
            <p:txBody>
              <a:bodyPr vert="horz" wrap="square" lIns="91440" tIns="45720" rIns="91440" bIns="45720" numCol="1" anchor="t" anchorCtr="0" compatLnSpc="1">
                <a:prstTxWarp prst="textNoShape">
                  <a:avLst/>
                </a:prstTxWarp>
              </a:bodyPr>
              <a:lstStyle/>
              <a:p>
                <a:endParaRPr lang="en-US" dirty="0"/>
              </a:p>
            </p:txBody>
          </p:sp>
        </p:grpSp>
      </p:grpSp>
      <p:pic>
        <p:nvPicPr>
          <p:cNvPr id="72" name="Picture 71">
            <a:extLst>
              <a:ext uri="{FF2B5EF4-FFF2-40B4-BE49-F238E27FC236}">
                <a16:creationId xmlns:a16="http://schemas.microsoft.com/office/drawing/2014/main" id="{E9A4A97A-3803-4748-A71D-D5F297A4D1D5}"/>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80836" y="5097799"/>
            <a:ext cx="417494" cy="500992"/>
          </a:xfrm>
          <a:prstGeom prst="rect">
            <a:avLst/>
          </a:prstGeom>
        </p:spPr>
      </p:pic>
      <p:pic>
        <p:nvPicPr>
          <p:cNvPr id="73" name="Picture 72">
            <a:extLst>
              <a:ext uri="{FF2B5EF4-FFF2-40B4-BE49-F238E27FC236}">
                <a16:creationId xmlns:a16="http://schemas.microsoft.com/office/drawing/2014/main" id="{D8795420-410C-40C5-AA68-D6CB24BDAA1B}"/>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1198330" y="5804922"/>
            <a:ext cx="383728" cy="377106"/>
          </a:xfrm>
          <a:prstGeom prst="rect">
            <a:avLst/>
          </a:prstGeom>
        </p:spPr>
      </p:pic>
      <p:sp>
        <p:nvSpPr>
          <p:cNvPr id="76" name="TextBox 75">
            <a:extLst>
              <a:ext uri="{FF2B5EF4-FFF2-40B4-BE49-F238E27FC236}">
                <a16:creationId xmlns:a16="http://schemas.microsoft.com/office/drawing/2014/main" id="{8A8A84E3-B285-46D4-909B-5AD5394561D2}"/>
              </a:ext>
            </a:extLst>
          </p:cNvPr>
          <p:cNvSpPr txBox="1"/>
          <p:nvPr/>
        </p:nvSpPr>
        <p:spPr>
          <a:xfrm>
            <a:off x="6616861" y="1325280"/>
            <a:ext cx="5018532" cy="381642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400" dirty="0"/>
              <a:t>India is fourth largest Agrochemicals manufacturer and sixth largest manufacturer of chemicals in the world</a:t>
            </a:r>
          </a:p>
          <a:p>
            <a:pPr lvl="1"/>
            <a:r>
              <a:rPr lang="en-US" sz="1400" dirty="0"/>
              <a:t>India is a big global dye supplier, holding approximately 16% of the world production of dyestuff and dye intermediates</a:t>
            </a:r>
          </a:p>
          <a:p>
            <a:pPr lvl="1"/>
            <a:r>
              <a:rPr lang="en-US" sz="1400" dirty="0"/>
              <a:t>100% FDI is allowed under the automatic route in the chemicals sector</a:t>
            </a:r>
          </a:p>
          <a:p>
            <a:pPr lvl="1"/>
            <a:r>
              <a:rPr lang="en-US" sz="1400" dirty="0"/>
              <a:t>Tax breaks and special incentives through PCPIRs (Petroleum, Chemical and Petrochemical Investment Region) or SEZs will further support the industry</a:t>
            </a:r>
          </a:p>
          <a:p>
            <a:pPr lvl="1"/>
            <a:r>
              <a:rPr lang="en-US" sz="1400" dirty="0"/>
              <a:t>Due to global monopoly of OPEC countries, India is importing fuel and petroleum in large amount. However, the processing and distribution of petrochemical products cater to a huge chunk of the Indian Market</a:t>
            </a:r>
          </a:p>
          <a:p>
            <a:pPr lvl="1"/>
            <a:endParaRPr lang="en-US" sz="1400" dirty="0"/>
          </a:p>
          <a:p>
            <a:pPr lvl="1"/>
            <a:endParaRPr lang="en-US" sz="1400" dirty="0"/>
          </a:p>
          <a:p>
            <a:endParaRPr lang="en-US" sz="1800" dirty="0"/>
          </a:p>
        </p:txBody>
      </p:sp>
      <p:pic>
        <p:nvPicPr>
          <p:cNvPr id="148484" name="Picture 4" descr="Pidilite Industries - Wikipedia">
            <a:extLst>
              <a:ext uri="{FF2B5EF4-FFF2-40B4-BE49-F238E27FC236}">
                <a16:creationId xmlns:a16="http://schemas.microsoft.com/office/drawing/2014/main" id="{9F211403-1138-4060-ACF2-F127FC88BFB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098789" y="5865224"/>
            <a:ext cx="560217" cy="282349"/>
          </a:xfrm>
          <a:prstGeom prst="rect">
            <a:avLst/>
          </a:prstGeom>
          <a:noFill/>
          <a:extLst>
            <a:ext uri="{909E8E84-426E-40DD-AFC4-6F175D3DCCD1}">
              <a14:hiddenFill xmlns:a14="http://schemas.microsoft.com/office/drawing/2010/main">
                <a:solidFill>
                  <a:srgbClr val="FFFFFF"/>
                </a:solidFill>
              </a14:hiddenFill>
            </a:ext>
          </a:extLst>
        </p:spPr>
      </p:pic>
      <p:pic>
        <p:nvPicPr>
          <p:cNvPr id="148487" name="Picture 7" descr="TATA Chemicals logo vector (.AI, 118.62 Kb) download">
            <a:extLst>
              <a:ext uri="{FF2B5EF4-FFF2-40B4-BE49-F238E27FC236}">
                <a16:creationId xmlns:a16="http://schemas.microsoft.com/office/drawing/2014/main" id="{BCFE4623-4274-485F-AF69-C2E1EAD2080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938671" y="4778129"/>
            <a:ext cx="921576" cy="921576"/>
          </a:xfrm>
          <a:prstGeom prst="rect">
            <a:avLst/>
          </a:prstGeom>
          <a:noFill/>
          <a:extLst>
            <a:ext uri="{909E8E84-426E-40DD-AFC4-6F175D3DCCD1}">
              <a14:hiddenFill xmlns:a14="http://schemas.microsoft.com/office/drawing/2010/main">
                <a:solidFill>
                  <a:srgbClr val="FFFFFF"/>
                </a:solidFill>
              </a14:hiddenFill>
            </a:ext>
          </a:extLst>
        </p:spPr>
      </p:pic>
      <p:pic>
        <p:nvPicPr>
          <p:cNvPr id="148489" name="Picture 9" descr="UPL (company) - Wikipedia">
            <a:extLst>
              <a:ext uri="{FF2B5EF4-FFF2-40B4-BE49-F238E27FC236}">
                <a16:creationId xmlns:a16="http://schemas.microsoft.com/office/drawing/2014/main" id="{A56BAB40-DCB9-4A49-ABC9-53FAD1DC05C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002619" y="5823571"/>
            <a:ext cx="490598" cy="322144"/>
          </a:xfrm>
          <a:prstGeom prst="rect">
            <a:avLst/>
          </a:prstGeom>
          <a:noFill/>
          <a:extLst>
            <a:ext uri="{909E8E84-426E-40DD-AFC4-6F175D3DCCD1}">
              <a14:hiddenFill xmlns:a14="http://schemas.microsoft.com/office/drawing/2010/main">
                <a:solidFill>
                  <a:srgbClr val="FFFFFF"/>
                </a:solidFill>
              </a14:hiddenFill>
            </a:ext>
          </a:extLst>
        </p:spPr>
      </p:pic>
      <p:pic>
        <p:nvPicPr>
          <p:cNvPr id="148491" name="Picture 11" descr="Reliance Industries Logo - PNG and Vector - Logo Download">
            <a:extLst>
              <a:ext uri="{FF2B5EF4-FFF2-40B4-BE49-F238E27FC236}">
                <a16:creationId xmlns:a16="http://schemas.microsoft.com/office/drawing/2014/main" id="{30F9B376-0FAD-4F56-8A5E-77F9D5B68BF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287104" y="5070216"/>
            <a:ext cx="538975" cy="356332"/>
          </a:xfrm>
          <a:prstGeom prst="rect">
            <a:avLst/>
          </a:prstGeom>
          <a:noFill/>
          <a:extLst>
            <a:ext uri="{909E8E84-426E-40DD-AFC4-6F175D3DCCD1}">
              <a14:hiddenFill xmlns:a14="http://schemas.microsoft.com/office/drawing/2010/main">
                <a:solidFill>
                  <a:srgbClr val="FFFFFF"/>
                </a:solidFill>
              </a14:hiddenFill>
            </a:ext>
          </a:extLst>
        </p:spPr>
      </p:pic>
      <p:pic>
        <p:nvPicPr>
          <p:cNvPr id="148495" name="Picture 15" descr="CPCL – Chennai Petroleum Corporation Limited">
            <a:extLst>
              <a:ext uri="{FF2B5EF4-FFF2-40B4-BE49-F238E27FC236}">
                <a16:creationId xmlns:a16="http://schemas.microsoft.com/office/drawing/2014/main" id="{91984F60-3310-4F13-B72C-5F6E9CA723D0}"/>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43392" y="5049609"/>
            <a:ext cx="507206" cy="570135"/>
          </a:xfrm>
          <a:prstGeom prst="rect">
            <a:avLst/>
          </a:prstGeom>
          <a:noFill/>
          <a:extLst>
            <a:ext uri="{909E8E84-426E-40DD-AFC4-6F175D3DCCD1}">
              <a14:hiddenFill xmlns:a14="http://schemas.microsoft.com/office/drawing/2010/main">
                <a:solidFill>
                  <a:srgbClr val="FFFFFF"/>
                </a:solidFill>
              </a14:hiddenFill>
            </a:ext>
          </a:extLst>
        </p:spPr>
      </p:pic>
      <p:pic>
        <p:nvPicPr>
          <p:cNvPr id="148497" name="Picture 17" descr="GFL - Global Presence">
            <a:extLst>
              <a:ext uri="{FF2B5EF4-FFF2-40B4-BE49-F238E27FC236}">
                <a16:creationId xmlns:a16="http://schemas.microsoft.com/office/drawing/2014/main" id="{5138B9F5-DA47-4350-B69A-8A70A3AA893F}"/>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r="86589"/>
          <a:stretch/>
        </p:blipFill>
        <p:spPr bwMode="auto">
          <a:xfrm>
            <a:off x="2407582" y="5077286"/>
            <a:ext cx="620020" cy="557423"/>
          </a:xfrm>
          <a:prstGeom prst="rect">
            <a:avLst/>
          </a:prstGeom>
          <a:noFill/>
          <a:extLst>
            <a:ext uri="{909E8E84-426E-40DD-AFC4-6F175D3DCCD1}">
              <a14:hiddenFill xmlns:a14="http://schemas.microsoft.com/office/drawing/2010/main">
                <a:solidFill>
                  <a:srgbClr val="FFFFFF"/>
                </a:solidFill>
              </a14:hiddenFill>
            </a:ext>
          </a:extLst>
        </p:spPr>
      </p:pic>
      <p:pic>
        <p:nvPicPr>
          <p:cNvPr id="148499" name="Picture 19" descr="end user | login">
            <a:extLst>
              <a:ext uri="{FF2B5EF4-FFF2-40B4-BE49-F238E27FC236}">
                <a16:creationId xmlns:a16="http://schemas.microsoft.com/office/drawing/2014/main" id="{F8A08C76-C160-4998-BB2D-FFDC93DCE3BC}"/>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636500" y="5585111"/>
            <a:ext cx="756738" cy="75673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7" name="Chart 66">
            <a:extLst>
              <a:ext uri="{FF2B5EF4-FFF2-40B4-BE49-F238E27FC236}">
                <a16:creationId xmlns:a16="http://schemas.microsoft.com/office/drawing/2014/main" id="{4E3F46A4-DB14-4ED3-A232-2FD5CE5C3A78}"/>
              </a:ext>
            </a:extLst>
          </p:cNvPr>
          <p:cNvGraphicFramePr/>
          <p:nvPr>
            <p:custDataLst>
              <p:tags r:id="rId5"/>
            </p:custDataLst>
          </p:nvPr>
        </p:nvGraphicFramePr>
        <p:xfrm>
          <a:off x="7602538" y="4240213"/>
          <a:ext cx="2263775" cy="2095500"/>
        </p:xfrm>
        <a:graphic>
          <a:graphicData uri="http://schemas.openxmlformats.org/drawingml/2006/chart">
            <c:chart xmlns:c="http://schemas.openxmlformats.org/drawingml/2006/chart" xmlns:r="http://schemas.openxmlformats.org/officeDocument/2006/relationships" r:id="rId23"/>
          </a:graphicData>
        </a:graphic>
      </p:graphicFrame>
      <p:sp>
        <p:nvSpPr>
          <p:cNvPr id="58" name="Rectangle 57">
            <a:extLst>
              <a:ext uri="{FF2B5EF4-FFF2-40B4-BE49-F238E27FC236}">
                <a16:creationId xmlns:a16="http://schemas.microsoft.com/office/drawing/2014/main" id="{E8C768EC-DBF5-4E93-B697-9A7084291425}"/>
              </a:ext>
            </a:extLst>
          </p:cNvPr>
          <p:cNvSpPr/>
          <p:nvPr>
            <p:custDataLst>
              <p:tags r:id="rId6"/>
            </p:custDataLst>
          </p:nvPr>
        </p:nvSpPr>
        <p:spPr bwMode="auto">
          <a:xfrm>
            <a:off x="10536238" y="4259263"/>
            <a:ext cx="165100" cy="165100"/>
          </a:xfrm>
          <a:prstGeom prst="rect">
            <a:avLst/>
          </a:prstGeom>
          <a:solidFill>
            <a:schemeClr val="accent1"/>
          </a:solidFill>
          <a:ln w="9525" cap="sq" algn="ctr">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9" name="Rectangle 58">
            <a:extLst>
              <a:ext uri="{FF2B5EF4-FFF2-40B4-BE49-F238E27FC236}">
                <a16:creationId xmlns:a16="http://schemas.microsoft.com/office/drawing/2014/main" id="{131C7ABD-D996-488F-8FBA-6A288CC58921}"/>
              </a:ext>
            </a:extLst>
          </p:cNvPr>
          <p:cNvSpPr/>
          <p:nvPr>
            <p:custDataLst>
              <p:tags r:id="rId7"/>
            </p:custDataLst>
          </p:nvPr>
        </p:nvSpPr>
        <p:spPr bwMode="auto">
          <a:xfrm>
            <a:off x="10536238" y="4492625"/>
            <a:ext cx="165100" cy="165100"/>
          </a:xfrm>
          <a:prstGeom prst="rect">
            <a:avLst/>
          </a:prstGeom>
          <a:solidFill>
            <a:schemeClr val="accent2"/>
          </a:solidFill>
          <a:ln w="9525" cap="sq" algn="ctr">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0" name="Text Placeholder 2">
            <a:extLst>
              <a:ext uri="{FF2B5EF4-FFF2-40B4-BE49-F238E27FC236}">
                <a16:creationId xmlns:a16="http://schemas.microsoft.com/office/drawing/2014/main" id="{38BDD067-4A47-466F-8505-A2F1AA9D72D7}"/>
              </a:ext>
            </a:extLst>
          </p:cNvPr>
          <p:cNvSpPr>
            <a:spLocks noGrp="1"/>
          </p:cNvSpPr>
          <p:nvPr>
            <p:custDataLst>
              <p:tags r:id="rId8"/>
            </p:custDataLst>
          </p:nvPr>
        </p:nvSpPr>
        <p:spPr bwMode="auto">
          <a:xfrm>
            <a:off x="10752138" y="4257675"/>
            <a:ext cx="4397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0D3023F-FF32-4506-A2D0-C6C0C1E01ACE}" type="datetime'''''''''''''''E''''''''x''''''''po''''''r''''''''''''''''t'">
              <a:rPr lang="en-US" altLang="en-US" sz="1200" smtClean="0"/>
              <a:pPr/>
              <a:t>Export</a:t>
            </a:fld>
            <a:endParaRPr lang="en-US" sz="1200" dirty="0">
              <a:sym typeface="+mn-lt"/>
            </a:endParaRPr>
          </a:p>
        </p:txBody>
      </p:sp>
      <p:sp>
        <p:nvSpPr>
          <p:cNvPr id="61" name="Text Placeholder 2">
            <a:extLst>
              <a:ext uri="{FF2B5EF4-FFF2-40B4-BE49-F238E27FC236}">
                <a16:creationId xmlns:a16="http://schemas.microsoft.com/office/drawing/2014/main" id="{97DEDF6C-3C56-4D7B-8DC0-B0F3DCBFDB5A}"/>
              </a:ext>
            </a:extLst>
          </p:cNvPr>
          <p:cNvSpPr>
            <a:spLocks noGrp="1"/>
          </p:cNvSpPr>
          <p:nvPr>
            <p:custDataLst>
              <p:tags r:id="rId9"/>
            </p:custDataLst>
          </p:nvPr>
        </p:nvSpPr>
        <p:spPr bwMode="auto">
          <a:xfrm>
            <a:off x="10752138" y="4491038"/>
            <a:ext cx="431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3E131E0-4815-42EA-BCAF-72F791FD5935}" type="datetime'''''I''''''''''''mp''''''''''o''''r''''''''''''''''t'">
              <a:rPr lang="en-US" altLang="en-US" sz="1200" smtClean="0"/>
              <a:pPr/>
              <a:t>Import</a:t>
            </a:fld>
            <a:endParaRPr lang="en-US" sz="1200" dirty="0">
              <a:sym typeface="+mn-lt"/>
            </a:endParaRPr>
          </a:p>
        </p:txBody>
      </p:sp>
      <p:sp>
        <p:nvSpPr>
          <p:cNvPr id="83" name="TextBox 82">
            <a:extLst>
              <a:ext uri="{FF2B5EF4-FFF2-40B4-BE49-F238E27FC236}">
                <a16:creationId xmlns:a16="http://schemas.microsoft.com/office/drawing/2014/main" id="{230903FC-B3BA-46CD-9FA6-37B8C6B1489D}"/>
              </a:ext>
            </a:extLst>
          </p:cNvPr>
          <p:cNvSpPr txBox="1"/>
          <p:nvPr/>
        </p:nvSpPr>
        <p:spPr>
          <a:xfrm>
            <a:off x="8396952" y="6270221"/>
            <a:ext cx="1531087"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dirty="0"/>
              <a:t>In USD Billions</a:t>
            </a:r>
          </a:p>
        </p:txBody>
      </p:sp>
      <p:sp>
        <p:nvSpPr>
          <p:cNvPr id="84" name="5. Source">
            <a:extLst>
              <a:ext uri="{FF2B5EF4-FFF2-40B4-BE49-F238E27FC236}">
                <a16:creationId xmlns:a16="http://schemas.microsoft.com/office/drawing/2014/main" id="{5CE585E4-C3FC-4D1F-A162-64056C741F59}"/>
              </a:ext>
            </a:extLst>
          </p:cNvPr>
          <p:cNvSpPr>
            <a:spLocks noChangeArrowheads="1"/>
          </p:cNvSpPr>
          <p:nvPr>
            <p:custDataLst>
              <p:tags r:id="rId10"/>
            </p:custDataLst>
          </p:nvPr>
        </p:nvSpPr>
        <p:spPr bwMode="auto">
          <a:xfrm>
            <a:off x="554735" y="6501669"/>
            <a:ext cx="7277861"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913526">
              <a:tabLst>
                <a:tab pos="625214" algn="l"/>
              </a:tabLst>
            </a:pPr>
            <a:r>
              <a:rPr lang="en-US" sz="800" dirty="0">
                <a:cs typeface="Arial" panose="020B0604020202020204" pitchFamily="34" charset="0"/>
              </a:rPr>
              <a:t>Source: IBEF, Invest India, Ministry of Commerce and Industry</a:t>
            </a:r>
          </a:p>
        </p:txBody>
      </p:sp>
      <p:pic>
        <p:nvPicPr>
          <p:cNvPr id="63" name="Content Placeholder 1">
            <a:extLst>
              <a:ext uri="{FF2B5EF4-FFF2-40B4-BE49-F238E27FC236}">
                <a16:creationId xmlns:a16="http://schemas.microsoft.com/office/drawing/2014/main" id="{2DE131FE-E0C9-4463-86B7-F655E552097D}"/>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36612567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3674762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0"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55" name="Text Placeholder 2">
            <a:hlinkClick r:id="rId14" action="ppaction://hlinksldjump"/>
            <a:extLst>
              <a:ext uri="{FF2B5EF4-FFF2-40B4-BE49-F238E27FC236}">
                <a16:creationId xmlns:a16="http://schemas.microsoft.com/office/drawing/2014/main" id="{CAEB2C4B-36FE-4ED2-94B5-077FFA3EA6C8}"/>
              </a:ext>
            </a:extLst>
          </p:cNvPr>
          <p:cNvSpPr>
            <a:spLocks noGrp="1"/>
          </p:cNvSpPr>
          <p:nvPr>
            <p:custDataLst>
              <p:tags r:id="rId7"/>
            </p:custDataLst>
          </p:nvPr>
        </p:nvSpPr>
        <p:spPr bwMode="auto">
          <a:xfrm>
            <a:off x="4978399"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Is India the </a:t>
            </a:r>
            <a:r>
              <a:rPr lang="en-US"/>
              <a:t>next destination?</a:t>
            </a:r>
            <a:endParaRPr lang="en-US" dirty="0"/>
          </a:p>
        </p:txBody>
      </p:sp>
      <p:sp>
        <p:nvSpPr>
          <p:cNvPr id="26" name="Text Placeholder 2">
            <a:extLst>
              <a:ext uri="{FF2B5EF4-FFF2-40B4-BE49-F238E27FC236}">
                <a16:creationId xmlns:a16="http://schemas.microsoft.com/office/drawing/2014/main" id="{D91D7050-EC07-468B-ADEF-8D582D58240D}"/>
              </a:ext>
            </a:extLst>
          </p:cNvPr>
          <p:cNvSpPr>
            <a:spLocks noGrp="1"/>
          </p:cNvSpPr>
          <p:nvPr>
            <p:custDataLst>
              <p:tags r:id="rId8"/>
            </p:custDataLst>
          </p:nvPr>
        </p:nvSpPr>
        <p:spPr bwMode="auto">
          <a:xfrm>
            <a:off x="4978400" y="3225800"/>
            <a:ext cx="6661150" cy="406400"/>
          </a:xfrm>
          <a:prstGeom prst="rect">
            <a:avLst/>
          </a:prstGeom>
          <a:solidFill>
            <a:schemeClr val="accent1"/>
          </a:solidFill>
          <a:ln>
            <a:noFill/>
          </a:ln>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Disruption is the name of </a:t>
            </a:r>
            <a:r>
              <a:rPr lang="en-US" altLang="en-US" b="1">
                <a:solidFill>
                  <a:schemeClr val="tx2"/>
                </a:solidFill>
              </a:rPr>
              <a:t>the game</a:t>
            </a:r>
            <a:endParaRPr lang="en-US" b="1" dirty="0">
              <a:solidFill>
                <a:schemeClr val="tx2"/>
              </a:solidFill>
            </a:endParaRPr>
          </a:p>
        </p:txBody>
      </p:sp>
      <p:sp>
        <p:nvSpPr>
          <p:cNvPr id="35" name="Text Placeholder 2">
            <a:hlinkClick r:id="rId15" action="ppaction://hlinksldjump"/>
            <a:extLst>
              <a:ext uri="{FF2B5EF4-FFF2-40B4-BE49-F238E27FC236}">
                <a16:creationId xmlns:a16="http://schemas.microsoft.com/office/drawing/2014/main" id="{095BF089-EB0D-48D3-8C85-F54F1EE5A6A2}"/>
              </a:ext>
            </a:extLst>
          </p:cNvPr>
          <p:cNvSpPr>
            <a:spLocks noGrp="1"/>
          </p:cNvSpPr>
          <p:nvPr>
            <p:custDataLst>
              <p:tags r:id="rId9"/>
            </p:custDataLst>
          </p:nvPr>
        </p:nvSpPr>
        <p:spPr bwMode="auto">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urrent affairs</a:t>
            </a:r>
            <a:endParaRPr lang="en-US" dirty="0"/>
          </a:p>
        </p:txBody>
      </p:sp>
      <p:pic>
        <p:nvPicPr>
          <p:cNvPr id="10" name="Content Placeholder 1">
            <a:extLst>
              <a:ext uri="{FF2B5EF4-FFF2-40B4-BE49-F238E27FC236}">
                <a16:creationId xmlns:a16="http://schemas.microsoft.com/office/drawing/2014/main" id="{BE9F4243-96A5-4E41-BF4E-5F96C4D40D5C}"/>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4979826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2" hidden="1">
            <a:extLst>
              <a:ext uri="{FF2B5EF4-FFF2-40B4-BE49-F238E27FC236}">
                <a16:creationId xmlns:a16="http://schemas.microsoft.com/office/drawing/2014/main" id="{3186AC0C-0FFA-4671-A1DC-D420757BAEF6}"/>
              </a:ext>
            </a:extLst>
          </p:cNvPr>
          <p:cNvGraphicFramePr>
            <a:graphicFrameLocks noChangeAspect="1"/>
          </p:cNvGraphicFramePr>
          <p:nvPr>
            <p:custDataLst>
              <p:tags r:id="rId2"/>
            </p:custDataLst>
            <p:extLst>
              <p:ext uri="{D42A27DB-BD31-4B8C-83A1-F6EECF244321}">
                <p14:modId xmlns:p14="http://schemas.microsoft.com/office/powerpoint/2010/main" val="3905097110"/>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3018" name="think-cell Slide" r:id="rId7" imgW="524" imgH="526" progId="TCLayout.ActiveDocument.1">
                  <p:embed/>
                </p:oleObj>
              </mc:Choice>
              <mc:Fallback>
                <p:oleObj name="think-cell Slide" r:id="rId7" imgW="524" imgH="526" progId="TCLayout.ActiveDocument.1">
                  <p:embed/>
                  <p:pic>
                    <p:nvPicPr>
                      <p:cNvPr id="13" name="Object 12" hidden="1">
                        <a:extLst>
                          <a:ext uri="{FF2B5EF4-FFF2-40B4-BE49-F238E27FC236}">
                            <a16:creationId xmlns:a16="http://schemas.microsoft.com/office/drawing/2014/main" id="{3186AC0C-0FFA-4671-A1DC-D420757BAEF6}"/>
                          </a:ext>
                        </a:extLst>
                      </p:cNvPr>
                      <p:cNvPicPr/>
                      <p:nvPr/>
                    </p:nvPicPr>
                    <p:blipFill>
                      <a:blip r:embed="rId8"/>
                      <a:stretch>
                        <a:fillRect/>
                      </a:stretch>
                    </p:blipFill>
                    <p:spPr>
                      <a:xfrm>
                        <a:off x="2118" y="2118"/>
                        <a:ext cx="2116" cy="2116"/>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DCC85-C928-4269-98C5-8F55A101DDBC}"/>
              </a:ext>
            </a:extLst>
          </p:cNvPr>
          <p:cNvSpPr>
            <a:spLocks noGrp="1"/>
          </p:cNvSpPr>
          <p:nvPr>
            <p:ph type="title"/>
          </p:nvPr>
        </p:nvSpPr>
        <p:spPr>
          <a:xfrm>
            <a:off x="373195" y="233244"/>
            <a:ext cx="11725484" cy="763414"/>
          </a:xfrm>
        </p:spPr>
        <p:txBody>
          <a:bodyPr vert="horz" wrap="square" anchor="t" anchorCtr="0">
            <a:spAutoFit/>
          </a:bodyPr>
          <a:lstStyle/>
          <a:p>
            <a:r>
              <a:rPr lang="en-US" dirty="0">
                <a:solidFill>
                  <a:srgbClr val="000000"/>
                </a:solidFill>
              </a:rPr>
              <a:t>We see three areas of potential significant impact for Digital and </a:t>
            </a:r>
            <a:br>
              <a:rPr lang="en-US" dirty="0">
                <a:solidFill>
                  <a:srgbClr val="000000"/>
                </a:solidFill>
              </a:rPr>
            </a:br>
            <a:r>
              <a:rPr lang="en-US" dirty="0" err="1">
                <a:solidFill>
                  <a:srgbClr val="000000"/>
                </a:solidFill>
              </a:rPr>
              <a:t>dvanced</a:t>
            </a:r>
            <a:r>
              <a:rPr lang="en-US" dirty="0">
                <a:solidFill>
                  <a:srgbClr val="000000"/>
                </a:solidFill>
              </a:rPr>
              <a:t> Analytics (AA) in Chemicals supply chain</a:t>
            </a:r>
          </a:p>
        </p:txBody>
      </p:sp>
      <p:grpSp>
        <p:nvGrpSpPr>
          <p:cNvPr id="21" name="Group 20">
            <a:extLst>
              <a:ext uri="{FF2B5EF4-FFF2-40B4-BE49-F238E27FC236}">
                <a16:creationId xmlns:a16="http://schemas.microsoft.com/office/drawing/2014/main" id="{87C4E717-D8AA-4290-805E-B4B8C49934BC}"/>
              </a:ext>
            </a:extLst>
          </p:cNvPr>
          <p:cNvGrpSpPr/>
          <p:nvPr/>
        </p:nvGrpSpPr>
        <p:grpSpPr>
          <a:xfrm>
            <a:off x="9860458" y="738758"/>
            <a:ext cx="1976967" cy="224552"/>
            <a:chOff x="6562726" y="591572"/>
            <a:chExt cx="1482725" cy="168414"/>
          </a:xfrm>
        </p:grpSpPr>
        <p:sp>
          <p:nvSpPr>
            <p:cNvPr id="31" name="Rectangle 29">
              <a:extLst>
                <a:ext uri="{FF2B5EF4-FFF2-40B4-BE49-F238E27FC236}">
                  <a16:creationId xmlns:a16="http://schemas.microsoft.com/office/drawing/2014/main" id="{8B566C5B-48AD-410F-8F4C-0666B39C0EB5}"/>
                </a:ext>
              </a:extLst>
            </p:cNvPr>
            <p:cNvSpPr>
              <a:spLocks noChangeArrowheads="1"/>
            </p:cNvSpPr>
            <p:nvPr/>
          </p:nvSpPr>
          <p:spPr bwMode="auto">
            <a:xfrm>
              <a:off x="6562726" y="591572"/>
              <a:ext cx="178916" cy="168414"/>
            </a:xfrm>
            <a:prstGeom prst="rect">
              <a:avLst/>
            </a:prstGeom>
            <a:solidFill>
              <a:schemeClr val="accent3"/>
            </a:solidFill>
            <a:ln>
              <a:noFill/>
            </a:ln>
            <a:effectLst/>
          </p:spPr>
          <p:txBody>
            <a:bodyPr wrap="none" lIns="121907" tIns="60953" rIns="121907" bIns="60953" anchor="ctr">
              <a:noAutofit/>
            </a:bodyPr>
            <a:lstStyle/>
            <a:p>
              <a:endParaRPr lang="en-GB" sz="1867" dirty="0"/>
            </a:p>
          </p:txBody>
        </p:sp>
        <p:sp>
          <p:nvSpPr>
            <p:cNvPr id="32" name="TextBox 31">
              <a:extLst>
                <a:ext uri="{FF2B5EF4-FFF2-40B4-BE49-F238E27FC236}">
                  <a16:creationId xmlns:a16="http://schemas.microsoft.com/office/drawing/2014/main" id="{B7C79AEA-68E6-486C-BE2B-1A4D8F16FB22}"/>
                </a:ext>
              </a:extLst>
            </p:cNvPr>
            <p:cNvSpPr txBox="1"/>
            <p:nvPr/>
          </p:nvSpPr>
          <p:spPr>
            <a:xfrm>
              <a:off x="6788769" y="593385"/>
              <a:ext cx="1256682" cy="164805"/>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428" dirty="0"/>
                <a:t>Enabling technology</a:t>
              </a:r>
            </a:p>
          </p:txBody>
        </p:sp>
      </p:grpSp>
      <p:sp>
        <p:nvSpPr>
          <p:cNvPr id="12" name="Rectangle 29">
            <a:extLst>
              <a:ext uri="{FF2B5EF4-FFF2-40B4-BE49-F238E27FC236}">
                <a16:creationId xmlns:a16="http://schemas.microsoft.com/office/drawing/2014/main" id="{A0124DC9-5C10-46A6-A881-8FD56F76F2DB}"/>
              </a:ext>
            </a:extLst>
          </p:cNvPr>
          <p:cNvSpPr>
            <a:spLocks noChangeArrowheads="1"/>
          </p:cNvSpPr>
          <p:nvPr/>
        </p:nvSpPr>
        <p:spPr bwMode="auto">
          <a:xfrm>
            <a:off x="1293411" y="1158112"/>
            <a:ext cx="10453316" cy="1682603"/>
          </a:xfrm>
          <a:prstGeom prst="rect">
            <a:avLst/>
          </a:prstGeom>
          <a:solidFill>
            <a:schemeClr val="accent6">
              <a:lumMod val="20000"/>
              <a:lumOff val="80000"/>
              <a:alpha val="50196"/>
            </a:schemeClr>
          </a:solidFill>
          <a:ln>
            <a:noFill/>
          </a:ln>
          <a:effectLst/>
        </p:spPr>
        <p:txBody>
          <a:bodyPr wrap="none" lIns="121907" tIns="60953" rIns="121907" bIns="60953" anchor="ctr">
            <a:noAutofit/>
          </a:bodyPr>
          <a:lstStyle/>
          <a:p>
            <a:endParaRPr lang="en-GB" sz="1733" dirty="0"/>
          </a:p>
        </p:txBody>
      </p:sp>
      <p:sp>
        <p:nvSpPr>
          <p:cNvPr id="18" name="Rectangle 29">
            <a:extLst>
              <a:ext uri="{FF2B5EF4-FFF2-40B4-BE49-F238E27FC236}">
                <a16:creationId xmlns:a16="http://schemas.microsoft.com/office/drawing/2014/main" id="{3458D6FF-4E18-44F7-BE68-008B5188E5E2}"/>
              </a:ext>
            </a:extLst>
          </p:cNvPr>
          <p:cNvSpPr>
            <a:spLocks noChangeArrowheads="1"/>
          </p:cNvSpPr>
          <p:nvPr/>
        </p:nvSpPr>
        <p:spPr bwMode="auto">
          <a:xfrm>
            <a:off x="8228423" y="1158112"/>
            <a:ext cx="3656827" cy="1682603"/>
          </a:xfrm>
          <a:prstGeom prst="rect">
            <a:avLst/>
          </a:prstGeom>
          <a:solidFill>
            <a:schemeClr val="accent3"/>
          </a:solidFill>
          <a:ln>
            <a:noFill/>
          </a:ln>
          <a:effectLst/>
        </p:spPr>
        <p:txBody>
          <a:bodyPr wrap="none" lIns="121907" tIns="60953" rIns="121907" bIns="60953" anchor="ctr">
            <a:noAutofit/>
          </a:bodyPr>
          <a:lstStyle/>
          <a:p>
            <a:endParaRPr lang="en-GB" sz="1733" dirty="0">
              <a:solidFill>
                <a:schemeClr val="bg1"/>
              </a:solidFill>
            </a:endParaRPr>
          </a:p>
        </p:txBody>
      </p:sp>
      <p:sp>
        <p:nvSpPr>
          <p:cNvPr id="33" name="Rectangle 32">
            <a:extLst>
              <a:ext uri="{FF2B5EF4-FFF2-40B4-BE49-F238E27FC236}">
                <a16:creationId xmlns:a16="http://schemas.microsoft.com/office/drawing/2014/main" id="{C47400B2-19A7-4941-8CA2-A98262EA97F9}"/>
              </a:ext>
            </a:extLst>
          </p:cNvPr>
          <p:cNvSpPr/>
          <p:nvPr/>
        </p:nvSpPr>
        <p:spPr>
          <a:xfrm>
            <a:off x="8361194" y="1419264"/>
            <a:ext cx="3391287" cy="902619"/>
          </a:xfrm>
          <a:prstGeom prst="rect">
            <a:avLst/>
          </a:prstGeom>
        </p:spPr>
        <p:txBody>
          <a:bodyPr wrap="square" lIns="0" tIns="0" rIns="0" bIns="0">
            <a:spAutoFit/>
          </a:bodyPr>
          <a:lstStyle/>
          <a:p>
            <a:pPr marL="228594" indent="-228594">
              <a:spcBef>
                <a:spcPts val="800"/>
              </a:spcBef>
              <a:buClr>
                <a:schemeClr val="bg1"/>
              </a:buClr>
              <a:buFont typeface="Wingdings" panose="05000000000000000000" pitchFamily="2" charset="2"/>
              <a:buChar char="§"/>
            </a:pPr>
            <a:r>
              <a:rPr lang="en-US" sz="1733" dirty="0">
                <a:solidFill>
                  <a:schemeClr val="bg1"/>
                </a:solidFill>
              </a:rPr>
              <a:t>Machine learning: tree-based models, neural networks, etc. </a:t>
            </a:r>
          </a:p>
          <a:p>
            <a:pPr marL="228594" indent="-228594">
              <a:spcBef>
                <a:spcPts val="800"/>
              </a:spcBef>
              <a:buClr>
                <a:schemeClr val="bg1"/>
              </a:buClr>
              <a:buFont typeface="Wingdings" panose="05000000000000000000" pitchFamily="2" charset="2"/>
              <a:buChar char="§"/>
            </a:pPr>
            <a:r>
              <a:rPr lang="en-US" sz="1733" dirty="0">
                <a:solidFill>
                  <a:schemeClr val="bg1"/>
                </a:solidFill>
              </a:rPr>
              <a:t>Advanced computing</a:t>
            </a:r>
          </a:p>
        </p:txBody>
      </p:sp>
      <p:sp>
        <p:nvSpPr>
          <p:cNvPr id="22" name="TextBox 21">
            <a:extLst>
              <a:ext uri="{FF2B5EF4-FFF2-40B4-BE49-F238E27FC236}">
                <a16:creationId xmlns:a16="http://schemas.microsoft.com/office/drawing/2014/main" id="{E0445D51-330B-44FE-B85D-5C4D634301DB}"/>
              </a:ext>
            </a:extLst>
          </p:cNvPr>
          <p:cNvSpPr txBox="1"/>
          <p:nvPr/>
        </p:nvSpPr>
        <p:spPr>
          <a:xfrm>
            <a:off x="2340518" y="1373601"/>
            <a:ext cx="5631991" cy="1169294"/>
          </a:xfrm>
          <a:prstGeom prst="rect">
            <a:avLst/>
          </a:prstGeom>
        </p:spPr>
        <p:txBody>
          <a:bodyPr vert="horz" wrap="square" lIns="0" tIns="0" rIns="0" bIns="0" rtlCol="0" anchor="t" anchorCtr="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pPr lvl="1">
              <a:spcBef>
                <a:spcPts val="800"/>
              </a:spcBef>
            </a:pPr>
            <a:r>
              <a:rPr lang="en-US" sz="1733" dirty="0"/>
              <a:t>Probabilistic demand forecasting using predictive analytics (e.g., statistical regression and machine learning) and leveraging big data </a:t>
            </a:r>
          </a:p>
          <a:p>
            <a:pPr lvl="1">
              <a:spcBef>
                <a:spcPts val="800"/>
              </a:spcBef>
            </a:pPr>
            <a:r>
              <a:rPr lang="en-US" sz="1733" dirty="0"/>
              <a:t>Increased forecast accuracy and granularity</a:t>
            </a:r>
          </a:p>
        </p:txBody>
      </p:sp>
      <p:sp>
        <p:nvSpPr>
          <p:cNvPr id="14" name="Rectangle 29">
            <a:extLst>
              <a:ext uri="{FF2B5EF4-FFF2-40B4-BE49-F238E27FC236}">
                <a16:creationId xmlns:a16="http://schemas.microsoft.com/office/drawing/2014/main" id="{883BCF93-91FB-4602-BA6A-23609270B1B5}"/>
              </a:ext>
            </a:extLst>
          </p:cNvPr>
          <p:cNvSpPr>
            <a:spLocks noChangeArrowheads="1"/>
          </p:cNvSpPr>
          <p:nvPr/>
        </p:nvSpPr>
        <p:spPr bwMode="auto">
          <a:xfrm>
            <a:off x="1293411" y="2967271"/>
            <a:ext cx="10453316" cy="1925663"/>
          </a:xfrm>
          <a:prstGeom prst="rect">
            <a:avLst/>
          </a:prstGeom>
          <a:solidFill>
            <a:schemeClr val="accent6">
              <a:lumMod val="20000"/>
              <a:lumOff val="80000"/>
              <a:alpha val="50196"/>
            </a:schemeClr>
          </a:solidFill>
          <a:ln>
            <a:noFill/>
          </a:ln>
          <a:effectLst/>
        </p:spPr>
        <p:txBody>
          <a:bodyPr wrap="none" lIns="121907" tIns="60953" rIns="121907" bIns="60953" anchor="ctr">
            <a:noAutofit/>
          </a:bodyPr>
          <a:lstStyle/>
          <a:p>
            <a:endParaRPr lang="en-GB" sz="1733" dirty="0"/>
          </a:p>
        </p:txBody>
      </p:sp>
      <p:sp>
        <p:nvSpPr>
          <p:cNvPr id="19" name="Rectangle 29">
            <a:extLst>
              <a:ext uri="{FF2B5EF4-FFF2-40B4-BE49-F238E27FC236}">
                <a16:creationId xmlns:a16="http://schemas.microsoft.com/office/drawing/2014/main" id="{960E5E18-EC30-49EB-9DCD-1BCF25FCC520}"/>
              </a:ext>
            </a:extLst>
          </p:cNvPr>
          <p:cNvSpPr>
            <a:spLocks noChangeArrowheads="1"/>
          </p:cNvSpPr>
          <p:nvPr/>
        </p:nvSpPr>
        <p:spPr bwMode="auto">
          <a:xfrm>
            <a:off x="8228423" y="3025523"/>
            <a:ext cx="3656827" cy="1867411"/>
          </a:xfrm>
          <a:prstGeom prst="rect">
            <a:avLst/>
          </a:prstGeom>
          <a:solidFill>
            <a:schemeClr val="accent3"/>
          </a:solidFill>
          <a:ln>
            <a:noFill/>
          </a:ln>
          <a:effectLst/>
        </p:spPr>
        <p:txBody>
          <a:bodyPr wrap="none" lIns="121907" tIns="60953" rIns="121907" bIns="60953" anchor="ctr">
            <a:noAutofit/>
          </a:bodyPr>
          <a:lstStyle/>
          <a:p>
            <a:endParaRPr lang="en-GB" sz="1733" dirty="0">
              <a:solidFill>
                <a:schemeClr val="bg1"/>
              </a:solidFill>
            </a:endParaRPr>
          </a:p>
        </p:txBody>
      </p:sp>
      <p:sp>
        <p:nvSpPr>
          <p:cNvPr id="34" name="Rectangle 33">
            <a:extLst>
              <a:ext uri="{FF2B5EF4-FFF2-40B4-BE49-F238E27FC236}">
                <a16:creationId xmlns:a16="http://schemas.microsoft.com/office/drawing/2014/main" id="{5031AC64-C0E7-43D5-9E30-DC49D5CCD49E}"/>
              </a:ext>
            </a:extLst>
          </p:cNvPr>
          <p:cNvSpPr/>
          <p:nvPr/>
        </p:nvSpPr>
        <p:spPr>
          <a:xfrm>
            <a:off x="8357462" y="3104999"/>
            <a:ext cx="3389265" cy="1641155"/>
          </a:xfrm>
          <a:prstGeom prst="rect">
            <a:avLst/>
          </a:prstGeom>
        </p:spPr>
        <p:txBody>
          <a:bodyPr wrap="square" lIns="0" tIns="0" rIns="0" bIns="0">
            <a:spAutoFit/>
          </a:bodyPr>
          <a:lstStyle/>
          <a:p>
            <a:pPr marL="228594" indent="-228594">
              <a:spcBef>
                <a:spcPts val="800"/>
              </a:spcBef>
              <a:buClr>
                <a:schemeClr val="bg1"/>
              </a:buClr>
              <a:buFont typeface="Wingdings" panose="05000000000000000000" pitchFamily="2" charset="2"/>
              <a:buChar char="§"/>
            </a:pPr>
            <a:r>
              <a:rPr lang="en-US" sz="1733" dirty="0">
                <a:solidFill>
                  <a:schemeClr val="bg1"/>
                </a:solidFill>
              </a:rPr>
              <a:t>Advanced optimization engines</a:t>
            </a:r>
          </a:p>
          <a:p>
            <a:pPr marL="228594" indent="-228594">
              <a:spcBef>
                <a:spcPts val="800"/>
              </a:spcBef>
              <a:buClr>
                <a:schemeClr val="bg1"/>
              </a:buClr>
              <a:buFont typeface="Wingdings" panose="05000000000000000000" pitchFamily="2" charset="2"/>
              <a:buChar char="§"/>
            </a:pPr>
            <a:r>
              <a:rPr lang="en-US" sz="1733" dirty="0">
                <a:solidFill>
                  <a:schemeClr val="bg1"/>
                </a:solidFill>
              </a:rPr>
              <a:t>Advanced modelling (e.g., multi-method modelling)</a:t>
            </a:r>
          </a:p>
          <a:p>
            <a:pPr marL="228594" indent="-228594">
              <a:spcBef>
                <a:spcPts val="800"/>
              </a:spcBef>
              <a:buClr>
                <a:schemeClr val="bg1"/>
              </a:buClr>
              <a:buFont typeface="Wingdings" panose="05000000000000000000" pitchFamily="2" charset="2"/>
              <a:buChar char="§"/>
            </a:pPr>
            <a:r>
              <a:rPr lang="en-US" sz="1733" dirty="0">
                <a:solidFill>
                  <a:schemeClr val="bg1"/>
                </a:solidFill>
              </a:rPr>
              <a:t>Cloud-based technologies</a:t>
            </a:r>
          </a:p>
          <a:p>
            <a:pPr marL="228594" indent="-228594">
              <a:spcBef>
                <a:spcPts val="800"/>
              </a:spcBef>
              <a:buClr>
                <a:schemeClr val="bg1"/>
              </a:buClr>
              <a:buFont typeface="Wingdings" panose="05000000000000000000" pitchFamily="2" charset="2"/>
              <a:buChar char="§"/>
            </a:pPr>
            <a:r>
              <a:rPr lang="en-US" sz="1733" dirty="0">
                <a:solidFill>
                  <a:schemeClr val="bg1"/>
                </a:solidFill>
              </a:rPr>
              <a:t>Digital ways of working (DWoW)</a:t>
            </a:r>
          </a:p>
        </p:txBody>
      </p:sp>
      <p:sp>
        <p:nvSpPr>
          <p:cNvPr id="25" name="TextBox 24">
            <a:extLst>
              <a:ext uri="{FF2B5EF4-FFF2-40B4-BE49-F238E27FC236}">
                <a16:creationId xmlns:a16="http://schemas.microsoft.com/office/drawing/2014/main" id="{C63B6735-8B40-4DE7-B61D-4AFA97849547}"/>
              </a:ext>
            </a:extLst>
          </p:cNvPr>
          <p:cNvSpPr txBox="1"/>
          <p:nvPr/>
        </p:nvSpPr>
        <p:spPr>
          <a:xfrm>
            <a:off x="2340520" y="3039819"/>
            <a:ext cx="5631989" cy="1805238"/>
          </a:xfrm>
          <a:prstGeom prst="rect">
            <a:avLst/>
          </a:prstGeom>
        </p:spPr>
        <p:txBody>
          <a:bodyPr vert="horz" wrap="square" lIns="0" tIns="0" rIns="0" bIns="0" rtlCol="0" anchor="t" anchorCtr="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pPr lvl="1">
              <a:spcBef>
                <a:spcPts val="800"/>
              </a:spcBef>
            </a:pPr>
            <a:r>
              <a:rPr lang="en-US" sz="1733" dirty="0"/>
              <a:t>E2E network optimization including closed-loop planning &amp; margin-optimized production incorporating raw material supply, production planning, distribution, inventory, sales and demand</a:t>
            </a:r>
          </a:p>
          <a:p>
            <a:pPr lvl="1">
              <a:spcBef>
                <a:spcPts val="800"/>
              </a:spcBef>
            </a:pPr>
            <a:r>
              <a:rPr lang="en-US" sz="1733" dirty="0"/>
              <a:t>Digital S&amp;OP with integrated profit optimization</a:t>
            </a:r>
          </a:p>
          <a:p>
            <a:pPr lvl="1">
              <a:spcBef>
                <a:spcPts val="800"/>
              </a:spcBef>
            </a:pPr>
            <a:r>
              <a:rPr lang="en-US" sz="1733" dirty="0"/>
              <a:t>Real-time supply chain visibility / transparency  </a:t>
            </a:r>
          </a:p>
        </p:txBody>
      </p:sp>
      <p:sp>
        <p:nvSpPr>
          <p:cNvPr id="3" name="Oval 41">
            <a:extLst>
              <a:ext uri="{FF2B5EF4-FFF2-40B4-BE49-F238E27FC236}">
                <a16:creationId xmlns:a16="http://schemas.microsoft.com/office/drawing/2014/main" id="{5CC2C436-C1FA-4776-B214-E071928CE94F}"/>
              </a:ext>
            </a:extLst>
          </p:cNvPr>
          <p:cNvSpPr>
            <a:spLocks noChangeArrowheads="1"/>
          </p:cNvSpPr>
          <p:nvPr>
            <p:custDataLst>
              <p:tags r:id="rId3"/>
            </p:custDataLst>
          </p:nvPr>
        </p:nvSpPr>
        <p:spPr bwMode="auto">
          <a:xfrm>
            <a:off x="373195" y="1158112"/>
            <a:ext cx="1682603" cy="1682603"/>
          </a:xfrm>
          <a:prstGeom prst="ellipse">
            <a:avLst/>
          </a:prstGeom>
          <a:solidFill>
            <a:schemeClr val="accent5"/>
          </a:solidFill>
          <a:ln w="5715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GB" sz="1733" dirty="0"/>
          </a:p>
        </p:txBody>
      </p:sp>
      <p:sp>
        <p:nvSpPr>
          <p:cNvPr id="4" name="TextBox 3">
            <a:extLst>
              <a:ext uri="{FF2B5EF4-FFF2-40B4-BE49-F238E27FC236}">
                <a16:creationId xmlns:a16="http://schemas.microsoft.com/office/drawing/2014/main" id="{C9A32533-39A7-4819-9AC2-3EA276B1AA71}"/>
              </a:ext>
            </a:extLst>
          </p:cNvPr>
          <p:cNvSpPr txBox="1">
            <a:spLocks/>
          </p:cNvSpPr>
          <p:nvPr/>
        </p:nvSpPr>
        <p:spPr>
          <a:xfrm>
            <a:off x="388629" y="1521240"/>
            <a:ext cx="1651737" cy="106670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chemeClr val="accent2"/>
              </a:buClr>
            </a:pPr>
            <a:r>
              <a:rPr lang="en-US" sz="1733" b="1" dirty="0">
                <a:solidFill>
                  <a:schemeClr val="bg1"/>
                </a:solidFill>
                <a:latin typeface="+mj-lt"/>
              </a:rPr>
              <a:t>Predictive analytics in demand planning</a:t>
            </a:r>
            <a:endParaRPr lang="en-US" sz="1733" dirty="0">
              <a:solidFill>
                <a:schemeClr val="bg1"/>
              </a:solidFill>
              <a:latin typeface="+mj-lt"/>
            </a:endParaRPr>
          </a:p>
        </p:txBody>
      </p:sp>
      <p:sp>
        <p:nvSpPr>
          <p:cNvPr id="5" name="TextBox 4">
            <a:extLst>
              <a:ext uri="{FF2B5EF4-FFF2-40B4-BE49-F238E27FC236}">
                <a16:creationId xmlns:a16="http://schemas.microsoft.com/office/drawing/2014/main" id="{13925038-2DBC-4017-B40F-B44E45162518}"/>
              </a:ext>
            </a:extLst>
          </p:cNvPr>
          <p:cNvSpPr txBox="1"/>
          <p:nvPr/>
        </p:nvSpPr>
        <p:spPr>
          <a:xfrm>
            <a:off x="1044746" y="1209829"/>
            <a:ext cx="339503" cy="266676"/>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pPr algn="ctr"/>
            <a:r>
              <a:rPr lang="en-US" sz="1733" b="1" dirty="0">
                <a:solidFill>
                  <a:schemeClr val="bg1"/>
                </a:solidFill>
              </a:rPr>
              <a:t>1</a:t>
            </a:r>
          </a:p>
        </p:txBody>
      </p:sp>
      <p:sp>
        <p:nvSpPr>
          <p:cNvPr id="6" name="Oval 41">
            <a:extLst>
              <a:ext uri="{FF2B5EF4-FFF2-40B4-BE49-F238E27FC236}">
                <a16:creationId xmlns:a16="http://schemas.microsoft.com/office/drawing/2014/main" id="{948743A1-93AC-49EA-B8C4-4560B4ADA257}"/>
              </a:ext>
            </a:extLst>
          </p:cNvPr>
          <p:cNvSpPr>
            <a:spLocks noChangeArrowheads="1"/>
          </p:cNvSpPr>
          <p:nvPr>
            <p:custDataLst>
              <p:tags r:id="rId4"/>
            </p:custDataLst>
          </p:nvPr>
        </p:nvSpPr>
        <p:spPr bwMode="auto">
          <a:xfrm>
            <a:off x="373195" y="3088800"/>
            <a:ext cx="1682603" cy="1682603"/>
          </a:xfrm>
          <a:prstGeom prst="ellipse">
            <a:avLst/>
          </a:prstGeom>
          <a:solidFill>
            <a:schemeClr val="accent5"/>
          </a:solidFill>
          <a:ln w="5715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GB" sz="1733" dirty="0"/>
          </a:p>
        </p:txBody>
      </p:sp>
      <p:grpSp>
        <p:nvGrpSpPr>
          <p:cNvPr id="44" name="Group 43">
            <a:extLst>
              <a:ext uri="{FF2B5EF4-FFF2-40B4-BE49-F238E27FC236}">
                <a16:creationId xmlns:a16="http://schemas.microsoft.com/office/drawing/2014/main" id="{5D737DF3-3771-48D5-87D8-E35F017E7143}"/>
              </a:ext>
            </a:extLst>
          </p:cNvPr>
          <p:cNvGrpSpPr/>
          <p:nvPr/>
        </p:nvGrpSpPr>
        <p:grpSpPr>
          <a:xfrm>
            <a:off x="447591" y="3160892"/>
            <a:ext cx="1555012" cy="1324986"/>
            <a:chOff x="335693" y="2179127"/>
            <a:chExt cx="1166259" cy="993740"/>
          </a:xfrm>
        </p:grpSpPr>
        <p:sp>
          <p:nvSpPr>
            <p:cNvPr id="7" name="TextBox 6">
              <a:extLst>
                <a:ext uri="{FF2B5EF4-FFF2-40B4-BE49-F238E27FC236}">
                  <a16:creationId xmlns:a16="http://schemas.microsoft.com/office/drawing/2014/main" id="{59316DA4-0071-4B72-98A7-39C3B38C8767}"/>
                </a:ext>
              </a:extLst>
            </p:cNvPr>
            <p:cNvSpPr txBox="1">
              <a:spLocks/>
            </p:cNvSpPr>
            <p:nvPr/>
          </p:nvSpPr>
          <p:spPr>
            <a:xfrm>
              <a:off x="335693" y="2403233"/>
              <a:ext cx="1166259" cy="7696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chemeClr val="accent2"/>
                </a:buClr>
              </a:pPr>
              <a:r>
                <a:rPr lang="en-US" sz="1667" b="1" dirty="0">
                  <a:solidFill>
                    <a:schemeClr val="bg1"/>
                  </a:solidFill>
                </a:rPr>
                <a:t>Analytics based E2E network optimization</a:t>
              </a:r>
            </a:p>
          </p:txBody>
        </p:sp>
        <p:sp>
          <p:nvSpPr>
            <p:cNvPr id="8" name="TextBox 7">
              <a:extLst>
                <a:ext uri="{FF2B5EF4-FFF2-40B4-BE49-F238E27FC236}">
                  <a16:creationId xmlns:a16="http://schemas.microsoft.com/office/drawing/2014/main" id="{BCD9A48E-1C71-419F-9F64-3937F3F63617}"/>
                </a:ext>
              </a:extLst>
            </p:cNvPr>
            <p:cNvSpPr txBox="1"/>
            <p:nvPr/>
          </p:nvSpPr>
          <p:spPr>
            <a:xfrm>
              <a:off x="783559" y="2179127"/>
              <a:ext cx="254627" cy="200007"/>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pPr algn="ctr"/>
              <a:r>
                <a:rPr lang="en-US" sz="1733" b="1" dirty="0">
                  <a:solidFill>
                    <a:schemeClr val="bg1"/>
                  </a:solidFill>
                </a:rPr>
                <a:t>2</a:t>
              </a:r>
            </a:p>
          </p:txBody>
        </p:sp>
      </p:grpSp>
      <p:grpSp>
        <p:nvGrpSpPr>
          <p:cNvPr id="16" name="Group 15">
            <a:extLst>
              <a:ext uri="{FF2B5EF4-FFF2-40B4-BE49-F238E27FC236}">
                <a16:creationId xmlns:a16="http://schemas.microsoft.com/office/drawing/2014/main" id="{AC29577E-9096-4080-8EAF-82BA93888221}"/>
              </a:ext>
            </a:extLst>
          </p:cNvPr>
          <p:cNvGrpSpPr/>
          <p:nvPr/>
        </p:nvGrpSpPr>
        <p:grpSpPr>
          <a:xfrm>
            <a:off x="373195" y="5040667"/>
            <a:ext cx="11512055" cy="1682603"/>
            <a:chOff x="279896" y="3645328"/>
            <a:chExt cx="8634041" cy="1261952"/>
          </a:xfrm>
        </p:grpSpPr>
        <p:sp>
          <p:nvSpPr>
            <p:cNvPr id="15" name="Rectangle 29">
              <a:extLst>
                <a:ext uri="{FF2B5EF4-FFF2-40B4-BE49-F238E27FC236}">
                  <a16:creationId xmlns:a16="http://schemas.microsoft.com/office/drawing/2014/main" id="{F59A3A82-4559-4458-BCA5-8B315C8C08E9}"/>
                </a:ext>
              </a:extLst>
            </p:cNvPr>
            <p:cNvSpPr>
              <a:spLocks noChangeArrowheads="1"/>
            </p:cNvSpPr>
            <p:nvPr/>
          </p:nvSpPr>
          <p:spPr bwMode="auto">
            <a:xfrm>
              <a:off x="970058" y="3645328"/>
              <a:ext cx="7839987" cy="1261952"/>
            </a:xfrm>
            <a:prstGeom prst="rect">
              <a:avLst/>
            </a:prstGeom>
            <a:solidFill>
              <a:schemeClr val="accent6">
                <a:lumMod val="20000"/>
                <a:lumOff val="80000"/>
                <a:alpha val="50196"/>
              </a:schemeClr>
            </a:solidFill>
            <a:ln>
              <a:noFill/>
            </a:ln>
            <a:effectLst/>
          </p:spPr>
          <p:txBody>
            <a:bodyPr wrap="none" lIns="121907" tIns="60953" rIns="121907" bIns="60953" anchor="ctr">
              <a:noAutofit/>
            </a:bodyPr>
            <a:lstStyle/>
            <a:p>
              <a:endParaRPr lang="en-GB" sz="1733" dirty="0"/>
            </a:p>
          </p:txBody>
        </p:sp>
        <p:sp>
          <p:nvSpPr>
            <p:cNvPr id="9" name="Oval 41">
              <a:extLst>
                <a:ext uri="{FF2B5EF4-FFF2-40B4-BE49-F238E27FC236}">
                  <a16:creationId xmlns:a16="http://schemas.microsoft.com/office/drawing/2014/main" id="{ED7EDB6E-9824-4449-9294-B2913789F1F7}"/>
                </a:ext>
              </a:extLst>
            </p:cNvPr>
            <p:cNvSpPr>
              <a:spLocks noChangeArrowheads="1"/>
            </p:cNvSpPr>
            <p:nvPr>
              <p:custDataLst>
                <p:tags r:id="rId5"/>
              </p:custDataLst>
            </p:nvPr>
          </p:nvSpPr>
          <p:spPr bwMode="auto">
            <a:xfrm>
              <a:off x="279896" y="3645328"/>
              <a:ext cx="1261952" cy="1261952"/>
            </a:xfrm>
            <a:prstGeom prst="ellipse">
              <a:avLst/>
            </a:prstGeom>
            <a:solidFill>
              <a:schemeClr val="accent5"/>
            </a:solidFill>
            <a:ln w="5715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GB" sz="1733" dirty="0"/>
            </a:p>
          </p:txBody>
        </p:sp>
        <p:sp>
          <p:nvSpPr>
            <p:cNvPr id="10" name="TextBox 9">
              <a:extLst>
                <a:ext uri="{FF2B5EF4-FFF2-40B4-BE49-F238E27FC236}">
                  <a16:creationId xmlns:a16="http://schemas.microsoft.com/office/drawing/2014/main" id="{A0C97C4D-3BE0-4F58-A7D2-1AF3F8E9BC81}"/>
                </a:ext>
              </a:extLst>
            </p:cNvPr>
            <p:cNvSpPr txBox="1">
              <a:spLocks/>
            </p:cNvSpPr>
            <p:nvPr/>
          </p:nvSpPr>
          <p:spPr>
            <a:xfrm>
              <a:off x="364014" y="3963369"/>
              <a:ext cx="1166260" cy="80002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chemeClr val="accent2"/>
                </a:buClr>
              </a:pPr>
              <a:r>
                <a:rPr lang="en-US" sz="1733" b="1" dirty="0">
                  <a:solidFill>
                    <a:schemeClr val="bg1"/>
                  </a:solidFill>
                  <a:latin typeface="+mj-lt"/>
                </a:rPr>
                <a:t>Robotics in material handling and transport</a:t>
              </a:r>
              <a:endParaRPr lang="en-US" sz="1733" dirty="0">
                <a:solidFill>
                  <a:schemeClr val="bg1"/>
                </a:solidFill>
                <a:latin typeface="+mj-lt"/>
              </a:endParaRPr>
            </a:p>
          </p:txBody>
        </p:sp>
        <p:sp>
          <p:nvSpPr>
            <p:cNvPr id="11" name="TextBox 10">
              <a:extLst>
                <a:ext uri="{FF2B5EF4-FFF2-40B4-BE49-F238E27FC236}">
                  <a16:creationId xmlns:a16="http://schemas.microsoft.com/office/drawing/2014/main" id="{E875932A-30DC-451F-B512-5E059C90F3E9}"/>
                </a:ext>
              </a:extLst>
            </p:cNvPr>
            <p:cNvSpPr txBox="1"/>
            <p:nvPr/>
          </p:nvSpPr>
          <p:spPr>
            <a:xfrm>
              <a:off x="783559" y="3763362"/>
              <a:ext cx="254627" cy="200007"/>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pPr algn="ctr"/>
              <a:r>
                <a:rPr lang="en-US" sz="1733" b="1" dirty="0">
                  <a:solidFill>
                    <a:schemeClr val="bg1"/>
                  </a:solidFill>
                </a:rPr>
                <a:t>3</a:t>
              </a:r>
            </a:p>
          </p:txBody>
        </p:sp>
        <p:sp>
          <p:nvSpPr>
            <p:cNvPr id="20" name="Rectangle 29">
              <a:extLst>
                <a:ext uri="{FF2B5EF4-FFF2-40B4-BE49-F238E27FC236}">
                  <a16:creationId xmlns:a16="http://schemas.microsoft.com/office/drawing/2014/main" id="{734E1BAD-83E9-4EBC-A37E-47280D8BF04D}"/>
                </a:ext>
              </a:extLst>
            </p:cNvPr>
            <p:cNvSpPr>
              <a:spLocks noChangeArrowheads="1"/>
            </p:cNvSpPr>
            <p:nvPr/>
          </p:nvSpPr>
          <p:spPr bwMode="auto">
            <a:xfrm>
              <a:off x="6171317" y="3645328"/>
              <a:ext cx="2742620" cy="1180790"/>
            </a:xfrm>
            <a:prstGeom prst="rect">
              <a:avLst/>
            </a:prstGeom>
            <a:solidFill>
              <a:schemeClr val="accent3"/>
            </a:solidFill>
            <a:ln>
              <a:noFill/>
            </a:ln>
            <a:effectLst/>
          </p:spPr>
          <p:txBody>
            <a:bodyPr wrap="none" lIns="121907" tIns="60953" rIns="121907" bIns="60953" anchor="ctr">
              <a:noAutofit/>
            </a:bodyPr>
            <a:lstStyle/>
            <a:p>
              <a:endParaRPr lang="en-GB" sz="1733" dirty="0">
                <a:solidFill>
                  <a:schemeClr val="bg1"/>
                </a:solidFill>
              </a:endParaRPr>
            </a:p>
          </p:txBody>
        </p:sp>
        <p:sp>
          <p:nvSpPr>
            <p:cNvPr id="35" name="Rectangle 34">
              <a:extLst>
                <a:ext uri="{FF2B5EF4-FFF2-40B4-BE49-F238E27FC236}">
                  <a16:creationId xmlns:a16="http://schemas.microsoft.com/office/drawing/2014/main" id="{C445D731-1786-4414-A10D-D0D0ACB2E014}"/>
                </a:ext>
              </a:extLst>
            </p:cNvPr>
            <p:cNvSpPr/>
            <p:nvPr/>
          </p:nvSpPr>
          <p:spPr>
            <a:xfrm>
              <a:off x="6268096" y="3763362"/>
              <a:ext cx="2541950" cy="876970"/>
            </a:xfrm>
            <a:prstGeom prst="rect">
              <a:avLst/>
            </a:prstGeom>
          </p:spPr>
          <p:txBody>
            <a:bodyPr wrap="square" lIns="0" tIns="0" rIns="0" bIns="0">
              <a:spAutoFit/>
            </a:bodyPr>
            <a:lstStyle/>
            <a:p>
              <a:pPr marL="228594" indent="-228594">
                <a:spcBef>
                  <a:spcPts val="800"/>
                </a:spcBef>
                <a:buClr>
                  <a:schemeClr val="bg1"/>
                </a:buClr>
                <a:buFont typeface="Wingdings" panose="05000000000000000000" pitchFamily="2" charset="2"/>
                <a:buChar char="§"/>
              </a:pPr>
              <a:r>
                <a:rPr lang="en-US" sz="1733" dirty="0">
                  <a:solidFill>
                    <a:schemeClr val="bg1"/>
                  </a:solidFill>
                </a:rPr>
                <a:t>Robotics including sensory systems</a:t>
              </a:r>
            </a:p>
            <a:p>
              <a:pPr marL="228594" indent="-228594">
                <a:spcBef>
                  <a:spcPts val="800"/>
                </a:spcBef>
                <a:buClr>
                  <a:schemeClr val="bg1"/>
                </a:buClr>
                <a:buFont typeface="Wingdings" panose="05000000000000000000" pitchFamily="2" charset="2"/>
                <a:buChar char="§"/>
              </a:pPr>
              <a:r>
                <a:rPr lang="en-US" sz="1733" dirty="0">
                  <a:solidFill>
                    <a:schemeClr val="bg1"/>
                  </a:solidFill>
                </a:rPr>
                <a:t>Artificial intelligence (AI) &amp; cognitive systems</a:t>
              </a:r>
            </a:p>
          </p:txBody>
        </p:sp>
        <p:sp>
          <p:nvSpPr>
            <p:cNvPr id="30" name="TextBox 29">
              <a:extLst>
                <a:ext uri="{FF2B5EF4-FFF2-40B4-BE49-F238E27FC236}">
                  <a16:creationId xmlns:a16="http://schemas.microsoft.com/office/drawing/2014/main" id="{EFBC643F-1B28-4D7D-B34A-77B9BF69754F}"/>
                </a:ext>
              </a:extLst>
            </p:cNvPr>
            <p:cNvSpPr txBox="1"/>
            <p:nvPr/>
          </p:nvSpPr>
          <p:spPr>
            <a:xfrm>
              <a:off x="1755388" y="3748900"/>
              <a:ext cx="4404354" cy="876970"/>
            </a:xfrm>
            <a:prstGeom prst="rect">
              <a:avLst/>
            </a:prstGeom>
          </p:spPr>
          <p:txBody>
            <a:bodyPr vert="horz" wrap="square" lIns="0" tIns="0" rIns="0" bIns="0" rtlCol="0" anchor="t" anchorCtr="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pPr lvl="1">
                <a:spcBef>
                  <a:spcPts val="800"/>
                </a:spcBef>
              </a:pPr>
              <a:r>
                <a:rPr lang="en-US" sz="1733" dirty="0"/>
                <a:t>Automated warehouse robots, robotic / automated cargo handling, autonomous guided vehicles (AGVs) for transport </a:t>
              </a:r>
            </a:p>
            <a:p>
              <a:pPr lvl="1">
                <a:spcBef>
                  <a:spcPts val="800"/>
                </a:spcBef>
              </a:pPr>
              <a:r>
                <a:rPr lang="en-US" sz="1733" dirty="0"/>
                <a:t>Increased speed, flexibility and safety while reducing cost</a:t>
              </a:r>
            </a:p>
          </p:txBody>
        </p:sp>
      </p:grpSp>
      <p:pic>
        <p:nvPicPr>
          <p:cNvPr id="36" name="Content Placeholder 1">
            <a:extLst>
              <a:ext uri="{FF2B5EF4-FFF2-40B4-BE49-F238E27FC236}">
                <a16:creationId xmlns:a16="http://schemas.microsoft.com/office/drawing/2014/main" id="{663F1E5D-45FE-4FFA-84BE-C50EBC7996E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40780692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FBEAF6-6381-4776-8FF5-296BECA49473}"/>
              </a:ext>
            </a:extLst>
          </p:cNvPr>
          <p:cNvGraphicFramePr>
            <a:graphicFrameLocks noChangeAspect="1"/>
          </p:cNvGraphicFramePr>
          <p:nvPr>
            <p:custDataLst>
              <p:tags r:id="rId2"/>
            </p:custDataLst>
            <p:extLst>
              <p:ext uri="{D42A27DB-BD31-4B8C-83A1-F6EECF244321}">
                <p14:modId xmlns:p14="http://schemas.microsoft.com/office/powerpoint/2010/main" val="3708593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41B4944-07C1-43B6-AA7C-FCE1C46B7CED}"/>
              </a:ext>
            </a:extLst>
          </p:cNvPr>
          <p:cNvSpPr>
            <a:spLocks noGrp="1"/>
          </p:cNvSpPr>
          <p:nvPr>
            <p:ph type="title"/>
          </p:nvPr>
        </p:nvSpPr>
        <p:spPr>
          <a:xfrm>
            <a:off x="0" y="227722"/>
            <a:ext cx="11725484" cy="410369"/>
          </a:xfrm>
        </p:spPr>
        <p:txBody>
          <a:bodyPr vert="horz"/>
          <a:lstStyle/>
          <a:p>
            <a:pPr marL="455073"/>
            <a:r>
              <a:rPr lang="en-US" dirty="0"/>
              <a:t>Robotics use case examples in Chem SC and logistics (1/2)</a:t>
            </a:r>
          </a:p>
        </p:txBody>
      </p:sp>
      <p:sp>
        <p:nvSpPr>
          <p:cNvPr id="3" name="TextBox 2">
            <a:extLst>
              <a:ext uri="{FF2B5EF4-FFF2-40B4-BE49-F238E27FC236}">
                <a16:creationId xmlns:a16="http://schemas.microsoft.com/office/drawing/2014/main" id="{BCBBD605-6600-4C0B-8444-02F56FD72822}"/>
              </a:ext>
            </a:extLst>
          </p:cNvPr>
          <p:cNvSpPr txBox="1"/>
          <p:nvPr/>
        </p:nvSpPr>
        <p:spPr>
          <a:xfrm>
            <a:off x="4656084" y="825765"/>
            <a:ext cx="3006701" cy="246221"/>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600" b="1" dirty="0">
                <a:solidFill>
                  <a:schemeClr val="accent2"/>
                </a:solidFill>
              </a:rPr>
              <a:t>Palletizing and depalletizing </a:t>
            </a:r>
          </a:p>
        </p:txBody>
      </p:sp>
      <p:sp>
        <p:nvSpPr>
          <p:cNvPr id="6" name="TextBox 5">
            <a:extLst>
              <a:ext uri="{FF2B5EF4-FFF2-40B4-BE49-F238E27FC236}">
                <a16:creationId xmlns:a16="http://schemas.microsoft.com/office/drawing/2014/main" id="{C0121066-ADBF-4447-9E16-5D8894A0A687}"/>
              </a:ext>
            </a:extLst>
          </p:cNvPr>
          <p:cNvSpPr txBox="1"/>
          <p:nvPr/>
        </p:nvSpPr>
        <p:spPr>
          <a:xfrm>
            <a:off x="538569" y="860816"/>
            <a:ext cx="3599099" cy="219740"/>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428" b="1" dirty="0">
                <a:solidFill>
                  <a:schemeClr val="accent2"/>
                </a:solidFill>
              </a:rPr>
              <a:t>Warehouse picking</a:t>
            </a:r>
          </a:p>
        </p:txBody>
      </p:sp>
      <p:pic>
        <p:nvPicPr>
          <p:cNvPr id="2400266" name="Picture 10" descr="Image result for bag palletizing machine">
            <a:extLst>
              <a:ext uri="{FF2B5EF4-FFF2-40B4-BE49-F238E27FC236}">
                <a16:creationId xmlns:a16="http://schemas.microsoft.com/office/drawing/2014/main" id="{6CBCB7A2-2D1D-4570-A018-EA05E2671DD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6140" b="4971"/>
          <a:stretch/>
        </p:blipFill>
        <p:spPr bwMode="auto">
          <a:xfrm>
            <a:off x="8076248" y="893045"/>
            <a:ext cx="3478917" cy="231927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8A61546F-C7AF-4F27-AA22-C67C5059983B}"/>
              </a:ext>
            </a:extLst>
          </p:cNvPr>
          <p:cNvPicPr>
            <a:picLocks noChangeAspect="1"/>
          </p:cNvPicPr>
          <p:nvPr/>
        </p:nvPicPr>
        <p:blipFill>
          <a:blip r:embed="rId7"/>
          <a:stretch>
            <a:fillRect/>
          </a:stretch>
        </p:blipFill>
        <p:spPr>
          <a:xfrm>
            <a:off x="8076248" y="3930057"/>
            <a:ext cx="3478917" cy="2319279"/>
          </a:xfrm>
          <a:prstGeom prst="rect">
            <a:avLst/>
          </a:prstGeom>
        </p:spPr>
      </p:pic>
      <p:pic>
        <p:nvPicPr>
          <p:cNvPr id="2400270" name="Picture 14" descr="Swift picking a product off the shelf">
            <a:extLst>
              <a:ext uri="{FF2B5EF4-FFF2-40B4-BE49-F238E27FC236}">
                <a16:creationId xmlns:a16="http://schemas.microsoft.com/office/drawing/2014/main" id="{7E04FA89-057E-4EDB-94F4-682111EA268D}"/>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6258" b="10395"/>
          <a:stretch/>
        </p:blipFill>
        <p:spPr bwMode="auto">
          <a:xfrm>
            <a:off x="971059" y="3262949"/>
            <a:ext cx="3002223" cy="2940616"/>
          </a:xfrm>
          <a:prstGeom prst="rect">
            <a:avLst/>
          </a:prstGeom>
          <a:noFill/>
          <a:extLst>
            <a:ext uri="{909E8E84-426E-40DD-AFC4-6F175D3DCCD1}">
              <a14:hiddenFill xmlns:a14="http://schemas.microsoft.com/office/drawing/2010/main">
                <a:solidFill>
                  <a:srgbClr val="FFFFFF"/>
                </a:solidFill>
              </a14:hiddenFill>
            </a:ext>
          </a:extLst>
        </p:spPr>
      </p:pic>
      <p:sp>
        <p:nvSpPr>
          <p:cNvPr id="13" name="5. Source">
            <a:extLst>
              <a:ext uri="{FF2B5EF4-FFF2-40B4-BE49-F238E27FC236}">
                <a16:creationId xmlns:a16="http://schemas.microsoft.com/office/drawing/2014/main" id="{3032BC06-6EAD-42B9-8FCA-5B54B678DDFE}"/>
              </a:ext>
            </a:extLst>
          </p:cNvPr>
          <p:cNvSpPr>
            <a:spLocks noChangeArrowheads="1"/>
          </p:cNvSpPr>
          <p:nvPr/>
        </p:nvSpPr>
        <p:spPr bwMode="gray">
          <a:xfrm>
            <a:off x="161988" y="6640532"/>
            <a:ext cx="9795571"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1" indent="-621971" defTabSz="913518">
              <a:tabLst>
                <a:tab pos="643027" algn="l"/>
              </a:tabLst>
            </a:pPr>
            <a:r>
              <a:rPr lang="en-US" sz="816" dirty="0">
                <a:solidFill>
                  <a:srgbClr val="808080"/>
                </a:solidFill>
                <a:latin typeface="Arial"/>
              </a:rPr>
              <a:t>SOURCE: IAM Robotics, Kuka, MMCI</a:t>
            </a:r>
          </a:p>
        </p:txBody>
      </p:sp>
      <p:sp>
        <p:nvSpPr>
          <p:cNvPr id="14" name="Rectangle 13">
            <a:extLst>
              <a:ext uri="{FF2B5EF4-FFF2-40B4-BE49-F238E27FC236}">
                <a16:creationId xmlns:a16="http://schemas.microsoft.com/office/drawing/2014/main" id="{4E748B31-E02F-4697-97DB-30CAAC413DD5}"/>
              </a:ext>
            </a:extLst>
          </p:cNvPr>
          <p:cNvSpPr/>
          <p:nvPr/>
        </p:nvSpPr>
        <p:spPr>
          <a:xfrm>
            <a:off x="912299" y="3212322"/>
            <a:ext cx="2991341" cy="3026295"/>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15" name="Rectangle 14">
            <a:extLst>
              <a:ext uri="{FF2B5EF4-FFF2-40B4-BE49-F238E27FC236}">
                <a16:creationId xmlns:a16="http://schemas.microsoft.com/office/drawing/2014/main" id="{3686A6F5-E768-412D-9C1E-A6A497BE6B90}"/>
              </a:ext>
            </a:extLst>
          </p:cNvPr>
          <p:cNvSpPr/>
          <p:nvPr/>
        </p:nvSpPr>
        <p:spPr>
          <a:xfrm>
            <a:off x="8008885" y="3870142"/>
            <a:ext cx="3605041" cy="2420529"/>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16" name="Rectangle 15">
            <a:extLst>
              <a:ext uri="{FF2B5EF4-FFF2-40B4-BE49-F238E27FC236}">
                <a16:creationId xmlns:a16="http://schemas.microsoft.com/office/drawing/2014/main" id="{A4CEB09B-9E15-496A-A8E4-8EDFF1715AC6}"/>
              </a:ext>
            </a:extLst>
          </p:cNvPr>
          <p:cNvSpPr/>
          <p:nvPr/>
        </p:nvSpPr>
        <p:spPr>
          <a:xfrm>
            <a:off x="8008884" y="842421"/>
            <a:ext cx="3605041" cy="2420529"/>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17" name="TextBox 16">
            <a:extLst>
              <a:ext uri="{FF2B5EF4-FFF2-40B4-BE49-F238E27FC236}">
                <a16:creationId xmlns:a16="http://schemas.microsoft.com/office/drawing/2014/main" id="{C3882F3B-E154-4C6A-B33B-372BBB533E57}"/>
              </a:ext>
            </a:extLst>
          </p:cNvPr>
          <p:cNvSpPr txBox="1"/>
          <p:nvPr/>
        </p:nvSpPr>
        <p:spPr>
          <a:xfrm>
            <a:off x="8008883" y="3266925"/>
            <a:ext cx="3904269" cy="246221"/>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600" i="1" dirty="0"/>
              <a:t>MMCI robot palletizes bags of fertilizer</a:t>
            </a:r>
          </a:p>
        </p:txBody>
      </p:sp>
      <p:sp>
        <p:nvSpPr>
          <p:cNvPr id="18" name="TextBox 17">
            <a:extLst>
              <a:ext uri="{FF2B5EF4-FFF2-40B4-BE49-F238E27FC236}">
                <a16:creationId xmlns:a16="http://schemas.microsoft.com/office/drawing/2014/main" id="{2A65B1E7-0D6A-40E6-A540-EE6431A35A88}"/>
              </a:ext>
            </a:extLst>
          </p:cNvPr>
          <p:cNvSpPr txBox="1"/>
          <p:nvPr/>
        </p:nvSpPr>
        <p:spPr>
          <a:xfrm>
            <a:off x="8008883" y="6325703"/>
            <a:ext cx="3904269" cy="246221"/>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600" i="1" dirty="0"/>
              <a:t>Kuka robot palletizes buckets of chemicals</a:t>
            </a:r>
          </a:p>
        </p:txBody>
      </p:sp>
      <p:cxnSp>
        <p:nvCxnSpPr>
          <p:cNvPr id="19" name="Straight Connector 18">
            <a:extLst>
              <a:ext uri="{FF2B5EF4-FFF2-40B4-BE49-F238E27FC236}">
                <a16:creationId xmlns:a16="http://schemas.microsoft.com/office/drawing/2014/main" id="{E208B67A-D1BD-4306-AE0D-7535645BE672}"/>
              </a:ext>
            </a:extLst>
          </p:cNvPr>
          <p:cNvCxnSpPr>
            <a:cxnSpLocks/>
          </p:cNvCxnSpPr>
          <p:nvPr/>
        </p:nvCxnSpPr>
        <p:spPr>
          <a:xfrm>
            <a:off x="8008883" y="3689132"/>
            <a:ext cx="3597579"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A15BCA4-E15F-4107-8453-0CFCED003D70}"/>
              </a:ext>
            </a:extLst>
          </p:cNvPr>
          <p:cNvCxnSpPr>
            <a:cxnSpLocks/>
          </p:cNvCxnSpPr>
          <p:nvPr/>
        </p:nvCxnSpPr>
        <p:spPr>
          <a:xfrm>
            <a:off x="4455643" y="842420"/>
            <a:ext cx="0" cy="567495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EC90763-A803-4302-A0E1-27D60AE9349D}"/>
              </a:ext>
            </a:extLst>
          </p:cNvPr>
          <p:cNvSpPr txBox="1"/>
          <p:nvPr/>
        </p:nvSpPr>
        <p:spPr>
          <a:xfrm>
            <a:off x="870613" y="6324399"/>
            <a:ext cx="3203113" cy="246221"/>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600" i="1" dirty="0"/>
              <a:t>Swift picks up specialty chemicals</a:t>
            </a:r>
          </a:p>
        </p:txBody>
      </p:sp>
      <p:sp>
        <p:nvSpPr>
          <p:cNvPr id="26" name="TextBox 25">
            <a:extLst>
              <a:ext uri="{FF2B5EF4-FFF2-40B4-BE49-F238E27FC236}">
                <a16:creationId xmlns:a16="http://schemas.microsoft.com/office/drawing/2014/main" id="{CDAF8FC7-C1AF-4D43-9285-C6898DCC4CC2}"/>
              </a:ext>
            </a:extLst>
          </p:cNvPr>
          <p:cNvSpPr txBox="1"/>
          <p:nvPr/>
        </p:nvSpPr>
        <p:spPr>
          <a:xfrm>
            <a:off x="542732" y="1383365"/>
            <a:ext cx="3712472" cy="1626214"/>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pPr marL="228594" indent="-228594">
              <a:spcBef>
                <a:spcPts val="1200"/>
              </a:spcBef>
              <a:buFont typeface="Wingdings" panose="05000000000000000000" pitchFamily="2" charset="2"/>
              <a:buChar char="§"/>
            </a:pPr>
            <a:r>
              <a:rPr lang="en-US" sz="1428" dirty="0"/>
              <a:t>IAM Robotics' Swift picks up specialty chemicals to fill order</a:t>
            </a:r>
          </a:p>
          <a:p>
            <a:pPr marL="228594" indent="-228594">
              <a:spcBef>
                <a:spcPts val="1200"/>
              </a:spcBef>
              <a:buFont typeface="Wingdings" panose="05000000000000000000" pitchFamily="2" charset="2"/>
              <a:buChar char="§"/>
            </a:pPr>
            <a:r>
              <a:rPr lang="en-US" sz="1428" dirty="0"/>
              <a:t>Vision technology enables the robot to see and locate objects in 3D and real-time</a:t>
            </a:r>
          </a:p>
          <a:p>
            <a:pPr marL="228594" indent="-228594">
              <a:spcBef>
                <a:spcPts val="1200"/>
              </a:spcBef>
              <a:buFont typeface="Wingdings" panose="05000000000000000000" pitchFamily="2" charset="2"/>
              <a:buChar char="§"/>
            </a:pPr>
            <a:r>
              <a:rPr lang="en-US" sz="1428" dirty="0"/>
              <a:t>Automated barcode scanning ensures the right products are picked and packed</a:t>
            </a:r>
          </a:p>
        </p:txBody>
      </p:sp>
      <p:cxnSp>
        <p:nvCxnSpPr>
          <p:cNvPr id="28" name="Straight Connector 27">
            <a:extLst>
              <a:ext uri="{FF2B5EF4-FFF2-40B4-BE49-F238E27FC236}">
                <a16:creationId xmlns:a16="http://schemas.microsoft.com/office/drawing/2014/main" id="{31900A03-320C-4900-A914-13644BCC1BD7}"/>
              </a:ext>
            </a:extLst>
          </p:cNvPr>
          <p:cNvCxnSpPr>
            <a:cxnSpLocks/>
          </p:cNvCxnSpPr>
          <p:nvPr/>
        </p:nvCxnSpPr>
        <p:spPr>
          <a:xfrm>
            <a:off x="542732" y="1184556"/>
            <a:ext cx="371395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81DD620-6A48-40DD-AC9D-4A05F6789DAA}"/>
              </a:ext>
            </a:extLst>
          </p:cNvPr>
          <p:cNvCxnSpPr>
            <a:cxnSpLocks/>
          </p:cNvCxnSpPr>
          <p:nvPr/>
        </p:nvCxnSpPr>
        <p:spPr>
          <a:xfrm>
            <a:off x="4656084" y="1184556"/>
            <a:ext cx="3006701"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46BA994-FEEF-4CDD-AD3E-035ED0C2B9ED}"/>
              </a:ext>
            </a:extLst>
          </p:cNvPr>
          <p:cNvSpPr txBox="1"/>
          <p:nvPr/>
        </p:nvSpPr>
        <p:spPr>
          <a:xfrm>
            <a:off x="4654598" y="1383366"/>
            <a:ext cx="3008188" cy="4641720"/>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pPr marL="228594" indent="-228594">
              <a:spcBef>
                <a:spcPts val="1200"/>
              </a:spcBef>
              <a:buClr>
                <a:schemeClr val="accent2"/>
              </a:buClr>
              <a:buFont typeface="Wingdings" panose="05000000000000000000" pitchFamily="2" charset="2"/>
              <a:buChar char="§"/>
            </a:pPr>
            <a:r>
              <a:rPr lang="en-US" sz="1428" dirty="0"/>
              <a:t>Palletizing &amp; depalletizing robots can autonomously handle incoming raw materials and end-of-line packing and loading</a:t>
            </a:r>
          </a:p>
          <a:p>
            <a:pPr marL="228594" indent="-228594">
              <a:spcBef>
                <a:spcPts val="1200"/>
              </a:spcBef>
              <a:buClr>
                <a:schemeClr val="accent2"/>
              </a:buClr>
              <a:buFont typeface="Wingdings" panose="05000000000000000000" pitchFamily="2" charset="2"/>
              <a:buChar char="§"/>
            </a:pPr>
            <a:r>
              <a:rPr lang="en-US" sz="1428" dirty="0"/>
              <a:t>Robots can palletize / depalletize cases, boxes, bags, buckets, etc.</a:t>
            </a:r>
          </a:p>
          <a:p>
            <a:pPr marL="228594" indent="-228594">
              <a:spcBef>
                <a:spcPts val="1200"/>
              </a:spcBef>
              <a:buClr>
                <a:schemeClr val="accent2"/>
              </a:buClr>
              <a:buFont typeface="Wingdings" panose="05000000000000000000" pitchFamily="2" charset="2"/>
              <a:buChar char="§"/>
            </a:pPr>
            <a:r>
              <a:rPr lang="en-US" sz="1428" dirty="0"/>
              <a:t>For example…</a:t>
            </a:r>
          </a:p>
          <a:p>
            <a:pPr marL="426200" lvl="1" indent="-228594">
              <a:spcBef>
                <a:spcPts val="1200"/>
              </a:spcBef>
              <a:buFont typeface="Arial" panose="020B0604020202020204" pitchFamily="34" charset="0"/>
              <a:buChar char="−"/>
            </a:pPr>
            <a:r>
              <a:rPr lang="en-US" sz="1428" dirty="0"/>
              <a:t>MMCI robots palletize bags of fertilizer</a:t>
            </a:r>
          </a:p>
          <a:p>
            <a:pPr marL="426200" lvl="1" indent="-228594">
              <a:spcBef>
                <a:spcPts val="1200"/>
              </a:spcBef>
              <a:buFont typeface="Arial" panose="020B0604020202020204" pitchFamily="34" charset="0"/>
              <a:buChar char="−"/>
            </a:pPr>
            <a:r>
              <a:rPr lang="en-US" sz="1428" dirty="0"/>
              <a:t> Kuka robots palletize buckets of chemicals</a:t>
            </a:r>
          </a:p>
          <a:p>
            <a:pPr marL="228594" indent="-228594">
              <a:spcBef>
                <a:spcPts val="1200"/>
              </a:spcBef>
              <a:buClr>
                <a:schemeClr val="accent2"/>
              </a:buClr>
              <a:buFont typeface="Wingdings" panose="05000000000000000000" pitchFamily="2" charset="2"/>
              <a:buChar char="§"/>
            </a:pPr>
            <a:r>
              <a:rPr lang="en-US" sz="1428" dirty="0"/>
              <a:t>Robotic systems can also unload and load trucks</a:t>
            </a:r>
          </a:p>
          <a:p>
            <a:pPr marL="228594" indent="-228594">
              <a:spcBef>
                <a:spcPts val="1200"/>
              </a:spcBef>
              <a:buClr>
                <a:schemeClr val="accent2"/>
              </a:buClr>
              <a:buFont typeface="Wingdings" panose="05000000000000000000" pitchFamily="2" charset="2"/>
              <a:buChar char="§"/>
            </a:pPr>
            <a:r>
              <a:rPr lang="en-US" sz="1400" dirty="0"/>
              <a:t>Autonomous loading / unloading significantly, if not completely, reduces need for human handlers for loading and unloading</a:t>
            </a:r>
            <a:endParaRPr lang="en-US" sz="1428" dirty="0"/>
          </a:p>
        </p:txBody>
      </p:sp>
      <p:sp>
        <p:nvSpPr>
          <p:cNvPr id="23" name="TextBox 22">
            <a:extLst>
              <a:ext uri="{FF2B5EF4-FFF2-40B4-BE49-F238E27FC236}">
                <a16:creationId xmlns:a16="http://schemas.microsoft.com/office/drawing/2014/main" id="{AB89EA26-260B-47C1-97EB-B22A1C2176B8}"/>
              </a:ext>
            </a:extLst>
          </p:cNvPr>
          <p:cNvSpPr txBox="1"/>
          <p:nvPr/>
        </p:nvSpPr>
        <p:spPr>
          <a:xfrm>
            <a:off x="3369" y="10518"/>
            <a:ext cx="5853024" cy="219740"/>
          </a:xfrm>
          <a:prstGeom prst="rect">
            <a:avLst/>
          </a:prstGeom>
        </p:spPr>
        <p:txBody>
          <a:bodyPr vert="horz"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pPr marL="491054"/>
            <a:r>
              <a:rPr lang="en-US" sz="1428" dirty="0">
                <a:solidFill>
                  <a:schemeClr val="bg1">
                    <a:lumMod val="50000"/>
                  </a:schemeClr>
                </a:solidFill>
              </a:rPr>
              <a:t>ROBOTICS IN SUPPLY CHAIN AND LOGISTICS </a:t>
            </a:r>
          </a:p>
        </p:txBody>
      </p:sp>
      <p:pic>
        <p:nvPicPr>
          <p:cNvPr id="25" name="Content Placeholder 1">
            <a:extLst>
              <a:ext uri="{FF2B5EF4-FFF2-40B4-BE49-F238E27FC236}">
                <a16:creationId xmlns:a16="http://schemas.microsoft.com/office/drawing/2014/main" id="{620F19B3-415B-47A5-A262-005684567EF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30490001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76A8384-F88E-4EA5-B1B4-481195DC7934}"/>
              </a:ext>
            </a:extLst>
          </p:cNvPr>
          <p:cNvGraphicFramePr>
            <a:graphicFrameLocks noChangeAspect="1"/>
          </p:cNvGraphicFramePr>
          <p:nvPr>
            <p:custDataLst>
              <p:tags r:id="rId2"/>
            </p:custDataLst>
            <p:extLst>
              <p:ext uri="{D42A27DB-BD31-4B8C-83A1-F6EECF244321}">
                <p14:modId xmlns:p14="http://schemas.microsoft.com/office/powerpoint/2010/main" val="2923667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ACAFD91-2547-45B4-A039-F2781DC37C1A}"/>
              </a:ext>
            </a:extLst>
          </p:cNvPr>
          <p:cNvSpPr>
            <a:spLocks noGrp="1"/>
          </p:cNvSpPr>
          <p:nvPr>
            <p:ph type="title"/>
          </p:nvPr>
        </p:nvSpPr>
        <p:spPr>
          <a:xfrm>
            <a:off x="158877" y="233243"/>
            <a:ext cx="11725484" cy="410369"/>
          </a:xfrm>
        </p:spPr>
        <p:txBody>
          <a:bodyPr vert="horz"/>
          <a:lstStyle/>
          <a:p>
            <a:pPr marL="455073"/>
            <a:r>
              <a:rPr lang="en-US" dirty="0"/>
              <a:t>Robotics use case examples in Chem SC and logistics (2/2)</a:t>
            </a:r>
          </a:p>
        </p:txBody>
      </p:sp>
      <p:pic>
        <p:nvPicPr>
          <p:cNvPr id="4" name="Picture 6" descr="Related image">
            <a:extLst>
              <a:ext uri="{FF2B5EF4-FFF2-40B4-BE49-F238E27FC236}">
                <a16:creationId xmlns:a16="http://schemas.microsoft.com/office/drawing/2014/main" id="{E5615EBF-47C7-4064-9B01-AAF7FE9EB26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2656" b="31967"/>
          <a:stretch/>
        </p:blipFill>
        <p:spPr bwMode="auto">
          <a:xfrm>
            <a:off x="6002059" y="900406"/>
            <a:ext cx="5548812" cy="2304561"/>
          </a:xfrm>
          <a:prstGeom prst="rect">
            <a:avLst/>
          </a:prstGeom>
          <a:noFill/>
          <a:extLst>
            <a:ext uri="{909E8E84-426E-40DD-AFC4-6F175D3DCCD1}">
              <a14:hiddenFill xmlns:a14="http://schemas.microsoft.com/office/drawing/2010/main">
                <a:solidFill>
                  <a:srgbClr val="FFFFFF"/>
                </a:solidFill>
              </a14:hiddenFill>
            </a:ext>
          </a:extLst>
        </p:spPr>
      </p:pic>
      <p:sp>
        <p:nvSpPr>
          <p:cNvPr id="7" name="5. Source">
            <a:extLst>
              <a:ext uri="{FF2B5EF4-FFF2-40B4-BE49-F238E27FC236}">
                <a16:creationId xmlns:a16="http://schemas.microsoft.com/office/drawing/2014/main" id="{09D33970-CAE2-4077-954A-6F02FAE0E48D}"/>
              </a:ext>
            </a:extLst>
          </p:cNvPr>
          <p:cNvSpPr>
            <a:spLocks noChangeArrowheads="1"/>
          </p:cNvSpPr>
          <p:nvPr/>
        </p:nvSpPr>
        <p:spPr bwMode="gray">
          <a:xfrm>
            <a:off x="161988" y="6640532"/>
            <a:ext cx="9795571"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1" indent="-621971" defTabSz="913518">
              <a:tabLst>
                <a:tab pos="643027" algn="l"/>
              </a:tabLst>
            </a:pPr>
            <a:r>
              <a:rPr lang="en-US" sz="816" dirty="0">
                <a:solidFill>
                  <a:srgbClr val="808080"/>
                </a:solidFill>
                <a:latin typeface="Arial"/>
              </a:rPr>
              <a:t>SOURCE: VDL Group, BASF, Katoen Natie, ExxonMobil</a:t>
            </a:r>
          </a:p>
        </p:txBody>
      </p:sp>
      <p:sp>
        <p:nvSpPr>
          <p:cNvPr id="8" name="Rectangle 7">
            <a:extLst>
              <a:ext uri="{FF2B5EF4-FFF2-40B4-BE49-F238E27FC236}">
                <a16:creationId xmlns:a16="http://schemas.microsoft.com/office/drawing/2014/main" id="{023799FE-32B1-45DF-9672-446371C3F12A}"/>
              </a:ext>
            </a:extLst>
          </p:cNvPr>
          <p:cNvSpPr/>
          <p:nvPr/>
        </p:nvSpPr>
        <p:spPr>
          <a:xfrm>
            <a:off x="5922907" y="842421"/>
            <a:ext cx="5691019" cy="2420529"/>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9" name="Rectangle 8">
            <a:extLst>
              <a:ext uri="{FF2B5EF4-FFF2-40B4-BE49-F238E27FC236}">
                <a16:creationId xmlns:a16="http://schemas.microsoft.com/office/drawing/2014/main" id="{2C8445ED-95C6-4DBB-8894-A0677CDBB710}"/>
              </a:ext>
            </a:extLst>
          </p:cNvPr>
          <p:cNvSpPr/>
          <p:nvPr/>
        </p:nvSpPr>
        <p:spPr>
          <a:xfrm>
            <a:off x="5915443" y="3870142"/>
            <a:ext cx="5691019" cy="2420529"/>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10" name="TextBox 9">
            <a:extLst>
              <a:ext uri="{FF2B5EF4-FFF2-40B4-BE49-F238E27FC236}">
                <a16:creationId xmlns:a16="http://schemas.microsoft.com/office/drawing/2014/main" id="{BC9F2160-DF30-44D8-A70D-35E65542CD7E}"/>
              </a:ext>
            </a:extLst>
          </p:cNvPr>
          <p:cNvSpPr txBox="1"/>
          <p:nvPr/>
        </p:nvSpPr>
        <p:spPr>
          <a:xfrm>
            <a:off x="5922907" y="3293207"/>
            <a:ext cx="5990245" cy="246221"/>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600" i="1" dirty="0"/>
              <a:t>BASF &amp; VDL’s autonomous guided vehicle transports chemicals</a:t>
            </a:r>
          </a:p>
        </p:txBody>
      </p:sp>
      <p:sp>
        <p:nvSpPr>
          <p:cNvPr id="11" name="TextBox 10">
            <a:extLst>
              <a:ext uri="{FF2B5EF4-FFF2-40B4-BE49-F238E27FC236}">
                <a16:creationId xmlns:a16="http://schemas.microsoft.com/office/drawing/2014/main" id="{4CCE0B03-FF44-4577-9DC3-E58716B85398}"/>
              </a:ext>
            </a:extLst>
          </p:cNvPr>
          <p:cNvSpPr txBox="1"/>
          <p:nvPr/>
        </p:nvSpPr>
        <p:spPr>
          <a:xfrm>
            <a:off x="5922907" y="6331439"/>
            <a:ext cx="5990245" cy="246221"/>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600" i="1" dirty="0"/>
              <a:t>Katoen Natie’s autonomous guided vehicle transports chemicals</a:t>
            </a:r>
          </a:p>
        </p:txBody>
      </p:sp>
      <p:sp>
        <p:nvSpPr>
          <p:cNvPr id="12" name="TextBox 11">
            <a:extLst>
              <a:ext uri="{FF2B5EF4-FFF2-40B4-BE49-F238E27FC236}">
                <a16:creationId xmlns:a16="http://schemas.microsoft.com/office/drawing/2014/main" id="{473BFCDA-8B73-41CD-B4DD-5BBD4C3407DC}"/>
              </a:ext>
            </a:extLst>
          </p:cNvPr>
          <p:cNvSpPr txBox="1"/>
          <p:nvPr/>
        </p:nvSpPr>
        <p:spPr>
          <a:xfrm>
            <a:off x="542733" y="860817"/>
            <a:ext cx="4964689" cy="246221"/>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600" b="1" dirty="0">
                <a:solidFill>
                  <a:schemeClr val="accent2"/>
                </a:solidFill>
              </a:rPr>
              <a:t>Autonomous cargo movement</a:t>
            </a:r>
          </a:p>
        </p:txBody>
      </p:sp>
      <p:cxnSp>
        <p:nvCxnSpPr>
          <p:cNvPr id="14" name="Straight Connector 13">
            <a:extLst>
              <a:ext uri="{FF2B5EF4-FFF2-40B4-BE49-F238E27FC236}">
                <a16:creationId xmlns:a16="http://schemas.microsoft.com/office/drawing/2014/main" id="{0C363B6A-40D5-4565-9381-B0694E1618CB}"/>
              </a:ext>
            </a:extLst>
          </p:cNvPr>
          <p:cNvCxnSpPr>
            <a:cxnSpLocks/>
          </p:cNvCxnSpPr>
          <p:nvPr/>
        </p:nvCxnSpPr>
        <p:spPr>
          <a:xfrm>
            <a:off x="542732" y="1184556"/>
            <a:ext cx="478601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F390A63-B93B-4FA5-8C55-D7F2F5A4B519}"/>
              </a:ext>
            </a:extLst>
          </p:cNvPr>
          <p:cNvSpPr txBox="1"/>
          <p:nvPr/>
        </p:nvSpPr>
        <p:spPr>
          <a:xfrm>
            <a:off x="542732" y="1383366"/>
            <a:ext cx="4786013" cy="2065694"/>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pPr marL="228594" indent="-228594">
              <a:spcBef>
                <a:spcPts val="1200"/>
              </a:spcBef>
              <a:buClr>
                <a:schemeClr val="accent2"/>
              </a:buClr>
              <a:buFont typeface="Wingdings" panose="05000000000000000000" pitchFamily="2" charset="2"/>
              <a:buChar char="§"/>
            </a:pPr>
            <a:r>
              <a:rPr lang="en-US" sz="1428" dirty="0"/>
              <a:t>BASF partnered with the VDL Groep to develop an autonomous guided vehicle</a:t>
            </a:r>
          </a:p>
          <a:p>
            <a:pPr marL="228594" indent="-228594">
              <a:spcBef>
                <a:spcPts val="1200"/>
              </a:spcBef>
              <a:buClr>
                <a:schemeClr val="accent2"/>
              </a:buClr>
              <a:buFont typeface="Wingdings" panose="05000000000000000000" pitchFamily="2" charset="2"/>
              <a:buChar char="§"/>
            </a:pPr>
            <a:r>
              <a:rPr lang="en-US" sz="1428" dirty="0"/>
              <a:t>The AGV is steered via transponders embedded in the road surface</a:t>
            </a:r>
          </a:p>
          <a:p>
            <a:pPr marL="228594" indent="-228594">
              <a:spcBef>
                <a:spcPts val="1200"/>
              </a:spcBef>
              <a:buClr>
                <a:schemeClr val="accent2"/>
              </a:buClr>
              <a:buFont typeface="Wingdings" panose="05000000000000000000" pitchFamily="2" charset="2"/>
              <a:buChar char="§"/>
            </a:pPr>
            <a:r>
              <a:rPr lang="en-US" sz="1428" dirty="0"/>
              <a:t>It formerly </a:t>
            </a:r>
            <a:r>
              <a:rPr lang="en-US" sz="1428" b="1" dirty="0">
                <a:solidFill>
                  <a:schemeClr val="accent2"/>
                </a:solidFill>
              </a:rPr>
              <a:t>took around 22 hours </a:t>
            </a:r>
            <a:r>
              <a:rPr lang="en-US" sz="1428" dirty="0"/>
              <a:t>for a railway tank car to be delivered from BASF’s train station to one of the loading stations at the site; </a:t>
            </a:r>
            <a:r>
              <a:rPr lang="en-US" sz="1428" b="1" dirty="0">
                <a:solidFill>
                  <a:schemeClr val="accent2"/>
                </a:solidFill>
              </a:rPr>
              <a:t>with the AGV, this time is cut to just one hour</a:t>
            </a:r>
          </a:p>
        </p:txBody>
      </p:sp>
      <p:cxnSp>
        <p:nvCxnSpPr>
          <p:cNvPr id="17" name="Straight Connector 16">
            <a:extLst>
              <a:ext uri="{FF2B5EF4-FFF2-40B4-BE49-F238E27FC236}">
                <a16:creationId xmlns:a16="http://schemas.microsoft.com/office/drawing/2014/main" id="{4E340C87-DEC8-434C-AB3D-FF2DB2AE5971}"/>
              </a:ext>
            </a:extLst>
          </p:cNvPr>
          <p:cNvCxnSpPr>
            <a:cxnSpLocks/>
          </p:cNvCxnSpPr>
          <p:nvPr/>
        </p:nvCxnSpPr>
        <p:spPr>
          <a:xfrm>
            <a:off x="542733" y="3689132"/>
            <a:ext cx="11063729"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9096052-BD3D-4876-BE06-98B77FCB3150}"/>
              </a:ext>
            </a:extLst>
          </p:cNvPr>
          <p:cNvSpPr txBox="1"/>
          <p:nvPr/>
        </p:nvSpPr>
        <p:spPr>
          <a:xfrm>
            <a:off x="542732" y="3887940"/>
            <a:ext cx="4786013" cy="2182842"/>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pPr marL="228594" indent="-228594">
              <a:spcBef>
                <a:spcPts val="800"/>
              </a:spcBef>
              <a:buClr>
                <a:schemeClr val="accent2"/>
              </a:buClr>
              <a:buFont typeface="Wingdings" panose="05000000000000000000" pitchFamily="2" charset="2"/>
              <a:buChar char="§"/>
            </a:pPr>
            <a:r>
              <a:rPr lang="en-US" sz="1428" dirty="0"/>
              <a:t>Katoen Natie started operating its first driverless truck at ExxonMobil’s world-scale integrated manufacturing site in Singapore in 2018, transporting products between the company’s packaging and intermediate storage facilities</a:t>
            </a:r>
          </a:p>
          <a:p>
            <a:pPr marL="228594" indent="-228594">
              <a:spcBef>
                <a:spcPts val="800"/>
              </a:spcBef>
              <a:buClr>
                <a:schemeClr val="accent2"/>
              </a:buClr>
              <a:buFont typeface="Wingdings" panose="05000000000000000000" pitchFamily="2" charset="2"/>
              <a:buChar char="§"/>
            </a:pPr>
            <a:r>
              <a:rPr lang="en-US" sz="1428" dirty="0"/>
              <a:t>The pilot truck will operate on a </a:t>
            </a:r>
            <a:r>
              <a:rPr lang="en-US" sz="1428" b="1" dirty="0">
                <a:solidFill>
                  <a:schemeClr val="accent2"/>
                </a:solidFill>
              </a:rPr>
              <a:t>24/7 basis moving some 250,000 tons of product annually</a:t>
            </a:r>
          </a:p>
          <a:p>
            <a:pPr marL="228594" indent="-228594">
              <a:spcBef>
                <a:spcPts val="800"/>
              </a:spcBef>
              <a:buClr>
                <a:schemeClr val="accent2"/>
              </a:buClr>
              <a:buFont typeface="Wingdings" panose="05000000000000000000" pitchFamily="2" charset="2"/>
              <a:buChar char="§"/>
            </a:pPr>
            <a:r>
              <a:rPr lang="en-US" sz="1428" dirty="0"/>
              <a:t>After a six-month test run, the project will be gradually expanded to 12 trucks, moving some 3 million tons of product annually</a:t>
            </a:r>
          </a:p>
        </p:txBody>
      </p:sp>
      <p:pic>
        <p:nvPicPr>
          <p:cNvPr id="19" name="Picture 18">
            <a:extLst>
              <a:ext uri="{FF2B5EF4-FFF2-40B4-BE49-F238E27FC236}">
                <a16:creationId xmlns:a16="http://schemas.microsoft.com/office/drawing/2014/main" id="{BF7F80D6-F3E3-449B-9697-B92646F34F21}"/>
              </a:ext>
            </a:extLst>
          </p:cNvPr>
          <p:cNvPicPr>
            <a:picLocks noChangeAspect="1"/>
          </p:cNvPicPr>
          <p:nvPr/>
        </p:nvPicPr>
        <p:blipFill rotWithShape="1">
          <a:blip r:embed="rId7"/>
          <a:srcRect r="5883"/>
          <a:stretch/>
        </p:blipFill>
        <p:spPr>
          <a:xfrm>
            <a:off x="5994595" y="3937486"/>
            <a:ext cx="5548812" cy="2285839"/>
          </a:xfrm>
          <a:prstGeom prst="rect">
            <a:avLst/>
          </a:prstGeom>
        </p:spPr>
      </p:pic>
      <p:sp>
        <p:nvSpPr>
          <p:cNvPr id="21" name="TextBox 20">
            <a:extLst>
              <a:ext uri="{FF2B5EF4-FFF2-40B4-BE49-F238E27FC236}">
                <a16:creationId xmlns:a16="http://schemas.microsoft.com/office/drawing/2014/main" id="{A0338A43-E40A-4624-AD55-222CB1587A06}"/>
              </a:ext>
            </a:extLst>
          </p:cNvPr>
          <p:cNvSpPr txBox="1"/>
          <p:nvPr/>
        </p:nvSpPr>
        <p:spPr>
          <a:xfrm>
            <a:off x="162246" y="16039"/>
            <a:ext cx="5853024" cy="219740"/>
          </a:xfrm>
          <a:prstGeom prst="rect">
            <a:avLst/>
          </a:prstGeom>
        </p:spPr>
        <p:txBody>
          <a:bodyPr vert="horz"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pPr marL="491054"/>
            <a:r>
              <a:rPr lang="en-US" sz="1428" dirty="0">
                <a:solidFill>
                  <a:schemeClr val="bg1">
                    <a:lumMod val="50000"/>
                  </a:schemeClr>
                </a:solidFill>
              </a:rPr>
              <a:t>ROBOTICS IN SUPPLY CHAIN AND LOGISTICS </a:t>
            </a:r>
          </a:p>
        </p:txBody>
      </p:sp>
      <p:pic>
        <p:nvPicPr>
          <p:cNvPr id="20" name="Content Placeholder 1">
            <a:extLst>
              <a:ext uri="{FF2B5EF4-FFF2-40B4-BE49-F238E27FC236}">
                <a16:creationId xmlns:a16="http://schemas.microsoft.com/office/drawing/2014/main" id="{D5B08BCC-D3D9-4AF2-ABFE-09B8DC7F179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25148569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0610D8EC-EC9F-4086-9316-7E0F23434B99}"/>
              </a:ext>
            </a:extLst>
          </p:cNvPr>
          <p:cNvGraphicFramePr>
            <a:graphicFrameLocks noChangeAspect="1"/>
          </p:cNvGraphicFramePr>
          <p:nvPr>
            <p:custDataLst>
              <p:tags r:id="rId3"/>
            </p:custDataLst>
            <p:extLst>
              <p:ext uri="{D42A27DB-BD31-4B8C-83A1-F6EECF244321}">
                <p14:modId xmlns:p14="http://schemas.microsoft.com/office/powerpoint/2010/main" val="1759645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0"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FFD26D9-ECF7-40A0-8DAC-0D3C93FAA135}"/>
              </a:ext>
            </a:extLst>
          </p:cNvPr>
          <p:cNvSpPr>
            <a:spLocks noGrp="1"/>
          </p:cNvSpPr>
          <p:nvPr>
            <p:ph type="title"/>
          </p:nvPr>
        </p:nvSpPr>
        <p:spPr>
          <a:xfrm>
            <a:off x="-55800" y="310927"/>
            <a:ext cx="11725484" cy="82086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491054"/>
            <a:r>
              <a:rPr lang="en-US" dirty="0"/>
              <a:t>A digital S&amp;OP process enables a new operating model with cross-functional digital interfaces</a:t>
            </a:r>
          </a:p>
        </p:txBody>
      </p:sp>
      <p:grpSp>
        <p:nvGrpSpPr>
          <p:cNvPr id="6" name="Group 5">
            <a:extLst>
              <a:ext uri="{FF2B5EF4-FFF2-40B4-BE49-F238E27FC236}">
                <a16:creationId xmlns:a16="http://schemas.microsoft.com/office/drawing/2014/main" id="{5DDA73F2-04D8-4F1C-8982-8FFC649DA1EB}"/>
              </a:ext>
            </a:extLst>
          </p:cNvPr>
          <p:cNvGrpSpPr/>
          <p:nvPr/>
        </p:nvGrpSpPr>
        <p:grpSpPr>
          <a:xfrm>
            <a:off x="3374940" y="2433073"/>
            <a:ext cx="1186744" cy="1083020"/>
            <a:chOff x="4233881" y="2447083"/>
            <a:chExt cx="1063770" cy="1030516"/>
          </a:xfrm>
        </p:grpSpPr>
        <p:pic>
          <p:nvPicPr>
            <p:cNvPr id="9" name="Picture 105" descr="Picture 105">
              <a:extLst>
                <a:ext uri="{FF2B5EF4-FFF2-40B4-BE49-F238E27FC236}">
                  <a16:creationId xmlns:a16="http://schemas.microsoft.com/office/drawing/2014/main" id="{CD15B2A8-33AA-47BC-AFD2-76BD877F131D}"/>
                </a:ext>
              </a:extLst>
            </p:cNvPr>
            <p:cNvPicPr>
              <a:picLocks/>
            </p:cNvPicPr>
            <p:nvPr/>
          </p:nvPicPr>
          <p:blipFill>
            <a:blip r:embed="rId8" cstate="print">
              <a:extLst>
                <a:ext uri="{28A0092B-C50C-407E-A947-70E740481C1C}">
                  <a14:useLocalDpi xmlns:a14="http://schemas.microsoft.com/office/drawing/2010/main" val="0"/>
                </a:ext>
              </a:extLst>
            </a:blip>
            <a:srcRect/>
            <a:stretch>
              <a:fillRect/>
            </a:stretch>
          </p:blipFill>
          <p:spPr bwMode="gray">
            <a:xfrm>
              <a:off x="4233881" y="2447083"/>
              <a:ext cx="1063770" cy="103051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4" y="0"/>
                    <a:pt x="0" y="4834"/>
                    <a:pt x="0" y="10800"/>
                  </a:cubicBezTo>
                  <a:cubicBezTo>
                    <a:pt x="0" y="16766"/>
                    <a:pt x="4834" y="21600"/>
                    <a:pt x="10800" y="21600"/>
                  </a:cubicBezTo>
                  <a:cubicBezTo>
                    <a:pt x="16766" y="21600"/>
                    <a:pt x="21600" y="16766"/>
                    <a:pt x="21600" y="10800"/>
                  </a:cubicBezTo>
                  <a:cubicBezTo>
                    <a:pt x="21600" y="4834"/>
                    <a:pt x="16766" y="0"/>
                    <a:pt x="10800" y="0"/>
                  </a:cubicBezTo>
                  <a:close/>
                </a:path>
              </a:pathLst>
            </a:custGeom>
            <a:ln w="28575" cap="flat">
              <a:solidFill>
                <a:schemeClr val="accent2"/>
              </a:solidFill>
              <a:miter lim="400000"/>
            </a:ln>
            <a:effectLst/>
          </p:spPr>
        </p:pic>
        <p:sp>
          <p:nvSpPr>
            <p:cNvPr id="10" name="Oval 9">
              <a:extLst>
                <a:ext uri="{FF2B5EF4-FFF2-40B4-BE49-F238E27FC236}">
                  <a16:creationId xmlns:a16="http://schemas.microsoft.com/office/drawing/2014/main" id="{B2DDCD40-2C6D-486B-8149-507BF35269C2}"/>
                </a:ext>
              </a:extLst>
            </p:cNvPr>
            <p:cNvSpPr>
              <a:spLocks noChangeAspect="1"/>
            </p:cNvSpPr>
            <p:nvPr/>
          </p:nvSpPr>
          <p:spPr>
            <a:xfrm>
              <a:off x="4260722" y="2473086"/>
              <a:ext cx="1010088" cy="978510"/>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solidFill>
                  <a:schemeClr val="tx1"/>
                </a:solidFill>
              </a:endParaRPr>
            </a:p>
          </p:txBody>
        </p:sp>
      </p:grpSp>
      <p:pic>
        <p:nvPicPr>
          <p:cNvPr id="8" name="Picture 9" descr="https://mm.gettyimages.com/mm/thumbnail/520501215,EAAB14DD465DC59F6C2">
            <a:extLst>
              <a:ext uri="{FF2B5EF4-FFF2-40B4-BE49-F238E27FC236}">
                <a16:creationId xmlns:a16="http://schemas.microsoft.com/office/drawing/2014/main" id="{D50B3CAF-0F94-4902-976D-33E725BDBAF0}"/>
              </a:ext>
            </a:extLst>
          </p:cNvPr>
          <p:cNvPicPr>
            <a:picLocks noChangeAspect="1" noChangeArrowheads="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3611816" y="2649245"/>
            <a:ext cx="712992" cy="650676"/>
          </a:xfrm>
          <a:prstGeom prst="rect">
            <a:avLst/>
          </a:prstGeom>
          <a:noFill/>
          <a:extLst>
            <a:ext uri="{909E8E84-426E-40DD-AFC4-6F175D3DCCD1}">
              <a14:hiddenFill xmlns:a14="http://schemas.microsoft.com/office/drawing/2010/main">
                <a:solidFill>
                  <a:srgbClr val="FFFFFF"/>
                </a:solidFill>
              </a14:hiddenFill>
            </a:ext>
          </a:extLst>
        </p:spPr>
      </p:pic>
      <p:sp>
        <p:nvSpPr>
          <p:cNvPr id="11" name="Freeform 316">
            <a:extLst>
              <a:ext uri="{FF2B5EF4-FFF2-40B4-BE49-F238E27FC236}">
                <a16:creationId xmlns:a16="http://schemas.microsoft.com/office/drawing/2014/main" id="{4B141231-2699-4865-9843-878A37927E85}"/>
              </a:ext>
            </a:extLst>
          </p:cNvPr>
          <p:cNvSpPr/>
          <p:nvPr/>
        </p:nvSpPr>
        <p:spPr>
          <a:xfrm>
            <a:off x="3176238" y="2229146"/>
            <a:ext cx="3788409" cy="1490812"/>
          </a:xfrm>
          <a:custGeom>
            <a:avLst/>
            <a:gdLst>
              <a:gd name="connsiteX0" fmla="*/ 687979 w 3295971"/>
              <a:gd name="connsiteY0" fmla="*/ 0 h 1376822"/>
              <a:gd name="connsiteX1" fmla="*/ 1174886 w 3295971"/>
              <a:gd name="connsiteY1" fmla="*/ 201937 h 1376822"/>
              <a:gd name="connsiteX2" fmla="*/ 1401497 w 3295971"/>
              <a:gd name="connsiteY2" fmla="*/ 428548 h 1376822"/>
              <a:gd name="connsiteX3" fmla="*/ 1893251 w 3295971"/>
              <a:gd name="connsiteY3" fmla="*/ 428548 h 1376822"/>
              <a:gd name="connsiteX4" fmla="*/ 2120474 w 3295971"/>
              <a:gd name="connsiteY4" fmla="*/ 201325 h 1376822"/>
              <a:gd name="connsiteX5" fmla="*/ 3094033 w 3295971"/>
              <a:gd name="connsiteY5" fmla="*/ 201939 h 1376822"/>
              <a:gd name="connsiteX6" fmla="*/ 3094646 w 3295971"/>
              <a:gd name="connsiteY6" fmla="*/ 1175498 h 1376822"/>
              <a:gd name="connsiteX7" fmla="*/ 2121084 w 3295971"/>
              <a:gd name="connsiteY7" fmla="*/ 1174886 h 1376822"/>
              <a:gd name="connsiteX8" fmla="*/ 1808734 w 3295971"/>
              <a:gd name="connsiteY8" fmla="*/ 862535 h 1376822"/>
              <a:gd name="connsiteX9" fmla="*/ 1488459 w 3295971"/>
              <a:gd name="connsiteY9" fmla="*/ 862535 h 1376822"/>
              <a:gd name="connsiteX10" fmla="*/ 1175497 w 3295971"/>
              <a:gd name="connsiteY10" fmla="*/ 1175497 h 1376822"/>
              <a:gd name="connsiteX11" fmla="*/ 201937 w 3295971"/>
              <a:gd name="connsiteY11" fmla="*/ 1174884 h 1376822"/>
              <a:gd name="connsiteX12" fmla="*/ 201325 w 3295971"/>
              <a:gd name="connsiteY12" fmla="*/ 201324 h 1376822"/>
              <a:gd name="connsiteX13" fmla="*/ 201325 w 3295971"/>
              <a:gd name="connsiteY13" fmla="*/ 201325 h 1376822"/>
              <a:gd name="connsiteX14" fmla="*/ 687979 w 3295971"/>
              <a:gd name="connsiteY14" fmla="*/ 0 h 137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95971" h="1376822">
                <a:moveTo>
                  <a:pt x="687979" y="0"/>
                </a:moveTo>
                <a:cubicBezTo>
                  <a:pt x="864158" y="111"/>
                  <a:pt x="1040380" y="67432"/>
                  <a:pt x="1174886" y="201937"/>
                </a:cubicBezTo>
                <a:lnTo>
                  <a:pt x="1401497" y="428548"/>
                </a:lnTo>
                <a:lnTo>
                  <a:pt x="1893251" y="428548"/>
                </a:lnTo>
                <a:lnTo>
                  <a:pt x="2120474" y="201325"/>
                </a:lnTo>
                <a:cubicBezTo>
                  <a:pt x="2389145" y="-67346"/>
                  <a:pt x="2825024" y="-67072"/>
                  <a:pt x="3094033" y="201939"/>
                </a:cubicBezTo>
                <a:cubicBezTo>
                  <a:pt x="3363044" y="470950"/>
                  <a:pt x="3363319" y="906827"/>
                  <a:pt x="3094646" y="1175498"/>
                </a:cubicBezTo>
                <a:cubicBezTo>
                  <a:pt x="2825973" y="1444170"/>
                  <a:pt x="2390096" y="1443895"/>
                  <a:pt x="2121084" y="1174886"/>
                </a:cubicBezTo>
                <a:lnTo>
                  <a:pt x="1808734" y="862535"/>
                </a:lnTo>
                <a:lnTo>
                  <a:pt x="1488459" y="862535"/>
                </a:lnTo>
                <a:lnTo>
                  <a:pt x="1175497" y="1175497"/>
                </a:lnTo>
                <a:cubicBezTo>
                  <a:pt x="906825" y="1444169"/>
                  <a:pt x="470947" y="1443895"/>
                  <a:pt x="201937" y="1174884"/>
                </a:cubicBezTo>
                <a:cubicBezTo>
                  <a:pt x="-67073" y="905874"/>
                  <a:pt x="-67348" y="469997"/>
                  <a:pt x="201325" y="201324"/>
                </a:cubicBezTo>
                <a:lnTo>
                  <a:pt x="201325" y="201325"/>
                </a:lnTo>
                <a:cubicBezTo>
                  <a:pt x="335662" y="66989"/>
                  <a:pt x="511799" y="-110"/>
                  <a:pt x="687979" y="0"/>
                </a:cubicBezTo>
                <a:close/>
              </a:path>
            </a:pathLst>
          </a:custGeom>
          <a:blipFill>
            <a:blip r:embed="rId10" cstate="print">
              <a:extLst>
                <a:ext uri="{28A0092B-C50C-407E-A947-70E740481C1C}">
                  <a14:useLocalDpi xmlns:a14="http://schemas.microsoft.com/office/drawing/2010/main" val="0"/>
                </a:ext>
              </a:extLst>
            </a:blip>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solidFill>
                <a:schemeClr val="tx1"/>
              </a:solidFill>
            </a:endParaRPr>
          </a:p>
        </p:txBody>
      </p:sp>
      <p:sp>
        <p:nvSpPr>
          <p:cNvPr id="12" name="Freeform 595">
            <a:extLst>
              <a:ext uri="{FF2B5EF4-FFF2-40B4-BE49-F238E27FC236}">
                <a16:creationId xmlns:a16="http://schemas.microsoft.com/office/drawing/2014/main" id="{058AEF6C-BC3E-44EC-8420-160FF5D89213}"/>
              </a:ext>
            </a:extLst>
          </p:cNvPr>
          <p:cNvSpPr/>
          <p:nvPr/>
        </p:nvSpPr>
        <p:spPr>
          <a:xfrm>
            <a:off x="3176238" y="2229146"/>
            <a:ext cx="3788409" cy="1490812"/>
          </a:xfrm>
          <a:custGeom>
            <a:avLst/>
            <a:gdLst>
              <a:gd name="connsiteX0" fmla="*/ 687979 w 3295971"/>
              <a:gd name="connsiteY0" fmla="*/ 0 h 1376822"/>
              <a:gd name="connsiteX1" fmla="*/ 1174886 w 3295971"/>
              <a:gd name="connsiteY1" fmla="*/ 201937 h 1376822"/>
              <a:gd name="connsiteX2" fmla="*/ 1401497 w 3295971"/>
              <a:gd name="connsiteY2" fmla="*/ 428548 h 1376822"/>
              <a:gd name="connsiteX3" fmla="*/ 1893251 w 3295971"/>
              <a:gd name="connsiteY3" fmla="*/ 428548 h 1376822"/>
              <a:gd name="connsiteX4" fmla="*/ 2120474 w 3295971"/>
              <a:gd name="connsiteY4" fmla="*/ 201325 h 1376822"/>
              <a:gd name="connsiteX5" fmla="*/ 3094033 w 3295971"/>
              <a:gd name="connsiteY5" fmla="*/ 201939 h 1376822"/>
              <a:gd name="connsiteX6" fmla="*/ 3094646 w 3295971"/>
              <a:gd name="connsiteY6" fmla="*/ 1175498 h 1376822"/>
              <a:gd name="connsiteX7" fmla="*/ 2121084 w 3295971"/>
              <a:gd name="connsiteY7" fmla="*/ 1174886 h 1376822"/>
              <a:gd name="connsiteX8" fmla="*/ 1808734 w 3295971"/>
              <a:gd name="connsiteY8" fmla="*/ 862535 h 1376822"/>
              <a:gd name="connsiteX9" fmla="*/ 1488459 w 3295971"/>
              <a:gd name="connsiteY9" fmla="*/ 862535 h 1376822"/>
              <a:gd name="connsiteX10" fmla="*/ 1175497 w 3295971"/>
              <a:gd name="connsiteY10" fmla="*/ 1175497 h 1376822"/>
              <a:gd name="connsiteX11" fmla="*/ 201937 w 3295971"/>
              <a:gd name="connsiteY11" fmla="*/ 1174884 h 1376822"/>
              <a:gd name="connsiteX12" fmla="*/ 201325 w 3295971"/>
              <a:gd name="connsiteY12" fmla="*/ 201324 h 1376822"/>
              <a:gd name="connsiteX13" fmla="*/ 201325 w 3295971"/>
              <a:gd name="connsiteY13" fmla="*/ 201325 h 1376822"/>
              <a:gd name="connsiteX14" fmla="*/ 687979 w 3295971"/>
              <a:gd name="connsiteY14" fmla="*/ 0 h 137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95971" h="1376822">
                <a:moveTo>
                  <a:pt x="687979" y="0"/>
                </a:moveTo>
                <a:cubicBezTo>
                  <a:pt x="864158" y="111"/>
                  <a:pt x="1040380" y="67432"/>
                  <a:pt x="1174886" y="201937"/>
                </a:cubicBezTo>
                <a:lnTo>
                  <a:pt x="1401497" y="428548"/>
                </a:lnTo>
                <a:lnTo>
                  <a:pt x="1893251" y="428548"/>
                </a:lnTo>
                <a:lnTo>
                  <a:pt x="2120474" y="201325"/>
                </a:lnTo>
                <a:cubicBezTo>
                  <a:pt x="2389145" y="-67346"/>
                  <a:pt x="2825024" y="-67072"/>
                  <a:pt x="3094033" y="201939"/>
                </a:cubicBezTo>
                <a:cubicBezTo>
                  <a:pt x="3363044" y="470950"/>
                  <a:pt x="3363319" y="906827"/>
                  <a:pt x="3094646" y="1175498"/>
                </a:cubicBezTo>
                <a:cubicBezTo>
                  <a:pt x="2825973" y="1444170"/>
                  <a:pt x="2390096" y="1443895"/>
                  <a:pt x="2121084" y="1174886"/>
                </a:cubicBezTo>
                <a:lnTo>
                  <a:pt x="1808734" y="862535"/>
                </a:lnTo>
                <a:lnTo>
                  <a:pt x="1488459" y="862535"/>
                </a:lnTo>
                <a:lnTo>
                  <a:pt x="1175497" y="1175497"/>
                </a:lnTo>
                <a:cubicBezTo>
                  <a:pt x="906825" y="1444169"/>
                  <a:pt x="470947" y="1443895"/>
                  <a:pt x="201937" y="1174884"/>
                </a:cubicBezTo>
                <a:cubicBezTo>
                  <a:pt x="-67073" y="905874"/>
                  <a:pt x="-67348" y="469997"/>
                  <a:pt x="201325" y="201324"/>
                </a:cubicBezTo>
                <a:lnTo>
                  <a:pt x="201325" y="201325"/>
                </a:lnTo>
                <a:cubicBezTo>
                  <a:pt x="335662" y="66989"/>
                  <a:pt x="511799" y="-110"/>
                  <a:pt x="687979" y="0"/>
                </a:cubicBezTo>
                <a:close/>
              </a:path>
            </a:pathLst>
          </a:custGeom>
          <a:solidFill>
            <a:schemeClr val="accent6">
              <a:lumMod val="20000"/>
              <a:lumOff val="80000"/>
              <a:alpha val="66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solidFill>
                <a:schemeClr val="tx1"/>
              </a:solidFill>
            </a:endParaRPr>
          </a:p>
        </p:txBody>
      </p:sp>
      <p:cxnSp>
        <p:nvCxnSpPr>
          <p:cNvPr id="13" name="Straight Arrow Connector 12">
            <a:extLst>
              <a:ext uri="{FF2B5EF4-FFF2-40B4-BE49-F238E27FC236}">
                <a16:creationId xmlns:a16="http://schemas.microsoft.com/office/drawing/2014/main" id="{F1F82379-D03C-4E73-A101-9FB54039E482}"/>
              </a:ext>
            </a:extLst>
          </p:cNvPr>
          <p:cNvCxnSpPr>
            <a:cxnSpLocks/>
          </p:cNvCxnSpPr>
          <p:nvPr/>
        </p:nvCxnSpPr>
        <p:spPr bwMode="gray">
          <a:xfrm>
            <a:off x="6173345" y="3056031"/>
            <a:ext cx="1" cy="800139"/>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EC06C512-1F77-4656-B329-14904E13951E}"/>
              </a:ext>
            </a:extLst>
          </p:cNvPr>
          <p:cNvSpPr>
            <a:spLocks/>
          </p:cNvSpPr>
          <p:nvPr/>
        </p:nvSpPr>
        <p:spPr bwMode="gray">
          <a:xfrm>
            <a:off x="695235" y="3869765"/>
            <a:ext cx="1611069" cy="1459577"/>
          </a:xfrm>
          <a:prstGeom prst="ellipse">
            <a:avLst/>
          </a:prstGeom>
          <a:blipFill>
            <a:blip r:embed="rId11" cstate="print">
              <a:extLst>
                <a:ext uri="{28A0092B-C50C-407E-A947-70E740481C1C}">
                  <a14:useLocalDpi xmlns:a14="http://schemas.microsoft.com/office/drawing/2010/main" val="0"/>
                </a:ext>
              </a:extLst>
            </a:blip>
            <a:srcRect/>
            <a:stretch>
              <a:fillRect/>
            </a:stretch>
          </a:blipFill>
          <a:ln w="2857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33" dirty="0">
              <a:solidFill>
                <a:schemeClr val="tx1"/>
              </a:solidFill>
            </a:endParaRPr>
          </a:p>
        </p:txBody>
      </p:sp>
      <p:sp>
        <p:nvSpPr>
          <p:cNvPr id="17" name="TextBox 16">
            <a:extLst>
              <a:ext uri="{FF2B5EF4-FFF2-40B4-BE49-F238E27FC236}">
                <a16:creationId xmlns:a16="http://schemas.microsoft.com/office/drawing/2014/main" id="{DC5C0E84-CA36-4FFE-9AEF-0ED57A334F92}"/>
              </a:ext>
            </a:extLst>
          </p:cNvPr>
          <p:cNvSpPr txBox="1"/>
          <p:nvPr/>
        </p:nvSpPr>
        <p:spPr bwMode="gray">
          <a:xfrm>
            <a:off x="9817671" y="5476330"/>
            <a:ext cx="1868968" cy="205121"/>
          </a:xfrm>
          <a:prstGeom prst="rect">
            <a:avLst/>
          </a:prstGeom>
        </p:spPr>
        <p:txBody>
          <a:bodyPr vert="horz" wrap="square" lIns="0" tIns="0" rIns="0" bIns="0" rtlCol="0" anchor="ctr" anchorCtr="0">
            <a:spAutoFit/>
          </a:bodyPr>
          <a:lstStyle>
            <a:defPPr>
              <a:defRPr lang="en-US"/>
            </a:defPPr>
            <a:lvl1pPr marL="0" lvl="0" indent="0" defTabSz="913041" eaLnBrk="1" hangingPunct="1">
              <a:buClr>
                <a:schemeClr val="tx2"/>
              </a:buClr>
              <a:defRPr sz="1400" b="1" baseline="0">
                <a:solidFill>
                  <a:schemeClr val="tx2"/>
                </a:solidFill>
                <a:latin typeface="+mn-lt"/>
              </a:defRPr>
            </a:lvl1pPr>
            <a:lvl2pPr marL="197503" indent="-195884" defTabSz="913041" eaLnBrk="1" hangingPunct="1">
              <a:buClr>
                <a:schemeClr val="tx2"/>
              </a:buClr>
              <a:buSzPct val="125000"/>
              <a:buFont typeface="Arial" charset="0"/>
              <a:buChar char="▪"/>
              <a:defRPr baseline="0">
                <a:latin typeface="+mn-lt"/>
              </a:defRPr>
            </a:lvl2pPr>
            <a:lvl3pPr marL="466231" indent="-267114" defTabSz="913041" eaLnBrk="1" hangingPunct="1">
              <a:buClr>
                <a:schemeClr val="tx2"/>
              </a:buClr>
              <a:buSzPct val="120000"/>
              <a:buFont typeface="Arial" charset="0"/>
              <a:buChar char="–"/>
              <a:defRPr baseline="0">
                <a:latin typeface="+mn-lt"/>
              </a:defRPr>
            </a:lvl3pPr>
            <a:lvl4pPr marL="626503" indent="-158650" defTabSz="913041" eaLnBrk="1" hangingPunct="1">
              <a:buClr>
                <a:schemeClr val="tx2"/>
              </a:buClr>
              <a:buSzPct val="120000"/>
              <a:buFont typeface="Arial" charset="0"/>
              <a:buChar char="▫"/>
              <a:defRPr baseline="0">
                <a:latin typeface="+mn-lt"/>
              </a:defRPr>
            </a:lvl4pPr>
            <a:lvl5pPr marL="764623" indent="-132747" defTabSz="913041" eaLnBrk="1" hangingPunct="1">
              <a:buClr>
                <a:schemeClr val="tx2"/>
              </a:buClr>
              <a:buSzPct val="89000"/>
              <a:buFont typeface="Arial" charset="0"/>
              <a:buChar char="-"/>
              <a:defRPr baseline="0">
                <a:latin typeface="+mn-lt"/>
              </a:defRPr>
            </a:lvl5pPr>
            <a:lvl6pPr marL="764623" indent="-132747" defTabSz="913041" fontAlgn="base">
              <a:spcBef>
                <a:spcPct val="0"/>
              </a:spcBef>
              <a:spcAft>
                <a:spcPct val="0"/>
              </a:spcAft>
              <a:buClr>
                <a:schemeClr val="tx2"/>
              </a:buClr>
              <a:buSzPct val="89000"/>
              <a:buFont typeface="Arial" charset="0"/>
              <a:buChar char="-"/>
              <a:defRPr baseline="0">
                <a:latin typeface="+mn-lt"/>
              </a:defRPr>
            </a:lvl6pPr>
            <a:lvl7pPr marL="764623" indent="-132747" defTabSz="913041" fontAlgn="base">
              <a:spcBef>
                <a:spcPct val="0"/>
              </a:spcBef>
              <a:spcAft>
                <a:spcPct val="0"/>
              </a:spcAft>
              <a:buClr>
                <a:schemeClr val="tx2"/>
              </a:buClr>
              <a:buSzPct val="89000"/>
              <a:buFont typeface="Arial" charset="0"/>
              <a:buChar char="-"/>
              <a:defRPr baseline="0">
                <a:latin typeface="+mn-lt"/>
              </a:defRPr>
            </a:lvl7pPr>
            <a:lvl8pPr marL="764623" indent="-132747" defTabSz="913041" fontAlgn="base">
              <a:spcBef>
                <a:spcPct val="0"/>
              </a:spcBef>
              <a:spcAft>
                <a:spcPct val="0"/>
              </a:spcAft>
              <a:buClr>
                <a:schemeClr val="tx2"/>
              </a:buClr>
              <a:buSzPct val="89000"/>
              <a:buFont typeface="Arial" charset="0"/>
              <a:buChar char="-"/>
              <a:defRPr baseline="0">
                <a:latin typeface="+mn-lt"/>
              </a:defRPr>
            </a:lvl8pPr>
            <a:lvl9pPr marL="764623" indent="-132747" defTabSz="913041" fontAlgn="base">
              <a:spcBef>
                <a:spcPct val="0"/>
              </a:spcBef>
              <a:spcAft>
                <a:spcPct val="0"/>
              </a:spcAft>
              <a:buClr>
                <a:schemeClr val="tx2"/>
              </a:buClr>
              <a:buSzPct val="89000"/>
              <a:buFont typeface="Arial" charset="0"/>
              <a:buChar char="-"/>
              <a:defRPr baseline="0">
                <a:latin typeface="+mn-lt"/>
              </a:defRPr>
            </a:lvl9pPr>
          </a:lstStyle>
          <a:p>
            <a:r>
              <a:rPr lang="en-US" sz="1333" dirty="0">
                <a:solidFill>
                  <a:schemeClr val="accent2"/>
                </a:solidFill>
              </a:rPr>
              <a:t>Digital Sales</a:t>
            </a:r>
          </a:p>
        </p:txBody>
      </p:sp>
      <p:sp>
        <p:nvSpPr>
          <p:cNvPr id="18" name="TextBox 17">
            <a:extLst>
              <a:ext uri="{FF2B5EF4-FFF2-40B4-BE49-F238E27FC236}">
                <a16:creationId xmlns:a16="http://schemas.microsoft.com/office/drawing/2014/main" id="{67D865CA-FB8C-4A25-AFFF-F9F947BB6615}"/>
              </a:ext>
            </a:extLst>
          </p:cNvPr>
          <p:cNvSpPr txBox="1"/>
          <p:nvPr/>
        </p:nvSpPr>
        <p:spPr bwMode="gray">
          <a:xfrm>
            <a:off x="2756741" y="5476330"/>
            <a:ext cx="1868968" cy="205121"/>
          </a:xfrm>
          <a:prstGeom prst="rect">
            <a:avLst/>
          </a:prstGeom>
        </p:spPr>
        <p:txBody>
          <a:bodyPr vert="horz" wrap="square" lIns="0" tIns="0" rIns="0" bIns="0" rtlCol="0" anchor="ctr" anchorCtr="0">
            <a:spAutoFit/>
          </a:bodyPr>
          <a:lstStyle>
            <a:defPPr>
              <a:defRPr lang="en-US"/>
            </a:defPPr>
            <a:lvl1pPr marL="0" lvl="0" indent="0" defTabSz="913041" eaLnBrk="1" hangingPunct="1">
              <a:buClr>
                <a:schemeClr val="tx2"/>
              </a:buClr>
              <a:defRPr sz="1400" b="1" baseline="0">
                <a:solidFill>
                  <a:schemeClr val="tx2"/>
                </a:solidFill>
                <a:latin typeface="+mn-lt"/>
              </a:defRPr>
            </a:lvl1pPr>
            <a:lvl2pPr marL="197503" indent="-195884" defTabSz="913041" eaLnBrk="1" hangingPunct="1">
              <a:buClr>
                <a:schemeClr val="tx2"/>
              </a:buClr>
              <a:buSzPct val="125000"/>
              <a:buFont typeface="Arial" charset="0"/>
              <a:buChar char="▪"/>
              <a:defRPr baseline="0">
                <a:latin typeface="+mn-lt"/>
              </a:defRPr>
            </a:lvl2pPr>
            <a:lvl3pPr marL="466231" indent="-267114" defTabSz="913041" eaLnBrk="1" hangingPunct="1">
              <a:buClr>
                <a:schemeClr val="tx2"/>
              </a:buClr>
              <a:buSzPct val="120000"/>
              <a:buFont typeface="Arial" charset="0"/>
              <a:buChar char="–"/>
              <a:defRPr baseline="0">
                <a:latin typeface="+mn-lt"/>
              </a:defRPr>
            </a:lvl3pPr>
            <a:lvl4pPr marL="626503" indent="-158650" defTabSz="913041" eaLnBrk="1" hangingPunct="1">
              <a:buClr>
                <a:schemeClr val="tx2"/>
              </a:buClr>
              <a:buSzPct val="120000"/>
              <a:buFont typeface="Arial" charset="0"/>
              <a:buChar char="▫"/>
              <a:defRPr baseline="0">
                <a:latin typeface="+mn-lt"/>
              </a:defRPr>
            </a:lvl4pPr>
            <a:lvl5pPr marL="764623" indent="-132747" defTabSz="913041" eaLnBrk="1" hangingPunct="1">
              <a:buClr>
                <a:schemeClr val="tx2"/>
              </a:buClr>
              <a:buSzPct val="89000"/>
              <a:buFont typeface="Arial" charset="0"/>
              <a:buChar char="-"/>
              <a:defRPr baseline="0">
                <a:latin typeface="+mn-lt"/>
              </a:defRPr>
            </a:lvl5pPr>
            <a:lvl6pPr marL="764623" indent="-132747" defTabSz="913041" fontAlgn="base">
              <a:spcBef>
                <a:spcPct val="0"/>
              </a:spcBef>
              <a:spcAft>
                <a:spcPct val="0"/>
              </a:spcAft>
              <a:buClr>
                <a:schemeClr val="tx2"/>
              </a:buClr>
              <a:buSzPct val="89000"/>
              <a:buFont typeface="Arial" charset="0"/>
              <a:buChar char="-"/>
              <a:defRPr baseline="0">
                <a:latin typeface="+mn-lt"/>
              </a:defRPr>
            </a:lvl6pPr>
            <a:lvl7pPr marL="764623" indent="-132747" defTabSz="913041" fontAlgn="base">
              <a:spcBef>
                <a:spcPct val="0"/>
              </a:spcBef>
              <a:spcAft>
                <a:spcPct val="0"/>
              </a:spcAft>
              <a:buClr>
                <a:schemeClr val="tx2"/>
              </a:buClr>
              <a:buSzPct val="89000"/>
              <a:buFont typeface="Arial" charset="0"/>
              <a:buChar char="-"/>
              <a:defRPr baseline="0">
                <a:latin typeface="+mn-lt"/>
              </a:defRPr>
            </a:lvl7pPr>
            <a:lvl8pPr marL="764623" indent="-132747" defTabSz="913041" fontAlgn="base">
              <a:spcBef>
                <a:spcPct val="0"/>
              </a:spcBef>
              <a:spcAft>
                <a:spcPct val="0"/>
              </a:spcAft>
              <a:buClr>
                <a:schemeClr val="tx2"/>
              </a:buClr>
              <a:buSzPct val="89000"/>
              <a:buFont typeface="Arial" charset="0"/>
              <a:buChar char="-"/>
              <a:defRPr baseline="0">
                <a:latin typeface="+mn-lt"/>
              </a:defRPr>
            </a:lvl8pPr>
            <a:lvl9pPr marL="764623" indent="-132747" defTabSz="913041" fontAlgn="base">
              <a:spcBef>
                <a:spcPct val="0"/>
              </a:spcBef>
              <a:spcAft>
                <a:spcPct val="0"/>
              </a:spcAft>
              <a:buClr>
                <a:schemeClr val="tx2"/>
              </a:buClr>
              <a:buSzPct val="89000"/>
              <a:buFont typeface="Arial" charset="0"/>
              <a:buChar char="-"/>
              <a:defRPr baseline="0">
                <a:latin typeface="+mn-lt"/>
              </a:defRPr>
            </a:lvl9pPr>
          </a:lstStyle>
          <a:p>
            <a:pPr algn="ctr"/>
            <a:r>
              <a:rPr lang="en-US" sz="1333" dirty="0">
                <a:solidFill>
                  <a:schemeClr val="accent2"/>
                </a:solidFill>
              </a:rPr>
              <a:t>Digital Operations</a:t>
            </a:r>
          </a:p>
        </p:txBody>
      </p:sp>
      <p:sp>
        <p:nvSpPr>
          <p:cNvPr id="20" name="TextBox 19">
            <a:extLst>
              <a:ext uri="{FF2B5EF4-FFF2-40B4-BE49-F238E27FC236}">
                <a16:creationId xmlns:a16="http://schemas.microsoft.com/office/drawing/2014/main" id="{A77B9D28-A17D-415D-8D36-0A11803B9777}"/>
              </a:ext>
            </a:extLst>
          </p:cNvPr>
          <p:cNvSpPr txBox="1"/>
          <p:nvPr/>
        </p:nvSpPr>
        <p:spPr bwMode="gray">
          <a:xfrm>
            <a:off x="5002769" y="5476330"/>
            <a:ext cx="1868968" cy="205121"/>
          </a:xfrm>
          <a:prstGeom prst="rect">
            <a:avLst/>
          </a:prstGeom>
        </p:spPr>
        <p:txBody>
          <a:bodyPr vert="horz" wrap="square" lIns="0" tIns="0" rIns="0" bIns="0" rtlCol="0" anchor="ctr" anchorCtr="0">
            <a:spAutoFit/>
          </a:bodyPr>
          <a:lstStyle>
            <a:defPPr>
              <a:defRPr lang="en-US"/>
            </a:defPPr>
            <a:lvl1pPr marL="0" lvl="0" indent="0" defTabSz="913041" eaLnBrk="1" hangingPunct="1">
              <a:buClr>
                <a:schemeClr val="tx2"/>
              </a:buClr>
              <a:defRPr sz="1400" b="1" baseline="0">
                <a:solidFill>
                  <a:schemeClr val="tx2"/>
                </a:solidFill>
                <a:latin typeface="+mn-lt"/>
              </a:defRPr>
            </a:lvl1pPr>
            <a:lvl2pPr marL="197503" indent="-195884" defTabSz="913041" eaLnBrk="1" hangingPunct="1">
              <a:buClr>
                <a:schemeClr val="tx2"/>
              </a:buClr>
              <a:buSzPct val="125000"/>
              <a:buFont typeface="Arial" charset="0"/>
              <a:buChar char="▪"/>
              <a:defRPr baseline="0">
                <a:latin typeface="+mn-lt"/>
              </a:defRPr>
            </a:lvl2pPr>
            <a:lvl3pPr marL="466231" indent="-267114" defTabSz="913041" eaLnBrk="1" hangingPunct="1">
              <a:buClr>
                <a:schemeClr val="tx2"/>
              </a:buClr>
              <a:buSzPct val="120000"/>
              <a:buFont typeface="Arial" charset="0"/>
              <a:buChar char="–"/>
              <a:defRPr baseline="0">
                <a:latin typeface="+mn-lt"/>
              </a:defRPr>
            </a:lvl3pPr>
            <a:lvl4pPr marL="626503" indent="-158650" defTabSz="913041" eaLnBrk="1" hangingPunct="1">
              <a:buClr>
                <a:schemeClr val="tx2"/>
              </a:buClr>
              <a:buSzPct val="120000"/>
              <a:buFont typeface="Arial" charset="0"/>
              <a:buChar char="▫"/>
              <a:defRPr baseline="0">
                <a:latin typeface="+mn-lt"/>
              </a:defRPr>
            </a:lvl4pPr>
            <a:lvl5pPr marL="764623" indent="-132747" defTabSz="913041" eaLnBrk="1" hangingPunct="1">
              <a:buClr>
                <a:schemeClr val="tx2"/>
              </a:buClr>
              <a:buSzPct val="89000"/>
              <a:buFont typeface="Arial" charset="0"/>
              <a:buChar char="-"/>
              <a:defRPr baseline="0">
                <a:latin typeface="+mn-lt"/>
              </a:defRPr>
            </a:lvl5pPr>
            <a:lvl6pPr marL="764623" indent="-132747" defTabSz="913041" fontAlgn="base">
              <a:spcBef>
                <a:spcPct val="0"/>
              </a:spcBef>
              <a:spcAft>
                <a:spcPct val="0"/>
              </a:spcAft>
              <a:buClr>
                <a:schemeClr val="tx2"/>
              </a:buClr>
              <a:buSzPct val="89000"/>
              <a:buFont typeface="Arial" charset="0"/>
              <a:buChar char="-"/>
              <a:defRPr baseline="0">
                <a:latin typeface="+mn-lt"/>
              </a:defRPr>
            </a:lvl6pPr>
            <a:lvl7pPr marL="764623" indent="-132747" defTabSz="913041" fontAlgn="base">
              <a:spcBef>
                <a:spcPct val="0"/>
              </a:spcBef>
              <a:spcAft>
                <a:spcPct val="0"/>
              </a:spcAft>
              <a:buClr>
                <a:schemeClr val="tx2"/>
              </a:buClr>
              <a:buSzPct val="89000"/>
              <a:buFont typeface="Arial" charset="0"/>
              <a:buChar char="-"/>
              <a:defRPr baseline="0">
                <a:latin typeface="+mn-lt"/>
              </a:defRPr>
            </a:lvl7pPr>
            <a:lvl8pPr marL="764623" indent="-132747" defTabSz="913041" fontAlgn="base">
              <a:spcBef>
                <a:spcPct val="0"/>
              </a:spcBef>
              <a:spcAft>
                <a:spcPct val="0"/>
              </a:spcAft>
              <a:buClr>
                <a:schemeClr val="tx2"/>
              </a:buClr>
              <a:buSzPct val="89000"/>
              <a:buFont typeface="Arial" charset="0"/>
              <a:buChar char="-"/>
              <a:defRPr baseline="0">
                <a:latin typeface="+mn-lt"/>
              </a:defRPr>
            </a:lvl8pPr>
            <a:lvl9pPr marL="764623" indent="-132747" defTabSz="913041" fontAlgn="base">
              <a:spcBef>
                <a:spcPct val="0"/>
              </a:spcBef>
              <a:spcAft>
                <a:spcPct val="0"/>
              </a:spcAft>
              <a:buClr>
                <a:schemeClr val="tx2"/>
              </a:buClr>
              <a:buSzPct val="89000"/>
              <a:buFont typeface="Arial" charset="0"/>
              <a:buChar char="-"/>
              <a:defRPr baseline="0">
                <a:latin typeface="+mn-lt"/>
              </a:defRPr>
            </a:lvl9pPr>
          </a:lstStyle>
          <a:p>
            <a:pPr algn="ctr"/>
            <a:r>
              <a:rPr lang="en-US" sz="1333" dirty="0">
                <a:solidFill>
                  <a:schemeClr val="accent2"/>
                </a:solidFill>
              </a:rPr>
              <a:t>Digital S&amp;OP process</a:t>
            </a:r>
          </a:p>
        </p:txBody>
      </p:sp>
      <p:grpSp>
        <p:nvGrpSpPr>
          <p:cNvPr id="23" name="Group 22">
            <a:extLst>
              <a:ext uri="{FF2B5EF4-FFF2-40B4-BE49-F238E27FC236}">
                <a16:creationId xmlns:a16="http://schemas.microsoft.com/office/drawing/2014/main" id="{139EAE82-EC43-4EF3-8C10-6BB21C07A462}"/>
              </a:ext>
            </a:extLst>
          </p:cNvPr>
          <p:cNvGrpSpPr/>
          <p:nvPr/>
        </p:nvGrpSpPr>
        <p:grpSpPr bwMode="gray">
          <a:xfrm>
            <a:off x="1277130" y="1480472"/>
            <a:ext cx="9659340" cy="81185"/>
            <a:chOff x="1908219" y="1532797"/>
            <a:chExt cx="5833026" cy="99318"/>
          </a:xfrm>
        </p:grpSpPr>
        <p:grpSp>
          <p:nvGrpSpPr>
            <p:cNvPr id="46" name="Group 45">
              <a:extLst>
                <a:ext uri="{FF2B5EF4-FFF2-40B4-BE49-F238E27FC236}">
                  <a16:creationId xmlns:a16="http://schemas.microsoft.com/office/drawing/2014/main" id="{39C0CF41-EE40-4FD1-A420-F7EA8258AF39}"/>
                </a:ext>
              </a:extLst>
            </p:cNvPr>
            <p:cNvGrpSpPr/>
            <p:nvPr/>
          </p:nvGrpSpPr>
          <p:grpSpPr bwMode="gray">
            <a:xfrm>
              <a:off x="1908219" y="1532797"/>
              <a:ext cx="1578889" cy="99318"/>
              <a:chOff x="-1136994" y="1217273"/>
              <a:chExt cx="1578889" cy="99318"/>
            </a:xfrm>
            <a:solidFill>
              <a:schemeClr val="bg1"/>
            </a:solidFill>
          </p:grpSpPr>
          <p:sp>
            <p:nvSpPr>
              <p:cNvPr id="54" name="Freeform 175">
                <a:extLst>
                  <a:ext uri="{FF2B5EF4-FFF2-40B4-BE49-F238E27FC236}">
                    <a16:creationId xmlns:a16="http://schemas.microsoft.com/office/drawing/2014/main" id="{C602B6C8-EC1A-4958-8AEE-535C20AE920D}"/>
                  </a:ext>
                </a:extLst>
              </p:cNvPr>
              <p:cNvSpPr>
                <a:spLocks/>
              </p:cNvSpPr>
              <p:nvPr/>
            </p:nvSpPr>
            <p:spPr bwMode="gray">
              <a:xfrm>
                <a:off x="-308993" y="1221341"/>
                <a:ext cx="750888" cy="95250"/>
              </a:xfrm>
              <a:custGeom>
                <a:avLst/>
                <a:gdLst>
                  <a:gd name="T0" fmla="*/ 66 w 473"/>
                  <a:gd name="T1" fmla="*/ 2 h 60"/>
                  <a:gd name="T2" fmla="*/ 82 w 473"/>
                  <a:gd name="T3" fmla="*/ 7 h 60"/>
                  <a:gd name="T4" fmla="*/ 96 w 473"/>
                  <a:gd name="T5" fmla="*/ 15 h 60"/>
                  <a:gd name="T6" fmla="*/ 114 w 473"/>
                  <a:gd name="T7" fmla="*/ 28 h 60"/>
                  <a:gd name="T8" fmla="*/ 124 w 473"/>
                  <a:gd name="T9" fmla="*/ 35 h 60"/>
                  <a:gd name="T10" fmla="*/ 147 w 473"/>
                  <a:gd name="T11" fmla="*/ 40 h 60"/>
                  <a:gd name="T12" fmla="*/ 169 w 473"/>
                  <a:gd name="T13" fmla="*/ 35 h 60"/>
                  <a:gd name="T14" fmla="*/ 179 w 473"/>
                  <a:gd name="T15" fmla="*/ 28 h 60"/>
                  <a:gd name="T16" fmla="*/ 197 w 473"/>
                  <a:gd name="T17" fmla="*/ 15 h 60"/>
                  <a:gd name="T18" fmla="*/ 212 w 473"/>
                  <a:gd name="T19" fmla="*/ 7 h 60"/>
                  <a:gd name="T20" fmla="*/ 226 w 473"/>
                  <a:gd name="T21" fmla="*/ 2 h 60"/>
                  <a:gd name="T22" fmla="*/ 253 w 473"/>
                  <a:gd name="T23" fmla="*/ 2 h 60"/>
                  <a:gd name="T24" fmla="*/ 269 w 473"/>
                  <a:gd name="T25" fmla="*/ 7 h 60"/>
                  <a:gd name="T26" fmla="*/ 292 w 473"/>
                  <a:gd name="T27" fmla="*/ 23 h 60"/>
                  <a:gd name="T28" fmla="*/ 300 w 473"/>
                  <a:gd name="T29" fmla="*/ 28 h 60"/>
                  <a:gd name="T30" fmla="*/ 319 w 473"/>
                  <a:gd name="T31" fmla="*/ 38 h 60"/>
                  <a:gd name="T32" fmla="*/ 346 w 473"/>
                  <a:gd name="T33" fmla="*/ 38 h 60"/>
                  <a:gd name="T34" fmla="*/ 366 w 473"/>
                  <a:gd name="T35" fmla="*/ 28 h 60"/>
                  <a:gd name="T36" fmla="*/ 383 w 473"/>
                  <a:gd name="T37" fmla="*/ 15 h 60"/>
                  <a:gd name="T38" fmla="*/ 398 w 473"/>
                  <a:gd name="T39" fmla="*/ 7 h 60"/>
                  <a:gd name="T40" fmla="*/ 413 w 473"/>
                  <a:gd name="T41" fmla="*/ 2 h 60"/>
                  <a:gd name="T42" fmla="*/ 439 w 473"/>
                  <a:gd name="T43" fmla="*/ 2 h 60"/>
                  <a:gd name="T44" fmla="*/ 452 w 473"/>
                  <a:gd name="T45" fmla="*/ 8 h 60"/>
                  <a:gd name="T46" fmla="*/ 464 w 473"/>
                  <a:gd name="T47" fmla="*/ 17 h 60"/>
                  <a:gd name="T48" fmla="*/ 460 w 473"/>
                  <a:gd name="T49" fmla="*/ 39 h 60"/>
                  <a:gd name="T50" fmla="*/ 442 w 473"/>
                  <a:gd name="T51" fmla="*/ 26 h 60"/>
                  <a:gd name="T52" fmla="*/ 427 w 473"/>
                  <a:gd name="T53" fmla="*/ 20 h 60"/>
                  <a:gd name="T54" fmla="*/ 405 w 473"/>
                  <a:gd name="T55" fmla="*/ 26 h 60"/>
                  <a:gd name="T56" fmla="*/ 387 w 473"/>
                  <a:gd name="T57" fmla="*/ 38 h 60"/>
                  <a:gd name="T58" fmla="*/ 363 w 473"/>
                  <a:gd name="T59" fmla="*/ 54 h 60"/>
                  <a:gd name="T60" fmla="*/ 346 w 473"/>
                  <a:gd name="T61" fmla="*/ 58 h 60"/>
                  <a:gd name="T62" fmla="*/ 319 w 473"/>
                  <a:gd name="T63" fmla="*/ 58 h 60"/>
                  <a:gd name="T64" fmla="*/ 302 w 473"/>
                  <a:gd name="T65" fmla="*/ 54 h 60"/>
                  <a:gd name="T66" fmla="*/ 278 w 473"/>
                  <a:gd name="T67" fmla="*/ 38 h 60"/>
                  <a:gd name="T68" fmla="*/ 261 w 473"/>
                  <a:gd name="T69" fmla="*/ 26 h 60"/>
                  <a:gd name="T70" fmla="*/ 240 w 473"/>
                  <a:gd name="T71" fmla="*/ 20 h 60"/>
                  <a:gd name="T72" fmla="*/ 220 w 473"/>
                  <a:gd name="T73" fmla="*/ 26 h 60"/>
                  <a:gd name="T74" fmla="*/ 202 w 473"/>
                  <a:gd name="T75" fmla="*/ 38 h 60"/>
                  <a:gd name="T76" fmla="*/ 177 w 473"/>
                  <a:gd name="T77" fmla="*/ 54 h 60"/>
                  <a:gd name="T78" fmla="*/ 160 w 473"/>
                  <a:gd name="T79" fmla="*/ 58 h 60"/>
                  <a:gd name="T80" fmla="*/ 133 w 473"/>
                  <a:gd name="T81" fmla="*/ 58 h 60"/>
                  <a:gd name="T82" fmla="*/ 117 w 473"/>
                  <a:gd name="T83" fmla="*/ 54 h 60"/>
                  <a:gd name="T84" fmla="*/ 92 w 473"/>
                  <a:gd name="T85" fmla="*/ 38 h 60"/>
                  <a:gd name="T86" fmla="*/ 74 w 473"/>
                  <a:gd name="T87" fmla="*/ 26 h 60"/>
                  <a:gd name="T88" fmla="*/ 53 w 473"/>
                  <a:gd name="T89" fmla="*/ 20 h 60"/>
                  <a:gd name="T90" fmla="*/ 32 w 473"/>
                  <a:gd name="T91" fmla="*/ 27 h 60"/>
                  <a:gd name="T92" fmla="*/ 11 w 473"/>
                  <a:gd name="T93" fmla="*/ 40 h 60"/>
                  <a:gd name="T94" fmla="*/ 9 w 473"/>
                  <a:gd name="T95" fmla="*/ 17 h 60"/>
                  <a:gd name="T96" fmla="*/ 24 w 473"/>
                  <a:gd name="T97" fmla="*/ 8 h 60"/>
                  <a:gd name="T98" fmla="*/ 39 w 473"/>
                  <a:gd name="T99"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3" h="60">
                    <a:moveTo>
                      <a:pt x="53" y="0"/>
                    </a:moveTo>
                    <a:lnTo>
                      <a:pt x="66" y="2"/>
                    </a:lnTo>
                    <a:lnTo>
                      <a:pt x="70" y="2"/>
                    </a:lnTo>
                    <a:lnTo>
                      <a:pt x="82" y="7"/>
                    </a:lnTo>
                    <a:lnTo>
                      <a:pt x="93" y="13"/>
                    </a:lnTo>
                    <a:lnTo>
                      <a:pt x="96" y="15"/>
                    </a:lnTo>
                    <a:lnTo>
                      <a:pt x="107" y="23"/>
                    </a:lnTo>
                    <a:lnTo>
                      <a:pt x="114" y="28"/>
                    </a:lnTo>
                    <a:lnTo>
                      <a:pt x="114" y="28"/>
                    </a:lnTo>
                    <a:lnTo>
                      <a:pt x="124" y="35"/>
                    </a:lnTo>
                    <a:lnTo>
                      <a:pt x="133" y="38"/>
                    </a:lnTo>
                    <a:lnTo>
                      <a:pt x="147" y="40"/>
                    </a:lnTo>
                    <a:lnTo>
                      <a:pt x="160" y="38"/>
                    </a:lnTo>
                    <a:lnTo>
                      <a:pt x="169" y="35"/>
                    </a:lnTo>
                    <a:lnTo>
                      <a:pt x="179" y="28"/>
                    </a:lnTo>
                    <a:lnTo>
                      <a:pt x="179" y="28"/>
                    </a:lnTo>
                    <a:lnTo>
                      <a:pt x="187" y="23"/>
                    </a:lnTo>
                    <a:lnTo>
                      <a:pt x="197" y="15"/>
                    </a:lnTo>
                    <a:lnTo>
                      <a:pt x="201" y="13"/>
                    </a:lnTo>
                    <a:lnTo>
                      <a:pt x="212" y="7"/>
                    </a:lnTo>
                    <a:lnTo>
                      <a:pt x="223" y="2"/>
                    </a:lnTo>
                    <a:lnTo>
                      <a:pt x="226" y="2"/>
                    </a:lnTo>
                    <a:lnTo>
                      <a:pt x="240" y="0"/>
                    </a:lnTo>
                    <a:lnTo>
                      <a:pt x="253" y="2"/>
                    </a:lnTo>
                    <a:lnTo>
                      <a:pt x="257" y="2"/>
                    </a:lnTo>
                    <a:lnTo>
                      <a:pt x="269" y="7"/>
                    </a:lnTo>
                    <a:lnTo>
                      <a:pt x="282" y="15"/>
                    </a:lnTo>
                    <a:lnTo>
                      <a:pt x="292" y="23"/>
                    </a:lnTo>
                    <a:lnTo>
                      <a:pt x="300" y="28"/>
                    </a:lnTo>
                    <a:lnTo>
                      <a:pt x="300" y="28"/>
                    </a:lnTo>
                    <a:lnTo>
                      <a:pt x="310" y="35"/>
                    </a:lnTo>
                    <a:lnTo>
                      <a:pt x="319" y="38"/>
                    </a:lnTo>
                    <a:lnTo>
                      <a:pt x="333" y="40"/>
                    </a:lnTo>
                    <a:lnTo>
                      <a:pt x="346" y="38"/>
                    </a:lnTo>
                    <a:lnTo>
                      <a:pt x="355" y="35"/>
                    </a:lnTo>
                    <a:lnTo>
                      <a:pt x="366" y="28"/>
                    </a:lnTo>
                    <a:lnTo>
                      <a:pt x="373" y="23"/>
                    </a:lnTo>
                    <a:lnTo>
                      <a:pt x="383" y="15"/>
                    </a:lnTo>
                    <a:lnTo>
                      <a:pt x="386" y="13"/>
                    </a:lnTo>
                    <a:lnTo>
                      <a:pt x="398" y="7"/>
                    </a:lnTo>
                    <a:lnTo>
                      <a:pt x="410" y="2"/>
                    </a:lnTo>
                    <a:lnTo>
                      <a:pt x="413" y="2"/>
                    </a:lnTo>
                    <a:lnTo>
                      <a:pt x="427" y="0"/>
                    </a:lnTo>
                    <a:lnTo>
                      <a:pt x="439" y="2"/>
                    </a:lnTo>
                    <a:lnTo>
                      <a:pt x="442" y="2"/>
                    </a:lnTo>
                    <a:lnTo>
                      <a:pt x="452" y="8"/>
                    </a:lnTo>
                    <a:lnTo>
                      <a:pt x="456" y="10"/>
                    </a:lnTo>
                    <a:lnTo>
                      <a:pt x="464" y="17"/>
                    </a:lnTo>
                    <a:lnTo>
                      <a:pt x="473" y="23"/>
                    </a:lnTo>
                    <a:lnTo>
                      <a:pt x="460" y="39"/>
                    </a:lnTo>
                    <a:lnTo>
                      <a:pt x="449" y="31"/>
                    </a:lnTo>
                    <a:lnTo>
                      <a:pt x="442" y="26"/>
                    </a:lnTo>
                    <a:lnTo>
                      <a:pt x="436" y="21"/>
                    </a:lnTo>
                    <a:lnTo>
                      <a:pt x="427" y="20"/>
                    </a:lnTo>
                    <a:lnTo>
                      <a:pt x="415" y="22"/>
                    </a:lnTo>
                    <a:lnTo>
                      <a:pt x="405" y="26"/>
                    </a:lnTo>
                    <a:lnTo>
                      <a:pt x="396" y="31"/>
                    </a:lnTo>
                    <a:lnTo>
                      <a:pt x="387" y="38"/>
                    </a:lnTo>
                    <a:lnTo>
                      <a:pt x="374" y="47"/>
                    </a:lnTo>
                    <a:lnTo>
                      <a:pt x="363" y="54"/>
                    </a:lnTo>
                    <a:lnTo>
                      <a:pt x="351" y="58"/>
                    </a:lnTo>
                    <a:lnTo>
                      <a:pt x="346" y="58"/>
                    </a:lnTo>
                    <a:lnTo>
                      <a:pt x="333" y="60"/>
                    </a:lnTo>
                    <a:lnTo>
                      <a:pt x="319" y="58"/>
                    </a:lnTo>
                    <a:lnTo>
                      <a:pt x="315" y="58"/>
                    </a:lnTo>
                    <a:lnTo>
                      <a:pt x="302" y="54"/>
                    </a:lnTo>
                    <a:lnTo>
                      <a:pt x="289" y="45"/>
                    </a:lnTo>
                    <a:lnTo>
                      <a:pt x="278" y="38"/>
                    </a:lnTo>
                    <a:lnTo>
                      <a:pt x="268" y="30"/>
                    </a:lnTo>
                    <a:lnTo>
                      <a:pt x="261" y="26"/>
                    </a:lnTo>
                    <a:lnTo>
                      <a:pt x="251" y="22"/>
                    </a:lnTo>
                    <a:lnTo>
                      <a:pt x="240" y="20"/>
                    </a:lnTo>
                    <a:lnTo>
                      <a:pt x="230" y="22"/>
                    </a:lnTo>
                    <a:lnTo>
                      <a:pt x="220" y="26"/>
                    </a:lnTo>
                    <a:lnTo>
                      <a:pt x="211" y="31"/>
                    </a:lnTo>
                    <a:lnTo>
                      <a:pt x="202" y="38"/>
                    </a:lnTo>
                    <a:lnTo>
                      <a:pt x="190" y="45"/>
                    </a:lnTo>
                    <a:lnTo>
                      <a:pt x="177" y="54"/>
                    </a:lnTo>
                    <a:lnTo>
                      <a:pt x="165" y="58"/>
                    </a:lnTo>
                    <a:lnTo>
                      <a:pt x="160" y="58"/>
                    </a:lnTo>
                    <a:lnTo>
                      <a:pt x="147" y="60"/>
                    </a:lnTo>
                    <a:lnTo>
                      <a:pt x="133" y="58"/>
                    </a:lnTo>
                    <a:lnTo>
                      <a:pt x="129" y="58"/>
                    </a:lnTo>
                    <a:lnTo>
                      <a:pt x="117" y="54"/>
                    </a:lnTo>
                    <a:lnTo>
                      <a:pt x="103" y="45"/>
                    </a:lnTo>
                    <a:lnTo>
                      <a:pt x="92" y="38"/>
                    </a:lnTo>
                    <a:lnTo>
                      <a:pt x="83" y="31"/>
                    </a:lnTo>
                    <a:lnTo>
                      <a:pt x="74" y="26"/>
                    </a:lnTo>
                    <a:lnTo>
                      <a:pt x="64" y="22"/>
                    </a:lnTo>
                    <a:lnTo>
                      <a:pt x="53" y="20"/>
                    </a:lnTo>
                    <a:lnTo>
                      <a:pt x="43" y="22"/>
                    </a:lnTo>
                    <a:lnTo>
                      <a:pt x="32" y="27"/>
                    </a:lnTo>
                    <a:lnTo>
                      <a:pt x="21" y="32"/>
                    </a:lnTo>
                    <a:lnTo>
                      <a:pt x="11" y="40"/>
                    </a:lnTo>
                    <a:lnTo>
                      <a:pt x="0" y="23"/>
                    </a:lnTo>
                    <a:lnTo>
                      <a:pt x="9" y="17"/>
                    </a:lnTo>
                    <a:lnTo>
                      <a:pt x="12" y="14"/>
                    </a:lnTo>
                    <a:lnTo>
                      <a:pt x="24" y="8"/>
                    </a:lnTo>
                    <a:lnTo>
                      <a:pt x="36" y="2"/>
                    </a:lnTo>
                    <a:lnTo>
                      <a:pt x="39" y="2"/>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55" name="Freeform 176">
                <a:extLst>
                  <a:ext uri="{FF2B5EF4-FFF2-40B4-BE49-F238E27FC236}">
                    <a16:creationId xmlns:a16="http://schemas.microsoft.com/office/drawing/2014/main" id="{D4E97DA5-87A6-472E-A298-B7C4490DE7A1}"/>
                  </a:ext>
                </a:extLst>
              </p:cNvPr>
              <p:cNvSpPr>
                <a:spLocks/>
              </p:cNvSpPr>
              <p:nvPr/>
            </p:nvSpPr>
            <p:spPr bwMode="gray">
              <a:xfrm>
                <a:off x="-1136994" y="1217273"/>
                <a:ext cx="750888" cy="98425"/>
              </a:xfrm>
              <a:custGeom>
                <a:avLst/>
                <a:gdLst>
                  <a:gd name="T0" fmla="*/ 66 w 473"/>
                  <a:gd name="T1" fmla="*/ 3 h 62"/>
                  <a:gd name="T2" fmla="*/ 82 w 473"/>
                  <a:gd name="T3" fmla="*/ 7 h 62"/>
                  <a:gd name="T4" fmla="*/ 96 w 473"/>
                  <a:gd name="T5" fmla="*/ 16 h 62"/>
                  <a:gd name="T6" fmla="*/ 118 w 473"/>
                  <a:gd name="T7" fmla="*/ 32 h 62"/>
                  <a:gd name="T8" fmla="*/ 133 w 473"/>
                  <a:gd name="T9" fmla="*/ 39 h 62"/>
                  <a:gd name="T10" fmla="*/ 160 w 473"/>
                  <a:gd name="T11" fmla="*/ 39 h 62"/>
                  <a:gd name="T12" fmla="*/ 176 w 473"/>
                  <a:gd name="T13" fmla="*/ 32 h 62"/>
                  <a:gd name="T14" fmla="*/ 197 w 473"/>
                  <a:gd name="T15" fmla="*/ 16 h 62"/>
                  <a:gd name="T16" fmla="*/ 212 w 473"/>
                  <a:gd name="T17" fmla="*/ 7 h 62"/>
                  <a:gd name="T18" fmla="*/ 226 w 473"/>
                  <a:gd name="T19" fmla="*/ 3 h 62"/>
                  <a:gd name="T20" fmla="*/ 253 w 473"/>
                  <a:gd name="T21" fmla="*/ 3 h 62"/>
                  <a:gd name="T22" fmla="*/ 269 w 473"/>
                  <a:gd name="T23" fmla="*/ 7 h 62"/>
                  <a:gd name="T24" fmla="*/ 292 w 473"/>
                  <a:gd name="T25" fmla="*/ 24 h 62"/>
                  <a:gd name="T26" fmla="*/ 310 w 473"/>
                  <a:gd name="T27" fmla="*/ 36 h 62"/>
                  <a:gd name="T28" fmla="*/ 333 w 473"/>
                  <a:gd name="T29" fmla="*/ 42 h 62"/>
                  <a:gd name="T30" fmla="*/ 355 w 473"/>
                  <a:gd name="T31" fmla="*/ 36 h 62"/>
                  <a:gd name="T32" fmla="*/ 383 w 473"/>
                  <a:gd name="T33" fmla="*/ 16 h 62"/>
                  <a:gd name="T34" fmla="*/ 398 w 473"/>
                  <a:gd name="T35" fmla="*/ 7 h 62"/>
                  <a:gd name="T36" fmla="*/ 413 w 473"/>
                  <a:gd name="T37" fmla="*/ 3 h 62"/>
                  <a:gd name="T38" fmla="*/ 439 w 473"/>
                  <a:gd name="T39" fmla="*/ 3 h 62"/>
                  <a:gd name="T40" fmla="*/ 452 w 473"/>
                  <a:gd name="T41" fmla="*/ 8 h 62"/>
                  <a:gd name="T42" fmla="*/ 464 w 473"/>
                  <a:gd name="T43" fmla="*/ 17 h 62"/>
                  <a:gd name="T44" fmla="*/ 460 w 473"/>
                  <a:gd name="T45" fmla="*/ 39 h 62"/>
                  <a:gd name="T46" fmla="*/ 442 w 473"/>
                  <a:gd name="T47" fmla="*/ 26 h 62"/>
                  <a:gd name="T48" fmla="*/ 427 w 473"/>
                  <a:gd name="T49" fmla="*/ 20 h 62"/>
                  <a:gd name="T50" fmla="*/ 405 w 473"/>
                  <a:gd name="T51" fmla="*/ 26 h 62"/>
                  <a:gd name="T52" fmla="*/ 377 w 473"/>
                  <a:gd name="T53" fmla="*/ 46 h 62"/>
                  <a:gd name="T54" fmla="*/ 363 w 473"/>
                  <a:gd name="T55" fmla="*/ 55 h 62"/>
                  <a:gd name="T56" fmla="*/ 346 w 473"/>
                  <a:gd name="T57" fmla="*/ 60 h 62"/>
                  <a:gd name="T58" fmla="*/ 319 w 473"/>
                  <a:gd name="T59" fmla="*/ 60 h 62"/>
                  <a:gd name="T60" fmla="*/ 302 w 473"/>
                  <a:gd name="T61" fmla="*/ 55 h 62"/>
                  <a:gd name="T62" fmla="*/ 278 w 473"/>
                  <a:gd name="T63" fmla="*/ 38 h 62"/>
                  <a:gd name="T64" fmla="*/ 261 w 473"/>
                  <a:gd name="T65" fmla="*/ 26 h 62"/>
                  <a:gd name="T66" fmla="*/ 240 w 473"/>
                  <a:gd name="T67" fmla="*/ 20 h 62"/>
                  <a:gd name="T68" fmla="*/ 220 w 473"/>
                  <a:gd name="T69" fmla="*/ 26 h 62"/>
                  <a:gd name="T70" fmla="*/ 202 w 473"/>
                  <a:gd name="T71" fmla="*/ 38 h 62"/>
                  <a:gd name="T72" fmla="*/ 177 w 473"/>
                  <a:gd name="T73" fmla="*/ 55 h 62"/>
                  <a:gd name="T74" fmla="*/ 160 w 473"/>
                  <a:gd name="T75" fmla="*/ 60 h 62"/>
                  <a:gd name="T76" fmla="*/ 133 w 473"/>
                  <a:gd name="T77" fmla="*/ 60 h 62"/>
                  <a:gd name="T78" fmla="*/ 117 w 473"/>
                  <a:gd name="T79" fmla="*/ 55 h 62"/>
                  <a:gd name="T80" fmla="*/ 92 w 473"/>
                  <a:gd name="T81" fmla="*/ 38 h 62"/>
                  <a:gd name="T82" fmla="*/ 74 w 473"/>
                  <a:gd name="T83" fmla="*/ 26 h 62"/>
                  <a:gd name="T84" fmla="*/ 53 w 473"/>
                  <a:gd name="T85" fmla="*/ 20 h 62"/>
                  <a:gd name="T86" fmla="*/ 32 w 473"/>
                  <a:gd name="T87" fmla="*/ 27 h 62"/>
                  <a:gd name="T88" fmla="*/ 12 w 473"/>
                  <a:gd name="T89" fmla="*/ 41 h 62"/>
                  <a:gd name="T90" fmla="*/ 9 w 473"/>
                  <a:gd name="T91" fmla="*/ 17 h 62"/>
                  <a:gd name="T92" fmla="*/ 24 w 473"/>
                  <a:gd name="T93" fmla="*/ 8 h 62"/>
                  <a:gd name="T94" fmla="*/ 39 w 473"/>
                  <a:gd name="T95" fmla="*/ 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3" h="62">
                    <a:moveTo>
                      <a:pt x="53" y="0"/>
                    </a:moveTo>
                    <a:lnTo>
                      <a:pt x="66" y="3"/>
                    </a:lnTo>
                    <a:lnTo>
                      <a:pt x="70" y="3"/>
                    </a:lnTo>
                    <a:lnTo>
                      <a:pt x="82" y="7"/>
                    </a:lnTo>
                    <a:lnTo>
                      <a:pt x="93" y="14"/>
                    </a:lnTo>
                    <a:lnTo>
                      <a:pt x="96" y="16"/>
                    </a:lnTo>
                    <a:lnTo>
                      <a:pt x="107" y="24"/>
                    </a:lnTo>
                    <a:lnTo>
                      <a:pt x="118" y="32"/>
                    </a:lnTo>
                    <a:lnTo>
                      <a:pt x="124" y="36"/>
                    </a:lnTo>
                    <a:lnTo>
                      <a:pt x="133" y="39"/>
                    </a:lnTo>
                    <a:lnTo>
                      <a:pt x="147" y="42"/>
                    </a:lnTo>
                    <a:lnTo>
                      <a:pt x="160" y="39"/>
                    </a:lnTo>
                    <a:lnTo>
                      <a:pt x="169" y="36"/>
                    </a:lnTo>
                    <a:lnTo>
                      <a:pt x="176" y="32"/>
                    </a:lnTo>
                    <a:lnTo>
                      <a:pt x="187" y="24"/>
                    </a:lnTo>
                    <a:lnTo>
                      <a:pt x="197" y="16"/>
                    </a:lnTo>
                    <a:lnTo>
                      <a:pt x="201" y="14"/>
                    </a:lnTo>
                    <a:lnTo>
                      <a:pt x="212" y="7"/>
                    </a:lnTo>
                    <a:lnTo>
                      <a:pt x="223" y="3"/>
                    </a:lnTo>
                    <a:lnTo>
                      <a:pt x="226" y="3"/>
                    </a:lnTo>
                    <a:lnTo>
                      <a:pt x="240" y="0"/>
                    </a:lnTo>
                    <a:lnTo>
                      <a:pt x="253" y="3"/>
                    </a:lnTo>
                    <a:lnTo>
                      <a:pt x="257" y="3"/>
                    </a:lnTo>
                    <a:lnTo>
                      <a:pt x="269" y="7"/>
                    </a:lnTo>
                    <a:lnTo>
                      <a:pt x="282" y="16"/>
                    </a:lnTo>
                    <a:lnTo>
                      <a:pt x="292" y="24"/>
                    </a:lnTo>
                    <a:lnTo>
                      <a:pt x="304" y="32"/>
                    </a:lnTo>
                    <a:lnTo>
                      <a:pt x="310" y="36"/>
                    </a:lnTo>
                    <a:lnTo>
                      <a:pt x="319" y="39"/>
                    </a:lnTo>
                    <a:lnTo>
                      <a:pt x="333" y="42"/>
                    </a:lnTo>
                    <a:lnTo>
                      <a:pt x="346" y="39"/>
                    </a:lnTo>
                    <a:lnTo>
                      <a:pt x="355" y="36"/>
                    </a:lnTo>
                    <a:lnTo>
                      <a:pt x="364" y="31"/>
                    </a:lnTo>
                    <a:lnTo>
                      <a:pt x="383" y="16"/>
                    </a:lnTo>
                    <a:lnTo>
                      <a:pt x="386" y="14"/>
                    </a:lnTo>
                    <a:lnTo>
                      <a:pt x="398" y="7"/>
                    </a:lnTo>
                    <a:lnTo>
                      <a:pt x="410" y="3"/>
                    </a:lnTo>
                    <a:lnTo>
                      <a:pt x="413" y="3"/>
                    </a:lnTo>
                    <a:lnTo>
                      <a:pt x="427" y="0"/>
                    </a:lnTo>
                    <a:lnTo>
                      <a:pt x="439" y="3"/>
                    </a:lnTo>
                    <a:lnTo>
                      <a:pt x="442" y="3"/>
                    </a:lnTo>
                    <a:lnTo>
                      <a:pt x="452" y="8"/>
                    </a:lnTo>
                    <a:lnTo>
                      <a:pt x="456" y="10"/>
                    </a:lnTo>
                    <a:lnTo>
                      <a:pt x="464" y="17"/>
                    </a:lnTo>
                    <a:lnTo>
                      <a:pt x="473" y="24"/>
                    </a:lnTo>
                    <a:lnTo>
                      <a:pt x="460" y="39"/>
                    </a:lnTo>
                    <a:lnTo>
                      <a:pt x="449" y="32"/>
                    </a:lnTo>
                    <a:lnTo>
                      <a:pt x="442" y="26"/>
                    </a:lnTo>
                    <a:lnTo>
                      <a:pt x="436" y="22"/>
                    </a:lnTo>
                    <a:lnTo>
                      <a:pt x="427" y="20"/>
                    </a:lnTo>
                    <a:lnTo>
                      <a:pt x="415" y="23"/>
                    </a:lnTo>
                    <a:lnTo>
                      <a:pt x="405" y="26"/>
                    </a:lnTo>
                    <a:lnTo>
                      <a:pt x="396" y="32"/>
                    </a:lnTo>
                    <a:lnTo>
                      <a:pt x="377" y="46"/>
                    </a:lnTo>
                    <a:lnTo>
                      <a:pt x="374" y="48"/>
                    </a:lnTo>
                    <a:lnTo>
                      <a:pt x="363" y="55"/>
                    </a:lnTo>
                    <a:lnTo>
                      <a:pt x="351" y="60"/>
                    </a:lnTo>
                    <a:lnTo>
                      <a:pt x="346" y="60"/>
                    </a:lnTo>
                    <a:lnTo>
                      <a:pt x="333" y="62"/>
                    </a:lnTo>
                    <a:lnTo>
                      <a:pt x="319" y="60"/>
                    </a:lnTo>
                    <a:lnTo>
                      <a:pt x="315" y="60"/>
                    </a:lnTo>
                    <a:lnTo>
                      <a:pt x="302" y="55"/>
                    </a:lnTo>
                    <a:lnTo>
                      <a:pt x="289" y="46"/>
                    </a:lnTo>
                    <a:lnTo>
                      <a:pt x="278" y="38"/>
                    </a:lnTo>
                    <a:lnTo>
                      <a:pt x="268" y="31"/>
                    </a:lnTo>
                    <a:lnTo>
                      <a:pt x="261" y="26"/>
                    </a:lnTo>
                    <a:lnTo>
                      <a:pt x="251" y="23"/>
                    </a:lnTo>
                    <a:lnTo>
                      <a:pt x="240" y="20"/>
                    </a:lnTo>
                    <a:lnTo>
                      <a:pt x="230" y="23"/>
                    </a:lnTo>
                    <a:lnTo>
                      <a:pt x="220" y="26"/>
                    </a:lnTo>
                    <a:lnTo>
                      <a:pt x="211" y="32"/>
                    </a:lnTo>
                    <a:lnTo>
                      <a:pt x="202" y="38"/>
                    </a:lnTo>
                    <a:lnTo>
                      <a:pt x="190" y="46"/>
                    </a:lnTo>
                    <a:lnTo>
                      <a:pt x="177" y="55"/>
                    </a:lnTo>
                    <a:lnTo>
                      <a:pt x="165" y="60"/>
                    </a:lnTo>
                    <a:lnTo>
                      <a:pt x="160" y="60"/>
                    </a:lnTo>
                    <a:lnTo>
                      <a:pt x="147" y="62"/>
                    </a:lnTo>
                    <a:lnTo>
                      <a:pt x="133" y="60"/>
                    </a:lnTo>
                    <a:lnTo>
                      <a:pt x="129" y="60"/>
                    </a:lnTo>
                    <a:lnTo>
                      <a:pt x="117" y="55"/>
                    </a:lnTo>
                    <a:lnTo>
                      <a:pt x="103" y="46"/>
                    </a:lnTo>
                    <a:lnTo>
                      <a:pt x="92" y="38"/>
                    </a:lnTo>
                    <a:lnTo>
                      <a:pt x="83" y="32"/>
                    </a:lnTo>
                    <a:lnTo>
                      <a:pt x="74" y="26"/>
                    </a:lnTo>
                    <a:lnTo>
                      <a:pt x="64" y="23"/>
                    </a:lnTo>
                    <a:lnTo>
                      <a:pt x="53" y="20"/>
                    </a:lnTo>
                    <a:lnTo>
                      <a:pt x="43" y="23"/>
                    </a:lnTo>
                    <a:lnTo>
                      <a:pt x="32" y="27"/>
                    </a:lnTo>
                    <a:lnTo>
                      <a:pt x="23" y="33"/>
                    </a:lnTo>
                    <a:lnTo>
                      <a:pt x="12" y="41"/>
                    </a:lnTo>
                    <a:lnTo>
                      <a:pt x="0" y="25"/>
                    </a:lnTo>
                    <a:lnTo>
                      <a:pt x="9" y="17"/>
                    </a:lnTo>
                    <a:lnTo>
                      <a:pt x="12" y="15"/>
                    </a:lnTo>
                    <a:lnTo>
                      <a:pt x="24" y="8"/>
                    </a:lnTo>
                    <a:lnTo>
                      <a:pt x="36" y="3"/>
                    </a:lnTo>
                    <a:lnTo>
                      <a:pt x="39" y="3"/>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grpSp>
        <p:grpSp>
          <p:nvGrpSpPr>
            <p:cNvPr id="47" name="Group 46">
              <a:extLst>
                <a:ext uri="{FF2B5EF4-FFF2-40B4-BE49-F238E27FC236}">
                  <a16:creationId xmlns:a16="http://schemas.microsoft.com/office/drawing/2014/main" id="{FD0B8F5D-C0BF-4A7D-B55A-C52D993B3984}"/>
                </a:ext>
              </a:extLst>
            </p:cNvPr>
            <p:cNvGrpSpPr/>
            <p:nvPr/>
          </p:nvGrpSpPr>
          <p:grpSpPr bwMode="gray">
            <a:xfrm>
              <a:off x="3602265" y="1532797"/>
              <a:ext cx="1578889" cy="99318"/>
              <a:chOff x="-1136994" y="1217273"/>
              <a:chExt cx="1578889" cy="99318"/>
            </a:xfrm>
            <a:solidFill>
              <a:schemeClr val="bg1"/>
            </a:solidFill>
          </p:grpSpPr>
          <p:sp>
            <p:nvSpPr>
              <p:cNvPr id="52" name="Freeform 175">
                <a:extLst>
                  <a:ext uri="{FF2B5EF4-FFF2-40B4-BE49-F238E27FC236}">
                    <a16:creationId xmlns:a16="http://schemas.microsoft.com/office/drawing/2014/main" id="{FBCE82BD-86A8-4C64-A70E-D2A31E1E8A02}"/>
                  </a:ext>
                </a:extLst>
              </p:cNvPr>
              <p:cNvSpPr>
                <a:spLocks/>
              </p:cNvSpPr>
              <p:nvPr/>
            </p:nvSpPr>
            <p:spPr bwMode="gray">
              <a:xfrm>
                <a:off x="-308993" y="1221341"/>
                <a:ext cx="750888" cy="95250"/>
              </a:xfrm>
              <a:custGeom>
                <a:avLst/>
                <a:gdLst>
                  <a:gd name="T0" fmla="*/ 66 w 473"/>
                  <a:gd name="T1" fmla="*/ 2 h 60"/>
                  <a:gd name="T2" fmla="*/ 82 w 473"/>
                  <a:gd name="T3" fmla="*/ 7 h 60"/>
                  <a:gd name="T4" fmla="*/ 96 w 473"/>
                  <a:gd name="T5" fmla="*/ 15 h 60"/>
                  <a:gd name="T6" fmla="*/ 114 w 473"/>
                  <a:gd name="T7" fmla="*/ 28 h 60"/>
                  <a:gd name="T8" fmla="*/ 124 w 473"/>
                  <a:gd name="T9" fmla="*/ 35 h 60"/>
                  <a:gd name="T10" fmla="*/ 147 w 473"/>
                  <a:gd name="T11" fmla="*/ 40 h 60"/>
                  <a:gd name="T12" fmla="*/ 169 w 473"/>
                  <a:gd name="T13" fmla="*/ 35 h 60"/>
                  <a:gd name="T14" fmla="*/ 179 w 473"/>
                  <a:gd name="T15" fmla="*/ 28 h 60"/>
                  <a:gd name="T16" fmla="*/ 197 w 473"/>
                  <a:gd name="T17" fmla="*/ 15 h 60"/>
                  <a:gd name="T18" fmla="*/ 212 w 473"/>
                  <a:gd name="T19" fmla="*/ 7 h 60"/>
                  <a:gd name="T20" fmla="*/ 226 w 473"/>
                  <a:gd name="T21" fmla="*/ 2 h 60"/>
                  <a:gd name="T22" fmla="*/ 253 w 473"/>
                  <a:gd name="T23" fmla="*/ 2 h 60"/>
                  <a:gd name="T24" fmla="*/ 269 w 473"/>
                  <a:gd name="T25" fmla="*/ 7 h 60"/>
                  <a:gd name="T26" fmla="*/ 292 w 473"/>
                  <a:gd name="T27" fmla="*/ 23 h 60"/>
                  <a:gd name="T28" fmla="*/ 300 w 473"/>
                  <a:gd name="T29" fmla="*/ 28 h 60"/>
                  <a:gd name="T30" fmla="*/ 319 w 473"/>
                  <a:gd name="T31" fmla="*/ 38 h 60"/>
                  <a:gd name="T32" fmla="*/ 346 w 473"/>
                  <a:gd name="T33" fmla="*/ 38 h 60"/>
                  <a:gd name="T34" fmla="*/ 366 w 473"/>
                  <a:gd name="T35" fmla="*/ 28 h 60"/>
                  <a:gd name="T36" fmla="*/ 383 w 473"/>
                  <a:gd name="T37" fmla="*/ 15 h 60"/>
                  <a:gd name="T38" fmla="*/ 398 w 473"/>
                  <a:gd name="T39" fmla="*/ 7 h 60"/>
                  <a:gd name="T40" fmla="*/ 413 w 473"/>
                  <a:gd name="T41" fmla="*/ 2 h 60"/>
                  <a:gd name="T42" fmla="*/ 439 w 473"/>
                  <a:gd name="T43" fmla="*/ 2 h 60"/>
                  <a:gd name="T44" fmla="*/ 452 w 473"/>
                  <a:gd name="T45" fmla="*/ 8 h 60"/>
                  <a:gd name="T46" fmla="*/ 464 w 473"/>
                  <a:gd name="T47" fmla="*/ 17 h 60"/>
                  <a:gd name="T48" fmla="*/ 460 w 473"/>
                  <a:gd name="T49" fmla="*/ 39 h 60"/>
                  <a:gd name="T50" fmla="*/ 442 w 473"/>
                  <a:gd name="T51" fmla="*/ 26 h 60"/>
                  <a:gd name="T52" fmla="*/ 427 w 473"/>
                  <a:gd name="T53" fmla="*/ 20 h 60"/>
                  <a:gd name="T54" fmla="*/ 405 w 473"/>
                  <a:gd name="T55" fmla="*/ 26 h 60"/>
                  <a:gd name="T56" fmla="*/ 387 w 473"/>
                  <a:gd name="T57" fmla="*/ 38 h 60"/>
                  <a:gd name="T58" fmla="*/ 363 w 473"/>
                  <a:gd name="T59" fmla="*/ 54 h 60"/>
                  <a:gd name="T60" fmla="*/ 346 w 473"/>
                  <a:gd name="T61" fmla="*/ 58 h 60"/>
                  <a:gd name="T62" fmla="*/ 319 w 473"/>
                  <a:gd name="T63" fmla="*/ 58 h 60"/>
                  <a:gd name="T64" fmla="*/ 302 w 473"/>
                  <a:gd name="T65" fmla="*/ 54 h 60"/>
                  <a:gd name="T66" fmla="*/ 278 w 473"/>
                  <a:gd name="T67" fmla="*/ 38 h 60"/>
                  <a:gd name="T68" fmla="*/ 261 w 473"/>
                  <a:gd name="T69" fmla="*/ 26 h 60"/>
                  <a:gd name="T70" fmla="*/ 240 w 473"/>
                  <a:gd name="T71" fmla="*/ 20 h 60"/>
                  <a:gd name="T72" fmla="*/ 220 w 473"/>
                  <a:gd name="T73" fmla="*/ 26 h 60"/>
                  <a:gd name="T74" fmla="*/ 202 w 473"/>
                  <a:gd name="T75" fmla="*/ 38 h 60"/>
                  <a:gd name="T76" fmla="*/ 177 w 473"/>
                  <a:gd name="T77" fmla="*/ 54 h 60"/>
                  <a:gd name="T78" fmla="*/ 160 w 473"/>
                  <a:gd name="T79" fmla="*/ 58 h 60"/>
                  <a:gd name="T80" fmla="*/ 133 w 473"/>
                  <a:gd name="T81" fmla="*/ 58 h 60"/>
                  <a:gd name="T82" fmla="*/ 117 w 473"/>
                  <a:gd name="T83" fmla="*/ 54 h 60"/>
                  <a:gd name="T84" fmla="*/ 92 w 473"/>
                  <a:gd name="T85" fmla="*/ 38 h 60"/>
                  <a:gd name="T86" fmla="*/ 74 w 473"/>
                  <a:gd name="T87" fmla="*/ 26 h 60"/>
                  <a:gd name="T88" fmla="*/ 53 w 473"/>
                  <a:gd name="T89" fmla="*/ 20 h 60"/>
                  <a:gd name="T90" fmla="*/ 32 w 473"/>
                  <a:gd name="T91" fmla="*/ 27 h 60"/>
                  <a:gd name="T92" fmla="*/ 11 w 473"/>
                  <a:gd name="T93" fmla="*/ 40 h 60"/>
                  <a:gd name="T94" fmla="*/ 9 w 473"/>
                  <a:gd name="T95" fmla="*/ 17 h 60"/>
                  <a:gd name="T96" fmla="*/ 24 w 473"/>
                  <a:gd name="T97" fmla="*/ 8 h 60"/>
                  <a:gd name="T98" fmla="*/ 39 w 473"/>
                  <a:gd name="T99"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3" h="60">
                    <a:moveTo>
                      <a:pt x="53" y="0"/>
                    </a:moveTo>
                    <a:lnTo>
                      <a:pt x="66" y="2"/>
                    </a:lnTo>
                    <a:lnTo>
                      <a:pt x="70" y="2"/>
                    </a:lnTo>
                    <a:lnTo>
                      <a:pt x="82" y="7"/>
                    </a:lnTo>
                    <a:lnTo>
                      <a:pt x="93" y="13"/>
                    </a:lnTo>
                    <a:lnTo>
                      <a:pt x="96" y="15"/>
                    </a:lnTo>
                    <a:lnTo>
                      <a:pt x="107" y="23"/>
                    </a:lnTo>
                    <a:lnTo>
                      <a:pt x="114" y="28"/>
                    </a:lnTo>
                    <a:lnTo>
                      <a:pt x="114" y="28"/>
                    </a:lnTo>
                    <a:lnTo>
                      <a:pt x="124" y="35"/>
                    </a:lnTo>
                    <a:lnTo>
                      <a:pt x="133" y="38"/>
                    </a:lnTo>
                    <a:lnTo>
                      <a:pt x="147" y="40"/>
                    </a:lnTo>
                    <a:lnTo>
                      <a:pt x="160" y="38"/>
                    </a:lnTo>
                    <a:lnTo>
                      <a:pt x="169" y="35"/>
                    </a:lnTo>
                    <a:lnTo>
                      <a:pt x="179" y="28"/>
                    </a:lnTo>
                    <a:lnTo>
                      <a:pt x="179" y="28"/>
                    </a:lnTo>
                    <a:lnTo>
                      <a:pt x="187" y="23"/>
                    </a:lnTo>
                    <a:lnTo>
                      <a:pt x="197" y="15"/>
                    </a:lnTo>
                    <a:lnTo>
                      <a:pt x="201" y="13"/>
                    </a:lnTo>
                    <a:lnTo>
                      <a:pt x="212" y="7"/>
                    </a:lnTo>
                    <a:lnTo>
                      <a:pt x="223" y="2"/>
                    </a:lnTo>
                    <a:lnTo>
                      <a:pt x="226" y="2"/>
                    </a:lnTo>
                    <a:lnTo>
                      <a:pt x="240" y="0"/>
                    </a:lnTo>
                    <a:lnTo>
                      <a:pt x="253" y="2"/>
                    </a:lnTo>
                    <a:lnTo>
                      <a:pt x="257" y="2"/>
                    </a:lnTo>
                    <a:lnTo>
                      <a:pt x="269" y="7"/>
                    </a:lnTo>
                    <a:lnTo>
                      <a:pt x="282" y="15"/>
                    </a:lnTo>
                    <a:lnTo>
                      <a:pt x="292" y="23"/>
                    </a:lnTo>
                    <a:lnTo>
                      <a:pt x="300" y="28"/>
                    </a:lnTo>
                    <a:lnTo>
                      <a:pt x="300" y="28"/>
                    </a:lnTo>
                    <a:lnTo>
                      <a:pt x="310" y="35"/>
                    </a:lnTo>
                    <a:lnTo>
                      <a:pt x="319" y="38"/>
                    </a:lnTo>
                    <a:lnTo>
                      <a:pt x="333" y="40"/>
                    </a:lnTo>
                    <a:lnTo>
                      <a:pt x="346" y="38"/>
                    </a:lnTo>
                    <a:lnTo>
                      <a:pt x="355" y="35"/>
                    </a:lnTo>
                    <a:lnTo>
                      <a:pt x="366" y="28"/>
                    </a:lnTo>
                    <a:lnTo>
                      <a:pt x="373" y="23"/>
                    </a:lnTo>
                    <a:lnTo>
                      <a:pt x="383" y="15"/>
                    </a:lnTo>
                    <a:lnTo>
                      <a:pt x="386" y="13"/>
                    </a:lnTo>
                    <a:lnTo>
                      <a:pt x="398" y="7"/>
                    </a:lnTo>
                    <a:lnTo>
                      <a:pt x="410" y="2"/>
                    </a:lnTo>
                    <a:lnTo>
                      <a:pt x="413" y="2"/>
                    </a:lnTo>
                    <a:lnTo>
                      <a:pt x="427" y="0"/>
                    </a:lnTo>
                    <a:lnTo>
                      <a:pt x="439" y="2"/>
                    </a:lnTo>
                    <a:lnTo>
                      <a:pt x="442" y="2"/>
                    </a:lnTo>
                    <a:lnTo>
                      <a:pt x="452" y="8"/>
                    </a:lnTo>
                    <a:lnTo>
                      <a:pt x="456" y="10"/>
                    </a:lnTo>
                    <a:lnTo>
                      <a:pt x="464" y="17"/>
                    </a:lnTo>
                    <a:lnTo>
                      <a:pt x="473" y="23"/>
                    </a:lnTo>
                    <a:lnTo>
                      <a:pt x="460" y="39"/>
                    </a:lnTo>
                    <a:lnTo>
                      <a:pt x="449" y="31"/>
                    </a:lnTo>
                    <a:lnTo>
                      <a:pt x="442" y="26"/>
                    </a:lnTo>
                    <a:lnTo>
                      <a:pt x="436" y="21"/>
                    </a:lnTo>
                    <a:lnTo>
                      <a:pt x="427" y="20"/>
                    </a:lnTo>
                    <a:lnTo>
                      <a:pt x="415" y="22"/>
                    </a:lnTo>
                    <a:lnTo>
                      <a:pt x="405" y="26"/>
                    </a:lnTo>
                    <a:lnTo>
                      <a:pt x="396" y="31"/>
                    </a:lnTo>
                    <a:lnTo>
                      <a:pt x="387" y="38"/>
                    </a:lnTo>
                    <a:lnTo>
                      <a:pt x="374" y="47"/>
                    </a:lnTo>
                    <a:lnTo>
                      <a:pt x="363" y="54"/>
                    </a:lnTo>
                    <a:lnTo>
                      <a:pt x="351" y="58"/>
                    </a:lnTo>
                    <a:lnTo>
                      <a:pt x="346" y="58"/>
                    </a:lnTo>
                    <a:lnTo>
                      <a:pt x="333" y="60"/>
                    </a:lnTo>
                    <a:lnTo>
                      <a:pt x="319" y="58"/>
                    </a:lnTo>
                    <a:lnTo>
                      <a:pt x="315" y="58"/>
                    </a:lnTo>
                    <a:lnTo>
                      <a:pt x="302" y="54"/>
                    </a:lnTo>
                    <a:lnTo>
                      <a:pt x="289" y="45"/>
                    </a:lnTo>
                    <a:lnTo>
                      <a:pt x="278" y="38"/>
                    </a:lnTo>
                    <a:lnTo>
                      <a:pt x="268" y="30"/>
                    </a:lnTo>
                    <a:lnTo>
                      <a:pt x="261" y="26"/>
                    </a:lnTo>
                    <a:lnTo>
                      <a:pt x="251" y="22"/>
                    </a:lnTo>
                    <a:lnTo>
                      <a:pt x="240" y="20"/>
                    </a:lnTo>
                    <a:lnTo>
                      <a:pt x="230" y="22"/>
                    </a:lnTo>
                    <a:lnTo>
                      <a:pt x="220" y="26"/>
                    </a:lnTo>
                    <a:lnTo>
                      <a:pt x="211" y="31"/>
                    </a:lnTo>
                    <a:lnTo>
                      <a:pt x="202" y="38"/>
                    </a:lnTo>
                    <a:lnTo>
                      <a:pt x="190" y="45"/>
                    </a:lnTo>
                    <a:lnTo>
                      <a:pt x="177" y="54"/>
                    </a:lnTo>
                    <a:lnTo>
                      <a:pt x="165" y="58"/>
                    </a:lnTo>
                    <a:lnTo>
                      <a:pt x="160" y="58"/>
                    </a:lnTo>
                    <a:lnTo>
                      <a:pt x="147" y="60"/>
                    </a:lnTo>
                    <a:lnTo>
                      <a:pt x="133" y="58"/>
                    </a:lnTo>
                    <a:lnTo>
                      <a:pt x="129" y="58"/>
                    </a:lnTo>
                    <a:lnTo>
                      <a:pt x="117" y="54"/>
                    </a:lnTo>
                    <a:lnTo>
                      <a:pt x="103" y="45"/>
                    </a:lnTo>
                    <a:lnTo>
                      <a:pt x="92" y="38"/>
                    </a:lnTo>
                    <a:lnTo>
                      <a:pt x="83" y="31"/>
                    </a:lnTo>
                    <a:lnTo>
                      <a:pt x="74" y="26"/>
                    </a:lnTo>
                    <a:lnTo>
                      <a:pt x="64" y="22"/>
                    </a:lnTo>
                    <a:lnTo>
                      <a:pt x="53" y="20"/>
                    </a:lnTo>
                    <a:lnTo>
                      <a:pt x="43" y="22"/>
                    </a:lnTo>
                    <a:lnTo>
                      <a:pt x="32" y="27"/>
                    </a:lnTo>
                    <a:lnTo>
                      <a:pt x="21" y="32"/>
                    </a:lnTo>
                    <a:lnTo>
                      <a:pt x="11" y="40"/>
                    </a:lnTo>
                    <a:lnTo>
                      <a:pt x="0" y="23"/>
                    </a:lnTo>
                    <a:lnTo>
                      <a:pt x="9" y="17"/>
                    </a:lnTo>
                    <a:lnTo>
                      <a:pt x="12" y="14"/>
                    </a:lnTo>
                    <a:lnTo>
                      <a:pt x="24" y="8"/>
                    </a:lnTo>
                    <a:lnTo>
                      <a:pt x="36" y="2"/>
                    </a:lnTo>
                    <a:lnTo>
                      <a:pt x="39" y="2"/>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53" name="Freeform 176">
                <a:extLst>
                  <a:ext uri="{FF2B5EF4-FFF2-40B4-BE49-F238E27FC236}">
                    <a16:creationId xmlns:a16="http://schemas.microsoft.com/office/drawing/2014/main" id="{71CE79C9-EF37-4B18-A5A0-B6715DFF7E00}"/>
                  </a:ext>
                </a:extLst>
              </p:cNvPr>
              <p:cNvSpPr>
                <a:spLocks/>
              </p:cNvSpPr>
              <p:nvPr/>
            </p:nvSpPr>
            <p:spPr bwMode="gray">
              <a:xfrm>
                <a:off x="-1136994" y="1217273"/>
                <a:ext cx="750888" cy="98425"/>
              </a:xfrm>
              <a:custGeom>
                <a:avLst/>
                <a:gdLst>
                  <a:gd name="T0" fmla="*/ 66 w 473"/>
                  <a:gd name="T1" fmla="*/ 3 h 62"/>
                  <a:gd name="T2" fmla="*/ 82 w 473"/>
                  <a:gd name="T3" fmla="*/ 7 h 62"/>
                  <a:gd name="T4" fmla="*/ 96 w 473"/>
                  <a:gd name="T5" fmla="*/ 16 h 62"/>
                  <a:gd name="T6" fmla="*/ 118 w 473"/>
                  <a:gd name="T7" fmla="*/ 32 h 62"/>
                  <a:gd name="T8" fmla="*/ 133 w 473"/>
                  <a:gd name="T9" fmla="*/ 39 h 62"/>
                  <a:gd name="T10" fmla="*/ 160 w 473"/>
                  <a:gd name="T11" fmla="*/ 39 h 62"/>
                  <a:gd name="T12" fmla="*/ 176 w 473"/>
                  <a:gd name="T13" fmla="*/ 32 h 62"/>
                  <a:gd name="T14" fmla="*/ 197 w 473"/>
                  <a:gd name="T15" fmla="*/ 16 h 62"/>
                  <a:gd name="T16" fmla="*/ 212 w 473"/>
                  <a:gd name="T17" fmla="*/ 7 h 62"/>
                  <a:gd name="T18" fmla="*/ 226 w 473"/>
                  <a:gd name="T19" fmla="*/ 3 h 62"/>
                  <a:gd name="T20" fmla="*/ 253 w 473"/>
                  <a:gd name="T21" fmla="*/ 3 h 62"/>
                  <a:gd name="T22" fmla="*/ 269 w 473"/>
                  <a:gd name="T23" fmla="*/ 7 h 62"/>
                  <a:gd name="T24" fmla="*/ 292 w 473"/>
                  <a:gd name="T25" fmla="*/ 24 h 62"/>
                  <a:gd name="T26" fmla="*/ 310 w 473"/>
                  <a:gd name="T27" fmla="*/ 36 h 62"/>
                  <a:gd name="T28" fmla="*/ 333 w 473"/>
                  <a:gd name="T29" fmla="*/ 42 h 62"/>
                  <a:gd name="T30" fmla="*/ 355 w 473"/>
                  <a:gd name="T31" fmla="*/ 36 h 62"/>
                  <a:gd name="T32" fmla="*/ 383 w 473"/>
                  <a:gd name="T33" fmla="*/ 16 h 62"/>
                  <a:gd name="T34" fmla="*/ 398 w 473"/>
                  <a:gd name="T35" fmla="*/ 7 h 62"/>
                  <a:gd name="T36" fmla="*/ 413 w 473"/>
                  <a:gd name="T37" fmla="*/ 3 h 62"/>
                  <a:gd name="T38" fmla="*/ 439 w 473"/>
                  <a:gd name="T39" fmla="*/ 3 h 62"/>
                  <a:gd name="T40" fmla="*/ 452 w 473"/>
                  <a:gd name="T41" fmla="*/ 8 h 62"/>
                  <a:gd name="T42" fmla="*/ 464 w 473"/>
                  <a:gd name="T43" fmla="*/ 17 h 62"/>
                  <a:gd name="T44" fmla="*/ 460 w 473"/>
                  <a:gd name="T45" fmla="*/ 39 h 62"/>
                  <a:gd name="T46" fmla="*/ 442 w 473"/>
                  <a:gd name="T47" fmla="*/ 26 h 62"/>
                  <a:gd name="T48" fmla="*/ 427 w 473"/>
                  <a:gd name="T49" fmla="*/ 20 h 62"/>
                  <a:gd name="T50" fmla="*/ 405 w 473"/>
                  <a:gd name="T51" fmla="*/ 26 h 62"/>
                  <a:gd name="T52" fmla="*/ 377 w 473"/>
                  <a:gd name="T53" fmla="*/ 46 h 62"/>
                  <a:gd name="T54" fmla="*/ 363 w 473"/>
                  <a:gd name="T55" fmla="*/ 55 h 62"/>
                  <a:gd name="T56" fmla="*/ 346 w 473"/>
                  <a:gd name="T57" fmla="*/ 60 h 62"/>
                  <a:gd name="T58" fmla="*/ 319 w 473"/>
                  <a:gd name="T59" fmla="*/ 60 h 62"/>
                  <a:gd name="T60" fmla="*/ 302 w 473"/>
                  <a:gd name="T61" fmla="*/ 55 h 62"/>
                  <a:gd name="T62" fmla="*/ 278 w 473"/>
                  <a:gd name="T63" fmla="*/ 38 h 62"/>
                  <a:gd name="T64" fmla="*/ 261 w 473"/>
                  <a:gd name="T65" fmla="*/ 26 h 62"/>
                  <a:gd name="T66" fmla="*/ 240 w 473"/>
                  <a:gd name="T67" fmla="*/ 20 h 62"/>
                  <a:gd name="T68" fmla="*/ 220 w 473"/>
                  <a:gd name="T69" fmla="*/ 26 h 62"/>
                  <a:gd name="T70" fmla="*/ 202 w 473"/>
                  <a:gd name="T71" fmla="*/ 38 h 62"/>
                  <a:gd name="T72" fmla="*/ 177 w 473"/>
                  <a:gd name="T73" fmla="*/ 55 h 62"/>
                  <a:gd name="T74" fmla="*/ 160 w 473"/>
                  <a:gd name="T75" fmla="*/ 60 h 62"/>
                  <a:gd name="T76" fmla="*/ 133 w 473"/>
                  <a:gd name="T77" fmla="*/ 60 h 62"/>
                  <a:gd name="T78" fmla="*/ 117 w 473"/>
                  <a:gd name="T79" fmla="*/ 55 h 62"/>
                  <a:gd name="T80" fmla="*/ 92 w 473"/>
                  <a:gd name="T81" fmla="*/ 38 h 62"/>
                  <a:gd name="T82" fmla="*/ 74 w 473"/>
                  <a:gd name="T83" fmla="*/ 26 h 62"/>
                  <a:gd name="T84" fmla="*/ 53 w 473"/>
                  <a:gd name="T85" fmla="*/ 20 h 62"/>
                  <a:gd name="T86" fmla="*/ 32 w 473"/>
                  <a:gd name="T87" fmla="*/ 27 h 62"/>
                  <a:gd name="T88" fmla="*/ 12 w 473"/>
                  <a:gd name="T89" fmla="*/ 41 h 62"/>
                  <a:gd name="T90" fmla="*/ 9 w 473"/>
                  <a:gd name="T91" fmla="*/ 17 h 62"/>
                  <a:gd name="T92" fmla="*/ 24 w 473"/>
                  <a:gd name="T93" fmla="*/ 8 h 62"/>
                  <a:gd name="T94" fmla="*/ 39 w 473"/>
                  <a:gd name="T95" fmla="*/ 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3" h="62">
                    <a:moveTo>
                      <a:pt x="53" y="0"/>
                    </a:moveTo>
                    <a:lnTo>
                      <a:pt x="66" y="3"/>
                    </a:lnTo>
                    <a:lnTo>
                      <a:pt x="70" y="3"/>
                    </a:lnTo>
                    <a:lnTo>
                      <a:pt x="82" y="7"/>
                    </a:lnTo>
                    <a:lnTo>
                      <a:pt x="93" y="14"/>
                    </a:lnTo>
                    <a:lnTo>
                      <a:pt x="96" y="16"/>
                    </a:lnTo>
                    <a:lnTo>
                      <a:pt x="107" y="24"/>
                    </a:lnTo>
                    <a:lnTo>
                      <a:pt x="118" y="32"/>
                    </a:lnTo>
                    <a:lnTo>
                      <a:pt x="124" y="36"/>
                    </a:lnTo>
                    <a:lnTo>
                      <a:pt x="133" y="39"/>
                    </a:lnTo>
                    <a:lnTo>
                      <a:pt x="147" y="42"/>
                    </a:lnTo>
                    <a:lnTo>
                      <a:pt x="160" y="39"/>
                    </a:lnTo>
                    <a:lnTo>
                      <a:pt x="169" y="36"/>
                    </a:lnTo>
                    <a:lnTo>
                      <a:pt x="176" y="32"/>
                    </a:lnTo>
                    <a:lnTo>
                      <a:pt x="187" y="24"/>
                    </a:lnTo>
                    <a:lnTo>
                      <a:pt x="197" y="16"/>
                    </a:lnTo>
                    <a:lnTo>
                      <a:pt x="201" y="14"/>
                    </a:lnTo>
                    <a:lnTo>
                      <a:pt x="212" y="7"/>
                    </a:lnTo>
                    <a:lnTo>
                      <a:pt x="223" y="3"/>
                    </a:lnTo>
                    <a:lnTo>
                      <a:pt x="226" y="3"/>
                    </a:lnTo>
                    <a:lnTo>
                      <a:pt x="240" y="0"/>
                    </a:lnTo>
                    <a:lnTo>
                      <a:pt x="253" y="3"/>
                    </a:lnTo>
                    <a:lnTo>
                      <a:pt x="257" y="3"/>
                    </a:lnTo>
                    <a:lnTo>
                      <a:pt x="269" y="7"/>
                    </a:lnTo>
                    <a:lnTo>
                      <a:pt x="282" y="16"/>
                    </a:lnTo>
                    <a:lnTo>
                      <a:pt x="292" y="24"/>
                    </a:lnTo>
                    <a:lnTo>
                      <a:pt x="304" y="32"/>
                    </a:lnTo>
                    <a:lnTo>
                      <a:pt x="310" y="36"/>
                    </a:lnTo>
                    <a:lnTo>
                      <a:pt x="319" y="39"/>
                    </a:lnTo>
                    <a:lnTo>
                      <a:pt x="333" y="42"/>
                    </a:lnTo>
                    <a:lnTo>
                      <a:pt x="346" y="39"/>
                    </a:lnTo>
                    <a:lnTo>
                      <a:pt x="355" y="36"/>
                    </a:lnTo>
                    <a:lnTo>
                      <a:pt x="364" y="31"/>
                    </a:lnTo>
                    <a:lnTo>
                      <a:pt x="383" y="16"/>
                    </a:lnTo>
                    <a:lnTo>
                      <a:pt x="386" y="14"/>
                    </a:lnTo>
                    <a:lnTo>
                      <a:pt x="398" y="7"/>
                    </a:lnTo>
                    <a:lnTo>
                      <a:pt x="410" y="3"/>
                    </a:lnTo>
                    <a:lnTo>
                      <a:pt x="413" y="3"/>
                    </a:lnTo>
                    <a:lnTo>
                      <a:pt x="427" y="0"/>
                    </a:lnTo>
                    <a:lnTo>
                      <a:pt x="439" y="3"/>
                    </a:lnTo>
                    <a:lnTo>
                      <a:pt x="442" y="3"/>
                    </a:lnTo>
                    <a:lnTo>
                      <a:pt x="452" y="8"/>
                    </a:lnTo>
                    <a:lnTo>
                      <a:pt x="456" y="10"/>
                    </a:lnTo>
                    <a:lnTo>
                      <a:pt x="464" y="17"/>
                    </a:lnTo>
                    <a:lnTo>
                      <a:pt x="473" y="24"/>
                    </a:lnTo>
                    <a:lnTo>
                      <a:pt x="460" y="39"/>
                    </a:lnTo>
                    <a:lnTo>
                      <a:pt x="449" y="32"/>
                    </a:lnTo>
                    <a:lnTo>
                      <a:pt x="442" y="26"/>
                    </a:lnTo>
                    <a:lnTo>
                      <a:pt x="436" y="22"/>
                    </a:lnTo>
                    <a:lnTo>
                      <a:pt x="427" y="20"/>
                    </a:lnTo>
                    <a:lnTo>
                      <a:pt x="415" y="23"/>
                    </a:lnTo>
                    <a:lnTo>
                      <a:pt x="405" y="26"/>
                    </a:lnTo>
                    <a:lnTo>
                      <a:pt x="396" y="32"/>
                    </a:lnTo>
                    <a:lnTo>
                      <a:pt x="377" y="46"/>
                    </a:lnTo>
                    <a:lnTo>
                      <a:pt x="374" y="48"/>
                    </a:lnTo>
                    <a:lnTo>
                      <a:pt x="363" y="55"/>
                    </a:lnTo>
                    <a:lnTo>
                      <a:pt x="351" y="60"/>
                    </a:lnTo>
                    <a:lnTo>
                      <a:pt x="346" y="60"/>
                    </a:lnTo>
                    <a:lnTo>
                      <a:pt x="333" y="62"/>
                    </a:lnTo>
                    <a:lnTo>
                      <a:pt x="319" y="60"/>
                    </a:lnTo>
                    <a:lnTo>
                      <a:pt x="315" y="60"/>
                    </a:lnTo>
                    <a:lnTo>
                      <a:pt x="302" y="55"/>
                    </a:lnTo>
                    <a:lnTo>
                      <a:pt x="289" y="46"/>
                    </a:lnTo>
                    <a:lnTo>
                      <a:pt x="278" y="38"/>
                    </a:lnTo>
                    <a:lnTo>
                      <a:pt x="268" y="31"/>
                    </a:lnTo>
                    <a:lnTo>
                      <a:pt x="261" y="26"/>
                    </a:lnTo>
                    <a:lnTo>
                      <a:pt x="251" y="23"/>
                    </a:lnTo>
                    <a:lnTo>
                      <a:pt x="240" y="20"/>
                    </a:lnTo>
                    <a:lnTo>
                      <a:pt x="230" y="23"/>
                    </a:lnTo>
                    <a:lnTo>
                      <a:pt x="220" y="26"/>
                    </a:lnTo>
                    <a:lnTo>
                      <a:pt x="211" y="32"/>
                    </a:lnTo>
                    <a:lnTo>
                      <a:pt x="202" y="38"/>
                    </a:lnTo>
                    <a:lnTo>
                      <a:pt x="190" y="46"/>
                    </a:lnTo>
                    <a:lnTo>
                      <a:pt x="177" y="55"/>
                    </a:lnTo>
                    <a:lnTo>
                      <a:pt x="165" y="60"/>
                    </a:lnTo>
                    <a:lnTo>
                      <a:pt x="160" y="60"/>
                    </a:lnTo>
                    <a:lnTo>
                      <a:pt x="147" y="62"/>
                    </a:lnTo>
                    <a:lnTo>
                      <a:pt x="133" y="60"/>
                    </a:lnTo>
                    <a:lnTo>
                      <a:pt x="129" y="60"/>
                    </a:lnTo>
                    <a:lnTo>
                      <a:pt x="117" y="55"/>
                    </a:lnTo>
                    <a:lnTo>
                      <a:pt x="103" y="46"/>
                    </a:lnTo>
                    <a:lnTo>
                      <a:pt x="92" y="38"/>
                    </a:lnTo>
                    <a:lnTo>
                      <a:pt x="83" y="32"/>
                    </a:lnTo>
                    <a:lnTo>
                      <a:pt x="74" y="26"/>
                    </a:lnTo>
                    <a:lnTo>
                      <a:pt x="64" y="23"/>
                    </a:lnTo>
                    <a:lnTo>
                      <a:pt x="53" y="20"/>
                    </a:lnTo>
                    <a:lnTo>
                      <a:pt x="43" y="23"/>
                    </a:lnTo>
                    <a:lnTo>
                      <a:pt x="32" y="27"/>
                    </a:lnTo>
                    <a:lnTo>
                      <a:pt x="23" y="33"/>
                    </a:lnTo>
                    <a:lnTo>
                      <a:pt x="12" y="41"/>
                    </a:lnTo>
                    <a:lnTo>
                      <a:pt x="0" y="25"/>
                    </a:lnTo>
                    <a:lnTo>
                      <a:pt x="9" y="17"/>
                    </a:lnTo>
                    <a:lnTo>
                      <a:pt x="12" y="15"/>
                    </a:lnTo>
                    <a:lnTo>
                      <a:pt x="24" y="8"/>
                    </a:lnTo>
                    <a:lnTo>
                      <a:pt x="36" y="3"/>
                    </a:lnTo>
                    <a:lnTo>
                      <a:pt x="39" y="3"/>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grpSp>
        <p:grpSp>
          <p:nvGrpSpPr>
            <p:cNvPr id="48" name="Group 47">
              <a:extLst>
                <a:ext uri="{FF2B5EF4-FFF2-40B4-BE49-F238E27FC236}">
                  <a16:creationId xmlns:a16="http://schemas.microsoft.com/office/drawing/2014/main" id="{CEA9B039-CD62-4D56-99E7-D13FE7F69AD4}"/>
                </a:ext>
              </a:extLst>
            </p:cNvPr>
            <p:cNvGrpSpPr/>
            <p:nvPr/>
          </p:nvGrpSpPr>
          <p:grpSpPr bwMode="gray">
            <a:xfrm>
              <a:off x="5296311" y="1532797"/>
              <a:ext cx="1578889" cy="99318"/>
              <a:chOff x="-1136994" y="1217273"/>
              <a:chExt cx="1578889" cy="99318"/>
            </a:xfrm>
            <a:solidFill>
              <a:schemeClr val="bg1"/>
            </a:solidFill>
          </p:grpSpPr>
          <p:sp>
            <p:nvSpPr>
              <p:cNvPr id="50" name="Freeform 175">
                <a:extLst>
                  <a:ext uri="{FF2B5EF4-FFF2-40B4-BE49-F238E27FC236}">
                    <a16:creationId xmlns:a16="http://schemas.microsoft.com/office/drawing/2014/main" id="{3F7F26C0-5C8A-4142-8822-0764AC7DC2C8}"/>
                  </a:ext>
                </a:extLst>
              </p:cNvPr>
              <p:cNvSpPr>
                <a:spLocks/>
              </p:cNvSpPr>
              <p:nvPr/>
            </p:nvSpPr>
            <p:spPr bwMode="gray">
              <a:xfrm>
                <a:off x="-308993" y="1221341"/>
                <a:ext cx="750888" cy="95250"/>
              </a:xfrm>
              <a:custGeom>
                <a:avLst/>
                <a:gdLst>
                  <a:gd name="T0" fmla="*/ 66 w 473"/>
                  <a:gd name="T1" fmla="*/ 2 h 60"/>
                  <a:gd name="T2" fmla="*/ 82 w 473"/>
                  <a:gd name="T3" fmla="*/ 7 h 60"/>
                  <a:gd name="T4" fmla="*/ 96 w 473"/>
                  <a:gd name="T5" fmla="*/ 15 h 60"/>
                  <a:gd name="T6" fmla="*/ 114 w 473"/>
                  <a:gd name="T7" fmla="*/ 28 h 60"/>
                  <a:gd name="T8" fmla="*/ 124 w 473"/>
                  <a:gd name="T9" fmla="*/ 35 h 60"/>
                  <a:gd name="T10" fmla="*/ 147 w 473"/>
                  <a:gd name="T11" fmla="*/ 40 h 60"/>
                  <a:gd name="T12" fmla="*/ 169 w 473"/>
                  <a:gd name="T13" fmla="*/ 35 h 60"/>
                  <a:gd name="T14" fmla="*/ 179 w 473"/>
                  <a:gd name="T15" fmla="*/ 28 h 60"/>
                  <a:gd name="T16" fmla="*/ 197 w 473"/>
                  <a:gd name="T17" fmla="*/ 15 h 60"/>
                  <a:gd name="T18" fmla="*/ 212 w 473"/>
                  <a:gd name="T19" fmla="*/ 7 h 60"/>
                  <a:gd name="T20" fmla="*/ 226 w 473"/>
                  <a:gd name="T21" fmla="*/ 2 h 60"/>
                  <a:gd name="T22" fmla="*/ 253 w 473"/>
                  <a:gd name="T23" fmla="*/ 2 h 60"/>
                  <a:gd name="T24" fmla="*/ 269 w 473"/>
                  <a:gd name="T25" fmla="*/ 7 h 60"/>
                  <a:gd name="T26" fmla="*/ 292 w 473"/>
                  <a:gd name="T27" fmla="*/ 23 h 60"/>
                  <a:gd name="T28" fmla="*/ 300 w 473"/>
                  <a:gd name="T29" fmla="*/ 28 h 60"/>
                  <a:gd name="T30" fmla="*/ 319 w 473"/>
                  <a:gd name="T31" fmla="*/ 38 h 60"/>
                  <a:gd name="T32" fmla="*/ 346 w 473"/>
                  <a:gd name="T33" fmla="*/ 38 h 60"/>
                  <a:gd name="T34" fmla="*/ 366 w 473"/>
                  <a:gd name="T35" fmla="*/ 28 h 60"/>
                  <a:gd name="T36" fmla="*/ 383 w 473"/>
                  <a:gd name="T37" fmla="*/ 15 h 60"/>
                  <a:gd name="T38" fmla="*/ 398 w 473"/>
                  <a:gd name="T39" fmla="*/ 7 h 60"/>
                  <a:gd name="T40" fmla="*/ 413 w 473"/>
                  <a:gd name="T41" fmla="*/ 2 h 60"/>
                  <a:gd name="T42" fmla="*/ 439 w 473"/>
                  <a:gd name="T43" fmla="*/ 2 h 60"/>
                  <a:gd name="T44" fmla="*/ 452 w 473"/>
                  <a:gd name="T45" fmla="*/ 8 h 60"/>
                  <a:gd name="T46" fmla="*/ 464 w 473"/>
                  <a:gd name="T47" fmla="*/ 17 h 60"/>
                  <a:gd name="T48" fmla="*/ 460 w 473"/>
                  <a:gd name="T49" fmla="*/ 39 h 60"/>
                  <a:gd name="T50" fmla="*/ 442 w 473"/>
                  <a:gd name="T51" fmla="*/ 26 h 60"/>
                  <a:gd name="T52" fmla="*/ 427 w 473"/>
                  <a:gd name="T53" fmla="*/ 20 h 60"/>
                  <a:gd name="T54" fmla="*/ 405 w 473"/>
                  <a:gd name="T55" fmla="*/ 26 h 60"/>
                  <a:gd name="T56" fmla="*/ 387 w 473"/>
                  <a:gd name="T57" fmla="*/ 38 h 60"/>
                  <a:gd name="T58" fmla="*/ 363 w 473"/>
                  <a:gd name="T59" fmla="*/ 54 h 60"/>
                  <a:gd name="T60" fmla="*/ 346 w 473"/>
                  <a:gd name="T61" fmla="*/ 58 h 60"/>
                  <a:gd name="T62" fmla="*/ 319 w 473"/>
                  <a:gd name="T63" fmla="*/ 58 h 60"/>
                  <a:gd name="T64" fmla="*/ 302 w 473"/>
                  <a:gd name="T65" fmla="*/ 54 h 60"/>
                  <a:gd name="T66" fmla="*/ 278 w 473"/>
                  <a:gd name="T67" fmla="*/ 38 h 60"/>
                  <a:gd name="T68" fmla="*/ 261 w 473"/>
                  <a:gd name="T69" fmla="*/ 26 h 60"/>
                  <a:gd name="T70" fmla="*/ 240 w 473"/>
                  <a:gd name="T71" fmla="*/ 20 h 60"/>
                  <a:gd name="T72" fmla="*/ 220 w 473"/>
                  <a:gd name="T73" fmla="*/ 26 h 60"/>
                  <a:gd name="T74" fmla="*/ 202 w 473"/>
                  <a:gd name="T75" fmla="*/ 38 h 60"/>
                  <a:gd name="T76" fmla="*/ 177 w 473"/>
                  <a:gd name="T77" fmla="*/ 54 h 60"/>
                  <a:gd name="T78" fmla="*/ 160 w 473"/>
                  <a:gd name="T79" fmla="*/ 58 h 60"/>
                  <a:gd name="T80" fmla="*/ 133 w 473"/>
                  <a:gd name="T81" fmla="*/ 58 h 60"/>
                  <a:gd name="T82" fmla="*/ 117 w 473"/>
                  <a:gd name="T83" fmla="*/ 54 h 60"/>
                  <a:gd name="T84" fmla="*/ 92 w 473"/>
                  <a:gd name="T85" fmla="*/ 38 h 60"/>
                  <a:gd name="T86" fmla="*/ 74 w 473"/>
                  <a:gd name="T87" fmla="*/ 26 h 60"/>
                  <a:gd name="T88" fmla="*/ 53 w 473"/>
                  <a:gd name="T89" fmla="*/ 20 h 60"/>
                  <a:gd name="T90" fmla="*/ 32 w 473"/>
                  <a:gd name="T91" fmla="*/ 27 h 60"/>
                  <a:gd name="T92" fmla="*/ 11 w 473"/>
                  <a:gd name="T93" fmla="*/ 40 h 60"/>
                  <a:gd name="T94" fmla="*/ 9 w 473"/>
                  <a:gd name="T95" fmla="*/ 17 h 60"/>
                  <a:gd name="T96" fmla="*/ 24 w 473"/>
                  <a:gd name="T97" fmla="*/ 8 h 60"/>
                  <a:gd name="T98" fmla="*/ 39 w 473"/>
                  <a:gd name="T99"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3" h="60">
                    <a:moveTo>
                      <a:pt x="53" y="0"/>
                    </a:moveTo>
                    <a:lnTo>
                      <a:pt x="66" y="2"/>
                    </a:lnTo>
                    <a:lnTo>
                      <a:pt x="70" y="2"/>
                    </a:lnTo>
                    <a:lnTo>
                      <a:pt x="82" y="7"/>
                    </a:lnTo>
                    <a:lnTo>
                      <a:pt x="93" y="13"/>
                    </a:lnTo>
                    <a:lnTo>
                      <a:pt x="96" y="15"/>
                    </a:lnTo>
                    <a:lnTo>
                      <a:pt x="107" y="23"/>
                    </a:lnTo>
                    <a:lnTo>
                      <a:pt x="114" y="28"/>
                    </a:lnTo>
                    <a:lnTo>
                      <a:pt x="114" y="28"/>
                    </a:lnTo>
                    <a:lnTo>
                      <a:pt x="124" y="35"/>
                    </a:lnTo>
                    <a:lnTo>
                      <a:pt x="133" y="38"/>
                    </a:lnTo>
                    <a:lnTo>
                      <a:pt x="147" y="40"/>
                    </a:lnTo>
                    <a:lnTo>
                      <a:pt x="160" y="38"/>
                    </a:lnTo>
                    <a:lnTo>
                      <a:pt x="169" y="35"/>
                    </a:lnTo>
                    <a:lnTo>
                      <a:pt x="179" y="28"/>
                    </a:lnTo>
                    <a:lnTo>
                      <a:pt x="179" y="28"/>
                    </a:lnTo>
                    <a:lnTo>
                      <a:pt x="187" y="23"/>
                    </a:lnTo>
                    <a:lnTo>
                      <a:pt x="197" y="15"/>
                    </a:lnTo>
                    <a:lnTo>
                      <a:pt x="201" y="13"/>
                    </a:lnTo>
                    <a:lnTo>
                      <a:pt x="212" y="7"/>
                    </a:lnTo>
                    <a:lnTo>
                      <a:pt x="223" y="2"/>
                    </a:lnTo>
                    <a:lnTo>
                      <a:pt x="226" y="2"/>
                    </a:lnTo>
                    <a:lnTo>
                      <a:pt x="240" y="0"/>
                    </a:lnTo>
                    <a:lnTo>
                      <a:pt x="253" y="2"/>
                    </a:lnTo>
                    <a:lnTo>
                      <a:pt x="257" y="2"/>
                    </a:lnTo>
                    <a:lnTo>
                      <a:pt x="269" y="7"/>
                    </a:lnTo>
                    <a:lnTo>
                      <a:pt x="282" y="15"/>
                    </a:lnTo>
                    <a:lnTo>
                      <a:pt x="292" y="23"/>
                    </a:lnTo>
                    <a:lnTo>
                      <a:pt x="300" y="28"/>
                    </a:lnTo>
                    <a:lnTo>
                      <a:pt x="300" y="28"/>
                    </a:lnTo>
                    <a:lnTo>
                      <a:pt x="310" y="35"/>
                    </a:lnTo>
                    <a:lnTo>
                      <a:pt x="319" y="38"/>
                    </a:lnTo>
                    <a:lnTo>
                      <a:pt x="333" y="40"/>
                    </a:lnTo>
                    <a:lnTo>
                      <a:pt x="346" y="38"/>
                    </a:lnTo>
                    <a:lnTo>
                      <a:pt x="355" y="35"/>
                    </a:lnTo>
                    <a:lnTo>
                      <a:pt x="366" y="28"/>
                    </a:lnTo>
                    <a:lnTo>
                      <a:pt x="373" y="23"/>
                    </a:lnTo>
                    <a:lnTo>
                      <a:pt x="383" y="15"/>
                    </a:lnTo>
                    <a:lnTo>
                      <a:pt x="386" y="13"/>
                    </a:lnTo>
                    <a:lnTo>
                      <a:pt x="398" y="7"/>
                    </a:lnTo>
                    <a:lnTo>
                      <a:pt x="410" y="2"/>
                    </a:lnTo>
                    <a:lnTo>
                      <a:pt x="413" y="2"/>
                    </a:lnTo>
                    <a:lnTo>
                      <a:pt x="427" y="0"/>
                    </a:lnTo>
                    <a:lnTo>
                      <a:pt x="439" y="2"/>
                    </a:lnTo>
                    <a:lnTo>
                      <a:pt x="442" y="2"/>
                    </a:lnTo>
                    <a:lnTo>
                      <a:pt x="452" y="8"/>
                    </a:lnTo>
                    <a:lnTo>
                      <a:pt x="456" y="10"/>
                    </a:lnTo>
                    <a:lnTo>
                      <a:pt x="464" y="17"/>
                    </a:lnTo>
                    <a:lnTo>
                      <a:pt x="473" y="23"/>
                    </a:lnTo>
                    <a:lnTo>
                      <a:pt x="460" y="39"/>
                    </a:lnTo>
                    <a:lnTo>
                      <a:pt x="449" y="31"/>
                    </a:lnTo>
                    <a:lnTo>
                      <a:pt x="442" y="26"/>
                    </a:lnTo>
                    <a:lnTo>
                      <a:pt x="436" y="21"/>
                    </a:lnTo>
                    <a:lnTo>
                      <a:pt x="427" y="20"/>
                    </a:lnTo>
                    <a:lnTo>
                      <a:pt x="415" y="22"/>
                    </a:lnTo>
                    <a:lnTo>
                      <a:pt x="405" y="26"/>
                    </a:lnTo>
                    <a:lnTo>
                      <a:pt x="396" y="31"/>
                    </a:lnTo>
                    <a:lnTo>
                      <a:pt x="387" y="38"/>
                    </a:lnTo>
                    <a:lnTo>
                      <a:pt x="374" y="47"/>
                    </a:lnTo>
                    <a:lnTo>
                      <a:pt x="363" y="54"/>
                    </a:lnTo>
                    <a:lnTo>
                      <a:pt x="351" y="58"/>
                    </a:lnTo>
                    <a:lnTo>
                      <a:pt x="346" y="58"/>
                    </a:lnTo>
                    <a:lnTo>
                      <a:pt x="333" y="60"/>
                    </a:lnTo>
                    <a:lnTo>
                      <a:pt x="319" y="58"/>
                    </a:lnTo>
                    <a:lnTo>
                      <a:pt x="315" y="58"/>
                    </a:lnTo>
                    <a:lnTo>
                      <a:pt x="302" y="54"/>
                    </a:lnTo>
                    <a:lnTo>
                      <a:pt x="289" y="45"/>
                    </a:lnTo>
                    <a:lnTo>
                      <a:pt x="278" y="38"/>
                    </a:lnTo>
                    <a:lnTo>
                      <a:pt x="268" y="30"/>
                    </a:lnTo>
                    <a:lnTo>
                      <a:pt x="261" y="26"/>
                    </a:lnTo>
                    <a:lnTo>
                      <a:pt x="251" y="22"/>
                    </a:lnTo>
                    <a:lnTo>
                      <a:pt x="240" y="20"/>
                    </a:lnTo>
                    <a:lnTo>
                      <a:pt x="230" y="22"/>
                    </a:lnTo>
                    <a:lnTo>
                      <a:pt x="220" y="26"/>
                    </a:lnTo>
                    <a:lnTo>
                      <a:pt x="211" y="31"/>
                    </a:lnTo>
                    <a:lnTo>
                      <a:pt x="202" y="38"/>
                    </a:lnTo>
                    <a:lnTo>
                      <a:pt x="190" y="45"/>
                    </a:lnTo>
                    <a:lnTo>
                      <a:pt x="177" y="54"/>
                    </a:lnTo>
                    <a:lnTo>
                      <a:pt x="165" y="58"/>
                    </a:lnTo>
                    <a:lnTo>
                      <a:pt x="160" y="58"/>
                    </a:lnTo>
                    <a:lnTo>
                      <a:pt x="147" y="60"/>
                    </a:lnTo>
                    <a:lnTo>
                      <a:pt x="133" y="58"/>
                    </a:lnTo>
                    <a:lnTo>
                      <a:pt x="129" y="58"/>
                    </a:lnTo>
                    <a:lnTo>
                      <a:pt x="117" y="54"/>
                    </a:lnTo>
                    <a:lnTo>
                      <a:pt x="103" y="45"/>
                    </a:lnTo>
                    <a:lnTo>
                      <a:pt x="92" y="38"/>
                    </a:lnTo>
                    <a:lnTo>
                      <a:pt x="83" y="31"/>
                    </a:lnTo>
                    <a:lnTo>
                      <a:pt x="74" y="26"/>
                    </a:lnTo>
                    <a:lnTo>
                      <a:pt x="64" y="22"/>
                    </a:lnTo>
                    <a:lnTo>
                      <a:pt x="53" y="20"/>
                    </a:lnTo>
                    <a:lnTo>
                      <a:pt x="43" y="22"/>
                    </a:lnTo>
                    <a:lnTo>
                      <a:pt x="32" y="27"/>
                    </a:lnTo>
                    <a:lnTo>
                      <a:pt x="21" y="32"/>
                    </a:lnTo>
                    <a:lnTo>
                      <a:pt x="11" y="40"/>
                    </a:lnTo>
                    <a:lnTo>
                      <a:pt x="0" y="23"/>
                    </a:lnTo>
                    <a:lnTo>
                      <a:pt x="9" y="17"/>
                    </a:lnTo>
                    <a:lnTo>
                      <a:pt x="12" y="14"/>
                    </a:lnTo>
                    <a:lnTo>
                      <a:pt x="24" y="8"/>
                    </a:lnTo>
                    <a:lnTo>
                      <a:pt x="36" y="2"/>
                    </a:lnTo>
                    <a:lnTo>
                      <a:pt x="39" y="2"/>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51" name="Freeform 176">
                <a:extLst>
                  <a:ext uri="{FF2B5EF4-FFF2-40B4-BE49-F238E27FC236}">
                    <a16:creationId xmlns:a16="http://schemas.microsoft.com/office/drawing/2014/main" id="{4411E254-AC69-4505-B705-043ABA8CE325}"/>
                  </a:ext>
                </a:extLst>
              </p:cNvPr>
              <p:cNvSpPr>
                <a:spLocks/>
              </p:cNvSpPr>
              <p:nvPr/>
            </p:nvSpPr>
            <p:spPr bwMode="gray">
              <a:xfrm>
                <a:off x="-1136994" y="1217273"/>
                <a:ext cx="750888" cy="98425"/>
              </a:xfrm>
              <a:custGeom>
                <a:avLst/>
                <a:gdLst>
                  <a:gd name="T0" fmla="*/ 66 w 473"/>
                  <a:gd name="T1" fmla="*/ 3 h 62"/>
                  <a:gd name="T2" fmla="*/ 82 w 473"/>
                  <a:gd name="T3" fmla="*/ 7 h 62"/>
                  <a:gd name="T4" fmla="*/ 96 w 473"/>
                  <a:gd name="T5" fmla="*/ 16 h 62"/>
                  <a:gd name="T6" fmla="*/ 118 w 473"/>
                  <a:gd name="T7" fmla="*/ 32 h 62"/>
                  <a:gd name="T8" fmla="*/ 133 w 473"/>
                  <a:gd name="T9" fmla="*/ 39 h 62"/>
                  <a:gd name="T10" fmla="*/ 160 w 473"/>
                  <a:gd name="T11" fmla="*/ 39 h 62"/>
                  <a:gd name="T12" fmla="*/ 176 w 473"/>
                  <a:gd name="T13" fmla="*/ 32 h 62"/>
                  <a:gd name="T14" fmla="*/ 197 w 473"/>
                  <a:gd name="T15" fmla="*/ 16 h 62"/>
                  <a:gd name="T16" fmla="*/ 212 w 473"/>
                  <a:gd name="T17" fmla="*/ 7 h 62"/>
                  <a:gd name="T18" fmla="*/ 226 w 473"/>
                  <a:gd name="T19" fmla="*/ 3 h 62"/>
                  <a:gd name="T20" fmla="*/ 253 w 473"/>
                  <a:gd name="T21" fmla="*/ 3 h 62"/>
                  <a:gd name="T22" fmla="*/ 269 w 473"/>
                  <a:gd name="T23" fmla="*/ 7 h 62"/>
                  <a:gd name="T24" fmla="*/ 292 w 473"/>
                  <a:gd name="T25" fmla="*/ 24 h 62"/>
                  <a:gd name="T26" fmla="*/ 310 w 473"/>
                  <a:gd name="T27" fmla="*/ 36 h 62"/>
                  <a:gd name="T28" fmla="*/ 333 w 473"/>
                  <a:gd name="T29" fmla="*/ 42 h 62"/>
                  <a:gd name="T30" fmla="*/ 355 w 473"/>
                  <a:gd name="T31" fmla="*/ 36 h 62"/>
                  <a:gd name="T32" fmla="*/ 383 w 473"/>
                  <a:gd name="T33" fmla="*/ 16 h 62"/>
                  <a:gd name="T34" fmla="*/ 398 w 473"/>
                  <a:gd name="T35" fmla="*/ 7 h 62"/>
                  <a:gd name="T36" fmla="*/ 413 w 473"/>
                  <a:gd name="T37" fmla="*/ 3 h 62"/>
                  <a:gd name="T38" fmla="*/ 439 w 473"/>
                  <a:gd name="T39" fmla="*/ 3 h 62"/>
                  <a:gd name="T40" fmla="*/ 452 w 473"/>
                  <a:gd name="T41" fmla="*/ 8 h 62"/>
                  <a:gd name="T42" fmla="*/ 464 w 473"/>
                  <a:gd name="T43" fmla="*/ 17 h 62"/>
                  <a:gd name="T44" fmla="*/ 460 w 473"/>
                  <a:gd name="T45" fmla="*/ 39 h 62"/>
                  <a:gd name="T46" fmla="*/ 442 w 473"/>
                  <a:gd name="T47" fmla="*/ 26 h 62"/>
                  <a:gd name="T48" fmla="*/ 427 w 473"/>
                  <a:gd name="T49" fmla="*/ 20 h 62"/>
                  <a:gd name="T50" fmla="*/ 405 w 473"/>
                  <a:gd name="T51" fmla="*/ 26 h 62"/>
                  <a:gd name="T52" fmla="*/ 377 w 473"/>
                  <a:gd name="T53" fmla="*/ 46 h 62"/>
                  <a:gd name="T54" fmla="*/ 363 w 473"/>
                  <a:gd name="T55" fmla="*/ 55 h 62"/>
                  <a:gd name="T56" fmla="*/ 346 w 473"/>
                  <a:gd name="T57" fmla="*/ 60 h 62"/>
                  <a:gd name="T58" fmla="*/ 319 w 473"/>
                  <a:gd name="T59" fmla="*/ 60 h 62"/>
                  <a:gd name="T60" fmla="*/ 302 w 473"/>
                  <a:gd name="T61" fmla="*/ 55 h 62"/>
                  <a:gd name="T62" fmla="*/ 278 w 473"/>
                  <a:gd name="T63" fmla="*/ 38 h 62"/>
                  <a:gd name="T64" fmla="*/ 261 w 473"/>
                  <a:gd name="T65" fmla="*/ 26 h 62"/>
                  <a:gd name="T66" fmla="*/ 240 w 473"/>
                  <a:gd name="T67" fmla="*/ 20 h 62"/>
                  <a:gd name="T68" fmla="*/ 220 w 473"/>
                  <a:gd name="T69" fmla="*/ 26 h 62"/>
                  <a:gd name="T70" fmla="*/ 202 w 473"/>
                  <a:gd name="T71" fmla="*/ 38 h 62"/>
                  <a:gd name="T72" fmla="*/ 177 w 473"/>
                  <a:gd name="T73" fmla="*/ 55 h 62"/>
                  <a:gd name="T74" fmla="*/ 160 w 473"/>
                  <a:gd name="T75" fmla="*/ 60 h 62"/>
                  <a:gd name="T76" fmla="*/ 133 w 473"/>
                  <a:gd name="T77" fmla="*/ 60 h 62"/>
                  <a:gd name="T78" fmla="*/ 117 w 473"/>
                  <a:gd name="T79" fmla="*/ 55 h 62"/>
                  <a:gd name="T80" fmla="*/ 92 w 473"/>
                  <a:gd name="T81" fmla="*/ 38 h 62"/>
                  <a:gd name="T82" fmla="*/ 74 w 473"/>
                  <a:gd name="T83" fmla="*/ 26 h 62"/>
                  <a:gd name="T84" fmla="*/ 53 w 473"/>
                  <a:gd name="T85" fmla="*/ 20 h 62"/>
                  <a:gd name="T86" fmla="*/ 32 w 473"/>
                  <a:gd name="T87" fmla="*/ 27 h 62"/>
                  <a:gd name="T88" fmla="*/ 12 w 473"/>
                  <a:gd name="T89" fmla="*/ 41 h 62"/>
                  <a:gd name="T90" fmla="*/ 9 w 473"/>
                  <a:gd name="T91" fmla="*/ 17 h 62"/>
                  <a:gd name="T92" fmla="*/ 24 w 473"/>
                  <a:gd name="T93" fmla="*/ 8 h 62"/>
                  <a:gd name="T94" fmla="*/ 39 w 473"/>
                  <a:gd name="T95" fmla="*/ 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3" h="62">
                    <a:moveTo>
                      <a:pt x="53" y="0"/>
                    </a:moveTo>
                    <a:lnTo>
                      <a:pt x="66" y="3"/>
                    </a:lnTo>
                    <a:lnTo>
                      <a:pt x="70" y="3"/>
                    </a:lnTo>
                    <a:lnTo>
                      <a:pt x="82" y="7"/>
                    </a:lnTo>
                    <a:lnTo>
                      <a:pt x="93" y="14"/>
                    </a:lnTo>
                    <a:lnTo>
                      <a:pt x="96" y="16"/>
                    </a:lnTo>
                    <a:lnTo>
                      <a:pt x="107" y="24"/>
                    </a:lnTo>
                    <a:lnTo>
                      <a:pt x="118" y="32"/>
                    </a:lnTo>
                    <a:lnTo>
                      <a:pt x="124" y="36"/>
                    </a:lnTo>
                    <a:lnTo>
                      <a:pt x="133" y="39"/>
                    </a:lnTo>
                    <a:lnTo>
                      <a:pt x="147" y="42"/>
                    </a:lnTo>
                    <a:lnTo>
                      <a:pt x="160" y="39"/>
                    </a:lnTo>
                    <a:lnTo>
                      <a:pt x="169" y="36"/>
                    </a:lnTo>
                    <a:lnTo>
                      <a:pt x="176" y="32"/>
                    </a:lnTo>
                    <a:lnTo>
                      <a:pt x="187" y="24"/>
                    </a:lnTo>
                    <a:lnTo>
                      <a:pt x="197" y="16"/>
                    </a:lnTo>
                    <a:lnTo>
                      <a:pt x="201" y="14"/>
                    </a:lnTo>
                    <a:lnTo>
                      <a:pt x="212" y="7"/>
                    </a:lnTo>
                    <a:lnTo>
                      <a:pt x="223" y="3"/>
                    </a:lnTo>
                    <a:lnTo>
                      <a:pt x="226" y="3"/>
                    </a:lnTo>
                    <a:lnTo>
                      <a:pt x="240" y="0"/>
                    </a:lnTo>
                    <a:lnTo>
                      <a:pt x="253" y="3"/>
                    </a:lnTo>
                    <a:lnTo>
                      <a:pt x="257" y="3"/>
                    </a:lnTo>
                    <a:lnTo>
                      <a:pt x="269" y="7"/>
                    </a:lnTo>
                    <a:lnTo>
                      <a:pt x="282" y="16"/>
                    </a:lnTo>
                    <a:lnTo>
                      <a:pt x="292" y="24"/>
                    </a:lnTo>
                    <a:lnTo>
                      <a:pt x="304" y="32"/>
                    </a:lnTo>
                    <a:lnTo>
                      <a:pt x="310" y="36"/>
                    </a:lnTo>
                    <a:lnTo>
                      <a:pt x="319" y="39"/>
                    </a:lnTo>
                    <a:lnTo>
                      <a:pt x="333" y="42"/>
                    </a:lnTo>
                    <a:lnTo>
                      <a:pt x="346" y="39"/>
                    </a:lnTo>
                    <a:lnTo>
                      <a:pt x="355" y="36"/>
                    </a:lnTo>
                    <a:lnTo>
                      <a:pt x="364" y="31"/>
                    </a:lnTo>
                    <a:lnTo>
                      <a:pt x="383" y="16"/>
                    </a:lnTo>
                    <a:lnTo>
                      <a:pt x="386" y="14"/>
                    </a:lnTo>
                    <a:lnTo>
                      <a:pt x="398" y="7"/>
                    </a:lnTo>
                    <a:lnTo>
                      <a:pt x="410" y="3"/>
                    </a:lnTo>
                    <a:lnTo>
                      <a:pt x="413" y="3"/>
                    </a:lnTo>
                    <a:lnTo>
                      <a:pt x="427" y="0"/>
                    </a:lnTo>
                    <a:lnTo>
                      <a:pt x="439" y="3"/>
                    </a:lnTo>
                    <a:lnTo>
                      <a:pt x="442" y="3"/>
                    </a:lnTo>
                    <a:lnTo>
                      <a:pt x="452" y="8"/>
                    </a:lnTo>
                    <a:lnTo>
                      <a:pt x="456" y="10"/>
                    </a:lnTo>
                    <a:lnTo>
                      <a:pt x="464" y="17"/>
                    </a:lnTo>
                    <a:lnTo>
                      <a:pt x="473" y="24"/>
                    </a:lnTo>
                    <a:lnTo>
                      <a:pt x="460" y="39"/>
                    </a:lnTo>
                    <a:lnTo>
                      <a:pt x="449" y="32"/>
                    </a:lnTo>
                    <a:lnTo>
                      <a:pt x="442" y="26"/>
                    </a:lnTo>
                    <a:lnTo>
                      <a:pt x="436" y="22"/>
                    </a:lnTo>
                    <a:lnTo>
                      <a:pt x="427" y="20"/>
                    </a:lnTo>
                    <a:lnTo>
                      <a:pt x="415" y="23"/>
                    </a:lnTo>
                    <a:lnTo>
                      <a:pt x="405" y="26"/>
                    </a:lnTo>
                    <a:lnTo>
                      <a:pt x="396" y="32"/>
                    </a:lnTo>
                    <a:lnTo>
                      <a:pt x="377" y="46"/>
                    </a:lnTo>
                    <a:lnTo>
                      <a:pt x="374" y="48"/>
                    </a:lnTo>
                    <a:lnTo>
                      <a:pt x="363" y="55"/>
                    </a:lnTo>
                    <a:lnTo>
                      <a:pt x="351" y="60"/>
                    </a:lnTo>
                    <a:lnTo>
                      <a:pt x="346" y="60"/>
                    </a:lnTo>
                    <a:lnTo>
                      <a:pt x="333" y="62"/>
                    </a:lnTo>
                    <a:lnTo>
                      <a:pt x="319" y="60"/>
                    </a:lnTo>
                    <a:lnTo>
                      <a:pt x="315" y="60"/>
                    </a:lnTo>
                    <a:lnTo>
                      <a:pt x="302" y="55"/>
                    </a:lnTo>
                    <a:lnTo>
                      <a:pt x="289" y="46"/>
                    </a:lnTo>
                    <a:lnTo>
                      <a:pt x="278" y="38"/>
                    </a:lnTo>
                    <a:lnTo>
                      <a:pt x="268" y="31"/>
                    </a:lnTo>
                    <a:lnTo>
                      <a:pt x="261" y="26"/>
                    </a:lnTo>
                    <a:lnTo>
                      <a:pt x="251" y="23"/>
                    </a:lnTo>
                    <a:lnTo>
                      <a:pt x="240" y="20"/>
                    </a:lnTo>
                    <a:lnTo>
                      <a:pt x="230" y="23"/>
                    </a:lnTo>
                    <a:lnTo>
                      <a:pt x="220" y="26"/>
                    </a:lnTo>
                    <a:lnTo>
                      <a:pt x="211" y="32"/>
                    </a:lnTo>
                    <a:lnTo>
                      <a:pt x="202" y="38"/>
                    </a:lnTo>
                    <a:lnTo>
                      <a:pt x="190" y="46"/>
                    </a:lnTo>
                    <a:lnTo>
                      <a:pt x="177" y="55"/>
                    </a:lnTo>
                    <a:lnTo>
                      <a:pt x="165" y="60"/>
                    </a:lnTo>
                    <a:lnTo>
                      <a:pt x="160" y="60"/>
                    </a:lnTo>
                    <a:lnTo>
                      <a:pt x="147" y="62"/>
                    </a:lnTo>
                    <a:lnTo>
                      <a:pt x="133" y="60"/>
                    </a:lnTo>
                    <a:lnTo>
                      <a:pt x="129" y="60"/>
                    </a:lnTo>
                    <a:lnTo>
                      <a:pt x="117" y="55"/>
                    </a:lnTo>
                    <a:lnTo>
                      <a:pt x="103" y="46"/>
                    </a:lnTo>
                    <a:lnTo>
                      <a:pt x="92" y="38"/>
                    </a:lnTo>
                    <a:lnTo>
                      <a:pt x="83" y="32"/>
                    </a:lnTo>
                    <a:lnTo>
                      <a:pt x="74" y="26"/>
                    </a:lnTo>
                    <a:lnTo>
                      <a:pt x="64" y="23"/>
                    </a:lnTo>
                    <a:lnTo>
                      <a:pt x="53" y="20"/>
                    </a:lnTo>
                    <a:lnTo>
                      <a:pt x="43" y="23"/>
                    </a:lnTo>
                    <a:lnTo>
                      <a:pt x="32" y="27"/>
                    </a:lnTo>
                    <a:lnTo>
                      <a:pt x="23" y="33"/>
                    </a:lnTo>
                    <a:lnTo>
                      <a:pt x="12" y="41"/>
                    </a:lnTo>
                    <a:lnTo>
                      <a:pt x="0" y="25"/>
                    </a:lnTo>
                    <a:lnTo>
                      <a:pt x="9" y="17"/>
                    </a:lnTo>
                    <a:lnTo>
                      <a:pt x="12" y="15"/>
                    </a:lnTo>
                    <a:lnTo>
                      <a:pt x="24" y="8"/>
                    </a:lnTo>
                    <a:lnTo>
                      <a:pt x="36" y="3"/>
                    </a:lnTo>
                    <a:lnTo>
                      <a:pt x="39" y="3"/>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grpSp>
        <p:sp>
          <p:nvSpPr>
            <p:cNvPr id="49" name="Freeform 176">
              <a:extLst>
                <a:ext uri="{FF2B5EF4-FFF2-40B4-BE49-F238E27FC236}">
                  <a16:creationId xmlns:a16="http://schemas.microsoft.com/office/drawing/2014/main" id="{16E7D5AE-2EF9-45BB-A809-3E47F56C9CD3}"/>
                </a:ext>
              </a:extLst>
            </p:cNvPr>
            <p:cNvSpPr>
              <a:spLocks/>
            </p:cNvSpPr>
            <p:nvPr/>
          </p:nvSpPr>
          <p:spPr bwMode="gray">
            <a:xfrm>
              <a:off x="6990357" y="1532797"/>
              <a:ext cx="750888" cy="98425"/>
            </a:xfrm>
            <a:custGeom>
              <a:avLst/>
              <a:gdLst>
                <a:gd name="T0" fmla="*/ 66 w 473"/>
                <a:gd name="T1" fmla="*/ 3 h 62"/>
                <a:gd name="T2" fmla="*/ 82 w 473"/>
                <a:gd name="T3" fmla="*/ 7 h 62"/>
                <a:gd name="T4" fmla="*/ 96 w 473"/>
                <a:gd name="T5" fmla="*/ 16 h 62"/>
                <a:gd name="T6" fmla="*/ 118 w 473"/>
                <a:gd name="T7" fmla="*/ 32 h 62"/>
                <a:gd name="T8" fmla="*/ 133 w 473"/>
                <a:gd name="T9" fmla="*/ 39 h 62"/>
                <a:gd name="T10" fmla="*/ 160 w 473"/>
                <a:gd name="T11" fmla="*/ 39 h 62"/>
                <a:gd name="T12" fmla="*/ 176 w 473"/>
                <a:gd name="T13" fmla="*/ 32 h 62"/>
                <a:gd name="T14" fmla="*/ 197 w 473"/>
                <a:gd name="T15" fmla="*/ 16 h 62"/>
                <a:gd name="T16" fmla="*/ 212 w 473"/>
                <a:gd name="T17" fmla="*/ 7 h 62"/>
                <a:gd name="T18" fmla="*/ 226 w 473"/>
                <a:gd name="T19" fmla="*/ 3 h 62"/>
                <a:gd name="T20" fmla="*/ 253 w 473"/>
                <a:gd name="T21" fmla="*/ 3 h 62"/>
                <a:gd name="T22" fmla="*/ 269 w 473"/>
                <a:gd name="T23" fmla="*/ 7 h 62"/>
                <a:gd name="T24" fmla="*/ 292 w 473"/>
                <a:gd name="T25" fmla="*/ 24 h 62"/>
                <a:gd name="T26" fmla="*/ 310 w 473"/>
                <a:gd name="T27" fmla="*/ 36 h 62"/>
                <a:gd name="T28" fmla="*/ 333 w 473"/>
                <a:gd name="T29" fmla="*/ 42 h 62"/>
                <a:gd name="T30" fmla="*/ 355 w 473"/>
                <a:gd name="T31" fmla="*/ 36 h 62"/>
                <a:gd name="T32" fmla="*/ 383 w 473"/>
                <a:gd name="T33" fmla="*/ 16 h 62"/>
                <a:gd name="T34" fmla="*/ 398 w 473"/>
                <a:gd name="T35" fmla="*/ 7 h 62"/>
                <a:gd name="T36" fmla="*/ 413 w 473"/>
                <a:gd name="T37" fmla="*/ 3 h 62"/>
                <a:gd name="T38" fmla="*/ 439 w 473"/>
                <a:gd name="T39" fmla="*/ 3 h 62"/>
                <a:gd name="T40" fmla="*/ 452 w 473"/>
                <a:gd name="T41" fmla="*/ 8 h 62"/>
                <a:gd name="T42" fmla="*/ 464 w 473"/>
                <a:gd name="T43" fmla="*/ 17 h 62"/>
                <a:gd name="T44" fmla="*/ 460 w 473"/>
                <a:gd name="T45" fmla="*/ 39 h 62"/>
                <a:gd name="T46" fmla="*/ 442 w 473"/>
                <a:gd name="T47" fmla="*/ 26 h 62"/>
                <a:gd name="T48" fmla="*/ 427 w 473"/>
                <a:gd name="T49" fmla="*/ 20 h 62"/>
                <a:gd name="T50" fmla="*/ 405 w 473"/>
                <a:gd name="T51" fmla="*/ 26 h 62"/>
                <a:gd name="T52" fmla="*/ 377 w 473"/>
                <a:gd name="T53" fmla="*/ 46 h 62"/>
                <a:gd name="T54" fmla="*/ 363 w 473"/>
                <a:gd name="T55" fmla="*/ 55 h 62"/>
                <a:gd name="T56" fmla="*/ 346 w 473"/>
                <a:gd name="T57" fmla="*/ 60 h 62"/>
                <a:gd name="T58" fmla="*/ 319 w 473"/>
                <a:gd name="T59" fmla="*/ 60 h 62"/>
                <a:gd name="T60" fmla="*/ 302 w 473"/>
                <a:gd name="T61" fmla="*/ 55 h 62"/>
                <a:gd name="T62" fmla="*/ 278 w 473"/>
                <a:gd name="T63" fmla="*/ 38 h 62"/>
                <a:gd name="T64" fmla="*/ 261 w 473"/>
                <a:gd name="T65" fmla="*/ 26 h 62"/>
                <a:gd name="T66" fmla="*/ 240 w 473"/>
                <a:gd name="T67" fmla="*/ 20 h 62"/>
                <a:gd name="T68" fmla="*/ 220 w 473"/>
                <a:gd name="T69" fmla="*/ 26 h 62"/>
                <a:gd name="T70" fmla="*/ 202 w 473"/>
                <a:gd name="T71" fmla="*/ 38 h 62"/>
                <a:gd name="T72" fmla="*/ 177 w 473"/>
                <a:gd name="T73" fmla="*/ 55 h 62"/>
                <a:gd name="T74" fmla="*/ 160 w 473"/>
                <a:gd name="T75" fmla="*/ 60 h 62"/>
                <a:gd name="T76" fmla="*/ 133 w 473"/>
                <a:gd name="T77" fmla="*/ 60 h 62"/>
                <a:gd name="T78" fmla="*/ 117 w 473"/>
                <a:gd name="T79" fmla="*/ 55 h 62"/>
                <a:gd name="T80" fmla="*/ 92 w 473"/>
                <a:gd name="T81" fmla="*/ 38 h 62"/>
                <a:gd name="T82" fmla="*/ 74 w 473"/>
                <a:gd name="T83" fmla="*/ 26 h 62"/>
                <a:gd name="T84" fmla="*/ 53 w 473"/>
                <a:gd name="T85" fmla="*/ 20 h 62"/>
                <a:gd name="T86" fmla="*/ 32 w 473"/>
                <a:gd name="T87" fmla="*/ 27 h 62"/>
                <a:gd name="T88" fmla="*/ 12 w 473"/>
                <a:gd name="T89" fmla="*/ 41 h 62"/>
                <a:gd name="T90" fmla="*/ 9 w 473"/>
                <a:gd name="T91" fmla="*/ 17 h 62"/>
                <a:gd name="T92" fmla="*/ 24 w 473"/>
                <a:gd name="T93" fmla="*/ 8 h 62"/>
                <a:gd name="T94" fmla="*/ 39 w 473"/>
                <a:gd name="T95" fmla="*/ 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3" h="62">
                  <a:moveTo>
                    <a:pt x="53" y="0"/>
                  </a:moveTo>
                  <a:lnTo>
                    <a:pt x="66" y="3"/>
                  </a:lnTo>
                  <a:lnTo>
                    <a:pt x="70" y="3"/>
                  </a:lnTo>
                  <a:lnTo>
                    <a:pt x="82" y="7"/>
                  </a:lnTo>
                  <a:lnTo>
                    <a:pt x="93" y="14"/>
                  </a:lnTo>
                  <a:lnTo>
                    <a:pt x="96" y="16"/>
                  </a:lnTo>
                  <a:lnTo>
                    <a:pt x="107" y="24"/>
                  </a:lnTo>
                  <a:lnTo>
                    <a:pt x="118" y="32"/>
                  </a:lnTo>
                  <a:lnTo>
                    <a:pt x="124" y="36"/>
                  </a:lnTo>
                  <a:lnTo>
                    <a:pt x="133" y="39"/>
                  </a:lnTo>
                  <a:lnTo>
                    <a:pt x="147" y="42"/>
                  </a:lnTo>
                  <a:lnTo>
                    <a:pt x="160" y="39"/>
                  </a:lnTo>
                  <a:lnTo>
                    <a:pt x="169" y="36"/>
                  </a:lnTo>
                  <a:lnTo>
                    <a:pt x="176" y="32"/>
                  </a:lnTo>
                  <a:lnTo>
                    <a:pt x="187" y="24"/>
                  </a:lnTo>
                  <a:lnTo>
                    <a:pt x="197" y="16"/>
                  </a:lnTo>
                  <a:lnTo>
                    <a:pt x="201" y="14"/>
                  </a:lnTo>
                  <a:lnTo>
                    <a:pt x="212" y="7"/>
                  </a:lnTo>
                  <a:lnTo>
                    <a:pt x="223" y="3"/>
                  </a:lnTo>
                  <a:lnTo>
                    <a:pt x="226" y="3"/>
                  </a:lnTo>
                  <a:lnTo>
                    <a:pt x="240" y="0"/>
                  </a:lnTo>
                  <a:lnTo>
                    <a:pt x="253" y="3"/>
                  </a:lnTo>
                  <a:lnTo>
                    <a:pt x="257" y="3"/>
                  </a:lnTo>
                  <a:lnTo>
                    <a:pt x="269" y="7"/>
                  </a:lnTo>
                  <a:lnTo>
                    <a:pt x="282" y="16"/>
                  </a:lnTo>
                  <a:lnTo>
                    <a:pt x="292" y="24"/>
                  </a:lnTo>
                  <a:lnTo>
                    <a:pt x="304" y="32"/>
                  </a:lnTo>
                  <a:lnTo>
                    <a:pt x="310" y="36"/>
                  </a:lnTo>
                  <a:lnTo>
                    <a:pt x="319" y="39"/>
                  </a:lnTo>
                  <a:lnTo>
                    <a:pt x="333" y="42"/>
                  </a:lnTo>
                  <a:lnTo>
                    <a:pt x="346" y="39"/>
                  </a:lnTo>
                  <a:lnTo>
                    <a:pt x="355" y="36"/>
                  </a:lnTo>
                  <a:lnTo>
                    <a:pt x="364" y="31"/>
                  </a:lnTo>
                  <a:lnTo>
                    <a:pt x="383" y="16"/>
                  </a:lnTo>
                  <a:lnTo>
                    <a:pt x="386" y="14"/>
                  </a:lnTo>
                  <a:lnTo>
                    <a:pt x="398" y="7"/>
                  </a:lnTo>
                  <a:lnTo>
                    <a:pt x="410" y="3"/>
                  </a:lnTo>
                  <a:lnTo>
                    <a:pt x="413" y="3"/>
                  </a:lnTo>
                  <a:lnTo>
                    <a:pt x="427" y="0"/>
                  </a:lnTo>
                  <a:lnTo>
                    <a:pt x="439" y="3"/>
                  </a:lnTo>
                  <a:lnTo>
                    <a:pt x="442" y="3"/>
                  </a:lnTo>
                  <a:lnTo>
                    <a:pt x="452" y="8"/>
                  </a:lnTo>
                  <a:lnTo>
                    <a:pt x="456" y="10"/>
                  </a:lnTo>
                  <a:lnTo>
                    <a:pt x="464" y="17"/>
                  </a:lnTo>
                  <a:lnTo>
                    <a:pt x="473" y="24"/>
                  </a:lnTo>
                  <a:lnTo>
                    <a:pt x="460" y="39"/>
                  </a:lnTo>
                  <a:lnTo>
                    <a:pt x="449" y="32"/>
                  </a:lnTo>
                  <a:lnTo>
                    <a:pt x="442" y="26"/>
                  </a:lnTo>
                  <a:lnTo>
                    <a:pt x="436" y="22"/>
                  </a:lnTo>
                  <a:lnTo>
                    <a:pt x="427" y="20"/>
                  </a:lnTo>
                  <a:lnTo>
                    <a:pt x="415" y="23"/>
                  </a:lnTo>
                  <a:lnTo>
                    <a:pt x="405" y="26"/>
                  </a:lnTo>
                  <a:lnTo>
                    <a:pt x="396" y="32"/>
                  </a:lnTo>
                  <a:lnTo>
                    <a:pt x="377" y="46"/>
                  </a:lnTo>
                  <a:lnTo>
                    <a:pt x="374" y="48"/>
                  </a:lnTo>
                  <a:lnTo>
                    <a:pt x="363" y="55"/>
                  </a:lnTo>
                  <a:lnTo>
                    <a:pt x="351" y="60"/>
                  </a:lnTo>
                  <a:lnTo>
                    <a:pt x="346" y="60"/>
                  </a:lnTo>
                  <a:lnTo>
                    <a:pt x="333" y="62"/>
                  </a:lnTo>
                  <a:lnTo>
                    <a:pt x="319" y="60"/>
                  </a:lnTo>
                  <a:lnTo>
                    <a:pt x="315" y="60"/>
                  </a:lnTo>
                  <a:lnTo>
                    <a:pt x="302" y="55"/>
                  </a:lnTo>
                  <a:lnTo>
                    <a:pt x="289" y="46"/>
                  </a:lnTo>
                  <a:lnTo>
                    <a:pt x="278" y="38"/>
                  </a:lnTo>
                  <a:lnTo>
                    <a:pt x="268" y="31"/>
                  </a:lnTo>
                  <a:lnTo>
                    <a:pt x="261" y="26"/>
                  </a:lnTo>
                  <a:lnTo>
                    <a:pt x="251" y="23"/>
                  </a:lnTo>
                  <a:lnTo>
                    <a:pt x="240" y="20"/>
                  </a:lnTo>
                  <a:lnTo>
                    <a:pt x="230" y="23"/>
                  </a:lnTo>
                  <a:lnTo>
                    <a:pt x="220" y="26"/>
                  </a:lnTo>
                  <a:lnTo>
                    <a:pt x="211" y="32"/>
                  </a:lnTo>
                  <a:lnTo>
                    <a:pt x="202" y="38"/>
                  </a:lnTo>
                  <a:lnTo>
                    <a:pt x="190" y="46"/>
                  </a:lnTo>
                  <a:lnTo>
                    <a:pt x="177" y="55"/>
                  </a:lnTo>
                  <a:lnTo>
                    <a:pt x="165" y="60"/>
                  </a:lnTo>
                  <a:lnTo>
                    <a:pt x="160" y="60"/>
                  </a:lnTo>
                  <a:lnTo>
                    <a:pt x="147" y="62"/>
                  </a:lnTo>
                  <a:lnTo>
                    <a:pt x="133" y="60"/>
                  </a:lnTo>
                  <a:lnTo>
                    <a:pt x="129" y="60"/>
                  </a:lnTo>
                  <a:lnTo>
                    <a:pt x="117" y="55"/>
                  </a:lnTo>
                  <a:lnTo>
                    <a:pt x="103" y="46"/>
                  </a:lnTo>
                  <a:lnTo>
                    <a:pt x="92" y="38"/>
                  </a:lnTo>
                  <a:lnTo>
                    <a:pt x="83" y="32"/>
                  </a:lnTo>
                  <a:lnTo>
                    <a:pt x="74" y="26"/>
                  </a:lnTo>
                  <a:lnTo>
                    <a:pt x="64" y="23"/>
                  </a:lnTo>
                  <a:lnTo>
                    <a:pt x="53" y="20"/>
                  </a:lnTo>
                  <a:lnTo>
                    <a:pt x="43" y="23"/>
                  </a:lnTo>
                  <a:lnTo>
                    <a:pt x="32" y="27"/>
                  </a:lnTo>
                  <a:lnTo>
                    <a:pt x="23" y="33"/>
                  </a:lnTo>
                  <a:lnTo>
                    <a:pt x="12" y="41"/>
                  </a:lnTo>
                  <a:lnTo>
                    <a:pt x="0" y="25"/>
                  </a:lnTo>
                  <a:lnTo>
                    <a:pt x="9" y="17"/>
                  </a:lnTo>
                  <a:lnTo>
                    <a:pt x="12" y="15"/>
                  </a:lnTo>
                  <a:lnTo>
                    <a:pt x="24" y="8"/>
                  </a:lnTo>
                  <a:lnTo>
                    <a:pt x="36" y="3"/>
                  </a:lnTo>
                  <a:lnTo>
                    <a:pt x="39" y="3"/>
                  </a:lnTo>
                  <a:lnTo>
                    <a:pt x="53" y="0"/>
                  </a:lnTo>
                  <a:close/>
                </a:path>
              </a:pathLst>
            </a:custGeom>
            <a:solidFill>
              <a:schemeClr val="bg1"/>
            </a:solid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grpSp>
      <p:grpSp>
        <p:nvGrpSpPr>
          <p:cNvPr id="24" name="Group 23">
            <a:extLst>
              <a:ext uri="{FF2B5EF4-FFF2-40B4-BE49-F238E27FC236}">
                <a16:creationId xmlns:a16="http://schemas.microsoft.com/office/drawing/2014/main" id="{7D35EF49-C9F9-46BD-BFA1-3DFD6B462F0C}"/>
              </a:ext>
            </a:extLst>
          </p:cNvPr>
          <p:cNvGrpSpPr/>
          <p:nvPr/>
        </p:nvGrpSpPr>
        <p:grpSpPr bwMode="gray">
          <a:xfrm>
            <a:off x="1281305" y="1621750"/>
            <a:ext cx="9659340" cy="81185"/>
            <a:chOff x="2736220" y="1532797"/>
            <a:chExt cx="5833026" cy="99318"/>
          </a:xfrm>
        </p:grpSpPr>
        <p:sp>
          <p:nvSpPr>
            <p:cNvPr id="36" name="Freeform 175">
              <a:extLst>
                <a:ext uri="{FF2B5EF4-FFF2-40B4-BE49-F238E27FC236}">
                  <a16:creationId xmlns:a16="http://schemas.microsoft.com/office/drawing/2014/main" id="{CF115D19-6591-4061-A53A-4BAF90054BD6}"/>
                </a:ext>
              </a:extLst>
            </p:cNvPr>
            <p:cNvSpPr>
              <a:spLocks/>
            </p:cNvSpPr>
            <p:nvPr/>
          </p:nvSpPr>
          <p:spPr bwMode="gray">
            <a:xfrm>
              <a:off x="2736220" y="1536865"/>
              <a:ext cx="750888" cy="95250"/>
            </a:xfrm>
            <a:custGeom>
              <a:avLst/>
              <a:gdLst>
                <a:gd name="T0" fmla="*/ 66 w 473"/>
                <a:gd name="T1" fmla="*/ 2 h 60"/>
                <a:gd name="T2" fmla="*/ 82 w 473"/>
                <a:gd name="T3" fmla="*/ 7 h 60"/>
                <a:gd name="T4" fmla="*/ 96 w 473"/>
                <a:gd name="T5" fmla="*/ 15 h 60"/>
                <a:gd name="T6" fmla="*/ 114 w 473"/>
                <a:gd name="T7" fmla="*/ 28 h 60"/>
                <a:gd name="T8" fmla="*/ 124 w 473"/>
                <a:gd name="T9" fmla="*/ 35 h 60"/>
                <a:gd name="T10" fmla="*/ 147 w 473"/>
                <a:gd name="T11" fmla="*/ 40 h 60"/>
                <a:gd name="T12" fmla="*/ 169 w 473"/>
                <a:gd name="T13" fmla="*/ 35 h 60"/>
                <a:gd name="T14" fmla="*/ 179 w 473"/>
                <a:gd name="T15" fmla="*/ 28 h 60"/>
                <a:gd name="T16" fmla="*/ 197 w 473"/>
                <a:gd name="T17" fmla="*/ 15 h 60"/>
                <a:gd name="T18" fmla="*/ 212 w 473"/>
                <a:gd name="T19" fmla="*/ 7 h 60"/>
                <a:gd name="T20" fmla="*/ 226 w 473"/>
                <a:gd name="T21" fmla="*/ 2 h 60"/>
                <a:gd name="T22" fmla="*/ 253 w 473"/>
                <a:gd name="T23" fmla="*/ 2 h 60"/>
                <a:gd name="T24" fmla="*/ 269 w 473"/>
                <a:gd name="T25" fmla="*/ 7 h 60"/>
                <a:gd name="T26" fmla="*/ 292 w 473"/>
                <a:gd name="T27" fmla="*/ 23 h 60"/>
                <a:gd name="T28" fmla="*/ 300 w 473"/>
                <a:gd name="T29" fmla="*/ 28 h 60"/>
                <a:gd name="T30" fmla="*/ 319 w 473"/>
                <a:gd name="T31" fmla="*/ 38 h 60"/>
                <a:gd name="T32" fmla="*/ 346 w 473"/>
                <a:gd name="T33" fmla="*/ 38 h 60"/>
                <a:gd name="T34" fmla="*/ 366 w 473"/>
                <a:gd name="T35" fmla="*/ 28 h 60"/>
                <a:gd name="T36" fmla="*/ 383 w 473"/>
                <a:gd name="T37" fmla="*/ 15 h 60"/>
                <a:gd name="T38" fmla="*/ 398 w 473"/>
                <a:gd name="T39" fmla="*/ 7 h 60"/>
                <a:gd name="T40" fmla="*/ 413 w 473"/>
                <a:gd name="T41" fmla="*/ 2 h 60"/>
                <a:gd name="T42" fmla="*/ 439 w 473"/>
                <a:gd name="T43" fmla="*/ 2 h 60"/>
                <a:gd name="T44" fmla="*/ 452 w 473"/>
                <a:gd name="T45" fmla="*/ 8 h 60"/>
                <a:gd name="T46" fmla="*/ 464 w 473"/>
                <a:gd name="T47" fmla="*/ 17 h 60"/>
                <a:gd name="T48" fmla="*/ 460 w 473"/>
                <a:gd name="T49" fmla="*/ 39 h 60"/>
                <a:gd name="T50" fmla="*/ 442 w 473"/>
                <a:gd name="T51" fmla="*/ 26 h 60"/>
                <a:gd name="T52" fmla="*/ 427 w 473"/>
                <a:gd name="T53" fmla="*/ 20 h 60"/>
                <a:gd name="T54" fmla="*/ 405 w 473"/>
                <a:gd name="T55" fmla="*/ 26 h 60"/>
                <a:gd name="T56" fmla="*/ 387 w 473"/>
                <a:gd name="T57" fmla="*/ 38 h 60"/>
                <a:gd name="T58" fmla="*/ 363 w 473"/>
                <a:gd name="T59" fmla="*/ 54 h 60"/>
                <a:gd name="T60" fmla="*/ 346 w 473"/>
                <a:gd name="T61" fmla="*/ 58 h 60"/>
                <a:gd name="T62" fmla="*/ 319 w 473"/>
                <a:gd name="T63" fmla="*/ 58 h 60"/>
                <a:gd name="T64" fmla="*/ 302 w 473"/>
                <a:gd name="T65" fmla="*/ 54 h 60"/>
                <a:gd name="T66" fmla="*/ 278 w 473"/>
                <a:gd name="T67" fmla="*/ 38 h 60"/>
                <a:gd name="T68" fmla="*/ 261 w 473"/>
                <a:gd name="T69" fmla="*/ 26 h 60"/>
                <a:gd name="T70" fmla="*/ 240 w 473"/>
                <a:gd name="T71" fmla="*/ 20 h 60"/>
                <a:gd name="T72" fmla="*/ 220 w 473"/>
                <a:gd name="T73" fmla="*/ 26 h 60"/>
                <a:gd name="T74" fmla="*/ 202 w 473"/>
                <a:gd name="T75" fmla="*/ 38 h 60"/>
                <a:gd name="T76" fmla="*/ 177 w 473"/>
                <a:gd name="T77" fmla="*/ 54 h 60"/>
                <a:gd name="T78" fmla="*/ 160 w 473"/>
                <a:gd name="T79" fmla="*/ 58 h 60"/>
                <a:gd name="T80" fmla="*/ 133 w 473"/>
                <a:gd name="T81" fmla="*/ 58 h 60"/>
                <a:gd name="T82" fmla="*/ 117 w 473"/>
                <a:gd name="T83" fmla="*/ 54 h 60"/>
                <a:gd name="T84" fmla="*/ 92 w 473"/>
                <a:gd name="T85" fmla="*/ 38 h 60"/>
                <a:gd name="T86" fmla="*/ 74 w 473"/>
                <a:gd name="T87" fmla="*/ 26 h 60"/>
                <a:gd name="T88" fmla="*/ 53 w 473"/>
                <a:gd name="T89" fmla="*/ 20 h 60"/>
                <a:gd name="T90" fmla="*/ 32 w 473"/>
                <a:gd name="T91" fmla="*/ 27 h 60"/>
                <a:gd name="T92" fmla="*/ 11 w 473"/>
                <a:gd name="T93" fmla="*/ 40 h 60"/>
                <a:gd name="T94" fmla="*/ 9 w 473"/>
                <a:gd name="T95" fmla="*/ 17 h 60"/>
                <a:gd name="T96" fmla="*/ 24 w 473"/>
                <a:gd name="T97" fmla="*/ 8 h 60"/>
                <a:gd name="T98" fmla="*/ 39 w 473"/>
                <a:gd name="T99"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3" h="60">
                  <a:moveTo>
                    <a:pt x="53" y="0"/>
                  </a:moveTo>
                  <a:lnTo>
                    <a:pt x="66" y="2"/>
                  </a:lnTo>
                  <a:lnTo>
                    <a:pt x="70" y="2"/>
                  </a:lnTo>
                  <a:lnTo>
                    <a:pt x="82" y="7"/>
                  </a:lnTo>
                  <a:lnTo>
                    <a:pt x="93" y="13"/>
                  </a:lnTo>
                  <a:lnTo>
                    <a:pt x="96" y="15"/>
                  </a:lnTo>
                  <a:lnTo>
                    <a:pt x="107" y="23"/>
                  </a:lnTo>
                  <a:lnTo>
                    <a:pt x="114" y="28"/>
                  </a:lnTo>
                  <a:lnTo>
                    <a:pt x="114" y="28"/>
                  </a:lnTo>
                  <a:lnTo>
                    <a:pt x="124" y="35"/>
                  </a:lnTo>
                  <a:lnTo>
                    <a:pt x="133" y="38"/>
                  </a:lnTo>
                  <a:lnTo>
                    <a:pt x="147" y="40"/>
                  </a:lnTo>
                  <a:lnTo>
                    <a:pt x="160" y="38"/>
                  </a:lnTo>
                  <a:lnTo>
                    <a:pt x="169" y="35"/>
                  </a:lnTo>
                  <a:lnTo>
                    <a:pt x="179" y="28"/>
                  </a:lnTo>
                  <a:lnTo>
                    <a:pt x="179" y="28"/>
                  </a:lnTo>
                  <a:lnTo>
                    <a:pt x="187" y="23"/>
                  </a:lnTo>
                  <a:lnTo>
                    <a:pt x="197" y="15"/>
                  </a:lnTo>
                  <a:lnTo>
                    <a:pt x="201" y="13"/>
                  </a:lnTo>
                  <a:lnTo>
                    <a:pt x="212" y="7"/>
                  </a:lnTo>
                  <a:lnTo>
                    <a:pt x="223" y="2"/>
                  </a:lnTo>
                  <a:lnTo>
                    <a:pt x="226" y="2"/>
                  </a:lnTo>
                  <a:lnTo>
                    <a:pt x="240" y="0"/>
                  </a:lnTo>
                  <a:lnTo>
                    <a:pt x="253" y="2"/>
                  </a:lnTo>
                  <a:lnTo>
                    <a:pt x="257" y="2"/>
                  </a:lnTo>
                  <a:lnTo>
                    <a:pt x="269" y="7"/>
                  </a:lnTo>
                  <a:lnTo>
                    <a:pt x="282" y="15"/>
                  </a:lnTo>
                  <a:lnTo>
                    <a:pt x="292" y="23"/>
                  </a:lnTo>
                  <a:lnTo>
                    <a:pt x="300" y="28"/>
                  </a:lnTo>
                  <a:lnTo>
                    <a:pt x="300" y="28"/>
                  </a:lnTo>
                  <a:lnTo>
                    <a:pt x="310" y="35"/>
                  </a:lnTo>
                  <a:lnTo>
                    <a:pt x="319" y="38"/>
                  </a:lnTo>
                  <a:lnTo>
                    <a:pt x="333" y="40"/>
                  </a:lnTo>
                  <a:lnTo>
                    <a:pt x="346" y="38"/>
                  </a:lnTo>
                  <a:lnTo>
                    <a:pt x="355" y="35"/>
                  </a:lnTo>
                  <a:lnTo>
                    <a:pt x="366" y="28"/>
                  </a:lnTo>
                  <a:lnTo>
                    <a:pt x="373" y="23"/>
                  </a:lnTo>
                  <a:lnTo>
                    <a:pt x="383" y="15"/>
                  </a:lnTo>
                  <a:lnTo>
                    <a:pt x="386" y="13"/>
                  </a:lnTo>
                  <a:lnTo>
                    <a:pt x="398" y="7"/>
                  </a:lnTo>
                  <a:lnTo>
                    <a:pt x="410" y="2"/>
                  </a:lnTo>
                  <a:lnTo>
                    <a:pt x="413" y="2"/>
                  </a:lnTo>
                  <a:lnTo>
                    <a:pt x="427" y="0"/>
                  </a:lnTo>
                  <a:lnTo>
                    <a:pt x="439" y="2"/>
                  </a:lnTo>
                  <a:lnTo>
                    <a:pt x="442" y="2"/>
                  </a:lnTo>
                  <a:lnTo>
                    <a:pt x="452" y="8"/>
                  </a:lnTo>
                  <a:lnTo>
                    <a:pt x="456" y="10"/>
                  </a:lnTo>
                  <a:lnTo>
                    <a:pt x="464" y="17"/>
                  </a:lnTo>
                  <a:lnTo>
                    <a:pt x="473" y="23"/>
                  </a:lnTo>
                  <a:lnTo>
                    <a:pt x="460" y="39"/>
                  </a:lnTo>
                  <a:lnTo>
                    <a:pt x="449" y="31"/>
                  </a:lnTo>
                  <a:lnTo>
                    <a:pt x="442" y="26"/>
                  </a:lnTo>
                  <a:lnTo>
                    <a:pt x="436" y="21"/>
                  </a:lnTo>
                  <a:lnTo>
                    <a:pt x="427" y="20"/>
                  </a:lnTo>
                  <a:lnTo>
                    <a:pt x="415" y="22"/>
                  </a:lnTo>
                  <a:lnTo>
                    <a:pt x="405" y="26"/>
                  </a:lnTo>
                  <a:lnTo>
                    <a:pt x="396" y="31"/>
                  </a:lnTo>
                  <a:lnTo>
                    <a:pt x="387" y="38"/>
                  </a:lnTo>
                  <a:lnTo>
                    <a:pt x="374" y="47"/>
                  </a:lnTo>
                  <a:lnTo>
                    <a:pt x="363" y="54"/>
                  </a:lnTo>
                  <a:lnTo>
                    <a:pt x="351" y="58"/>
                  </a:lnTo>
                  <a:lnTo>
                    <a:pt x="346" y="58"/>
                  </a:lnTo>
                  <a:lnTo>
                    <a:pt x="333" y="60"/>
                  </a:lnTo>
                  <a:lnTo>
                    <a:pt x="319" y="58"/>
                  </a:lnTo>
                  <a:lnTo>
                    <a:pt x="315" y="58"/>
                  </a:lnTo>
                  <a:lnTo>
                    <a:pt x="302" y="54"/>
                  </a:lnTo>
                  <a:lnTo>
                    <a:pt x="289" y="45"/>
                  </a:lnTo>
                  <a:lnTo>
                    <a:pt x="278" y="38"/>
                  </a:lnTo>
                  <a:lnTo>
                    <a:pt x="268" y="30"/>
                  </a:lnTo>
                  <a:lnTo>
                    <a:pt x="261" y="26"/>
                  </a:lnTo>
                  <a:lnTo>
                    <a:pt x="251" y="22"/>
                  </a:lnTo>
                  <a:lnTo>
                    <a:pt x="240" y="20"/>
                  </a:lnTo>
                  <a:lnTo>
                    <a:pt x="230" y="22"/>
                  </a:lnTo>
                  <a:lnTo>
                    <a:pt x="220" y="26"/>
                  </a:lnTo>
                  <a:lnTo>
                    <a:pt x="211" y="31"/>
                  </a:lnTo>
                  <a:lnTo>
                    <a:pt x="202" y="38"/>
                  </a:lnTo>
                  <a:lnTo>
                    <a:pt x="190" y="45"/>
                  </a:lnTo>
                  <a:lnTo>
                    <a:pt x="177" y="54"/>
                  </a:lnTo>
                  <a:lnTo>
                    <a:pt x="165" y="58"/>
                  </a:lnTo>
                  <a:lnTo>
                    <a:pt x="160" y="58"/>
                  </a:lnTo>
                  <a:lnTo>
                    <a:pt x="147" y="60"/>
                  </a:lnTo>
                  <a:lnTo>
                    <a:pt x="133" y="58"/>
                  </a:lnTo>
                  <a:lnTo>
                    <a:pt x="129" y="58"/>
                  </a:lnTo>
                  <a:lnTo>
                    <a:pt x="117" y="54"/>
                  </a:lnTo>
                  <a:lnTo>
                    <a:pt x="103" y="45"/>
                  </a:lnTo>
                  <a:lnTo>
                    <a:pt x="92" y="38"/>
                  </a:lnTo>
                  <a:lnTo>
                    <a:pt x="83" y="31"/>
                  </a:lnTo>
                  <a:lnTo>
                    <a:pt x="74" y="26"/>
                  </a:lnTo>
                  <a:lnTo>
                    <a:pt x="64" y="22"/>
                  </a:lnTo>
                  <a:lnTo>
                    <a:pt x="53" y="20"/>
                  </a:lnTo>
                  <a:lnTo>
                    <a:pt x="43" y="22"/>
                  </a:lnTo>
                  <a:lnTo>
                    <a:pt x="32" y="27"/>
                  </a:lnTo>
                  <a:lnTo>
                    <a:pt x="21" y="32"/>
                  </a:lnTo>
                  <a:lnTo>
                    <a:pt x="11" y="40"/>
                  </a:lnTo>
                  <a:lnTo>
                    <a:pt x="0" y="23"/>
                  </a:lnTo>
                  <a:lnTo>
                    <a:pt x="9" y="17"/>
                  </a:lnTo>
                  <a:lnTo>
                    <a:pt x="12" y="14"/>
                  </a:lnTo>
                  <a:lnTo>
                    <a:pt x="24" y="8"/>
                  </a:lnTo>
                  <a:lnTo>
                    <a:pt x="36" y="2"/>
                  </a:lnTo>
                  <a:lnTo>
                    <a:pt x="39" y="2"/>
                  </a:lnTo>
                  <a:lnTo>
                    <a:pt x="53" y="0"/>
                  </a:lnTo>
                  <a:close/>
                </a:path>
              </a:pathLst>
            </a:custGeom>
            <a:solidFill>
              <a:schemeClr val="bg1"/>
            </a:solid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grpSp>
          <p:nvGrpSpPr>
            <p:cNvPr id="37" name="Group 36">
              <a:extLst>
                <a:ext uri="{FF2B5EF4-FFF2-40B4-BE49-F238E27FC236}">
                  <a16:creationId xmlns:a16="http://schemas.microsoft.com/office/drawing/2014/main" id="{E498ADAB-8597-4BFC-AC09-173BB45E8567}"/>
                </a:ext>
              </a:extLst>
            </p:cNvPr>
            <p:cNvGrpSpPr/>
            <p:nvPr/>
          </p:nvGrpSpPr>
          <p:grpSpPr bwMode="gray">
            <a:xfrm>
              <a:off x="3602265" y="1532797"/>
              <a:ext cx="1578889" cy="99318"/>
              <a:chOff x="-1136994" y="1217273"/>
              <a:chExt cx="1578889" cy="99318"/>
            </a:xfrm>
            <a:solidFill>
              <a:schemeClr val="bg1"/>
            </a:solidFill>
          </p:grpSpPr>
          <p:sp>
            <p:nvSpPr>
              <p:cNvPr id="44" name="Freeform 175">
                <a:extLst>
                  <a:ext uri="{FF2B5EF4-FFF2-40B4-BE49-F238E27FC236}">
                    <a16:creationId xmlns:a16="http://schemas.microsoft.com/office/drawing/2014/main" id="{E5B5B5FA-2F4D-4E1D-B7B1-ACF5CA87F937}"/>
                  </a:ext>
                </a:extLst>
              </p:cNvPr>
              <p:cNvSpPr>
                <a:spLocks/>
              </p:cNvSpPr>
              <p:nvPr/>
            </p:nvSpPr>
            <p:spPr bwMode="gray">
              <a:xfrm>
                <a:off x="-308993" y="1221341"/>
                <a:ext cx="750888" cy="95250"/>
              </a:xfrm>
              <a:custGeom>
                <a:avLst/>
                <a:gdLst>
                  <a:gd name="T0" fmla="*/ 66 w 473"/>
                  <a:gd name="T1" fmla="*/ 2 h 60"/>
                  <a:gd name="T2" fmla="*/ 82 w 473"/>
                  <a:gd name="T3" fmla="*/ 7 h 60"/>
                  <a:gd name="T4" fmla="*/ 96 w 473"/>
                  <a:gd name="T5" fmla="*/ 15 h 60"/>
                  <a:gd name="T6" fmla="*/ 114 w 473"/>
                  <a:gd name="T7" fmla="*/ 28 h 60"/>
                  <a:gd name="T8" fmla="*/ 124 w 473"/>
                  <a:gd name="T9" fmla="*/ 35 h 60"/>
                  <a:gd name="T10" fmla="*/ 147 w 473"/>
                  <a:gd name="T11" fmla="*/ 40 h 60"/>
                  <a:gd name="T12" fmla="*/ 169 w 473"/>
                  <a:gd name="T13" fmla="*/ 35 h 60"/>
                  <a:gd name="T14" fmla="*/ 179 w 473"/>
                  <a:gd name="T15" fmla="*/ 28 h 60"/>
                  <a:gd name="T16" fmla="*/ 197 w 473"/>
                  <a:gd name="T17" fmla="*/ 15 h 60"/>
                  <a:gd name="T18" fmla="*/ 212 w 473"/>
                  <a:gd name="T19" fmla="*/ 7 h 60"/>
                  <a:gd name="T20" fmla="*/ 226 w 473"/>
                  <a:gd name="T21" fmla="*/ 2 h 60"/>
                  <a:gd name="T22" fmla="*/ 253 w 473"/>
                  <a:gd name="T23" fmla="*/ 2 h 60"/>
                  <a:gd name="T24" fmla="*/ 269 w 473"/>
                  <a:gd name="T25" fmla="*/ 7 h 60"/>
                  <a:gd name="T26" fmla="*/ 292 w 473"/>
                  <a:gd name="T27" fmla="*/ 23 h 60"/>
                  <a:gd name="T28" fmla="*/ 300 w 473"/>
                  <a:gd name="T29" fmla="*/ 28 h 60"/>
                  <a:gd name="T30" fmla="*/ 319 w 473"/>
                  <a:gd name="T31" fmla="*/ 38 h 60"/>
                  <a:gd name="T32" fmla="*/ 346 w 473"/>
                  <a:gd name="T33" fmla="*/ 38 h 60"/>
                  <a:gd name="T34" fmla="*/ 366 w 473"/>
                  <a:gd name="T35" fmla="*/ 28 h 60"/>
                  <a:gd name="T36" fmla="*/ 383 w 473"/>
                  <a:gd name="T37" fmla="*/ 15 h 60"/>
                  <a:gd name="T38" fmla="*/ 398 w 473"/>
                  <a:gd name="T39" fmla="*/ 7 h 60"/>
                  <a:gd name="T40" fmla="*/ 413 w 473"/>
                  <a:gd name="T41" fmla="*/ 2 h 60"/>
                  <a:gd name="T42" fmla="*/ 439 w 473"/>
                  <a:gd name="T43" fmla="*/ 2 h 60"/>
                  <a:gd name="T44" fmla="*/ 452 w 473"/>
                  <a:gd name="T45" fmla="*/ 8 h 60"/>
                  <a:gd name="T46" fmla="*/ 464 w 473"/>
                  <a:gd name="T47" fmla="*/ 17 h 60"/>
                  <a:gd name="T48" fmla="*/ 460 w 473"/>
                  <a:gd name="T49" fmla="*/ 39 h 60"/>
                  <a:gd name="T50" fmla="*/ 442 w 473"/>
                  <a:gd name="T51" fmla="*/ 26 h 60"/>
                  <a:gd name="T52" fmla="*/ 427 w 473"/>
                  <a:gd name="T53" fmla="*/ 20 h 60"/>
                  <a:gd name="T54" fmla="*/ 405 w 473"/>
                  <a:gd name="T55" fmla="*/ 26 h 60"/>
                  <a:gd name="T56" fmla="*/ 387 w 473"/>
                  <a:gd name="T57" fmla="*/ 38 h 60"/>
                  <a:gd name="T58" fmla="*/ 363 w 473"/>
                  <a:gd name="T59" fmla="*/ 54 h 60"/>
                  <a:gd name="T60" fmla="*/ 346 w 473"/>
                  <a:gd name="T61" fmla="*/ 58 h 60"/>
                  <a:gd name="T62" fmla="*/ 319 w 473"/>
                  <a:gd name="T63" fmla="*/ 58 h 60"/>
                  <a:gd name="T64" fmla="*/ 302 w 473"/>
                  <a:gd name="T65" fmla="*/ 54 h 60"/>
                  <a:gd name="T66" fmla="*/ 278 w 473"/>
                  <a:gd name="T67" fmla="*/ 38 h 60"/>
                  <a:gd name="T68" fmla="*/ 261 w 473"/>
                  <a:gd name="T69" fmla="*/ 26 h 60"/>
                  <a:gd name="T70" fmla="*/ 240 w 473"/>
                  <a:gd name="T71" fmla="*/ 20 h 60"/>
                  <a:gd name="T72" fmla="*/ 220 w 473"/>
                  <a:gd name="T73" fmla="*/ 26 h 60"/>
                  <a:gd name="T74" fmla="*/ 202 w 473"/>
                  <a:gd name="T75" fmla="*/ 38 h 60"/>
                  <a:gd name="T76" fmla="*/ 177 w 473"/>
                  <a:gd name="T77" fmla="*/ 54 h 60"/>
                  <a:gd name="T78" fmla="*/ 160 w 473"/>
                  <a:gd name="T79" fmla="*/ 58 h 60"/>
                  <a:gd name="T80" fmla="*/ 133 w 473"/>
                  <a:gd name="T81" fmla="*/ 58 h 60"/>
                  <a:gd name="T82" fmla="*/ 117 w 473"/>
                  <a:gd name="T83" fmla="*/ 54 h 60"/>
                  <a:gd name="T84" fmla="*/ 92 w 473"/>
                  <a:gd name="T85" fmla="*/ 38 h 60"/>
                  <a:gd name="T86" fmla="*/ 74 w 473"/>
                  <a:gd name="T87" fmla="*/ 26 h 60"/>
                  <a:gd name="T88" fmla="*/ 53 w 473"/>
                  <a:gd name="T89" fmla="*/ 20 h 60"/>
                  <a:gd name="T90" fmla="*/ 32 w 473"/>
                  <a:gd name="T91" fmla="*/ 27 h 60"/>
                  <a:gd name="T92" fmla="*/ 11 w 473"/>
                  <a:gd name="T93" fmla="*/ 40 h 60"/>
                  <a:gd name="T94" fmla="*/ 9 w 473"/>
                  <a:gd name="T95" fmla="*/ 17 h 60"/>
                  <a:gd name="T96" fmla="*/ 24 w 473"/>
                  <a:gd name="T97" fmla="*/ 8 h 60"/>
                  <a:gd name="T98" fmla="*/ 39 w 473"/>
                  <a:gd name="T99"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3" h="60">
                    <a:moveTo>
                      <a:pt x="53" y="0"/>
                    </a:moveTo>
                    <a:lnTo>
                      <a:pt x="66" y="2"/>
                    </a:lnTo>
                    <a:lnTo>
                      <a:pt x="70" y="2"/>
                    </a:lnTo>
                    <a:lnTo>
                      <a:pt x="82" y="7"/>
                    </a:lnTo>
                    <a:lnTo>
                      <a:pt x="93" y="13"/>
                    </a:lnTo>
                    <a:lnTo>
                      <a:pt x="96" y="15"/>
                    </a:lnTo>
                    <a:lnTo>
                      <a:pt x="107" y="23"/>
                    </a:lnTo>
                    <a:lnTo>
                      <a:pt x="114" y="28"/>
                    </a:lnTo>
                    <a:lnTo>
                      <a:pt x="114" y="28"/>
                    </a:lnTo>
                    <a:lnTo>
                      <a:pt x="124" y="35"/>
                    </a:lnTo>
                    <a:lnTo>
                      <a:pt x="133" y="38"/>
                    </a:lnTo>
                    <a:lnTo>
                      <a:pt x="147" y="40"/>
                    </a:lnTo>
                    <a:lnTo>
                      <a:pt x="160" y="38"/>
                    </a:lnTo>
                    <a:lnTo>
                      <a:pt x="169" y="35"/>
                    </a:lnTo>
                    <a:lnTo>
                      <a:pt x="179" y="28"/>
                    </a:lnTo>
                    <a:lnTo>
                      <a:pt x="179" y="28"/>
                    </a:lnTo>
                    <a:lnTo>
                      <a:pt x="187" y="23"/>
                    </a:lnTo>
                    <a:lnTo>
                      <a:pt x="197" y="15"/>
                    </a:lnTo>
                    <a:lnTo>
                      <a:pt x="201" y="13"/>
                    </a:lnTo>
                    <a:lnTo>
                      <a:pt x="212" y="7"/>
                    </a:lnTo>
                    <a:lnTo>
                      <a:pt x="223" y="2"/>
                    </a:lnTo>
                    <a:lnTo>
                      <a:pt x="226" y="2"/>
                    </a:lnTo>
                    <a:lnTo>
                      <a:pt x="240" y="0"/>
                    </a:lnTo>
                    <a:lnTo>
                      <a:pt x="253" y="2"/>
                    </a:lnTo>
                    <a:lnTo>
                      <a:pt x="257" y="2"/>
                    </a:lnTo>
                    <a:lnTo>
                      <a:pt x="269" y="7"/>
                    </a:lnTo>
                    <a:lnTo>
                      <a:pt x="282" y="15"/>
                    </a:lnTo>
                    <a:lnTo>
                      <a:pt x="292" y="23"/>
                    </a:lnTo>
                    <a:lnTo>
                      <a:pt x="300" y="28"/>
                    </a:lnTo>
                    <a:lnTo>
                      <a:pt x="300" y="28"/>
                    </a:lnTo>
                    <a:lnTo>
                      <a:pt x="310" y="35"/>
                    </a:lnTo>
                    <a:lnTo>
                      <a:pt x="319" y="38"/>
                    </a:lnTo>
                    <a:lnTo>
                      <a:pt x="333" y="40"/>
                    </a:lnTo>
                    <a:lnTo>
                      <a:pt x="346" y="38"/>
                    </a:lnTo>
                    <a:lnTo>
                      <a:pt x="355" y="35"/>
                    </a:lnTo>
                    <a:lnTo>
                      <a:pt x="366" y="28"/>
                    </a:lnTo>
                    <a:lnTo>
                      <a:pt x="373" y="23"/>
                    </a:lnTo>
                    <a:lnTo>
                      <a:pt x="383" y="15"/>
                    </a:lnTo>
                    <a:lnTo>
                      <a:pt x="386" y="13"/>
                    </a:lnTo>
                    <a:lnTo>
                      <a:pt x="398" y="7"/>
                    </a:lnTo>
                    <a:lnTo>
                      <a:pt x="410" y="2"/>
                    </a:lnTo>
                    <a:lnTo>
                      <a:pt x="413" y="2"/>
                    </a:lnTo>
                    <a:lnTo>
                      <a:pt x="427" y="0"/>
                    </a:lnTo>
                    <a:lnTo>
                      <a:pt x="439" y="2"/>
                    </a:lnTo>
                    <a:lnTo>
                      <a:pt x="442" y="2"/>
                    </a:lnTo>
                    <a:lnTo>
                      <a:pt x="452" y="8"/>
                    </a:lnTo>
                    <a:lnTo>
                      <a:pt x="456" y="10"/>
                    </a:lnTo>
                    <a:lnTo>
                      <a:pt x="464" y="17"/>
                    </a:lnTo>
                    <a:lnTo>
                      <a:pt x="473" y="23"/>
                    </a:lnTo>
                    <a:lnTo>
                      <a:pt x="460" y="39"/>
                    </a:lnTo>
                    <a:lnTo>
                      <a:pt x="449" y="31"/>
                    </a:lnTo>
                    <a:lnTo>
                      <a:pt x="442" y="26"/>
                    </a:lnTo>
                    <a:lnTo>
                      <a:pt x="436" y="21"/>
                    </a:lnTo>
                    <a:lnTo>
                      <a:pt x="427" y="20"/>
                    </a:lnTo>
                    <a:lnTo>
                      <a:pt x="415" y="22"/>
                    </a:lnTo>
                    <a:lnTo>
                      <a:pt x="405" y="26"/>
                    </a:lnTo>
                    <a:lnTo>
                      <a:pt x="396" y="31"/>
                    </a:lnTo>
                    <a:lnTo>
                      <a:pt x="387" y="38"/>
                    </a:lnTo>
                    <a:lnTo>
                      <a:pt x="374" y="47"/>
                    </a:lnTo>
                    <a:lnTo>
                      <a:pt x="363" y="54"/>
                    </a:lnTo>
                    <a:lnTo>
                      <a:pt x="351" y="58"/>
                    </a:lnTo>
                    <a:lnTo>
                      <a:pt x="346" y="58"/>
                    </a:lnTo>
                    <a:lnTo>
                      <a:pt x="333" y="60"/>
                    </a:lnTo>
                    <a:lnTo>
                      <a:pt x="319" y="58"/>
                    </a:lnTo>
                    <a:lnTo>
                      <a:pt x="315" y="58"/>
                    </a:lnTo>
                    <a:lnTo>
                      <a:pt x="302" y="54"/>
                    </a:lnTo>
                    <a:lnTo>
                      <a:pt x="289" y="45"/>
                    </a:lnTo>
                    <a:lnTo>
                      <a:pt x="278" y="38"/>
                    </a:lnTo>
                    <a:lnTo>
                      <a:pt x="268" y="30"/>
                    </a:lnTo>
                    <a:lnTo>
                      <a:pt x="261" y="26"/>
                    </a:lnTo>
                    <a:lnTo>
                      <a:pt x="251" y="22"/>
                    </a:lnTo>
                    <a:lnTo>
                      <a:pt x="240" y="20"/>
                    </a:lnTo>
                    <a:lnTo>
                      <a:pt x="230" y="22"/>
                    </a:lnTo>
                    <a:lnTo>
                      <a:pt x="220" y="26"/>
                    </a:lnTo>
                    <a:lnTo>
                      <a:pt x="211" y="31"/>
                    </a:lnTo>
                    <a:lnTo>
                      <a:pt x="202" y="38"/>
                    </a:lnTo>
                    <a:lnTo>
                      <a:pt x="190" y="45"/>
                    </a:lnTo>
                    <a:lnTo>
                      <a:pt x="177" y="54"/>
                    </a:lnTo>
                    <a:lnTo>
                      <a:pt x="165" y="58"/>
                    </a:lnTo>
                    <a:lnTo>
                      <a:pt x="160" y="58"/>
                    </a:lnTo>
                    <a:lnTo>
                      <a:pt x="147" y="60"/>
                    </a:lnTo>
                    <a:lnTo>
                      <a:pt x="133" y="58"/>
                    </a:lnTo>
                    <a:lnTo>
                      <a:pt x="129" y="58"/>
                    </a:lnTo>
                    <a:lnTo>
                      <a:pt x="117" y="54"/>
                    </a:lnTo>
                    <a:lnTo>
                      <a:pt x="103" y="45"/>
                    </a:lnTo>
                    <a:lnTo>
                      <a:pt x="92" y="38"/>
                    </a:lnTo>
                    <a:lnTo>
                      <a:pt x="83" y="31"/>
                    </a:lnTo>
                    <a:lnTo>
                      <a:pt x="74" y="26"/>
                    </a:lnTo>
                    <a:lnTo>
                      <a:pt x="64" y="22"/>
                    </a:lnTo>
                    <a:lnTo>
                      <a:pt x="53" y="20"/>
                    </a:lnTo>
                    <a:lnTo>
                      <a:pt x="43" y="22"/>
                    </a:lnTo>
                    <a:lnTo>
                      <a:pt x="32" y="27"/>
                    </a:lnTo>
                    <a:lnTo>
                      <a:pt x="21" y="32"/>
                    </a:lnTo>
                    <a:lnTo>
                      <a:pt x="11" y="40"/>
                    </a:lnTo>
                    <a:lnTo>
                      <a:pt x="0" y="23"/>
                    </a:lnTo>
                    <a:lnTo>
                      <a:pt x="9" y="17"/>
                    </a:lnTo>
                    <a:lnTo>
                      <a:pt x="12" y="14"/>
                    </a:lnTo>
                    <a:lnTo>
                      <a:pt x="24" y="8"/>
                    </a:lnTo>
                    <a:lnTo>
                      <a:pt x="36" y="2"/>
                    </a:lnTo>
                    <a:lnTo>
                      <a:pt x="39" y="2"/>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45" name="Freeform 176">
                <a:extLst>
                  <a:ext uri="{FF2B5EF4-FFF2-40B4-BE49-F238E27FC236}">
                    <a16:creationId xmlns:a16="http://schemas.microsoft.com/office/drawing/2014/main" id="{484F4935-EF85-4B83-9930-BAA83F7F9CE9}"/>
                  </a:ext>
                </a:extLst>
              </p:cNvPr>
              <p:cNvSpPr>
                <a:spLocks/>
              </p:cNvSpPr>
              <p:nvPr/>
            </p:nvSpPr>
            <p:spPr bwMode="gray">
              <a:xfrm>
                <a:off x="-1136994" y="1217273"/>
                <a:ext cx="750888" cy="98425"/>
              </a:xfrm>
              <a:custGeom>
                <a:avLst/>
                <a:gdLst>
                  <a:gd name="T0" fmla="*/ 66 w 473"/>
                  <a:gd name="T1" fmla="*/ 3 h 62"/>
                  <a:gd name="T2" fmla="*/ 82 w 473"/>
                  <a:gd name="T3" fmla="*/ 7 h 62"/>
                  <a:gd name="T4" fmla="*/ 96 w 473"/>
                  <a:gd name="T5" fmla="*/ 16 h 62"/>
                  <a:gd name="T6" fmla="*/ 118 w 473"/>
                  <a:gd name="T7" fmla="*/ 32 h 62"/>
                  <a:gd name="T8" fmla="*/ 133 w 473"/>
                  <a:gd name="T9" fmla="*/ 39 h 62"/>
                  <a:gd name="T10" fmla="*/ 160 w 473"/>
                  <a:gd name="T11" fmla="*/ 39 h 62"/>
                  <a:gd name="T12" fmla="*/ 176 w 473"/>
                  <a:gd name="T13" fmla="*/ 32 h 62"/>
                  <a:gd name="T14" fmla="*/ 197 w 473"/>
                  <a:gd name="T15" fmla="*/ 16 h 62"/>
                  <a:gd name="T16" fmla="*/ 212 w 473"/>
                  <a:gd name="T17" fmla="*/ 7 h 62"/>
                  <a:gd name="T18" fmla="*/ 226 w 473"/>
                  <a:gd name="T19" fmla="*/ 3 h 62"/>
                  <a:gd name="T20" fmla="*/ 253 w 473"/>
                  <a:gd name="T21" fmla="*/ 3 h 62"/>
                  <a:gd name="T22" fmla="*/ 269 w 473"/>
                  <a:gd name="T23" fmla="*/ 7 h 62"/>
                  <a:gd name="T24" fmla="*/ 292 w 473"/>
                  <a:gd name="T25" fmla="*/ 24 h 62"/>
                  <a:gd name="T26" fmla="*/ 310 w 473"/>
                  <a:gd name="T27" fmla="*/ 36 h 62"/>
                  <a:gd name="T28" fmla="*/ 333 w 473"/>
                  <a:gd name="T29" fmla="*/ 42 h 62"/>
                  <a:gd name="T30" fmla="*/ 355 w 473"/>
                  <a:gd name="T31" fmla="*/ 36 h 62"/>
                  <a:gd name="T32" fmla="*/ 383 w 473"/>
                  <a:gd name="T33" fmla="*/ 16 h 62"/>
                  <a:gd name="T34" fmla="*/ 398 w 473"/>
                  <a:gd name="T35" fmla="*/ 7 h 62"/>
                  <a:gd name="T36" fmla="*/ 413 w 473"/>
                  <a:gd name="T37" fmla="*/ 3 h 62"/>
                  <a:gd name="T38" fmla="*/ 439 w 473"/>
                  <a:gd name="T39" fmla="*/ 3 h 62"/>
                  <a:gd name="T40" fmla="*/ 452 w 473"/>
                  <a:gd name="T41" fmla="*/ 8 h 62"/>
                  <a:gd name="T42" fmla="*/ 464 w 473"/>
                  <a:gd name="T43" fmla="*/ 17 h 62"/>
                  <a:gd name="T44" fmla="*/ 460 w 473"/>
                  <a:gd name="T45" fmla="*/ 39 h 62"/>
                  <a:gd name="T46" fmla="*/ 442 w 473"/>
                  <a:gd name="T47" fmla="*/ 26 h 62"/>
                  <a:gd name="T48" fmla="*/ 427 w 473"/>
                  <a:gd name="T49" fmla="*/ 20 h 62"/>
                  <a:gd name="T50" fmla="*/ 405 w 473"/>
                  <a:gd name="T51" fmla="*/ 26 h 62"/>
                  <a:gd name="T52" fmla="*/ 377 w 473"/>
                  <a:gd name="T53" fmla="*/ 46 h 62"/>
                  <a:gd name="T54" fmla="*/ 363 w 473"/>
                  <a:gd name="T55" fmla="*/ 55 h 62"/>
                  <a:gd name="T56" fmla="*/ 346 w 473"/>
                  <a:gd name="T57" fmla="*/ 60 h 62"/>
                  <a:gd name="T58" fmla="*/ 319 w 473"/>
                  <a:gd name="T59" fmla="*/ 60 h 62"/>
                  <a:gd name="T60" fmla="*/ 302 w 473"/>
                  <a:gd name="T61" fmla="*/ 55 h 62"/>
                  <a:gd name="T62" fmla="*/ 278 w 473"/>
                  <a:gd name="T63" fmla="*/ 38 h 62"/>
                  <a:gd name="T64" fmla="*/ 261 w 473"/>
                  <a:gd name="T65" fmla="*/ 26 h 62"/>
                  <a:gd name="T66" fmla="*/ 240 w 473"/>
                  <a:gd name="T67" fmla="*/ 20 h 62"/>
                  <a:gd name="T68" fmla="*/ 220 w 473"/>
                  <a:gd name="T69" fmla="*/ 26 h 62"/>
                  <a:gd name="T70" fmla="*/ 202 w 473"/>
                  <a:gd name="T71" fmla="*/ 38 h 62"/>
                  <a:gd name="T72" fmla="*/ 177 w 473"/>
                  <a:gd name="T73" fmla="*/ 55 h 62"/>
                  <a:gd name="T74" fmla="*/ 160 w 473"/>
                  <a:gd name="T75" fmla="*/ 60 h 62"/>
                  <a:gd name="T76" fmla="*/ 133 w 473"/>
                  <a:gd name="T77" fmla="*/ 60 h 62"/>
                  <a:gd name="T78" fmla="*/ 117 w 473"/>
                  <a:gd name="T79" fmla="*/ 55 h 62"/>
                  <a:gd name="T80" fmla="*/ 92 w 473"/>
                  <a:gd name="T81" fmla="*/ 38 h 62"/>
                  <a:gd name="T82" fmla="*/ 74 w 473"/>
                  <a:gd name="T83" fmla="*/ 26 h 62"/>
                  <a:gd name="T84" fmla="*/ 53 w 473"/>
                  <a:gd name="T85" fmla="*/ 20 h 62"/>
                  <a:gd name="T86" fmla="*/ 32 w 473"/>
                  <a:gd name="T87" fmla="*/ 27 h 62"/>
                  <a:gd name="T88" fmla="*/ 12 w 473"/>
                  <a:gd name="T89" fmla="*/ 41 h 62"/>
                  <a:gd name="T90" fmla="*/ 9 w 473"/>
                  <a:gd name="T91" fmla="*/ 17 h 62"/>
                  <a:gd name="T92" fmla="*/ 24 w 473"/>
                  <a:gd name="T93" fmla="*/ 8 h 62"/>
                  <a:gd name="T94" fmla="*/ 39 w 473"/>
                  <a:gd name="T95" fmla="*/ 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3" h="62">
                    <a:moveTo>
                      <a:pt x="53" y="0"/>
                    </a:moveTo>
                    <a:lnTo>
                      <a:pt x="66" y="3"/>
                    </a:lnTo>
                    <a:lnTo>
                      <a:pt x="70" y="3"/>
                    </a:lnTo>
                    <a:lnTo>
                      <a:pt x="82" y="7"/>
                    </a:lnTo>
                    <a:lnTo>
                      <a:pt x="93" y="14"/>
                    </a:lnTo>
                    <a:lnTo>
                      <a:pt x="96" y="16"/>
                    </a:lnTo>
                    <a:lnTo>
                      <a:pt x="107" y="24"/>
                    </a:lnTo>
                    <a:lnTo>
                      <a:pt x="118" y="32"/>
                    </a:lnTo>
                    <a:lnTo>
                      <a:pt x="124" y="36"/>
                    </a:lnTo>
                    <a:lnTo>
                      <a:pt x="133" y="39"/>
                    </a:lnTo>
                    <a:lnTo>
                      <a:pt x="147" y="42"/>
                    </a:lnTo>
                    <a:lnTo>
                      <a:pt x="160" y="39"/>
                    </a:lnTo>
                    <a:lnTo>
                      <a:pt x="169" y="36"/>
                    </a:lnTo>
                    <a:lnTo>
                      <a:pt x="176" y="32"/>
                    </a:lnTo>
                    <a:lnTo>
                      <a:pt x="187" y="24"/>
                    </a:lnTo>
                    <a:lnTo>
                      <a:pt x="197" y="16"/>
                    </a:lnTo>
                    <a:lnTo>
                      <a:pt x="201" y="14"/>
                    </a:lnTo>
                    <a:lnTo>
                      <a:pt x="212" y="7"/>
                    </a:lnTo>
                    <a:lnTo>
                      <a:pt x="223" y="3"/>
                    </a:lnTo>
                    <a:lnTo>
                      <a:pt x="226" y="3"/>
                    </a:lnTo>
                    <a:lnTo>
                      <a:pt x="240" y="0"/>
                    </a:lnTo>
                    <a:lnTo>
                      <a:pt x="253" y="3"/>
                    </a:lnTo>
                    <a:lnTo>
                      <a:pt x="257" y="3"/>
                    </a:lnTo>
                    <a:lnTo>
                      <a:pt x="269" y="7"/>
                    </a:lnTo>
                    <a:lnTo>
                      <a:pt x="282" y="16"/>
                    </a:lnTo>
                    <a:lnTo>
                      <a:pt x="292" y="24"/>
                    </a:lnTo>
                    <a:lnTo>
                      <a:pt x="304" y="32"/>
                    </a:lnTo>
                    <a:lnTo>
                      <a:pt x="310" y="36"/>
                    </a:lnTo>
                    <a:lnTo>
                      <a:pt x="319" y="39"/>
                    </a:lnTo>
                    <a:lnTo>
                      <a:pt x="333" y="42"/>
                    </a:lnTo>
                    <a:lnTo>
                      <a:pt x="346" y="39"/>
                    </a:lnTo>
                    <a:lnTo>
                      <a:pt x="355" y="36"/>
                    </a:lnTo>
                    <a:lnTo>
                      <a:pt x="364" y="31"/>
                    </a:lnTo>
                    <a:lnTo>
                      <a:pt x="383" y="16"/>
                    </a:lnTo>
                    <a:lnTo>
                      <a:pt x="386" y="14"/>
                    </a:lnTo>
                    <a:lnTo>
                      <a:pt x="398" y="7"/>
                    </a:lnTo>
                    <a:lnTo>
                      <a:pt x="410" y="3"/>
                    </a:lnTo>
                    <a:lnTo>
                      <a:pt x="413" y="3"/>
                    </a:lnTo>
                    <a:lnTo>
                      <a:pt x="427" y="0"/>
                    </a:lnTo>
                    <a:lnTo>
                      <a:pt x="439" y="3"/>
                    </a:lnTo>
                    <a:lnTo>
                      <a:pt x="442" y="3"/>
                    </a:lnTo>
                    <a:lnTo>
                      <a:pt x="452" y="8"/>
                    </a:lnTo>
                    <a:lnTo>
                      <a:pt x="456" y="10"/>
                    </a:lnTo>
                    <a:lnTo>
                      <a:pt x="464" y="17"/>
                    </a:lnTo>
                    <a:lnTo>
                      <a:pt x="473" y="24"/>
                    </a:lnTo>
                    <a:lnTo>
                      <a:pt x="460" y="39"/>
                    </a:lnTo>
                    <a:lnTo>
                      <a:pt x="449" y="32"/>
                    </a:lnTo>
                    <a:lnTo>
                      <a:pt x="442" y="26"/>
                    </a:lnTo>
                    <a:lnTo>
                      <a:pt x="436" y="22"/>
                    </a:lnTo>
                    <a:lnTo>
                      <a:pt x="427" y="20"/>
                    </a:lnTo>
                    <a:lnTo>
                      <a:pt x="415" y="23"/>
                    </a:lnTo>
                    <a:lnTo>
                      <a:pt x="405" y="26"/>
                    </a:lnTo>
                    <a:lnTo>
                      <a:pt x="396" y="32"/>
                    </a:lnTo>
                    <a:lnTo>
                      <a:pt x="377" y="46"/>
                    </a:lnTo>
                    <a:lnTo>
                      <a:pt x="374" y="48"/>
                    </a:lnTo>
                    <a:lnTo>
                      <a:pt x="363" y="55"/>
                    </a:lnTo>
                    <a:lnTo>
                      <a:pt x="351" y="60"/>
                    </a:lnTo>
                    <a:lnTo>
                      <a:pt x="346" y="60"/>
                    </a:lnTo>
                    <a:lnTo>
                      <a:pt x="333" y="62"/>
                    </a:lnTo>
                    <a:lnTo>
                      <a:pt x="319" y="60"/>
                    </a:lnTo>
                    <a:lnTo>
                      <a:pt x="315" y="60"/>
                    </a:lnTo>
                    <a:lnTo>
                      <a:pt x="302" y="55"/>
                    </a:lnTo>
                    <a:lnTo>
                      <a:pt x="289" y="46"/>
                    </a:lnTo>
                    <a:lnTo>
                      <a:pt x="278" y="38"/>
                    </a:lnTo>
                    <a:lnTo>
                      <a:pt x="268" y="31"/>
                    </a:lnTo>
                    <a:lnTo>
                      <a:pt x="261" y="26"/>
                    </a:lnTo>
                    <a:lnTo>
                      <a:pt x="251" y="23"/>
                    </a:lnTo>
                    <a:lnTo>
                      <a:pt x="240" y="20"/>
                    </a:lnTo>
                    <a:lnTo>
                      <a:pt x="230" y="23"/>
                    </a:lnTo>
                    <a:lnTo>
                      <a:pt x="220" y="26"/>
                    </a:lnTo>
                    <a:lnTo>
                      <a:pt x="211" y="32"/>
                    </a:lnTo>
                    <a:lnTo>
                      <a:pt x="202" y="38"/>
                    </a:lnTo>
                    <a:lnTo>
                      <a:pt x="190" y="46"/>
                    </a:lnTo>
                    <a:lnTo>
                      <a:pt x="177" y="55"/>
                    </a:lnTo>
                    <a:lnTo>
                      <a:pt x="165" y="60"/>
                    </a:lnTo>
                    <a:lnTo>
                      <a:pt x="160" y="60"/>
                    </a:lnTo>
                    <a:lnTo>
                      <a:pt x="147" y="62"/>
                    </a:lnTo>
                    <a:lnTo>
                      <a:pt x="133" y="60"/>
                    </a:lnTo>
                    <a:lnTo>
                      <a:pt x="129" y="60"/>
                    </a:lnTo>
                    <a:lnTo>
                      <a:pt x="117" y="55"/>
                    </a:lnTo>
                    <a:lnTo>
                      <a:pt x="103" y="46"/>
                    </a:lnTo>
                    <a:lnTo>
                      <a:pt x="92" y="38"/>
                    </a:lnTo>
                    <a:lnTo>
                      <a:pt x="83" y="32"/>
                    </a:lnTo>
                    <a:lnTo>
                      <a:pt x="74" y="26"/>
                    </a:lnTo>
                    <a:lnTo>
                      <a:pt x="64" y="23"/>
                    </a:lnTo>
                    <a:lnTo>
                      <a:pt x="53" y="20"/>
                    </a:lnTo>
                    <a:lnTo>
                      <a:pt x="43" y="23"/>
                    </a:lnTo>
                    <a:lnTo>
                      <a:pt x="32" y="27"/>
                    </a:lnTo>
                    <a:lnTo>
                      <a:pt x="23" y="33"/>
                    </a:lnTo>
                    <a:lnTo>
                      <a:pt x="12" y="41"/>
                    </a:lnTo>
                    <a:lnTo>
                      <a:pt x="0" y="25"/>
                    </a:lnTo>
                    <a:lnTo>
                      <a:pt x="9" y="17"/>
                    </a:lnTo>
                    <a:lnTo>
                      <a:pt x="12" y="15"/>
                    </a:lnTo>
                    <a:lnTo>
                      <a:pt x="24" y="8"/>
                    </a:lnTo>
                    <a:lnTo>
                      <a:pt x="36" y="3"/>
                    </a:lnTo>
                    <a:lnTo>
                      <a:pt x="39" y="3"/>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grpSp>
        <p:grpSp>
          <p:nvGrpSpPr>
            <p:cNvPr id="38" name="Group 37">
              <a:extLst>
                <a:ext uri="{FF2B5EF4-FFF2-40B4-BE49-F238E27FC236}">
                  <a16:creationId xmlns:a16="http://schemas.microsoft.com/office/drawing/2014/main" id="{EA574311-07D3-4E02-926C-024CFF49D1B9}"/>
                </a:ext>
              </a:extLst>
            </p:cNvPr>
            <p:cNvGrpSpPr/>
            <p:nvPr/>
          </p:nvGrpSpPr>
          <p:grpSpPr bwMode="gray">
            <a:xfrm>
              <a:off x="5296311" y="1532797"/>
              <a:ext cx="1578889" cy="99318"/>
              <a:chOff x="-1136994" y="1217273"/>
              <a:chExt cx="1578889" cy="99318"/>
            </a:xfrm>
            <a:solidFill>
              <a:schemeClr val="bg1"/>
            </a:solidFill>
          </p:grpSpPr>
          <p:sp>
            <p:nvSpPr>
              <p:cNvPr id="42" name="Freeform 175">
                <a:extLst>
                  <a:ext uri="{FF2B5EF4-FFF2-40B4-BE49-F238E27FC236}">
                    <a16:creationId xmlns:a16="http://schemas.microsoft.com/office/drawing/2014/main" id="{C0DD9638-5DBA-48DA-9817-549EEF03FC7C}"/>
                  </a:ext>
                </a:extLst>
              </p:cNvPr>
              <p:cNvSpPr>
                <a:spLocks/>
              </p:cNvSpPr>
              <p:nvPr/>
            </p:nvSpPr>
            <p:spPr bwMode="gray">
              <a:xfrm>
                <a:off x="-308993" y="1221341"/>
                <a:ext cx="750888" cy="95250"/>
              </a:xfrm>
              <a:custGeom>
                <a:avLst/>
                <a:gdLst>
                  <a:gd name="T0" fmla="*/ 66 w 473"/>
                  <a:gd name="T1" fmla="*/ 2 h 60"/>
                  <a:gd name="T2" fmla="*/ 82 w 473"/>
                  <a:gd name="T3" fmla="*/ 7 h 60"/>
                  <a:gd name="T4" fmla="*/ 96 w 473"/>
                  <a:gd name="T5" fmla="*/ 15 h 60"/>
                  <a:gd name="T6" fmla="*/ 114 w 473"/>
                  <a:gd name="T7" fmla="*/ 28 h 60"/>
                  <a:gd name="T8" fmla="*/ 124 w 473"/>
                  <a:gd name="T9" fmla="*/ 35 h 60"/>
                  <a:gd name="T10" fmla="*/ 147 w 473"/>
                  <a:gd name="T11" fmla="*/ 40 h 60"/>
                  <a:gd name="T12" fmla="*/ 169 w 473"/>
                  <a:gd name="T13" fmla="*/ 35 h 60"/>
                  <a:gd name="T14" fmla="*/ 179 w 473"/>
                  <a:gd name="T15" fmla="*/ 28 h 60"/>
                  <a:gd name="T16" fmla="*/ 197 w 473"/>
                  <a:gd name="T17" fmla="*/ 15 h 60"/>
                  <a:gd name="T18" fmla="*/ 212 w 473"/>
                  <a:gd name="T19" fmla="*/ 7 h 60"/>
                  <a:gd name="T20" fmla="*/ 226 w 473"/>
                  <a:gd name="T21" fmla="*/ 2 h 60"/>
                  <a:gd name="T22" fmla="*/ 253 w 473"/>
                  <a:gd name="T23" fmla="*/ 2 h 60"/>
                  <a:gd name="T24" fmla="*/ 269 w 473"/>
                  <a:gd name="T25" fmla="*/ 7 h 60"/>
                  <a:gd name="T26" fmla="*/ 292 w 473"/>
                  <a:gd name="T27" fmla="*/ 23 h 60"/>
                  <a:gd name="T28" fmla="*/ 300 w 473"/>
                  <a:gd name="T29" fmla="*/ 28 h 60"/>
                  <a:gd name="T30" fmla="*/ 319 w 473"/>
                  <a:gd name="T31" fmla="*/ 38 h 60"/>
                  <a:gd name="T32" fmla="*/ 346 w 473"/>
                  <a:gd name="T33" fmla="*/ 38 h 60"/>
                  <a:gd name="T34" fmla="*/ 366 w 473"/>
                  <a:gd name="T35" fmla="*/ 28 h 60"/>
                  <a:gd name="T36" fmla="*/ 383 w 473"/>
                  <a:gd name="T37" fmla="*/ 15 h 60"/>
                  <a:gd name="T38" fmla="*/ 398 w 473"/>
                  <a:gd name="T39" fmla="*/ 7 h 60"/>
                  <a:gd name="T40" fmla="*/ 413 w 473"/>
                  <a:gd name="T41" fmla="*/ 2 h 60"/>
                  <a:gd name="T42" fmla="*/ 439 w 473"/>
                  <a:gd name="T43" fmla="*/ 2 h 60"/>
                  <a:gd name="T44" fmla="*/ 452 w 473"/>
                  <a:gd name="T45" fmla="*/ 8 h 60"/>
                  <a:gd name="T46" fmla="*/ 464 w 473"/>
                  <a:gd name="T47" fmla="*/ 17 h 60"/>
                  <a:gd name="T48" fmla="*/ 460 w 473"/>
                  <a:gd name="T49" fmla="*/ 39 h 60"/>
                  <a:gd name="T50" fmla="*/ 442 w 473"/>
                  <a:gd name="T51" fmla="*/ 26 h 60"/>
                  <a:gd name="T52" fmla="*/ 427 w 473"/>
                  <a:gd name="T53" fmla="*/ 20 h 60"/>
                  <a:gd name="T54" fmla="*/ 405 w 473"/>
                  <a:gd name="T55" fmla="*/ 26 h 60"/>
                  <a:gd name="T56" fmla="*/ 387 w 473"/>
                  <a:gd name="T57" fmla="*/ 38 h 60"/>
                  <a:gd name="T58" fmla="*/ 363 w 473"/>
                  <a:gd name="T59" fmla="*/ 54 h 60"/>
                  <a:gd name="T60" fmla="*/ 346 w 473"/>
                  <a:gd name="T61" fmla="*/ 58 h 60"/>
                  <a:gd name="T62" fmla="*/ 319 w 473"/>
                  <a:gd name="T63" fmla="*/ 58 h 60"/>
                  <a:gd name="T64" fmla="*/ 302 w 473"/>
                  <a:gd name="T65" fmla="*/ 54 h 60"/>
                  <a:gd name="T66" fmla="*/ 278 w 473"/>
                  <a:gd name="T67" fmla="*/ 38 h 60"/>
                  <a:gd name="T68" fmla="*/ 261 w 473"/>
                  <a:gd name="T69" fmla="*/ 26 h 60"/>
                  <a:gd name="T70" fmla="*/ 240 w 473"/>
                  <a:gd name="T71" fmla="*/ 20 h 60"/>
                  <a:gd name="T72" fmla="*/ 220 w 473"/>
                  <a:gd name="T73" fmla="*/ 26 h 60"/>
                  <a:gd name="T74" fmla="*/ 202 w 473"/>
                  <a:gd name="T75" fmla="*/ 38 h 60"/>
                  <a:gd name="T76" fmla="*/ 177 w 473"/>
                  <a:gd name="T77" fmla="*/ 54 h 60"/>
                  <a:gd name="T78" fmla="*/ 160 w 473"/>
                  <a:gd name="T79" fmla="*/ 58 h 60"/>
                  <a:gd name="T80" fmla="*/ 133 w 473"/>
                  <a:gd name="T81" fmla="*/ 58 h 60"/>
                  <a:gd name="T82" fmla="*/ 117 w 473"/>
                  <a:gd name="T83" fmla="*/ 54 h 60"/>
                  <a:gd name="T84" fmla="*/ 92 w 473"/>
                  <a:gd name="T85" fmla="*/ 38 h 60"/>
                  <a:gd name="T86" fmla="*/ 74 w 473"/>
                  <a:gd name="T87" fmla="*/ 26 h 60"/>
                  <a:gd name="T88" fmla="*/ 53 w 473"/>
                  <a:gd name="T89" fmla="*/ 20 h 60"/>
                  <a:gd name="T90" fmla="*/ 32 w 473"/>
                  <a:gd name="T91" fmla="*/ 27 h 60"/>
                  <a:gd name="T92" fmla="*/ 11 w 473"/>
                  <a:gd name="T93" fmla="*/ 40 h 60"/>
                  <a:gd name="T94" fmla="*/ 9 w 473"/>
                  <a:gd name="T95" fmla="*/ 17 h 60"/>
                  <a:gd name="T96" fmla="*/ 24 w 473"/>
                  <a:gd name="T97" fmla="*/ 8 h 60"/>
                  <a:gd name="T98" fmla="*/ 39 w 473"/>
                  <a:gd name="T99"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3" h="60">
                    <a:moveTo>
                      <a:pt x="53" y="0"/>
                    </a:moveTo>
                    <a:lnTo>
                      <a:pt x="66" y="2"/>
                    </a:lnTo>
                    <a:lnTo>
                      <a:pt x="70" y="2"/>
                    </a:lnTo>
                    <a:lnTo>
                      <a:pt x="82" y="7"/>
                    </a:lnTo>
                    <a:lnTo>
                      <a:pt x="93" y="13"/>
                    </a:lnTo>
                    <a:lnTo>
                      <a:pt x="96" y="15"/>
                    </a:lnTo>
                    <a:lnTo>
                      <a:pt x="107" y="23"/>
                    </a:lnTo>
                    <a:lnTo>
                      <a:pt x="114" y="28"/>
                    </a:lnTo>
                    <a:lnTo>
                      <a:pt x="114" y="28"/>
                    </a:lnTo>
                    <a:lnTo>
                      <a:pt x="124" y="35"/>
                    </a:lnTo>
                    <a:lnTo>
                      <a:pt x="133" y="38"/>
                    </a:lnTo>
                    <a:lnTo>
                      <a:pt x="147" y="40"/>
                    </a:lnTo>
                    <a:lnTo>
                      <a:pt x="160" y="38"/>
                    </a:lnTo>
                    <a:lnTo>
                      <a:pt x="169" y="35"/>
                    </a:lnTo>
                    <a:lnTo>
                      <a:pt x="179" y="28"/>
                    </a:lnTo>
                    <a:lnTo>
                      <a:pt x="179" y="28"/>
                    </a:lnTo>
                    <a:lnTo>
                      <a:pt x="187" y="23"/>
                    </a:lnTo>
                    <a:lnTo>
                      <a:pt x="197" y="15"/>
                    </a:lnTo>
                    <a:lnTo>
                      <a:pt x="201" y="13"/>
                    </a:lnTo>
                    <a:lnTo>
                      <a:pt x="212" y="7"/>
                    </a:lnTo>
                    <a:lnTo>
                      <a:pt x="223" y="2"/>
                    </a:lnTo>
                    <a:lnTo>
                      <a:pt x="226" y="2"/>
                    </a:lnTo>
                    <a:lnTo>
                      <a:pt x="240" y="0"/>
                    </a:lnTo>
                    <a:lnTo>
                      <a:pt x="253" y="2"/>
                    </a:lnTo>
                    <a:lnTo>
                      <a:pt x="257" y="2"/>
                    </a:lnTo>
                    <a:lnTo>
                      <a:pt x="269" y="7"/>
                    </a:lnTo>
                    <a:lnTo>
                      <a:pt x="282" y="15"/>
                    </a:lnTo>
                    <a:lnTo>
                      <a:pt x="292" y="23"/>
                    </a:lnTo>
                    <a:lnTo>
                      <a:pt x="300" y="28"/>
                    </a:lnTo>
                    <a:lnTo>
                      <a:pt x="300" y="28"/>
                    </a:lnTo>
                    <a:lnTo>
                      <a:pt x="310" y="35"/>
                    </a:lnTo>
                    <a:lnTo>
                      <a:pt x="319" y="38"/>
                    </a:lnTo>
                    <a:lnTo>
                      <a:pt x="333" y="40"/>
                    </a:lnTo>
                    <a:lnTo>
                      <a:pt x="346" y="38"/>
                    </a:lnTo>
                    <a:lnTo>
                      <a:pt x="355" y="35"/>
                    </a:lnTo>
                    <a:lnTo>
                      <a:pt x="366" y="28"/>
                    </a:lnTo>
                    <a:lnTo>
                      <a:pt x="373" y="23"/>
                    </a:lnTo>
                    <a:lnTo>
                      <a:pt x="383" y="15"/>
                    </a:lnTo>
                    <a:lnTo>
                      <a:pt x="386" y="13"/>
                    </a:lnTo>
                    <a:lnTo>
                      <a:pt x="398" y="7"/>
                    </a:lnTo>
                    <a:lnTo>
                      <a:pt x="410" y="2"/>
                    </a:lnTo>
                    <a:lnTo>
                      <a:pt x="413" y="2"/>
                    </a:lnTo>
                    <a:lnTo>
                      <a:pt x="427" y="0"/>
                    </a:lnTo>
                    <a:lnTo>
                      <a:pt x="439" y="2"/>
                    </a:lnTo>
                    <a:lnTo>
                      <a:pt x="442" y="2"/>
                    </a:lnTo>
                    <a:lnTo>
                      <a:pt x="452" y="8"/>
                    </a:lnTo>
                    <a:lnTo>
                      <a:pt x="456" y="10"/>
                    </a:lnTo>
                    <a:lnTo>
                      <a:pt x="464" y="17"/>
                    </a:lnTo>
                    <a:lnTo>
                      <a:pt x="473" y="23"/>
                    </a:lnTo>
                    <a:lnTo>
                      <a:pt x="460" y="39"/>
                    </a:lnTo>
                    <a:lnTo>
                      <a:pt x="449" y="31"/>
                    </a:lnTo>
                    <a:lnTo>
                      <a:pt x="442" y="26"/>
                    </a:lnTo>
                    <a:lnTo>
                      <a:pt x="436" y="21"/>
                    </a:lnTo>
                    <a:lnTo>
                      <a:pt x="427" y="20"/>
                    </a:lnTo>
                    <a:lnTo>
                      <a:pt x="415" y="22"/>
                    </a:lnTo>
                    <a:lnTo>
                      <a:pt x="405" y="26"/>
                    </a:lnTo>
                    <a:lnTo>
                      <a:pt x="396" y="31"/>
                    </a:lnTo>
                    <a:lnTo>
                      <a:pt x="387" y="38"/>
                    </a:lnTo>
                    <a:lnTo>
                      <a:pt x="374" y="47"/>
                    </a:lnTo>
                    <a:lnTo>
                      <a:pt x="363" y="54"/>
                    </a:lnTo>
                    <a:lnTo>
                      <a:pt x="351" y="58"/>
                    </a:lnTo>
                    <a:lnTo>
                      <a:pt x="346" y="58"/>
                    </a:lnTo>
                    <a:lnTo>
                      <a:pt x="333" y="60"/>
                    </a:lnTo>
                    <a:lnTo>
                      <a:pt x="319" y="58"/>
                    </a:lnTo>
                    <a:lnTo>
                      <a:pt x="315" y="58"/>
                    </a:lnTo>
                    <a:lnTo>
                      <a:pt x="302" y="54"/>
                    </a:lnTo>
                    <a:lnTo>
                      <a:pt x="289" y="45"/>
                    </a:lnTo>
                    <a:lnTo>
                      <a:pt x="278" y="38"/>
                    </a:lnTo>
                    <a:lnTo>
                      <a:pt x="268" y="30"/>
                    </a:lnTo>
                    <a:lnTo>
                      <a:pt x="261" y="26"/>
                    </a:lnTo>
                    <a:lnTo>
                      <a:pt x="251" y="22"/>
                    </a:lnTo>
                    <a:lnTo>
                      <a:pt x="240" y="20"/>
                    </a:lnTo>
                    <a:lnTo>
                      <a:pt x="230" y="22"/>
                    </a:lnTo>
                    <a:lnTo>
                      <a:pt x="220" y="26"/>
                    </a:lnTo>
                    <a:lnTo>
                      <a:pt x="211" y="31"/>
                    </a:lnTo>
                    <a:lnTo>
                      <a:pt x="202" y="38"/>
                    </a:lnTo>
                    <a:lnTo>
                      <a:pt x="190" y="45"/>
                    </a:lnTo>
                    <a:lnTo>
                      <a:pt x="177" y="54"/>
                    </a:lnTo>
                    <a:lnTo>
                      <a:pt x="165" y="58"/>
                    </a:lnTo>
                    <a:lnTo>
                      <a:pt x="160" y="58"/>
                    </a:lnTo>
                    <a:lnTo>
                      <a:pt x="147" y="60"/>
                    </a:lnTo>
                    <a:lnTo>
                      <a:pt x="133" y="58"/>
                    </a:lnTo>
                    <a:lnTo>
                      <a:pt x="129" y="58"/>
                    </a:lnTo>
                    <a:lnTo>
                      <a:pt x="117" y="54"/>
                    </a:lnTo>
                    <a:lnTo>
                      <a:pt x="103" y="45"/>
                    </a:lnTo>
                    <a:lnTo>
                      <a:pt x="92" y="38"/>
                    </a:lnTo>
                    <a:lnTo>
                      <a:pt x="83" y="31"/>
                    </a:lnTo>
                    <a:lnTo>
                      <a:pt x="74" y="26"/>
                    </a:lnTo>
                    <a:lnTo>
                      <a:pt x="64" y="22"/>
                    </a:lnTo>
                    <a:lnTo>
                      <a:pt x="53" y="20"/>
                    </a:lnTo>
                    <a:lnTo>
                      <a:pt x="43" y="22"/>
                    </a:lnTo>
                    <a:lnTo>
                      <a:pt x="32" y="27"/>
                    </a:lnTo>
                    <a:lnTo>
                      <a:pt x="21" y="32"/>
                    </a:lnTo>
                    <a:lnTo>
                      <a:pt x="11" y="40"/>
                    </a:lnTo>
                    <a:lnTo>
                      <a:pt x="0" y="23"/>
                    </a:lnTo>
                    <a:lnTo>
                      <a:pt x="9" y="17"/>
                    </a:lnTo>
                    <a:lnTo>
                      <a:pt x="12" y="14"/>
                    </a:lnTo>
                    <a:lnTo>
                      <a:pt x="24" y="8"/>
                    </a:lnTo>
                    <a:lnTo>
                      <a:pt x="36" y="2"/>
                    </a:lnTo>
                    <a:lnTo>
                      <a:pt x="39" y="2"/>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43" name="Freeform 176">
                <a:extLst>
                  <a:ext uri="{FF2B5EF4-FFF2-40B4-BE49-F238E27FC236}">
                    <a16:creationId xmlns:a16="http://schemas.microsoft.com/office/drawing/2014/main" id="{7BD9A33A-EF4C-4073-AF06-546B34BD8F7F}"/>
                  </a:ext>
                </a:extLst>
              </p:cNvPr>
              <p:cNvSpPr>
                <a:spLocks/>
              </p:cNvSpPr>
              <p:nvPr/>
            </p:nvSpPr>
            <p:spPr bwMode="gray">
              <a:xfrm>
                <a:off x="-1136994" y="1217273"/>
                <a:ext cx="750888" cy="98425"/>
              </a:xfrm>
              <a:custGeom>
                <a:avLst/>
                <a:gdLst>
                  <a:gd name="T0" fmla="*/ 66 w 473"/>
                  <a:gd name="T1" fmla="*/ 3 h 62"/>
                  <a:gd name="T2" fmla="*/ 82 w 473"/>
                  <a:gd name="T3" fmla="*/ 7 h 62"/>
                  <a:gd name="T4" fmla="*/ 96 w 473"/>
                  <a:gd name="T5" fmla="*/ 16 h 62"/>
                  <a:gd name="T6" fmla="*/ 118 w 473"/>
                  <a:gd name="T7" fmla="*/ 32 h 62"/>
                  <a:gd name="T8" fmla="*/ 133 w 473"/>
                  <a:gd name="T9" fmla="*/ 39 h 62"/>
                  <a:gd name="T10" fmla="*/ 160 w 473"/>
                  <a:gd name="T11" fmla="*/ 39 h 62"/>
                  <a:gd name="T12" fmla="*/ 176 w 473"/>
                  <a:gd name="T13" fmla="*/ 32 h 62"/>
                  <a:gd name="T14" fmla="*/ 197 w 473"/>
                  <a:gd name="T15" fmla="*/ 16 h 62"/>
                  <a:gd name="T16" fmla="*/ 212 w 473"/>
                  <a:gd name="T17" fmla="*/ 7 h 62"/>
                  <a:gd name="T18" fmla="*/ 226 w 473"/>
                  <a:gd name="T19" fmla="*/ 3 h 62"/>
                  <a:gd name="T20" fmla="*/ 253 w 473"/>
                  <a:gd name="T21" fmla="*/ 3 h 62"/>
                  <a:gd name="T22" fmla="*/ 269 w 473"/>
                  <a:gd name="T23" fmla="*/ 7 h 62"/>
                  <a:gd name="T24" fmla="*/ 292 w 473"/>
                  <a:gd name="T25" fmla="*/ 24 h 62"/>
                  <a:gd name="T26" fmla="*/ 310 w 473"/>
                  <a:gd name="T27" fmla="*/ 36 h 62"/>
                  <a:gd name="T28" fmla="*/ 333 w 473"/>
                  <a:gd name="T29" fmla="*/ 42 h 62"/>
                  <a:gd name="T30" fmla="*/ 355 w 473"/>
                  <a:gd name="T31" fmla="*/ 36 h 62"/>
                  <a:gd name="T32" fmla="*/ 383 w 473"/>
                  <a:gd name="T33" fmla="*/ 16 h 62"/>
                  <a:gd name="T34" fmla="*/ 398 w 473"/>
                  <a:gd name="T35" fmla="*/ 7 h 62"/>
                  <a:gd name="T36" fmla="*/ 413 w 473"/>
                  <a:gd name="T37" fmla="*/ 3 h 62"/>
                  <a:gd name="T38" fmla="*/ 439 w 473"/>
                  <a:gd name="T39" fmla="*/ 3 h 62"/>
                  <a:gd name="T40" fmla="*/ 452 w 473"/>
                  <a:gd name="T41" fmla="*/ 8 h 62"/>
                  <a:gd name="T42" fmla="*/ 464 w 473"/>
                  <a:gd name="T43" fmla="*/ 17 h 62"/>
                  <a:gd name="T44" fmla="*/ 460 w 473"/>
                  <a:gd name="T45" fmla="*/ 39 h 62"/>
                  <a:gd name="T46" fmla="*/ 442 w 473"/>
                  <a:gd name="T47" fmla="*/ 26 h 62"/>
                  <a:gd name="T48" fmla="*/ 427 w 473"/>
                  <a:gd name="T49" fmla="*/ 20 h 62"/>
                  <a:gd name="T50" fmla="*/ 405 w 473"/>
                  <a:gd name="T51" fmla="*/ 26 h 62"/>
                  <a:gd name="T52" fmla="*/ 377 w 473"/>
                  <a:gd name="T53" fmla="*/ 46 h 62"/>
                  <a:gd name="T54" fmla="*/ 363 w 473"/>
                  <a:gd name="T55" fmla="*/ 55 h 62"/>
                  <a:gd name="T56" fmla="*/ 346 w 473"/>
                  <a:gd name="T57" fmla="*/ 60 h 62"/>
                  <a:gd name="T58" fmla="*/ 319 w 473"/>
                  <a:gd name="T59" fmla="*/ 60 h 62"/>
                  <a:gd name="T60" fmla="*/ 302 w 473"/>
                  <a:gd name="T61" fmla="*/ 55 h 62"/>
                  <a:gd name="T62" fmla="*/ 278 w 473"/>
                  <a:gd name="T63" fmla="*/ 38 h 62"/>
                  <a:gd name="T64" fmla="*/ 261 w 473"/>
                  <a:gd name="T65" fmla="*/ 26 h 62"/>
                  <a:gd name="T66" fmla="*/ 240 w 473"/>
                  <a:gd name="T67" fmla="*/ 20 h 62"/>
                  <a:gd name="T68" fmla="*/ 220 w 473"/>
                  <a:gd name="T69" fmla="*/ 26 h 62"/>
                  <a:gd name="T70" fmla="*/ 202 w 473"/>
                  <a:gd name="T71" fmla="*/ 38 h 62"/>
                  <a:gd name="T72" fmla="*/ 177 w 473"/>
                  <a:gd name="T73" fmla="*/ 55 h 62"/>
                  <a:gd name="T74" fmla="*/ 160 w 473"/>
                  <a:gd name="T75" fmla="*/ 60 h 62"/>
                  <a:gd name="T76" fmla="*/ 133 w 473"/>
                  <a:gd name="T77" fmla="*/ 60 h 62"/>
                  <a:gd name="T78" fmla="*/ 117 w 473"/>
                  <a:gd name="T79" fmla="*/ 55 h 62"/>
                  <a:gd name="T80" fmla="*/ 92 w 473"/>
                  <a:gd name="T81" fmla="*/ 38 h 62"/>
                  <a:gd name="T82" fmla="*/ 74 w 473"/>
                  <a:gd name="T83" fmla="*/ 26 h 62"/>
                  <a:gd name="T84" fmla="*/ 53 w 473"/>
                  <a:gd name="T85" fmla="*/ 20 h 62"/>
                  <a:gd name="T86" fmla="*/ 32 w 473"/>
                  <a:gd name="T87" fmla="*/ 27 h 62"/>
                  <a:gd name="T88" fmla="*/ 12 w 473"/>
                  <a:gd name="T89" fmla="*/ 41 h 62"/>
                  <a:gd name="T90" fmla="*/ 9 w 473"/>
                  <a:gd name="T91" fmla="*/ 17 h 62"/>
                  <a:gd name="T92" fmla="*/ 24 w 473"/>
                  <a:gd name="T93" fmla="*/ 8 h 62"/>
                  <a:gd name="T94" fmla="*/ 39 w 473"/>
                  <a:gd name="T95" fmla="*/ 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3" h="62">
                    <a:moveTo>
                      <a:pt x="53" y="0"/>
                    </a:moveTo>
                    <a:lnTo>
                      <a:pt x="66" y="3"/>
                    </a:lnTo>
                    <a:lnTo>
                      <a:pt x="70" y="3"/>
                    </a:lnTo>
                    <a:lnTo>
                      <a:pt x="82" y="7"/>
                    </a:lnTo>
                    <a:lnTo>
                      <a:pt x="93" y="14"/>
                    </a:lnTo>
                    <a:lnTo>
                      <a:pt x="96" y="16"/>
                    </a:lnTo>
                    <a:lnTo>
                      <a:pt x="107" y="24"/>
                    </a:lnTo>
                    <a:lnTo>
                      <a:pt x="118" y="32"/>
                    </a:lnTo>
                    <a:lnTo>
                      <a:pt x="124" y="36"/>
                    </a:lnTo>
                    <a:lnTo>
                      <a:pt x="133" y="39"/>
                    </a:lnTo>
                    <a:lnTo>
                      <a:pt x="147" y="42"/>
                    </a:lnTo>
                    <a:lnTo>
                      <a:pt x="160" y="39"/>
                    </a:lnTo>
                    <a:lnTo>
                      <a:pt x="169" y="36"/>
                    </a:lnTo>
                    <a:lnTo>
                      <a:pt x="176" y="32"/>
                    </a:lnTo>
                    <a:lnTo>
                      <a:pt x="187" y="24"/>
                    </a:lnTo>
                    <a:lnTo>
                      <a:pt x="197" y="16"/>
                    </a:lnTo>
                    <a:lnTo>
                      <a:pt x="201" y="14"/>
                    </a:lnTo>
                    <a:lnTo>
                      <a:pt x="212" y="7"/>
                    </a:lnTo>
                    <a:lnTo>
                      <a:pt x="223" y="3"/>
                    </a:lnTo>
                    <a:lnTo>
                      <a:pt x="226" y="3"/>
                    </a:lnTo>
                    <a:lnTo>
                      <a:pt x="240" y="0"/>
                    </a:lnTo>
                    <a:lnTo>
                      <a:pt x="253" y="3"/>
                    </a:lnTo>
                    <a:lnTo>
                      <a:pt x="257" y="3"/>
                    </a:lnTo>
                    <a:lnTo>
                      <a:pt x="269" y="7"/>
                    </a:lnTo>
                    <a:lnTo>
                      <a:pt x="282" y="16"/>
                    </a:lnTo>
                    <a:lnTo>
                      <a:pt x="292" y="24"/>
                    </a:lnTo>
                    <a:lnTo>
                      <a:pt x="304" y="32"/>
                    </a:lnTo>
                    <a:lnTo>
                      <a:pt x="310" y="36"/>
                    </a:lnTo>
                    <a:lnTo>
                      <a:pt x="319" y="39"/>
                    </a:lnTo>
                    <a:lnTo>
                      <a:pt x="333" y="42"/>
                    </a:lnTo>
                    <a:lnTo>
                      <a:pt x="346" y="39"/>
                    </a:lnTo>
                    <a:lnTo>
                      <a:pt x="355" y="36"/>
                    </a:lnTo>
                    <a:lnTo>
                      <a:pt x="364" y="31"/>
                    </a:lnTo>
                    <a:lnTo>
                      <a:pt x="383" y="16"/>
                    </a:lnTo>
                    <a:lnTo>
                      <a:pt x="386" y="14"/>
                    </a:lnTo>
                    <a:lnTo>
                      <a:pt x="398" y="7"/>
                    </a:lnTo>
                    <a:lnTo>
                      <a:pt x="410" y="3"/>
                    </a:lnTo>
                    <a:lnTo>
                      <a:pt x="413" y="3"/>
                    </a:lnTo>
                    <a:lnTo>
                      <a:pt x="427" y="0"/>
                    </a:lnTo>
                    <a:lnTo>
                      <a:pt x="439" y="3"/>
                    </a:lnTo>
                    <a:lnTo>
                      <a:pt x="442" y="3"/>
                    </a:lnTo>
                    <a:lnTo>
                      <a:pt x="452" y="8"/>
                    </a:lnTo>
                    <a:lnTo>
                      <a:pt x="456" y="10"/>
                    </a:lnTo>
                    <a:lnTo>
                      <a:pt x="464" y="17"/>
                    </a:lnTo>
                    <a:lnTo>
                      <a:pt x="473" y="24"/>
                    </a:lnTo>
                    <a:lnTo>
                      <a:pt x="460" y="39"/>
                    </a:lnTo>
                    <a:lnTo>
                      <a:pt x="449" y="32"/>
                    </a:lnTo>
                    <a:lnTo>
                      <a:pt x="442" y="26"/>
                    </a:lnTo>
                    <a:lnTo>
                      <a:pt x="436" y="22"/>
                    </a:lnTo>
                    <a:lnTo>
                      <a:pt x="427" y="20"/>
                    </a:lnTo>
                    <a:lnTo>
                      <a:pt x="415" y="23"/>
                    </a:lnTo>
                    <a:lnTo>
                      <a:pt x="405" y="26"/>
                    </a:lnTo>
                    <a:lnTo>
                      <a:pt x="396" y="32"/>
                    </a:lnTo>
                    <a:lnTo>
                      <a:pt x="377" y="46"/>
                    </a:lnTo>
                    <a:lnTo>
                      <a:pt x="374" y="48"/>
                    </a:lnTo>
                    <a:lnTo>
                      <a:pt x="363" y="55"/>
                    </a:lnTo>
                    <a:lnTo>
                      <a:pt x="351" y="60"/>
                    </a:lnTo>
                    <a:lnTo>
                      <a:pt x="346" y="60"/>
                    </a:lnTo>
                    <a:lnTo>
                      <a:pt x="333" y="62"/>
                    </a:lnTo>
                    <a:lnTo>
                      <a:pt x="319" y="60"/>
                    </a:lnTo>
                    <a:lnTo>
                      <a:pt x="315" y="60"/>
                    </a:lnTo>
                    <a:lnTo>
                      <a:pt x="302" y="55"/>
                    </a:lnTo>
                    <a:lnTo>
                      <a:pt x="289" y="46"/>
                    </a:lnTo>
                    <a:lnTo>
                      <a:pt x="278" y="38"/>
                    </a:lnTo>
                    <a:lnTo>
                      <a:pt x="268" y="31"/>
                    </a:lnTo>
                    <a:lnTo>
                      <a:pt x="261" y="26"/>
                    </a:lnTo>
                    <a:lnTo>
                      <a:pt x="251" y="23"/>
                    </a:lnTo>
                    <a:lnTo>
                      <a:pt x="240" y="20"/>
                    </a:lnTo>
                    <a:lnTo>
                      <a:pt x="230" y="23"/>
                    </a:lnTo>
                    <a:lnTo>
                      <a:pt x="220" y="26"/>
                    </a:lnTo>
                    <a:lnTo>
                      <a:pt x="211" y="32"/>
                    </a:lnTo>
                    <a:lnTo>
                      <a:pt x="202" y="38"/>
                    </a:lnTo>
                    <a:lnTo>
                      <a:pt x="190" y="46"/>
                    </a:lnTo>
                    <a:lnTo>
                      <a:pt x="177" y="55"/>
                    </a:lnTo>
                    <a:lnTo>
                      <a:pt x="165" y="60"/>
                    </a:lnTo>
                    <a:lnTo>
                      <a:pt x="160" y="60"/>
                    </a:lnTo>
                    <a:lnTo>
                      <a:pt x="147" y="62"/>
                    </a:lnTo>
                    <a:lnTo>
                      <a:pt x="133" y="60"/>
                    </a:lnTo>
                    <a:lnTo>
                      <a:pt x="129" y="60"/>
                    </a:lnTo>
                    <a:lnTo>
                      <a:pt x="117" y="55"/>
                    </a:lnTo>
                    <a:lnTo>
                      <a:pt x="103" y="46"/>
                    </a:lnTo>
                    <a:lnTo>
                      <a:pt x="92" y="38"/>
                    </a:lnTo>
                    <a:lnTo>
                      <a:pt x="83" y="32"/>
                    </a:lnTo>
                    <a:lnTo>
                      <a:pt x="74" y="26"/>
                    </a:lnTo>
                    <a:lnTo>
                      <a:pt x="64" y="23"/>
                    </a:lnTo>
                    <a:lnTo>
                      <a:pt x="53" y="20"/>
                    </a:lnTo>
                    <a:lnTo>
                      <a:pt x="43" y="23"/>
                    </a:lnTo>
                    <a:lnTo>
                      <a:pt x="32" y="27"/>
                    </a:lnTo>
                    <a:lnTo>
                      <a:pt x="23" y="33"/>
                    </a:lnTo>
                    <a:lnTo>
                      <a:pt x="12" y="41"/>
                    </a:lnTo>
                    <a:lnTo>
                      <a:pt x="0" y="25"/>
                    </a:lnTo>
                    <a:lnTo>
                      <a:pt x="9" y="17"/>
                    </a:lnTo>
                    <a:lnTo>
                      <a:pt x="12" y="15"/>
                    </a:lnTo>
                    <a:lnTo>
                      <a:pt x="24" y="8"/>
                    </a:lnTo>
                    <a:lnTo>
                      <a:pt x="36" y="3"/>
                    </a:lnTo>
                    <a:lnTo>
                      <a:pt x="39" y="3"/>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grpSp>
        <p:grpSp>
          <p:nvGrpSpPr>
            <p:cNvPr id="39" name="Group 38">
              <a:extLst>
                <a:ext uri="{FF2B5EF4-FFF2-40B4-BE49-F238E27FC236}">
                  <a16:creationId xmlns:a16="http://schemas.microsoft.com/office/drawing/2014/main" id="{1EF88FA5-0F52-4373-84EC-B3304059B8EA}"/>
                </a:ext>
              </a:extLst>
            </p:cNvPr>
            <p:cNvGrpSpPr/>
            <p:nvPr/>
          </p:nvGrpSpPr>
          <p:grpSpPr bwMode="gray">
            <a:xfrm>
              <a:off x="6990357" y="1532797"/>
              <a:ext cx="1578889" cy="99318"/>
              <a:chOff x="-1136994" y="1217273"/>
              <a:chExt cx="1578889" cy="99318"/>
            </a:xfrm>
            <a:solidFill>
              <a:schemeClr val="bg1"/>
            </a:solidFill>
          </p:grpSpPr>
          <p:sp>
            <p:nvSpPr>
              <p:cNvPr id="40" name="Freeform 175">
                <a:extLst>
                  <a:ext uri="{FF2B5EF4-FFF2-40B4-BE49-F238E27FC236}">
                    <a16:creationId xmlns:a16="http://schemas.microsoft.com/office/drawing/2014/main" id="{60864817-C1ED-452F-A4EB-89EC34F8970E}"/>
                  </a:ext>
                </a:extLst>
              </p:cNvPr>
              <p:cNvSpPr>
                <a:spLocks/>
              </p:cNvSpPr>
              <p:nvPr/>
            </p:nvSpPr>
            <p:spPr bwMode="gray">
              <a:xfrm>
                <a:off x="-308993" y="1221341"/>
                <a:ext cx="750888" cy="95250"/>
              </a:xfrm>
              <a:custGeom>
                <a:avLst/>
                <a:gdLst>
                  <a:gd name="T0" fmla="*/ 66 w 473"/>
                  <a:gd name="T1" fmla="*/ 2 h 60"/>
                  <a:gd name="T2" fmla="*/ 82 w 473"/>
                  <a:gd name="T3" fmla="*/ 7 h 60"/>
                  <a:gd name="T4" fmla="*/ 96 w 473"/>
                  <a:gd name="T5" fmla="*/ 15 h 60"/>
                  <a:gd name="T6" fmla="*/ 114 w 473"/>
                  <a:gd name="T7" fmla="*/ 28 h 60"/>
                  <a:gd name="T8" fmla="*/ 124 w 473"/>
                  <a:gd name="T9" fmla="*/ 35 h 60"/>
                  <a:gd name="T10" fmla="*/ 147 w 473"/>
                  <a:gd name="T11" fmla="*/ 40 h 60"/>
                  <a:gd name="T12" fmla="*/ 169 w 473"/>
                  <a:gd name="T13" fmla="*/ 35 h 60"/>
                  <a:gd name="T14" fmla="*/ 179 w 473"/>
                  <a:gd name="T15" fmla="*/ 28 h 60"/>
                  <a:gd name="T16" fmla="*/ 197 w 473"/>
                  <a:gd name="T17" fmla="*/ 15 h 60"/>
                  <a:gd name="T18" fmla="*/ 212 w 473"/>
                  <a:gd name="T19" fmla="*/ 7 h 60"/>
                  <a:gd name="T20" fmla="*/ 226 w 473"/>
                  <a:gd name="T21" fmla="*/ 2 h 60"/>
                  <a:gd name="T22" fmla="*/ 253 w 473"/>
                  <a:gd name="T23" fmla="*/ 2 h 60"/>
                  <a:gd name="T24" fmla="*/ 269 w 473"/>
                  <a:gd name="T25" fmla="*/ 7 h 60"/>
                  <a:gd name="T26" fmla="*/ 292 w 473"/>
                  <a:gd name="T27" fmla="*/ 23 h 60"/>
                  <a:gd name="T28" fmla="*/ 300 w 473"/>
                  <a:gd name="T29" fmla="*/ 28 h 60"/>
                  <a:gd name="T30" fmla="*/ 319 w 473"/>
                  <a:gd name="T31" fmla="*/ 38 h 60"/>
                  <a:gd name="T32" fmla="*/ 346 w 473"/>
                  <a:gd name="T33" fmla="*/ 38 h 60"/>
                  <a:gd name="T34" fmla="*/ 366 w 473"/>
                  <a:gd name="T35" fmla="*/ 28 h 60"/>
                  <a:gd name="T36" fmla="*/ 383 w 473"/>
                  <a:gd name="T37" fmla="*/ 15 h 60"/>
                  <a:gd name="T38" fmla="*/ 398 w 473"/>
                  <a:gd name="T39" fmla="*/ 7 h 60"/>
                  <a:gd name="T40" fmla="*/ 413 w 473"/>
                  <a:gd name="T41" fmla="*/ 2 h 60"/>
                  <a:gd name="T42" fmla="*/ 439 w 473"/>
                  <a:gd name="T43" fmla="*/ 2 h 60"/>
                  <a:gd name="T44" fmla="*/ 452 w 473"/>
                  <a:gd name="T45" fmla="*/ 8 h 60"/>
                  <a:gd name="T46" fmla="*/ 464 w 473"/>
                  <a:gd name="T47" fmla="*/ 17 h 60"/>
                  <a:gd name="T48" fmla="*/ 460 w 473"/>
                  <a:gd name="T49" fmla="*/ 39 h 60"/>
                  <a:gd name="T50" fmla="*/ 442 w 473"/>
                  <a:gd name="T51" fmla="*/ 26 h 60"/>
                  <a:gd name="T52" fmla="*/ 427 w 473"/>
                  <a:gd name="T53" fmla="*/ 20 h 60"/>
                  <a:gd name="T54" fmla="*/ 405 w 473"/>
                  <a:gd name="T55" fmla="*/ 26 h 60"/>
                  <a:gd name="T56" fmla="*/ 387 w 473"/>
                  <a:gd name="T57" fmla="*/ 38 h 60"/>
                  <a:gd name="T58" fmla="*/ 363 w 473"/>
                  <a:gd name="T59" fmla="*/ 54 h 60"/>
                  <a:gd name="T60" fmla="*/ 346 w 473"/>
                  <a:gd name="T61" fmla="*/ 58 h 60"/>
                  <a:gd name="T62" fmla="*/ 319 w 473"/>
                  <a:gd name="T63" fmla="*/ 58 h 60"/>
                  <a:gd name="T64" fmla="*/ 302 w 473"/>
                  <a:gd name="T65" fmla="*/ 54 h 60"/>
                  <a:gd name="T66" fmla="*/ 278 w 473"/>
                  <a:gd name="T67" fmla="*/ 38 h 60"/>
                  <a:gd name="T68" fmla="*/ 261 w 473"/>
                  <a:gd name="T69" fmla="*/ 26 h 60"/>
                  <a:gd name="T70" fmla="*/ 240 w 473"/>
                  <a:gd name="T71" fmla="*/ 20 h 60"/>
                  <a:gd name="T72" fmla="*/ 220 w 473"/>
                  <a:gd name="T73" fmla="*/ 26 h 60"/>
                  <a:gd name="T74" fmla="*/ 202 w 473"/>
                  <a:gd name="T75" fmla="*/ 38 h 60"/>
                  <a:gd name="T76" fmla="*/ 177 w 473"/>
                  <a:gd name="T77" fmla="*/ 54 h 60"/>
                  <a:gd name="T78" fmla="*/ 160 w 473"/>
                  <a:gd name="T79" fmla="*/ 58 h 60"/>
                  <a:gd name="T80" fmla="*/ 133 w 473"/>
                  <a:gd name="T81" fmla="*/ 58 h 60"/>
                  <a:gd name="T82" fmla="*/ 117 w 473"/>
                  <a:gd name="T83" fmla="*/ 54 h 60"/>
                  <a:gd name="T84" fmla="*/ 92 w 473"/>
                  <a:gd name="T85" fmla="*/ 38 h 60"/>
                  <a:gd name="T86" fmla="*/ 74 w 473"/>
                  <a:gd name="T87" fmla="*/ 26 h 60"/>
                  <a:gd name="T88" fmla="*/ 53 w 473"/>
                  <a:gd name="T89" fmla="*/ 20 h 60"/>
                  <a:gd name="T90" fmla="*/ 32 w 473"/>
                  <a:gd name="T91" fmla="*/ 27 h 60"/>
                  <a:gd name="T92" fmla="*/ 11 w 473"/>
                  <a:gd name="T93" fmla="*/ 40 h 60"/>
                  <a:gd name="T94" fmla="*/ 9 w 473"/>
                  <a:gd name="T95" fmla="*/ 17 h 60"/>
                  <a:gd name="T96" fmla="*/ 24 w 473"/>
                  <a:gd name="T97" fmla="*/ 8 h 60"/>
                  <a:gd name="T98" fmla="*/ 39 w 473"/>
                  <a:gd name="T99"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3" h="60">
                    <a:moveTo>
                      <a:pt x="53" y="0"/>
                    </a:moveTo>
                    <a:lnTo>
                      <a:pt x="66" y="2"/>
                    </a:lnTo>
                    <a:lnTo>
                      <a:pt x="70" y="2"/>
                    </a:lnTo>
                    <a:lnTo>
                      <a:pt x="82" y="7"/>
                    </a:lnTo>
                    <a:lnTo>
                      <a:pt x="93" y="13"/>
                    </a:lnTo>
                    <a:lnTo>
                      <a:pt x="96" y="15"/>
                    </a:lnTo>
                    <a:lnTo>
                      <a:pt x="107" y="23"/>
                    </a:lnTo>
                    <a:lnTo>
                      <a:pt x="114" y="28"/>
                    </a:lnTo>
                    <a:lnTo>
                      <a:pt x="114" y="28"/>
                    </a:lnTo>
                    <a:lnTo>
                      <a:pt x="124" y="35"/>
                    </a:lnTo>
                    <a:lnTo>
                      <a:pt x="133" y="38"/>
                    </a:lnTo>
                    <a:lnTo>
                      <a:pt x="147" y="40"/>
                    </a:lnTo>
                    <a:lnTo>
                      <a:pt x="160" y="38"/>
                    </a:lnTo>
                    <a:lnTo>
                      <a:pt x="169" y="35"/>
                    </a:lnTo>
                    <a:lnTo>
                      <a:pt x="179" y="28"/>
                    </a:lnTo>
                    <a:lnTo>
                      <a:pt x="179" y="28"/>
                    </a:lnTo>
                    <a:lnTo>
                      <a:pt x="187" y="23"/>
                    </a:lnTo>
                    <a:lnTo>
                      <a:pt x="197" y="15"/>
                    </a:lnTo>
                    <a:lnTo>
                      <a:pt x="201" y="13"/>
                    </a:lnTo>
                    <a:lnTo>
                      <a:pt x="212" y="7"/>
                    </a:lnTo>
                    <a:lnTo>
                      <a:pt x="223" y="2"/>
                    </a:lnTo>
                    <a:lnTo>
                      <a:pt x="226" y="2"/>
                    </a:lnTo>
                    <a:lnTo>
                      <a:pt x="240" y="0"/>
                    </a:lnTo>
                    <a:lnTo>
                      <a:pt x="253" y="2"/>
                    </a:lnTo>
                    <a:lnTo>
                      <a:pt x="257" y="2"/>
                    </a:lnTo>
                    <a:lnTo>
                      <a:pt x="269" y="7"/>
                    </a:lnTo>
                    <a:lnTo>
                      <a:pt x="282" y="15"/>
                    </a:lnTo>
                    <a:lnTo>
                      <a:pt x="292" y="23"/>
                    </a:lnTo>
                    <a:lnTo>
                      <a:pt x="300" y="28"/>
                    </a:lnTo>
                    <a:lnTo>
                      <a:pt x="300" y="28"/>
                    </a:lnTo>
                    <a:lnTo>
                      <a:pt x="310" y="35"/>
                    </a:lnTo>
                    <a:lnTo>
                      <a:pt x="319" y="38"/>
                    </a:lnTo>
                    <a:lnTo>
                      <a:pt x="333" y="40"/>
                    </a:lnTo>
                    <a:lnTo>
                      <a:pt x="346" y="38"/>
                    </a:lnTo>
                    <a:lnTo>
                      <a:pt x="355" y="35"/>
                    </a:lnTo>
                    <a:lnTo>
                      <a:pt x="366" y="28"/>
                    </a:lnTo>
                    <a:lnTo>
                      <a:pt x="373" y="23"/>
                    </a:lnTo>
                    <a:lnTo>
                      <a:pt x="383" y="15"/>
                    </a:lnTo>
                    <a:lnTo>
                      <a:pt x="386" y="13"/>
                    </a:lnTo>
                    <a:lnTo>
                      <a:pt x="398" y="7"/>
                    </a:lnTo>
                    <a:lnTo>
                      <a:pt x="410" y="2"/>
                    </a:lnTo>
                    <a:lnTo>
                      <a:pt x="413" y="2"/>
                    </a:lnTo>
                    <a:lnTo>
                      <a:pt x="427" y="0"/>
                    </a:lnTo>
                    <a:lnTo>
                      <a:pt x="439" y="2"/>
                    </a:lnTo>
                    <a:lnTo>
                      <a:pt x="442" y="2"/>
                    </a:lnTo>
                    <a:lnTo>
                      <a:pt x="452" y="8"/>
                    </a:lnTo>
                    <a:lnTo>
                      <a:pt x="456" y="10"/>
                    </a:lnTo>
                    <a:lnTo>
                      <a:pt x="464" y="17"/>
                    </a:lnTo>
                    <a:lnTo>
                      <a:pt x="473" y="23"/>
                    </a:lnTo>
                    <a:lnTo>
                      <a:pt x="460" y="39"/>
                    </a:lnTo>
                    <a:lnTo>
                      <a:pt x="449" y="31"/>
                    </a:lnTo>
                    <a:lnTo>
                      <a:pt x="442" y="26"/>
                    </a:lnTo>
                    <a:lnTo>
                      <a:pt x="436" y="21"/>
                    </a:lnTo>
                    <a:lnTo>
                      <a:pt x="427" y="20"/>
                    </a:lnTo>
                    <a:lnTo>
                      <a:pt x="415" y="22"/>
                    </a:lnTo>
                    <a:lnTo>
                      <a:pt x="405" y="26"/>
                    </a:lnTo>
                    <a:lnTo>
                      <a:pt x="396" y="31"/>
                    </a:lnTo>
                    <a:lnTo>
                      <a:pt x="387" y="38"/>
                    </a:lnTo>
                    <a:lnTo>
                      <a:pt x="374" y="47"/>
                    </a:lnTo>
                    <a:lnTo>
                      <a:pt x="363" y="54"/>
                    </a:lnTo>
                    <a:lnTo>
                      <a:pt x="351" y="58"/>
                    </a:lnTo>
                    <a:lnTo>
                      <a:pt x="346" y="58"/>
                    </a:lnTo>
                    <a:lnTo>
                      <a:pt x="333" y="60"/>
                    </a:lnTo>
                    <a:lnTo>
                      <a:pt x="319" y="58"/>
                    </a:lnTo>
                    <a:lnTo>
                      <a:pt x="315" y="58"/>
                    </a:lnTo>
                    <a:lnTo>
                      <a:pt x="302" y="54"/>
                    </a:lnTo>
                    <a:lnTo>
                      <a:pt x="289" y="45"/>
                    </a:lnTo>
                    <a:lnTo>
                      <a:pt x="278" y="38"/>
                    </a:lnTo>
                    <a:lnTo>
                      <a:pt x="268" y="30"/>
                    </a:lnTo>
                    <a:lnTo>
                      <a:pt x="261" y="26"/>
                    </a:lnTo>
                    <a:lnTo>
                      <a:pt x="251" y="22"/>
                    </a:lnTo>
                    <a:lnTo>
                      <a:pt x="240" y="20"/>
                    </a:lnTo>
                    <a:lnTo>
                      <a:pt x="230" y="22"/>
                    </a:lnTo>
                    <a:lnTo>
                      <a:pt x="220" y="26"/>
                    </a:lnTo>
                    <a:lnTo>
                      <a:pt x="211" y="31"/>
                    </a:lnTo>
                    <a:lnTo>
                      <a:pt x="202" y="38"/>
                    </a:lnTo>
                    <a:lnTo>
                      <a:pt x="190" y="45"/>
                    </a:lnTo>
                    <a:lnTo>
                      <a:pt x="177" y="54"/>
                    </a:lnTo>
                    <a:lnTo>
                      <a:pt x="165" y="58"/>
                    </a:lnTo>
                    <a:lnTo>
                      <a:pt x="160" y="58"/>
                    </a:lnTo>
                    <a:lnTo>
                      <a:pt x="147" y="60"/>
                    </a:lnTo>
                    <a:lnTo>
                      <a:pt x="133" y="58"/>
                    </a:lnTo>
                    <a:lnTo>
                      <a:pt x="129" y="58"/>
                    </a:lnTo>
                    <a:lnTo>
                      <a:pt x="117" y="54"/>
                    </a:lnTo>
                    <a:lnTo>
                      <a:pt x="103" y="45"/>
                    </a:lnTo>
                    <a:lnTo>
                      <a:pt x="92" y="38"/>
                    </a:lnTo>
                    <a:lnTo>
                      <a:pt x="83" y="31"/>
                    </a:lnTo>
                    <a:lnTo>
                      <a:pt x="74" y="26"/>
                    </a:lnTo>
                    <a:lnTo>
                      <a:pt x="64" y="22"/>
                    </a:lnTo>
                    <a:lnTo>
                      <a:pt x="53" y="20"/>
                    </a:lnTo>
                    <a:lnTo>
                      <a:pt x="43" y="22"/>
                    </a:lnTo>
                    <a:lnTo>
                      <a:pt x="32" y="27"/>
                    </a:lnTo>
                    <a:lnTo>
                      <a:pt x="21" y="32"/>
                    </a:lnTo>
                    <a:lnTo>
                      <a:pt x="11" y="40"/>
                    </a:lnTo>
                    <a:lnTo>
                      <a:pt x="0" y="23"/>
                    </a:lnTo>
                    <a:lnTo>
                      <a:pt x="9" y="17"/>
                    </a:lnTo>
                    <a:lnTo>
                      <a:pt x="12" y="14"/>
                    </a:lnTo>
                    <a:lnTo>
                      <a:pt x="24" y="8"/>
                    </a:lnTo>
                    <a:lnTo>
                      <a:pt x="36" y="2"/>
                    </a:lnTo>
                    <a:lnTo>
                      <a:pt x="39" y="2"/>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41" name="Freeform 176">
                <a:extLst>
                  <a:ext uri="{FF2B5EF4-FFF2-40B4-BE49-F238E27FC236}">
                    <a16:creationId xmlns:a16="http://schemas.microsoft.com/office/drawing/2014/main" id="{ED70F9A1-04A6-4F6F-95A3-5F84A831CE65}"/>
                  </a:ext>
                </a:extLst>
              </p:cNvPr>
              <p:cNvSpPr>
                <a:spLocks/>
              </p:cNvSpPr>
              <p:nvPr/>
            </p:nvSpPr>
            <p:spPr bwMode="gray">
              <a:xfrm>
                <a:off x="-1136994" y="1217273"/>
                <a:ext cx="750888" cy="98425"/>
              </a:xfrm>
              <a:custGeom>
                <a:avLst/>
                <a:gdLst>
                  <a:gd name="T0" fmla="*/ 66 w 473"/>
                  <a:gd name="T1" fmla="*/ 3 h 62"/>
                  <a:gd name="T2" fmla="*/ 82 w 473"/>
                  <a:gd name="T3" fmla="*/ 7 h 62"/>
                  <a:gd name="T4" fmla="*/ 96 w 473"/>
                  <a:gd name="T5" fmla="*/ 16 h 62"/>
                  <a:gd name="T6" fmla="*/ 118 w 473"/>
                  <a:gd name="T7" fmla="*/ 32 h 62"/>
                  <a:gd name="T8" fmla="*/ 133 w 473"/>
                  <a:gd name="T9" fmla="*/ 39 h 62"/>
                  <a:gd name="T10" fmla="*/ 160 w 473"/>
                  <a:gd name="T11" fmla="*/ 39 h 62"/>
                  <a:gd name="T12" fmla="*/ 176 w 473"/>
                  <a:gd name="T13" fmla="*/ 32 h 62"/>
                  <a:gd name="T14" fmla="*/ 197 w 473"/>
                  <a:gd name="T15" fmla="*/ 16 h 62"/>
                  <a:gd name="T16" fmla="*/ 212 w 473"/>
                  <a:gd name="T17" fmla="*/ 7 h 62"/>
                  <a:gd name="T18" fmla="*/ 226 w 473"/>
                  <a:gd name="T19" fmla="*/ 3 h 62"/>
                  <a:gd name="T20" fmla="*/ 253 w 473"/>
                  <a:gd name="T21" fmla="*/ 3 h 62"/>
                  <a:gd name="T22" fmla="*/ 269 w 473"/>
                  <a:gd name="T23" fmla="*/ 7 h 62"/>
                  <a:gd name="T24" fmla="*/ 292 w 473"/>
                  <a:gd name="T25" fmla="*/ 24 h 62"/>
                  <a:gd name="T26" fmla="*/ 310 w 473"/>
                  <a:gd name="T27" fmla="*/ 36 h 62"/>
                  <a:gd name="T28" fmla="*/ 333 w 473"/>
                  <a:gd name="T29" fmla="*/ 42 h 62"/>
                  <a:gd name="T30" fmla="*/ 355 w 473"/>
                  <a:gd name="T31" fmla="*/ 36 h 62"/>
                  <a:gd name="T32" fmla="*/ 383 w 473"/>
                  <a:gd name="T33" fmla="*/ 16 h 62"/>
                  <a:gd name="T34" fmla="*/ 398 w 473"/>
                  <a:gd name="T35" fmla="*/ 7 h 62"/>
                  <a:gd name="T36" fmla="*/ 413 w 473"/>
                  <a:gd name="T37" fmla="*/ 3 h 62"/>
                  <a:gd name="T38" fmla="*/ 439 w 473"/>
                  <a:gd name="T39" fmla="*/ 3 h 62"/>
                  <a:gd name="T40" fmla="*/ 452 w 473"/>
                  <a:gd name="T41" fmla="*/ 8 h 62"/>
                  <a:gd name="T42" fmla="*/ 464 w 473"/>
                  <a:gd name="T43" fmla="*/ 17 h 62"/>
                  <a:gd name="T44" fmla="*/ 460 w 473"/>
                  <a:gd name="T45" fmla="*/ 39 h 62"/>
                  <a:gd name="T46" fmla="*/ 442 w 473"/>
                  <a:gd name="T47" fmla="*/ 26 h 62"/>
                  <a:gd name="T48" fmla="*/ 427 w 473"/>
                  <a:gd name="T49" fmla="*/ 20 h 62"/>
                  <a:gd name="T50" fmla="*/ 405 w 473"/>
                  <a:gd name="T51" fmla="*/ 26 h 62"/>
                  <a:gd name="T52" fmla="*/ 377 w 473"/>
                  <a:gd name="T53" fmla="*/ 46 h 62"/>
                  <a:gd name="T54" fmla="*/ 363 w 473"/>
                  <a:gd name="T55" fmla="*/ 55 h 62"/>
                  <a:gd name="T56" fmla="*/ 346 w 473"/>
                  <a:gd name="T57" fmla="*/ 60 h 62"/>
                  <a:gd name="T58" fmla="*/ 319 w 473"/>
                  <a:gd name="T59" fmla="*/ 60 h 62"/>
                  <a:gd name="T60" fmla="*/ 302 w 473"/>
                  <a:gd name="T61" fmla="*/ 55 h 62"/>
                  <a:gd name="T62" fmla="*/ 278 w 473"/>
                  <a:gd name="T63" fmla="*/ 38 h 62"/>
                  <a:gd name="T64" fmla="*/ 261 w 473"/>
                  <a:gd name="T65" fmla="*/ 26 h 62"/>
                  <a:gd name="T66" fmla="*/ 240 w 473"/>
                  <a:gd name="T67" fmla="*/ 20 h 62"/>
                  <a:gd name="T68" fmla="*/ 220 w 473"/>
                  <a:gd name="T69" fmla="*/ 26 h 62"/>
                  <a:gd name="T70" fmla="*/ 202 w 473"/>
                  <a:gd name="T71" fmla="*/ 38 h 62"/>
                  <a:gd name="T72" fmla="*/ 177 w 473"/>
                  <a:gd name="T73" fmla="*/ 55 h 62"/>
                  <a:gd name="T74" fmla="*/ 160 w 473"/>
                  <a:gd name="T75" fmla="*/ 60 h 62"/>
                  <a:gd name="T76" fmla="*/ 133 w 473"/>
                  <a:gd name="T77" fmla="*/ 60 h 62"/>
                  <a:gd name="T78" fmla="*/ 117 w 473"/>
                  <a:gd name="T79" fmla="*/ 55 h 62"/>
                  <a:gd name="T80" fmla="*/ 92 w 473"/>
                  <a:gd name="T81" fmla="*/ 38 h 62"/>
                  <a:gd name="T82" fmla="*/ 74 w 473"/>
                  <a:gd name="T83" fmla="*/ 26 h 62"/>
                  <a:gd name="T84" fmla="*/ 53 w 473"/>
                  <a:gd name="T85" fmla="*/ 20 h 62"/>
                  <a:gd name="T86" fmla="*/ 32 w 473"/>
                  <a:gd name="T87" fmla="*/ 27 h 62"/>
                  <a:gd name="T88" fmla="*/ 12 w 473"/>
                  <a:gd name="T89" fmla="*/ 41 h 62"/>
                  <a:gd name="T90" fmla="*/ 9 w 473"/>
                  <a:gd name="T91" fmla="*/ 17 h 62"/>
                  <a:gd name="T92" fmla="*/ 24 w 473"/>
                  <a:gd name="T93" fmla="*/ 8 h 62"/>
                  <a:gd name="T94" fmla="*/ 39 w 473"/>
                  <a:gd name="T95" fmla="*/ 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3" h="62">
                    <a:moveTo>
                      <a:pt x="53" y="0"/>
                    </a:moveTo>
                    <a:lnTo>
                      <a:pt x="66" y="3"/>
                    </a:lnTo>
                    <a:lnTo>
                      <a:pt x="70" y="3"/>
                    </a:lnTo>
                    <a:lnTo>
                      <a:pt x="82" y="7"/>
                    </a:lnTo>
                    <a:lnTo>
                      <a:pt x="93" y="14"/>
                    </a:lnTo>
                    <a:lnTo>
                      <a:pt x="96" y="16"/>
                    </a:lnTo>
                    <a:lnTo>
                      <a:pt x="107" y="24"/>
                    </a:lnTo>
                    <a:lnTo>
                      <a:pt x="118" y="32"/>
                    </a:lnTo>
                    <a:lnTo>
                      <a:pt x="124" y="36"/>
                    </a:lnTo>
                    <a:lnTo>
                      <a:pt x="133" y="39"/>
                    </a:lnTo>
                    <a:lnTo>
                      <a:pt x="147" y="42"/>
                    </a:lnTo>
                    <a:lnTo>
                      <a:pt x="160" y="39"/>
                    </a:lnTo>
                    <a:lnTo>
                      <a:pt x="169" y="36"/>
                    </a:lnTo>
                    <a:lnTo>
                      <a:pt x="176" y="32"/>
                    </a:lnTo>
                    <a:lnTo>
                      <a:pt x="187" y="24"/>
                    </a:lnTo>
                    <a:lnTo>
                      <a:pt x="197" y="16"/>
                    </a:lnTo>
                    <a:lnTo>
                      <a:pt x="201" y="14"/>
                    </a:lnTo>
                    <a:lnTo>
                      <a:pt x="212" y="7"/>
                    </a:lnTo>
                    <a:lnTo>
                      <a:pt x="223" y="3"/>
                    </a:lnTo>
                    <a:lnTo>
                      <a:pt x="226" y="3"/>
                    </a:lnTo>
                    <a:lnTo>
                      <a:pt x="240" y="0"/>
                    </a:lnTo>
                    <a:lnTo>
                      <a:pt x="253" y="3"/>
                    </a:lnTo>
                    <a:lnTo>
                      <a:pt x="257" y="3"/>
                    </a:lnTo>
                    <a:lnTo>
                      <a:pt x="269" y="7"/>
                    </a:lnTo>
                    <a:lnTo>
                      <a:pt x="282" y="16"/>
                    </a:lnTo>
                    <a:lnTo>
                      <a:pt x="292" y="24"/>
                    </a:lnTo>
                    <a:lnTo>
                      <a:pt x="304" y="32"/>
                    </a:lnTo>
                    <a:lnTo>
                      <a:pt x="310" y="36"/>
                    </a:lnTo>
                    <a:lnTo>
                      <a:pt x="319" y="39"/>
                    </a:lnTo>
                    <a:lnTo>
                      <a:pt x="333" y="42"/>
                    </a:lnTo>
                    <a:lnTo>
                      <a:pt x="346" y="39"/>
                    </a:lnTo>
                    <a:lnTo>
                      <a:pt x="355" y="36"/>
                    </a:lnTo>
                    <a:lnTo>
                      <a:pt x="364" y="31"/>
                    </a:lnTo>
                    <a:lnTo>
                      <a:pt x="383" y="16"/>
                    </a:lnTo>
                    <a:lnTo>
                      <a:pt x="386" y="14"/>
                    </a:lnTo>
                    <a:lnTo>
                      <a:pt x="398" y="7"/>
                    </a:lnTo>
                    <a:lnTo>
                      <a:pt x="410" y="3"/>
                    </a:lnTo>
                    <a:lnTo>
                      <a:pt x="413" y="3"/>
                    </a:lnTo>
                    <a:lnTo>
                      <a:pt x="427" y="0"/>
                    </a:lnTo>
                    <a:lnTo>
                      <a:pt x="439" y="3"/>
                    </a:lnTo>
                    <a:lnTo>
                      <a:pt x="442" y="3"/>
                    </a:lnTo>
                    <a:lnTo>
                      <a:pt x="452" y="8"/>
                    </a:lnTo>
                    <a:lnTo>
                      <a:pt x="456" y="10"/>
                    </a:lnTo>
                    <a:lnTo>
                      <a:pt x="464" y="17"/>
                    </a:lnTo>
                    <a:lnTo>
                      <a:pt x="473" y="24"/>
                    </a:lnTo>
                    <a:lnTo>
                      <a:pt x="460" y="39"/>
                    </a:lnTo>
                    <a:lnTo>
                      <a:pt x="449" y="32"/>
                    </a:lnTo>
                    <a:lnTo>
                      <a:pt x="442" y="26"/>
                    </a:lnTo>
                    <a:lnTo>
                      <a:pt x="436" y="22"/>
                    </a:lnTo>
                    <a:lnTo>
                      <a:pt x="427" y="20"/>
                    </a:lnTo>
                    <a:lnTo>
                      <a:pt x="415" y="23"/>
                    </a:lnTo>
                    <a:lnTo>
                      <a:pt x="405" y="26"/>
                    </a:lnTo>
                    <a:lnTo>
                      <a:pt x="396" y="32"/>
                    </a:lnTo>
                    <a:lnTo>
                      <a:pt x="377" y="46"/>
                    </a:lnTo>
                    <a:lnTo>
                      <a:pt x="374" y="48"/>
                    </a:lnTo>
                    <a:lnTo>
                      <a:pt x="363" y="55"/>
                    </a:lnTo>
                    <a:lnTo>
                      <a:pt x="351" y="60"/>
                    </a:lnTo>
                    <a:lnTo>
                      <a:pt x="346" y="60"/>
                    </a:lnTo>
                    <a:lnTo>
                      <a:pt x="333" y="62"/>
                    </a:lnTo>
                    <a:lnTo>
                      <a:pt x="319" y="60"/>
                    </a:lnTo>
                    <a:lnTo>
                      <a:pt x="315" y="60"/>
                    </a:lnTo>
                    <a:lnTo>
                      <a:pt x="302" y="55"/>
                    </a:lnTo>
                    <a:lnTo>
                      <a:pt x="289" y="46"/>
                    </a:lnTo>
                    <a:lnTo>
                      <a:pt x="278" y="38"/>
                    </a:lnTo>
                    <a:lnTo>
                      <a:pt x="268" y="31"/>
                    </a:lnTo>
                    <a:lnTo>
                      <a:pt x="261" y="26"/>
                    </a:lnTo>
                    <a:lnTo>
                      <a:pt x="251" y="23"/>
                    </a:lnTo>
                    <a:lnTo>
                      <a:pt x="240" y="20"/>
                    </a:lnTo>
                    <a:lnTo>
                      <a:pt x="230" y="23"/>
                    </a:lnTo>
                    <a:lnTo>
                      <a:pt x="220" y="26"/>
                    </a:lnTo>
                    <a:lnTo>
                      <a:pt x="211" y="32"/>
                    </a:lnTo>
                    <a:lnTo>
                      <a:pt x="202" y="38"/>
                    </a:lnTo>
                    <a:lnTo>
                      <a:pt x="190" y="46"/>
                    </a:lnTo>
                    <a:lnTo>
                      <a:pt x="177" y="55"/>
                    </a:lnTo>
                    <a:lnTo>
                      <a:pt x="165" y="60"/>
                    </a:lnTo>
                    <a:lnTo>
                      <a:pt x="160" y="60"/>
                    </a:lnTo>
                    <a:lnTo>
                      <a:pt x="147" y="62"/>
                    </a:lnTo>
                    <a:lnTo>
                      <a:pt x="133" y="60"/>
                    </a:lnTo>
                    <a:lnTo>
                      <a:pt x="129" y="60"/>
                    </a:lnTo>
                    <a:lnTo>
                      <a:pt x="117" y="55"/>
                    </a:lnTo>
                    <a:lnTo>
                      <a:pt x="103" y="46"/>
                    </a:lnTo>
                    <a:lnTo>
                      <a:pt x="92" y="38"/>
                    </a:lnTo>
                    <a:lnTo>
                      <a:pt x="83" y="32"/>
                    </a:lnTo>
                    <a:lnTo>
                      <a:pt x="74" y="26"/>
                    </a:lnTo>
                    <a:lnTo>
                      <a:pt x="64" y="23"/>
                    </a:lnTo>
                    <a:lnTo>
                      <a:pt x="53" y="20"/>
                    </a:lnTo>
                    <a:lnTo>
                      <a:pt x="43" y="23"/>
                    </a:lnTo>
                    <a:lnTo>
                      <a:pt x="32" y="27"/>
                    </a:lnTo>
                    <a:lnTo>
                      <a:pt x="23" y="33"/>
                    </a:lnTo>
                    <a:lnTo>
                      <a:pt x="12" y="41"/>
                    </a:lnTo>
                    <a:lnTo>
                      <a:pt x="0" y="25"/>
                    </a:lnTo>
                    <a:lnTo>
                      <a:pt x="9" y="17"/>
                    </a:lnTo>
                    <a:lnTo>
                      <a:pt x="12" y="15"/>
                    </a:lnTo>
                    <a:lnTo>
                      <a:pt x="24" y="8"/>
                    </a:lnTo>
                    <a:lnTo>
                      <a:pt x="36" y="3"/>
                    </a:lnTo>
                    <a:lnTo>
                      <a:pt x="39" y="3"/>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grpSp>
      </p:grpSp>
      <p:grpSp>
        <p:nvGrpSpPr>
          <p:cNvPr id="25" name="Group 24">
            <a:extLst>
              <a:ext uri="{FF2B5EF4-FFF2-40B4-BE49-F238E27FC236}">
                <a16:creationId xmlns:a16="http://schemas.microsoft.com/office/drawing/2014/main" id="{B95FA7D7-5B53-4844-A46B-39438B50D86B}"/>
              </a:ext>
            </a:extLst>
          </p:cNvPr>
          <p:cNvGrpSpPr/>
          <p:nvPr/>
        </p:nvGrpSpPr>
        <p:grpSpPr bwMode="gray">
          <a:xfrm>
            <a:off x="1277130" y="1755793"/>
            <a:ext cx="9659340" cy="81185"/>
            <a:chOff x="1908219" y="1532797"/>
            <a:chExt cx="5833026" cy="99318"/>
          </a:xfrm>
        </p:grpSpPr>
        <p:grpSp>
          <p:nvGrpSpPr>
            <p:cNvPr id="26" name="Group 25">
              <a:extLst>
                <a:ext uri="{FF2B5EF4-FFF2-40B4-BE49-F238E27FC236}">
                  <a16:creationId xmlns:a16="http://schemas.microsoft.com/office/drawing/2014/main" id="{946BD695-29B2-4BD5-A881-77F9BC2A75CC}"/>
                </a:ext>
              </a:extLst>
            </p:cNvPr>
            <p:cNvGrpSpPr/>
            <p:nvPr/>
          </p:nvGrpSpPr>
          <p:grpSpPr bwMode="gray">
            <a:xfrm>
              <a:off x="1908219" y="1532797"/>
              <a:ext cx="1578889" cy="99318"/>
              <a:chOff x="-1136994" y="1217273"/>
              <a:chExt cx="1578889" cy="99318"/>
            </a:xfrm>
            <a:solidFill>
              <a:schemeClr val="bg1"/>
            </a:solidFill>
          </p:grpSpPr>
          <p:sp>
            <p:nvSpPr>
              <p:cNvPr id="34" name="Freeform 175">
                <a:extLst>
                  <a:ext uri="{FF2B5EF4-FFF2-40B4-BE49-F238E27FC236}">
                    <a16:creationId xmlns:a16="http://schemas.microsoft.com/office/drawing/2014/main" id="{BAFA9A37-C8CE-4DF2-9066-20F0359BE050}"/>
                  </a:ext>
                </a:extLst>
              </p:cNvPr>
              <p:cNvSpPr>
                <a:spLocks/>
              </p:cNvSpPr>
              <p:nvPr/>
            </p:nvSpPr>
            <p:spPr bwMode="gray">
              <a:xfrm>
                <a:off x="-308993" y="1221341"/>
                <a:ext cx="750888" cy="95250"/>
              </a:xfrm>
              <a:custGeom>
                <a:avLst/>
                <a:gdLst>
                  <a:gd name="T0" fmla="*/ 66 w 473"/>
                  <a:gd name="T1" fmla="*/ 2 h 60"/>
                  <a:gd name="T2" fmla="*/ 82 w 473"/>
                  <a:gd name="T3" fmla="*/ 7 h 60"/>
                  <a:gd name="T4" fmla="*/ 96 w 473"/>
                  <a:gd name="T5" fmla="*/ 15 h 60"/>
                  <a:gd name="T6" fmla="*/ 114 w 473"/>
                  <a:gd name="T7" fmla="*/ 28 h 60"/>
                  <a:gd name="T8" fmla="*/ 124 w 473"/>
                  <a:gd name="T9" fmla="*/ 35 h 60"/>
                  <a:gd name="T10" fmla="*/ 147 w 473"/>
                  <a:gd name="T11" fmla="*/ 40 h 60"/>
                  <a:gd name="T12" fmla="*/ 169 w 473"/>
                  <a:gd name="T13" fmla="*/ 35 h 60"/>
                  <a:gd name="T14" fmla="*/ 179 w 473"/>
                  <a:gd name="T15" fmla="*/ 28 h 60"/>
                  <a:gd name="T16" fmla="*/ 197 w 473"/>
                  <a:gd name="T17" fmla="*/ 15 h 60"/>
                  <a:gd name="T18" fmla="*/ 212 w 473"/>
                  <a:gd name="T19" fmla="*/ 7 h 60"/>
                  <a:gd name="T20" fmla="*/ 226 w 473"/>
                  <a:gd name="T21" fmla="*/ 2 h 60"/>
                  <a:gd name="T22" fmla="*/ 253 w 473"/>
                  <a:gd name="T23" fmla="*/ 2 h 60"/>
                  <a:gd name="T24" fmla="*/ 269 w 473"/>
                  <a:gd name="T25" fmla="*/ 7 h 60"/>
                  <a:gd name="T26" fmla="*/ 292 w 473"/>
                  <a:gd name="T27" fmla="*/ 23 h 60"/>
                  <a:gd name="T28" fmla="*/ 300 w 473"/>
                  <a:gd name="T29" fmla="*/ 28 h 60"/>
                  <a:gd name="T30" fmla="*/ 319 w 473"/>
                  <a:gd name="T31" fmla="*/ 38 h 60"/>
                  <a:gd name="T32" fmla="*/ 346 w 473"/>
                  <a:gd name="T33" fmla="*/ 38 h 60"/>
                  <a:gd name="T34" fmla="*/ 366 w 473"/>
                  <a:gd name="T35" fmla="*/ 28 h 60"/>
                  <a:gd name="T36" fmla="*/ 383 w 473"/>
                  <a:gd name="T37" fmla="*/ 15 h 60"/>
                  <a:gd name="T38" fmla="*/ 398 w 473"/>
                  <a:gd name="T39" fmla="*/ 7 h 60"/>
                  <a:gd name="T40" fmla="*/ 413 w 473"/>
                  <a:gd name="T41" fmla="*/ 2 h 60"/>
                  <a:gd name="T42" fmla="*/ 439 w 473"/>
                  <a:gd name="T43" fmla="*/ 2 h 60"/>
                  <a:gd name="T44" fmla="*/ 452 w 473"/>
                  <a:gd name="T45" fmla="*/ 8 h 60"/>
                  <a:gd name="T46" fmla="*/ 464 w 473"/>
                  <a:gd name="T47" fmla="*/ 17 h 60"/>
                  <a:gd name="T48" fmla="*/ 460 w 473"/>
                  <a:gd name="T49" fmla="*/ 39 h 60"/>
                  <a:gd name="T50" fmla="*/ 442 w 473"/>
                  <a:gd name="T51" fmla="*/ 26 h 60"/>
                  <a:gd name="T52" fmla="*/ 427 w 473"/>
                  <a:gd name="T53" fmla="*/ 20 h 60"/>
                  <a:gd name="T54" fmla="*/ 405 w 473"/>
                  <a:gd name="T55" fmla="*/ 26 h 60"/>
                  <a:gd name="T56" fmla="*/ 387 w 473"/>
                  <a:gd name="T57" fmla="*/ 38 h 60"/>
                  <a:gd name="T58" fmla="*/ 363 w 473"/>
                  <a:gd name="T59" fmla="*/ 54 h 60"/>
                  <a:gd name="T60" fmla="*/ 346 w 473"/>
                  <a:gd name="T61" fmla="*/ 58 h 60"/>
                  <a:gd name="T62" fmla="*/ 319 w 473"/>
                  <a:gd name="T63" fmla="*/ 58 h 60"/>
                  <a:gd name="T64" fmla="*/ 302 w 473"/>
                  <a:gd name="T65" fmla="*/ 54 h 60"/>
                  <a:gd name="T66" fmla="*/ 278 w 473"/>
                  <a:gd name="T67" fmla="*/ 38 h 60"/>
                  <a:gd name="T68" fmla="*/ 261 w 473"/>
                  <a:gd name="T69" fmla="*/ 26 h 60"/>
                  <a:gd name="T70" fmla="*/ 240 w 473"/>
                  <a:gd name="T71" fmla="*/ 20 h 60"/>
                  <a:gd name="T72" fmla="*/ 220 w 473"/>
                  <a:gd name="T73" fmla="*/ 26 h 60"/>
                  <a:gd name="T74" fmla="*/ 202 w 473"/>
                  <a:gd name="T75" fmla="*/ 38 h 60"/>
                  <a:gd name="T76" fmla="*/ 177 w 473"/>
                  <a:gd name="T77" fmla="*/ 54 h 60"/>
                  <a:gd name="T78" fmla="*/ 160 w 473"/>
                  <a:gd name="T79" fmla="*/ 58 h 60"/>
                  <a:gd name="T80" fmla="*/ 133 w 473"/>
                  <a:gd name="T81" fmla="*/ 58 h 60"/>
                  <a:gd name="T82" fmla="*/ 117 w 473"/>
                  <a:gd name="T83" fmla="*/ 54 h 60"/>
                  <a:gd name="T84" fmla="*/ 92 w 473"/>
                  <a:gd name="T85" fmla="*/ 38 h 60"/>
                  <a:gd name="T86" fmla="*/ 74 w 473"/>
                  <a:gd name="T87" fmla="*/ 26 h 60"/>
                  <a:gd name="T88" fmla="*/ 53 w 473"/>
                  <a:gd name="T89" fmla="*/ 20 h 60"/>
                  <a:gd name="T90" fmla="*/ 32 w 473"/>
                  <a:gd name="T91" fmla="*/ 27 h 60"/>
                  <a:gd name="T92" fmla="*/ 11 w 473"/>
                  <a:gd name="T93" fmla="*/ 40 h 60"/>
                  <a:gd name="T94" fmla="*/ 9 w 473"/>
                  <a:gd name="T95" fmla="*/ 17 h 60"/>
                  <a:gd name="T96" fmla="*/ 24 w 473"/>
                  <a:gd name="T97" fmla="*/ 8 h 60"/>
                  <a:gd name="T98" fmla="*/ 39 w 473"/>
                  <a:gd name="T99"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3" h="60">
                    <a:moveTo>
                      <a:pt x="53" y="0"/>
                    </a:moveTo>
                    <a:lnTo>
                      <a:pt x="66" y="2"/>
                    </a:lnTo>
                    <a:lnTo>
                      <a:pt x="70" y="2"/>
                    </a:lnTo>
                    <a:lnTo>
                      <a:pt x="82" y="7"/>
                    </a:lnTo>
                    <a:lnTo>
                      <a:pt x="93" y="13"/>
                    </a:lnTo>
                    <a:lnTo>
                      <a:pt x="96" y="15"/>
                    </a:lnTo>
                    <a:lnTo>
                      <a:pt x="107" y="23"/>
                    </a:lnTo>
                    <a:lnTo>
                      <a:pt x="114" y="28"/>
                    </a:lnTo>
                    <a:lnTo>
                      <a:pt x="114" y="28"/>
                    </a:lnTo>
                    <a:lnTo>
                      <a:pt x="124" y="35"/>
                    </a:lnTo>
                    <a:lnTo>
                      <a:pt x="133" y="38"/>
                    </a:lnTo>
                    <a:lnTo>
                      <a:pt x="147" y="40"/>
                    </a:lnTo>
                    <a:lnTo>
                      <a:pt x="160" y="38"/>
                    </a:lnTo>
                    <a:lnTo>
                      <a:pt x="169" y="35"/>
                    </a:lnTo>
                    <a:lnTo>
                      <a:pt x="179" y="28"/>
                    </a:lnTo>
                    <a:lnTo>
                      <a:pt x="179" y="28"/>
                    </a:lnTo>
                    <a:lnTo>
                      <a:pt x="187" y="23"/>
                    </a:lnTo>
                    <a:lnTo>
                      <a:pt x="197" y="15"/>
                    </a:lnTo>
                    <a:lnTo>
                      <a:pt x="201" y="13"/>
                    </a:lnTo>
                    <a:lnTo>
                      <a:pt x="212" y="7"/>
                    </a:lnTo>
                    <a:lnTo>
                      <a:pt x="223" y="2"/>
                    </a:lnTo>
                    <a:lnTo>
                      <a:pt x="226" y="2"/>
                    </a:lnTo>
                    <a:lnTo>
                      <a:pt x="240" y="0"/>
                    </a:lnTo>
                    <a:lnTo>
                      <a:pt x="253" y="2"/>
                    </a:lnTo>
                    <a:lnTo>
                      <a:pt x="257" y="2"/>
                    </a:lnTo>
                    <a:lnTo>
                      <a:pt x="269" y="7"/>
                    </a:lnTo>
                    <a:lnTo>
                      <a:pt x="282" y="15"/>
                    </a:lnTo>
                    <a:lnTo>
                      <a:pt x="292" y="23"/>
                    </a:lnTo>
                    <a:lnTo>
                      <a:pt x="300" y="28"/>
                    </a:lnTo>
                    <a:lnTo>
                      <a:pt x="300" y="28"/>
                    </a:lnTo>
                    <a:lnTo>
                      <a:pt x="310" y="35"/>
                    </a:lnTo>
                    <a:lnTo>
                      <a:pt x="319" y="38"/>
                    </a:lnTo>
                    <a:lnTo>
                      <a:pt x="333" y="40"/>
                    </a:lnTo>
                    <a:lnTo>
                      <a:pt x="346" y="38"/>
                    </a:lnTo>
                    <a:lnTo>
                      <a:pt x="355" y="35"/>
                    </a:lnTo>
                    <a:lnTo>
                      <a:pt x="366" y="28"/>
                    </a:lnTo>
                    <a:lnTo>
                      <a:pt x="373" y="23"/>
                    </a:lnTo>
                    <a:lnTo>
                      <a:pt x="383" y="15"/>
                    </a:lnTo>
                    <a:lnTo>
                      <a:pt x="386" y="13"/>
                    </a:lnTo>
                    <a:lnTo>
                      <a:pt x="398" y="7"/>
                    </a:lnTo>
                    <a:lnTo>
                      <a:pt x="410" y="2"/>
                    </a:lnTo>
                    <a:lnTo>
                      <a:pt x="413" y="2"/>
                    </a:lnTo>
                    <a:lnTo>
                      <a:pt x="427" y="0"/>
                    </a:lnTo>
                    <a:lnTo>
                      <a:pt x="439" y="2"/>
                    </a:lnTo>
                    <a:lnTo>
                      <a:pt x="442" y="2"/>
                    </a:lnTo>
                    <a:lnTo>
                      <a:pt x="452" y="8"/>
                    </a:lnTo>
                    <a:lnTo>
                      <a:pt x="456" y="10"/>
                    </a:lnTo>
                    <a:lnTo>
                      <a:pt x="464" y="17"/>
                    </a:lnTo>
                    <a:lnTo>
                      <a:pt x="473" y="23"/>
                    </a:lnTo>
                    <a:lnTo>
                      <a:pt x="460" y="39"/>
                    </a:lnTo>
                    <a:lnTo>
                      <a:pt x="449" y="31"/>
                    </a:lnTo>
                    <a:lnTo>
                      <a:pt x="442" y="26"/>
                    </a:lnTo>
                    <a:lnTo>
                      <a:pt x="436" y="21"/>
                    </a:lnTo>
                    <a:lnTo>
                      <a:pt x="427" y="20"/>
                    </a:lnTo>
                    <a:lnTo>
                      <a:pt x="415" y="22"/>
                    </a:lnTo>
                    <a:lnTo>
                      <a:pt x="405" y="26"/>
                    </a:lnTo>
                    <a:lnTo>
                      <a:pt x="396" y="31"/>
                    </a:lnTo>
                    <a:lnTo>
                      <a:pt x="387" y="38"/>
                    </a:lnTo>
                    <a:lnTo>
                      <a:pt x="374" y="47"/>
                    </a:lnTo>
                    <a:lnTo>
                      <a:pt x="363" y="54"/>
                    </a:lnTo>
                    <a:lnTo>
                      <a:pt x="351" y="58"/>
                    </a:lnTo>
                    <a:lnTo>
                      <a:pt x="346" y="58"/>
                    </a:lnTo>
                    <a:lnTo>
                      <a:pt x="333" y="60"/>
                    </a:lnTo>
                    <a:lnTo>
                      <a:pt x="319" y="58"/>
                    </a:lnTo>
                    <a:lnTo>
                      <a:pt x="315" y="58"/>
                    </a:lnTo>
                    <a:lnTo>
                      <a:pt x="302" y="54"/>
                    </a:lnTo>
                    <a:lnTo>
                      <a:pt x="289" y="45"/>
                    </a:lnTo>
                    <a:lnTo>
                      <a:pt x="278" y="38"/>
                    </a:lnTo>
                    <a:lnTo>
                      <a:pt x="268" y="30"/>
                    </a:lnTo>
                    <a:lnTo>
                      <a:pt x="261" y="26"/>
                    </a:lnTo>
                    <a:lnTo>
                      <a:pt x="251" y="22"/>
                    </a:lnTo>
                    <a:lnTo>
                      <a:pt x="240" y="20"/>
                    </a:lnTo>
                    <a:lnTo>
                      <a:pt x="230" y="22"/>
                    </a:lnTo>
                    <a:lnTo>
                      <a:pt x="220" y="26"/>
                    </a:lnTo>
                    <a:lnTo>
                      <a:pt x="211" y="31"/>
                    </a:lnTo>
                    <a:lnTo>
                      <a:pt x="202" y="38"/>
                    </a:lnTo>
                    <a:lnTo>
                      <a:pt x="190" y="45"/>
                    </a:lnTo>
                    <a:lnTo>
                      <a:pt x="177" y="54"/>
                    </a:lnTo>
                    <a:lnTo>
                      <a:pt x="165" y="58"/>
                    </a:lnTo>
                    <a:lnTo>
                      <a:pt x="160" y="58"/>
                    </a:lnTo>
                    <a:lnTo>
                      <a:pt x="147" y="60"/>
                    </a:lnTo>
                    <a:lnTo>
                      <a:pt x="133" y="58"/>
                    </a:lnTo>
                    <a:lnTo>
                      <a:pt x="129" y="58"/>
                    </a:lnTo>
                    <a:lnTo>
                      <a:pt x="117" y="54"/>
                    </a:lnTo>
                    <a:lnTo>
                      <a:pt x="103" y="45"/>
                    </a:lnTo>
                    <a:lnTo>
                      <a:pt x="92" y="38"/>
                    </a:lnTo>
                    <a:lnTo>
                      <a:pt x="83" y="31"/>
                    </a:lnTo>
                    <a:lnTo>
                      <a:pt x="74" y="26"/>
                    </a:lnTo>
                    <a:lnTo>
                      <a:pt x="64" y="22"/>
                    </a:lnTo>
                    <a:lnTo>
                      <a:pt x="53" y="20"/>
                    </a:lnTo>
                    <a:lnTo>
                      <a:pt x="43" y="22"/>
                    </a:lnTo>
                    <a:lnTo>
                      <a:pt x="32" y="27"/>
                    </a:lnTo>
                    <a:lnTo>
                      <a:pt x="21" y="32"/>
                    </a:lnTo>
                    <a:lnTo>
                      <a:pt x="11" y="40"/>
                    </a:lnTo>
                    <a:lnTo>
                      <a:pt x="0" y="23"/>
                    </a:lnTo>
                    <a:lnTo>
                      <a:pt x="9" y="17"/>
                    </a:lnTo>
                    <a:lnTo>
                      <a:pt x="12" y="14"/>
                    </a:lnTo>
                    <a:lnTo>
                      <a:pt x="24" y="8"/>
                    </a:lnTo>
                    <a:lnTo>
                      <a:pt x="36" y="2"/>
                    </a:lnTo>
                    <a:lnTo>
                      <a:pt x="39" y="2"/>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5" name="Freeform 176">
                <a:extLst>
                  <a:ext uri="{FF2B5EF4-FFF2-40B4-BE49-F238E27FC236}">
                    <a16:creationId xmlns:a16="http://schemas.microsoft.com/office/drawing/2014/main" id="{6DB2419A-8A49-441D-A46F-1E1FF4589673}"/>
                  </a:ext>
                </a:extLst>
              </p:cNvPr>
              <p:cNvSpPr>
                <a:spLocks/>
              </p:cNvSpPr>
              <p:nvPr/>
            </p:nvSpPr>
            <p:spPr bwMode="gray">
              <a:xfrm>
                <a:off x="-1136994" y="1217273"/>
                <a:ext cx="750888" cy="98425"/>
              </a:xfrm>
              <a:custGeom>
                <a:avLst/>
                <a:gdLst>
                  <a:gd name="T0" fmla="*/ 66 w 473"/>
                  <a:gd name="T1" fmla="*/ 3 h 62"/>
                  <a:gd name="T2" fmla="*/ 82 w 473"/>
                  <a:gd name="T3" fmla="*/ 7 h 62"/>
                  <a:gd name="T4" fmla="*/ 96 w 473"/>
                  <a:gd name="T5" fmla="*/ 16 h 62"/>
                  <a:gd name="T6" fmla="*/ 118 w 473"/>
                  <a:gd name="T7" fmla="*/ 32 h 62"/>
                  <a:gd name="T8" fmla="*/ 133 w 473"/>
                  <a:gd name="T9" fmla="*/ 39 h 62"/>
                  <a:gd name="T10" fmla="*/ 160 w 473"/>
                  <a:gd name="T11" fmla="*/ 39 h 62"/>
                  <a:gd name="T12" fmla="*/ 176 w 473"/>
                  <a:gd name="T13" fmla="*/ 32 h 62"/>
                  <a:gd name="T14" fmla="*/ 197 w 473"/>
                  <a:gd name="T15" fmla="*/ 16 h 62"/>
                  <a:gd name="T16" fmla="*/ 212 w 473"/>
                  <a:gd name="T17" fmla="*/ 7 h 62"/>
                  <a:gd name="T18" fmla="*/ 226 w 473"/>
                  <a:gd name="T19" fmla="*/ 3 h 62"/>
                  <a:gd name="T20" fmla="*/ 253 w 473"/>
                  <a:gd name="T21" fmla="*/ 3 h 62"/>
                  <a:gd name="T22" fmla="*/ 269 w 473"/>
                  <a:gd name="T23" fmla="*/ 7 h 62"/>
                  <a:gd name="T24" fmla="*/ 292 w 473"/>
                  <a:gd name="T25" fmla="*/ 24 h 62"/>
                  <a:gd name="T26" fmla="*/ 310 w 473"/>
                  <a:gd name="T27" fmla="*/ 36 h 62"/>
                  <a:gd name="T28" fmla="*/ 333 w 473"/>
                  <a:gd name="T29" fmla="*/ 42 h 62"/>
                  <a:gd name="T30" fmla="*/ 355 w 473"/>
                  <a:gd name="T31" fmla="*/ 36 h 62"/>
                  <a:gd name="T32" fmla="*/ 383 w 473"/>
                  <a:gd name="T33" fmla="*/ 16 h 62"/>
                  <a:gd name="T34" fmla="*/ 398 w 473"/>
                  <a:gd name="T35" fmla="*/ 7 h 62"/>
                  <a:gd name="T36" fmla="*/ 413 w 473"/>
                  <a:gd name="T37" fmla="*/ 3 h 62"/>
                  <a:gd name="T38" fmla="*/ 439 w 473"/>
                  <a:gd name="T39" fmla="*/ 3 h 62"/>
                  <a:gd name="T40" fmla="*/ 452 w 473"/>
                  <a:gd name="T41" fmla="*/ 8 h 62"/>
                  <a:gd name="T42" fmla="*/ 464 w 473"/>
                  <a:gd name="T43" fmla="*/ 17 h 62"/>
                  <a:gd name="T44" fmla="*/ 460 w 473"/>
                  <a:gd name="T45" fmla="*/ 39 h 62"/>
                  <a:gd name="T46" fmla="*/ 442 w 473"/>
                  <a:gd name="T47" fmla="*/ 26 h 62"/>
                  <a:gd name="T48" fmla="*/ 427 w 473"/>
                  <a:gd name="T49" fmla="*/ 20 h 62"/>
                  <a:gd name="T50" fmla="*/ 405 w 473"/>
                  <a:gd name="T51" fmla="*/ 26 h 62"/>
                  <a:gd name="T52" fmla="*/ 377 w 473"/>
                  <a:gd name="T53" fmla="*/ 46 h 62"/>
                  <a:gd name="T54" fmla="*/ 363 w 473"/>
                  <a:gd name="T55" fmla="*/ 55 h 62"/>
                  <a:gd name="T56" fmla="*/ 346 w 473"/>
                  <a:gd name="T57" fmla="*/ 60 h 62"/>
                  <a:gd name="T58" fmla="*/ 319 w 473"/>
                  <a:gd name="T59" fmla="*/ 60 h 62"/>
                  <a:gd name="T60" fmla="*/ 302 w 473"/>
                  <a:gd name="T61" fmla="*/ 55 h 62"/>
                  <a:gd name="T62" fmla="*/ 278 w 473"/>
                  <a:gd name="T63" fmla="*/ 38 h 62"/>
                  <a:gd name="T64" fmla="*/ 261 w 473"/>
                  <a:gd name="T65" fmla="*/ 26 h 62"/>
                  <a:gd name="T66" fmla="*/ 240 w 473"/>
                  <a:gd name="T67" fmla="*/ 20 h 62"/>
                  <a:gd name="T68" fmla="*/ 220 w 473"/>
                  <a:gd name="T69" fmla="*/ 26 h 62"/>
                  <a:gd name="T70" fmla="*/ 202 w 473"/>
                  <a:gd name="T71" fmla="*/ 38 h 62"/>
                  <a:gd name="T72" fmla="*/ 177 w 473"/>
                  <a:gd name="T73" fmla="*/ 55 h 62"/>
                  <a:gd name="T74" fmla="*/ 160 w 473"/>
                  <a:gd name="T75" fmla="*/ 60 h 62"/>
                  <a:gd name="T76" fmla="*/ 133 w 473"/>
                  <a:gd name="T77" fmla="*/ 60 h 62"/>
                  <a:gd name="T78" fmla="*/ 117 w 473"/>
                  <a:gd name="T79" fmla="*/ 55 h 62"/>
                  <a:gd name="T80" fmla="*/ 92 w 473"/>
                  <a:gd name="T81" fmla="*/ 38 h 62"/>
                  <a:gd name="T82" fmla="*/ 74 w 473"/>
                  <a:gd name="T83" fmla="*/ 26 h 62"/>
                  <a:gd name="T84" fmla="*/ 53 w 473"/>
                  <a:gd name="T85" fmla="*/ 20 h 62"/>
                  <a:gd name="T86" fmla="*/ 32 w 473"/>
                  <a:gd name="T87" fmla="*/ 27 h 62"/>
                  <a:gd name="T88" fmla="*/ 12 w 473"/>
                  <a:gd name="T89" fmla="*/ 41 h 62"/>
                  <a:gd name="T90" fmla="*/ 9 w 473"/>
                  <a:gd name="T91" fmla="*/ 17 h 62"/>
                  <a:gd name="T92" fmla="*/ 24 w 473"/>
                  <a:gd name="T93" fmla="*/ 8 h 62"/>
                  <a:gd name="T94" fmla="*/ 39 w 473"/>
                  <a:gd name="T95" fmla="*/ 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3" h="62">
                    <a:moveTo>
                      <a:pt x="53" y="0"/>
                    </a:moveTo>
                    <a:lnTo>
                      <a:pt x="66" y="3"/>
                    </a:lnTo>
                    <a:lnTo>
                      <a:pt x="70" y="3"/>
                    </a:lnTo>
                    <a:lnTo>
                      <a:pt x="82" y="7"/>
                    </a:lnTo>
                    <a:lnTo>
                      <a:pt x="93" y="14"/>
                    </a:lnTo>
                    <a:lnTo>
                      <a:pt x="96" y="16"/>
                    </a:lnTo>
                    <a:lnTo>
                      <a:pt x="107" y="24"/>
                    </a:lnTo>
                    <a:lnTo>
                      <a:pt x="118" y="32"/>
                    </a:lnTo>
                    <a:lnTo>
                      <a:pt x="124" y="36"/>
                    </a:lnTo>
                    <a:lnTo>
                      <a:pt x="133" y="39"/>
                    </a:lnTo>
                    <a:lnTo>
                      <a:pt x="147" y="42"/>
                    </a:lnTo>
                    <a:lnTo>
                      <a:pt x="160" y="39"/>
                    </a:lnTo>
                    <a:lnTo>
                      <a:pt x="169" y="36"/>
                    </a:lnTo>
                    <a:lnTo>
                      <a:pt x="176" y="32"/>
                    </a:lnTo>
                    <a:lnTo>
                      <a:pt x="187" y="24"/>
                    </a:lnTo>
                    <a:lnTo>
                      <a:pt x="197" y="16"/>
                    </a:lnTo>
                    <a:lnTo>
                      <a:pt x="201" y="14"/>
                    </a:lnTo>
                    <a:lnTo>
                      <a:pt x="212" y="7"/>
                    </a:lnTo>
                    <a:lnTo>
                      <a:pt x="223" y="3"/>
                    </a:lnTo>
                    <a:lnTo>
                      <a:pt x="226" y="3"/>
                    </a:lnTo>
                    <a:lnTo>
                      <a:pt x="240" y="0"/>
                    </a:lnTo>
                    <a:lnTo>
                      <a:pt x="253" y="3"/>
                    </a:lnTo>
                    <a:lnTo>
                      <a:pt x="257" y="3"/>
                    </a:lnTo>
                    <a:lnTo>
                      <a:pt x="269" y="7"/>
                    </a:lnTo>
                    <a:lnTo>
                      <a:pt x="282" y="16"/>
                    </a:lnTo>
                    <a:lnTo>
                      <a:pt x="292" y="24"/>
                    </a:lnTo>
                    <a:lnTo>
                      <a:pt x="304" y="32"/>
                    </a:lnTo>
                    <a:lnTo>
                      <a:pt x="310" y="36"/>
                    </a:lnTo>
                    <a:lnTo>
                      <a:pt x="319" y="39"/>
                    </a:lnTo>
                    <a:lnTo>
                      <a:pt x="333" y="42"/>
                    </a:lnTo>
                    <a:lnTo>
                      <a:pt x="346" y="39"/>
                    </a:lnTo>
                    <a:lnTo>
                      <a:pt x="355" y="36"/>
                    </a:lnTo>
                    <a:lnTo>
                      <a:pt x="364" y="31"/>
                    </a:lnTo>
                    <a:lnTo>
                      <a:pt x="383" y="16"/>
                    </a:lnTo>
                    <a:lnTo>
                      <a:pt x="386" y="14"/>
                    </a:lnTo>
                    <a:lnTo>
                      <a:pt x="398" y="7"/>
                    </a:lnTo>
                    <a:lnTo>
                      <a:pt x="410" y="3"/>
                    </a:lnTo>
                    <a:lnTo>
                      <a:pt x="413" y="3"/>
                    </a:lnTo>
                    <a:lnTo>
                      <a:pt x="427" y="0"/>
                    </a:lnTo>
                    <a:lnTo>
                      <a:pt x="439" y="3"/>
                    </a:lnTo>
                    <a:lnTo>
                      <a:pt x="442" y="3"/>
                    </a:lnTo>
                    <a:lnTo>
                      <a:pt x="452" y="8"/>
                    </a:lnTo>
                    <a:lnTo>
                      <a:pt x="456" y="10"/>
                    </a:lnTo>
                    <a:lnTo>
                      <a:pt x="464" y="17"/>
                    </a:lnTo>
                    <a:lnTo>
                      <a:pt x="473" y="24"/>
                    </a:lnTo>
                    <a:lnTo>
                      <a:pt x="460" y="39"/>
                    </a:lnTo>
                    <a:lnTo>
                      <a:pt x="449" y="32"/>
                    </a:lnTo>
                    <a:lnTo>
                      <a:pt x="442" y="26"/>
                    </a:lnTo>
                    <a:lnTo>
                      <a:pt x="436" y="22"/>
                    </a:lnTo>
                    <a:lnTo>
                      <a:pt x="427" y="20"/>
                    </a:lnTo>
                    <a:lnTo>
                      <a:pt x="415" y="23"/>
                    </a:lnTo>
                    <a:lnTo>
                      <a:pt x="405" y="26"/>
                    </a:lnTo>
                    <a:lnTo>
                      <a:pt x="396" y="32"/>
                    </a:lnTo>
                    <a:lnTo>
                      <a:pt x="377" y="46"/>
                    </a:lnTo>
                    <a:lnTo>
                      <a:pt x="374" y="48"/>
                    </a:lnTo>
                    <a:lnTo>
                      <a:pt x="363" y="55"/>
                    </a:lnTo>
                    <a:lnTo>
                      <a:pt x="351" y="60"/>
                    </a:lnTo>
                    <a:lnTo>
                      <a:pt x="346" y="60"/>
                    </a:lnTo>
                    <a:lnTo>
                      <a:pt x="333" y="62"/>
                    </a:lnTo>
                    <a:lnTo>
                      <a:pt x="319" y="60"/>
                    </a:lnTo>
                    <a:lnTo>
                      <a:pt x="315" y="60"/>
                    </a:lnTo>
                    <a:lnTo>
                      <a:pt x="302" y="55"/>
                    </a:lnTo>
                    <a:lnTo>
                      <a:pt x="289" y="46"/>
                    </a:lnTo>
                    <a:lnTo>
                      <a:pt x="278" y="38"/>
                    </a:lnTo>
                    <a:lnTo>
                      <a:pt x="268" y="31"/>
                    </a:lnTo>
                    <a:lnTo>
                      <a:pt x="261" y="26"/>
                    </a:lnTo>
                    <a:lnTo>
                      <a:pt x="251" y="23"/>
                    </a:lnTo>
                    <a:lnTo>
                      <a:pt x="240" y="20"/>
                    </a:lnTo>
                    <a:lnTo>
                      <a:pt x="230" y="23"/>
                    </a:lnTo>
                    <a:lnTo>
                      <a:pt x="220" y="26"/>
                    </a:lnTo>
                    <a:lnTo>
                      <a:pt x="211" y="32"/>
                    </a:lnTo>
                    <a:lnTo>
                      <a:pt x="202" y="38"/>
                    </a:lnTo>
                    <a:lnTo>
                      <a:pt x="190" y="46"/>
                    </a:lnTo>
                    <a:lnTo>
                      <a:pt x="177" y="55"/>
                    </a:lnTo>
                    <a:lnTo>
                      <a:pt x="165" y="60"/>
                    </a:lnTo>
                    <a:lnTo>
                      <a:pt x="160" y="60"/>
                    </a:lnTo>
                    <a:lnTo>
                      <a:pt x="147" y="62"/>
                    </a:lnTo>
                    <a:lnTo>
                      <a:pt x="133" y="60"/>
                    </a:lnTo>
                    <a:lnTo>
                      <a:pt x="129" y="60"/>
                    </a:lnTo>
                    <a:lnTo>
                      <a:pt x="117" y="55"/>
                    </a:lnTo>
                    <a:lnTo>
                      <a:pt x="103" y="46"/>
                    </a:lnTo>
                    <a:lnTo>
                      <a:pt x="92" y="38"/>
                    </a:lnTo>
                    <a:lnTo>
                      <a:pt x="83" y="32"/>
                    </a:lnTo>
                    <a:lnTo>
                      <a:pt x="74" y="26"/>
                    </a:lnTo>
                    <a:lnTo>
                      <a:pt x="64" y="23"/>
                    </a:lnTo>
                    <a:lnTo>
                      <a:pt x="53" y="20"/>
                    </a:lnTo>
                    <a:lnTo>
                      <a:pt x="43" y="23"/>
                    </a:lnTo>
                    <a:lnTo>
                      <a:pt x="32" y="27"/>
                    </a:lnTo>
                    <a:lnTo>
                      <a:pt x="23" y="33"/>
                    </a:lnTo>
                    <a:lnTo>
                      <a:pt x="12" y="41"/>
                    </a:lnTo>
                    <a:lnTo>
                      <a:pt x="0" y="25"/>
                    </a:lnTo>
                    <a:lnTo>
                      <a:pt x="9" y="17"/>
                    </a:lnTo>
                    <a:lnTo>
                      <a:pt x="12" y="15"/>
                    </a:lnTo>
                    <a:lnTo>
                      <a:pt x="24" y="8"/>
                    </a:lnTo>
                    <a:lnTo>
                      <a:pt x="36" y="3"/>
                    </a:lnTo>
                    <a:lnTo>
                      <a:pt x="39" y="3"/>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grpSp>
        <p:grpSp>
          <p:nvGrpSpPr>
            <p:cNvPr id="27" name="Group 26">
              <a:extLst>
                <a:ext uri="{FF2B5EF4-FFF2-40B4-BE49-F238E27FC236}">
                  <a16:creationId xmlns:a16="http://schemas.microsoft.com/office/drawing/2014/main" id="{ECC1C5B0-16BA-48A2-8652-4B8318688D6D}"/>
                </a:ext>
              </a:extLst>
            </p:cNvPr>
            <p:cNvGrpSpPr/>
            <p:nvPr/>
          </p:nvGrpSpPr>
          <p:grpSpPr bwMode="gray">
            <a:xfrm>
              <a:off x="3602265" y="1532797"/>
              <a:ext cx="1578889" cy="99318"/>
              <a:chOff x="-1136994" y="1217273"/>
              <a:chExt cx="1578889" cy="99318"/>
            </a:xfrm>
            <a:solidFill>
              <a:schemeClr val="bg1"/>
            </a:solidFill>
          </p:grpSpPr>
          <p:sp>
            <p:nvSpPr>
              <p:cNvPr id="32" name="Freeform 175">
                <a:extLst>
                  <a:ext uri="{FF2B5EF4-FFF2-40B4-BE49-F238E27FC236}">
                    <a16:creationId xmlns:a16="http://schemas.microsoft.com/office/drawing/2014/main" id="{73B1FA68-0EBD-4E8A-8713-2886ACF58928}"/>
                  </a:ext>
                </a:extLst>
              </p:cNvPr>
              <p:cNvSpPr>
                <a:spLocks/>
              </p:cNvSpPr>
              <p:nvPr/>
            </p:nvSpPr>
            <p:spPr bwMode="gray">
              <a:xfrm>
                <a:off x="-308993" y="1221341"/>
                <a:ext cx="750888" cy="95250"/>
              </a:xfrm>
              <a:custGeom>
                <a:avLst/>
                <a:gdLst>
                  <a:gd name="T0" fmla="*/ 66 w 473"/>
                  <a:gd name="T1" fmla="*/ 2 h 60"/>
                  <a:gd name="T2" fmla="*/ 82 w 473"/>
                  <a:gd name="T3" fmla="*/ 7 h 60"/>
                  <a:gd name="T4" fmla="*/ 96 w 473"/>
                  <a:gd name="T5" fmla="*/ 15 h 60"/>
                  <a:gd name="T6" fmla="*/ 114 w 473"/>
                  <a:gd name="T7" fmla="*/ 28 h 60"/>
                  <a:gd name="T8" fmla="*/ 124 w 473"/>
                  <a:gd name="T9" fmla="*/ 35 h 60"/>
                  <a:gd name="T10" fmla="*/ 147 w 473"/>
                  <a:gd name="T11" fmla="*/ 40 h 60"/>
                  <a:gd name="T12" fmla="*/ 169 w 473"/>
                  <a:gd name="T13" fmla="*/ 35 h 60"/>
                  <a:gd name="T14" fmla="*/ 179 w 473"/>
                  <a:gd name="T15" fmla="*/ 28 h 60"/>
                  <a:gd name="T16" fmla="*/ 197 w 473"/>
                  <a:gd name="T17" fmla="*/ 15 h 60"/>
                  <a:gd name="T18" fmla="*/ 212 w 473"/>
                  <a:gd name="T19" fmla="*/ 7 h 60"/>
                  <a:gd name="T20" fmla="*/ 226 w 473"/>
                  <a:gd name="T21" fmla="*/ 2 h 60"/>
                  <a:gd name="T22" fmla="*/ 253 w 473"/>
                  <a:gd name="T23" fmla="*/ 2 h 60"/>
                  <a:gd name="T24" fmla="*/ 269 w 473"/>
                  <a:gd name="T25" fmla="*/ 7 h 60"/>
                  <a:gd name="T26" fmla="*/ 292 w 473"/>
                  <a:gd name="T27" fmla="*/ 23 h 60"/>
                  <a:gd name="T28" fmla="*/ 300 w 473"/>
                  <a:gd name="T29" fmla="*/ 28 h 60"/>
                  <a:gd name="T30" fmla="*/ 319 w 473"/>
                  <a:gd name="T31" fmla="*/ 38 h 60"/>
                  <a:gd name="T32" fmla="*/ 346 w 473"/>
                  <a:gd name="T33" fmla="*/ 38 h 60"/>
                  <a:gd name="T34" fmla="*/ 366 w 473"/>
                  <a:gd name="T35" fmla="*/ 28 h 60"/>
                  <a:gd name="T36" fmla="*/ 383 w 473"/>
                  <a:gd name="T37" fmla="*/ 15 h 60"/>
                  <a:gd name="T38" fmla="*/ 398 w 473"/>
                  <a:gd name="T39" fmla="*/ 7 h 60"/>
                  <a:gd name="T40" fmla="*/ 413 w 473"/>
                  <a:gd name="T41" fmla="*/ 2 h 60"/>
                  <a:gd name="T42" fmla="*/ 439 w 473"/>
                  <a:gd name="T43" fmla="*/ 2 h 60"/>
                  <a:gd name="T44" fmla="*/ 452 w 473"/>
                  <a:gd name="T45" fmla="*/ 8 h 60"/>
                  <a:gd name="T46" fmla="*/ 464 w 473"/>
                  <a:gd name="T47" fmla="*/ 17 h 60"/>
                  <a:gd name="T48" fmla="*/ 460 w 473"/>
                  <a:gd name="T49" fmla="*/ 39 h 60"/>
                  <a:gd name="T50" fmla="*/ 442 w 473"/>
                  <a:gd name="T51" fmla="*/ 26 h 60"/>
                  <a:gd name="T52" fmla="*/ 427 w 473"/>
                  <a:gd name="T53" fmla="*/ 20 h 60"/>
                  <a:gd name="T54" fmla="*/ 405 w 473"/>
                  <a:gd name="T55" fmla="*/ 26 h 60"/>
                  <a:gd name="T56" fmla="*/ 387 w 473"/>
                  <a:gd name="T57" fmla="*/ 38 h 60"/>
                  <a:gd name="T58" fmla="*/ 363 w 473"/>
                  <a:gd name="T59" fmla="*/ 54 h 60"/>
                  <a:gd name="T60" fmla="*/ 346 w 473"/>
                  <a:gd name="T61" fmla="*/ 58 h 60"/>
                  <a:gd name="T62" fmla="*/ 319 w 473"/>
                  <a:gd name="T63" fmla="*/ 58 h 60"/>
                  <a:gd name="T64" fmla="*/ 302 w 473"/>
                  <a:gd name="T65" fmla="*/ 54 h 60"/>
                  <a:gd name="T66" fmla="*/ 278 w 473"/>
                  <a:gd name="T67" fmla="*/ 38 h 60"/>
                  <a:gd name="T68" fmla="*/ 261 w 473"/>
                  <a:gd name="T69" fmla="*/ 26 h 60"/>
                  <a:gd name="T70" fmla="*/ 240 w 473"/>
                  <a:gd name="T71" fmla="*/ 20 h 60"/>
                  <a:gd name="T72" fmla="*/ 220 w 473"/>
                  <a:gd name="T73" fmla="*/ 26 h 60"/>
                  <a:gd name="T74" fmla="*/ 202 w 473"/>
                  <a:gd name="T75" fmla="*/ 38 h 60"/>
                  <a:gd name="T76" fmla="*/ 177 w 473"/>
                  <a:gd name="T77" fmla="*/ 54 h 60"/>
                  <a:gd name="T78" fmla="*/ 160 w 473"/>
                  <a:gd name="T79" fmla="*/ 58 h 60"/>
                  <a:gd name="T80" fmla="*/ 133 w 473"/>
                  <a:gd name="T81" fmla="*/ 58 h 60"/>
                  <a:gd name="T82" fmla="*/ 117 w 473"/>
                  <a:gd name="T83" fmla="*/ 54 h 60"/>
                  <a:gd name="T84" fmla="*/ 92 w 473"/>
                  <a:gd name="T85" fmla="*/ 38 h 60"/>
                  <a:gd name="T86" fmla="*/ 74 w 473"/>
                  <a:gd name="T87" fmla="*/ 26 h 60"/>
                  <a:gd name="T88" fmla="*/ 53 w 473"/>
                  <a:gd name="T89" fmla="*/ 20 h 60"/>
                  <a:gd name="T90" fmla="*/ 32 w 473"/>
                  <a:gd name="T91" fmla="*/ 27 h 60"/>
                  <a:gd name="T92" fmla="*/ 11 w 473"/>
                  <a:gd name="T93" fmla="*/ 40 h 60"/>
                  <a:gd name="T94" fmla="*/ 9 w 473"/>
                  <a:gd name="T95" fmla="*/ 17 h 60"/>
                  <a:gd name="T96" fmla="*/ 24 w 473"/>
                  <a:gd name="T97" fmla="*/ 8 h 60"/>
                  <a:gd name="T98" fmla="*/ 39 w 473"/>
                  <a:gd name="T99"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3" h="60">
                    <a:moveTo>
                      <a:pt x="53" y="0"/>
                    </a:moveTo>
                    <a:lnTo>
                      <a:pt x="66" y="2"/>
                    </a:lnTo>
                    <a:lnTo>
                      <a:pt x="70" y="2"/>
                    </a:lnTo>
                    <a:lnTo>
                      <a:pt x="82" y="7"/>
                    </a:lnTo>
                    <a:lnTo>
                      <a:pt x="93" y="13"/>
                    </a:lnTo>
                    <a:lnTo>
                      <a:pt x="96" y="15"/>
                    </a:lnTo>
                    <a:lnTo>
                      <a:pt x="107" y="23"/>
                    </a:lnTo>
                    <a:lnTo>
                      <a:pt x="114" y="28"/>
                    </a:lnTo>
                    <a:lnTo>
                      <a:pt x="114" y="28"/>
                    </a:lnTo>
                    <a:lnTo>
                      <a:pt x="124" y="35"/>
                    </a:lnTo>
                    <a:lnTo>
                      <a:pt x="133" y="38"/>
                    </a:lnTo>
                    <a:lnTo>
                      <a:pt x="147" y="40"/>
                    </a:lnTo>
                    <a:lnTo>
                      <a:pt x="160" y="38"/>
                    </a:lnTo>
                    <a:lnTo>
                      <a:pt x="169" y="35"/>
                    </a:lnTo>
                    <a:lnTo>
                      <a:pt x="179" y="28"/>
                    </a:lnTo>
                    <a:lnTo>
                      <a:pt x="179" y="28"/>
                    </a:lnTo>
                    <a:lnTo>
                      <a:pt x="187" y="23"/>
                    </a:lnTo>
                    <a:lnTo>
                      <a:pt x="197" y="15"/>
                    </a:lnTo>
                    <a:lnTo>
                      <a:pt x="201" y="13"/>
                    </a:lnTo>
                    <a:lnTo>
                      <a:pt x="212" y="7"/>
                    </a:lnTo>
                    <a:lnTo>
                      <a:pt x="223" y="2"/>
                    </a:lnTo>
                    <a:lnTo>
                      <a:pt x="226" y="2"/>
                    </a:lnTo>
                    <a:lnTo>
                      <a:pt x="240" y="0"/>
                    </a:lnTo>
                    <a:lnTo>
                      <a:pt x="253" y="2"/>
                    </a:lnTo>
                    <a:lnTo>
                      <a:pt x="257" y="2"/>
                    </a:lnTo>
                    <a:lnTo>
                      <a:pt x="269" y="7"/>
                    </a:lnTo>
                    <a:lnTo>
                      <a:pt x="282" y="15"/>
                    </a:lnTo>
                    <a:lnTo>
                      <a:pt x="292" y="23"/>
                    </a:lnTo>
                    <a:lnTo>
                      <a:pt x="300" y="28"/>
                    </a:lnTo>
                    <a:lnTo>
                      <a:pt x="300" y="28"/>
                    </a:lnTo>
                    <a:lnTo>
                      <a:pt x="310" y="35"/>
                    </a:lnTo>
                    <a:lnTo>
                      <a:pt x="319" y="38"/>
                    </a:lnTo>
                    <a:lnTo>
                      <a:pt x="333" y="40"/>
                    </a:lnTo>
                    <a:lnTo>
                      <a:pt x="346" y="38"/>
                    </a:lnTo>
                    <a:lnTo>
                      <a:pt x="355" y="35"/>
                    </a:lnTo>
                    <a:lnTo>
                      <a:pt x="366" y="28"/>
                    </a:lnTo>
                    <a:lnTo>
                      <a:pt x="373" y="23"/>
                    </a:lnTo>
                    <a:lnTo>
                      <a:pt x="383" y="15"/>
                    </a:lnTo>
                    <a:lnTo>
                      <a:pt x="386" y="13"/>
                    </a:lnTo>
                    <a:lnTo>
                      <a:pt x="398" y="7"/>
                    </a:lnTo>
                    <a:lnTo>
                      <a:pt x="410" y="2"/>
                    </a:lnTo>
                    <a:lnTo>
                      <a:pt x="413" y="2"/>
                    </a:lnTo>
                    <a:lnTo>
                      <a:pt x="427" y="0"/>
                    </a:lnTo>
                    <a:lnTo>
                      <a:pt x="439" y="2"/>
                    </a:lnTo>
                    <a:lnTo>
                      <a:pt x="442" y="2"/>
                    </a:lnTo>
                    <a:lnTo>
                      <a:pt x="452" y="8"/>
                    </a:lnTo>
                    <a:lnTo>
                      <a:pt x="456" y="10"/>
                    </a:lnTo>
                    <a:lnTo>
                      <a:pt x="464" y="17"/>
                    </a:lnTo>
                    <a:lnTo>
                      <a:pt x="473" y="23"/>
                    </a:lnTo>
                    <a:lnTo>
                      <a:pt x="460" y="39"/>
                    </a:lnTo>
                    <a:lnTo>
                      <a:pt x="449" y="31"/>
                    </a:lnTo>
                    <a:lnTo>
                      <a:pt x="442" y="26"/>
                    </a:lnTo>
                    <a:lnTo>
                      <a:pt x="436" y="21"/>
                    </a:lnTo>
                    <a:lnTo>
                      <a:pt x="427" y="20"/>
                    </a:lnTo>
                    <a:lnTo>
                      <a:pt x="415" y="22"/>
                    </a:lnTo>
                    <a:lnTo>
                      <a:pt x="405" y="26"/>
                    </a:lnTo>
                    <a:lnTo>
                      <a:pt x="396" y="31"/>
                    </a:lnTo>
                    <a:lnTo>
                      <a:pt x="387" y="38"/>
                    </a:lnTo>
                    <a:lnTo>
                      <a:pt x="374" y="47"/>
                    </a:lnTo>
                    <a:lnTo>
                      <a:pt x="363" y="54"/>
                    </a:lnTo>
                    <a:lnTo>
                      <a:pt x="351" y="58"/>
                    </a:lnTo>
                    <a:lnTo>
                      <a:pt x="346" y="58"/>
                    </a:lnTo>
                    <a:lnTo>
                      <a:pt x="333" y="60"/>
                    </a:lnTo>
                    <a:lnTo>
                      <a:pt x="319" y="58"/>
                    </a:lnTo>
                    <a:lnTo>
                      <a:pt x="315" y="58"/>
                    </a:lnTo>
                    <a:lnTo>
                      <a:pt x="302" y="54"/>
                    </a:lnTo>
                    <a:lnTo>
                      <a:pt x="289" y="45"/>
                    </a:lnTo>
                    <a:lnTo>
                      <a:pt x="278" y="38"/>
                    </a:lnTo>
                    <a:lnTo>
                      <a:pt x="268" y="30"/>
                    </a:lnTo>
                    <a:lnTo>
                      <a:pt x="261" y="26"/>
                    </a:lnTo>
                    <a:lnTo>
                      <a:pt x="251" y="22"/>
                    </a:lnTo>
                    <a:lnTo>
                      <a:pt x="240" y="20"/>
                    </a:lnTo>
                    <a:lnTo>
                      <a:pt x="230" y="22"/>
                    </a:lnTo>
                    <a:lnTo>
                      <a:pt x="220" y="26"/>
                    </a:lnTo>
                    <a:lnTo>
                      <a:pt x="211" y="31"/>
                    </a:lnTo>
                    <a:lnTo>
                      <a:pt x="202" y="38"/>
                    </a:lnTo>
                    <a:lnTo>
                      <a:pt x="190" y="45"/>
                    </a:lnTo>
                    <a:lnTo>
                      <a:pt x="177" y="54"/>
                    </a:lnTo>
                    <a:lnTo>
                      <a:pt x="165" y="58"/>
                    </a:lnTo>
                    <a:lnTo>
                      <a:pt x="160" y="58"/>
                    </a:lnTo>
                    <a:lnTo>
                      <a:pt x="147" y="60"/>
                    </a:lnTo>
                    <a:lnTo>
                      <a:pt x="133" y="58"/>
                    </a:lnTo>
                    <a:lnTo>
                      <a:pt x="129" y="58"/>
                    </a:lnTo>
                    <a:lnTo>
                      <a:pt x="117" y="54"/>
                    </a:lnTo>
                    <a:lnTo>
                      <a:pt x="103" y="45"/>
                    </a:lnTo>
                    <a:lnTo>
                      <a:pt x="92" y="38"/>
                    </a:lnTo>
                    <a:lnTo>
                      <a:pt x="83" y="31"/>
                    </a:lnTo>
                    <a:lnTo>
                      <a:pt x="74" y="26"/>
                    </a:lnTo>
                    <a:lnTo>
                      <a:pt x="64" y="22"/>
                    </a:lnTo>
                    <a:lnTo>
                      <a:pt x="53" y="20"/>
                    </a:lnTo>
                    <a:lnTo>
                      <a:pt x="43" y="22"/>
                    </a:lnTo>
                    <a:lnTo>
                      <a:pt x="32" y="27"/>
                    </a:lnTo>
                    <a:lnTo>
                      <a:pt x="21" y="32"/>
                    </a:lnTo>
                    <a:lnTo>
                      <a:pt x="11" y="40"/>
                    </a:lnTo>
                    <a:lnTo>
                      <a:pt x="0" y="23"/>
                    </a:lnTo>
                    <a:lnTo>
                      <a:pt x="9" y="17"/>
                    </a:lnTo>
                    <a:lnTo>
                      <a:pt x="12" y="14"/>
                    </a:lnTo>
                    <a:lnTo>
                      <a:pt x="24" y="8"/>
                    </a:lnTo>
                    <a:lnTo>
                      <a:pt x="36" y="2"/>
                    </a:lnTo>
                    <a:lnTo>
                      <a:pt x="39" y="2"/>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3" name="Freeform 176">
                <a:extLst>
                  <a:ext uri="{FF2B5EF4-FFF2-40B4-BE49-F238E27FC236}">
                    <a16:creationId xmlns:a16="http://schemas.microsoft.com/office/drawing/2014/main" id="{B22539FF-80DA-4A84-A6F1-3367EBC255F6}"/>
                  </a:ext>
                </a:extLst>
              </p:cNvPr>
              <p:cNvSpPr>
                <a:spLocks/>
              </p:cNvSpPr>
              <p:nvPr/>
            </p:nvSpPr>
            <p:spPr bwMode="gray">
              <a:xfrm>
                <a:off x="-1136994" y="1217273"/>
                <a:ext cx="750888" cy="98425"/>
              </a:xfrm>
              <a:custGeom>
                <a:avLst/>
                <a:gdLst>
                  <a:gd name="T0" fmla="*/ 66 w 473"/>
                  <a:gd name="T1" fmla="*/ 3 h 62"/>
                  <a:gd name="T2" fmla="*/ 82 w 473"/>
                  <a:gd name="T3" fmla="*/ 7 h 62"/>
                  <a:gd name="T4" fmla="*/ 96 w 473"/>
                  <a:gd name="T5" fmla="*/ 16 h 62"/>
                  <a:gd name="T6" fmla="*/ 118 w 473"/>
                  <a:gd name="T7" fmla="*/ 32 h 62"/>
                  <a:gd name="T8" fmla="*/ 133 w 473"/>
                  <a:gd name="T9" fmla="*/ 39 h 62"/>
                  <a:gd name="T10" fmla="*/ 160 w 473"/>
                  <a:gd name="T11" fmla="*/ 39 h 62"/>
                  <a:gd name="T12" fmla="*/ 176 w 473"/>
                  <a:gd name="T13" fmla="*/ 32 h 62"/>
                  <a:gd name="T14" fmla="*/ 197 w 473"/>
                  <a:gd name="T15" fmla="*/ 16 h 62"/>
                  <a:gd name="T16" fmla="*/ 212 w 473"/>
                  <a:gd name="T17" fmla="*/ 7 h 62"/>
                  <a:gd name="T18" fmla="*/ 226 w 473"/>
                  <a:gd name="T19" fmla="*/ 3 h 62"/>
                  <a:gd name="T20" fmla="*/ 253 w 473"/>
                  <a:gd name="T21" fmla="*/ 3 h 62"/>
                  <a:gd name="T22" fmla="*/ 269 w 473"/>
                  <a:gd name="T23" fmla="*/ 7 h 62"/>
                  <a:gd name="T24" fmla="*/ 292 w 473"/>
                  <a:gd name="T25" fmla="*/ 24 h 62"/>
                  <a:gd name="T26" fmla="*/ 310 w 473"/>
                  <a:gd name="T27" fmla="*/ 36 h 62"/>
                  <a:gd name="T28" fmla="*/ 333 w 473"/>
                  <a:gd name="T29" fmla="*/ 42 h 62"/>
                  <a:gd name="T30" fmla="*/ 355 w 473"/>
                  <a:gd name="T31" fmla="*/ 36 h 62"/>
                  <a:gd name="T32" fmla="*/ 383 w 473"/>
                  <a:gd name="T33" fmla="*/ 16 h 62"/>
                  <a:gd name="T34" fmla="*/ 398 w 473"/>
                  <a:gd name="T35" fmla="*/ 7 h 62"/>
                  <a:gd name="T36" fmla="*/ 413 w 473"/>
                  <a:gd name="T37" fmla="*/ 3 h 62"/>
                  <a:gd name="T38" fmla="*/ 439 w 473"/>
                  <a:gd name="T39" fmla="*/ 3 h 62"/>
                  <a:gd name="T40" fmla="*/ 452 w 473"/>
                  <a:gd name="T41" fmla="*/ 8 h 62"/>
                  <a:gd name="T42" fmla="*/ 464 w 473"/>
                  <a:gd name="T43" fmla="*/ 17 h 62"/>
                  <a:gd name="T44" fmla="*/ 460 w 473"/>
                  <a:gd name="T45" fmla="*/ 39 h 62"/>
                  <a:gd name="T46" fmla="*/ 442 w 473"/>
                  <a:gd name="T47" fmla="*/ 26 h 62"/>
                  <a:gd name="T48" fmla="*/ 427 w 473"/>
                  <a:gd name="T49" fmla="*/ 20 h 62"/>
                  <a:gd name="T50" fmla="*/ 405 w 473"/>
                  <a:gd name="T51" fmla="*/ 26 h 62"/>
                  <a:gd name="T52" fmla="*/ 377 w 473"/>
                  <a:gd name="T53" fmla="*/ 46 h 62"/>
                  <a:gd name="T54" fmla="*/ 363 w 473"/>
                  <a:gd name="T55" fmla="*/ 55 h 62"/>
                  <a:gd name="T56" fmla="*/ 346 w 473"/>
                  <a:gd name="T57" fmla="*/ 60 h 62"/>
                  <a:gd name="T58" fmla="*/ 319 w 473"/>
                  <a:gd name="T59" fmla="*/ 60 h 62"/>
                  <a:gd name="T60" fmla="*/ 302 w 473"/>
                  <a:gd name="T61" fmla="*/ 55 h 62"/>
                  <a:gd name="T62" fmla="*/ 278 w 473"/>
                  <a:gd name="T63" fmla="*/ 38 h 62"/>
                  <a:gd name="T64" fmla="*/ 261 w 473"/>
                  <a:gd name="T65" fmla="*/ 26 h 62"/>
                  <a:gd name="T66" fmla="*/ 240 w 473"/>
                  <a:gd name="T67" fmla="*/ 20 h 62"/>
                  <a:gd name="T68" fmla="*/ 220 w 473"/>
                  <a:gd name="T69" fmla="*/ 26 h 62"/>
                  <a:gd name="T70" fmla="*/ 202 w 473"/>
                  <a:gd name="T71" fmla="*/ 38 h 62"/>
                  <a:gd name="T72" fmla="*/ 177 w 473"/>
                  <a:gd name="T73" fmla="*/ 55 h 62"/>
                  <a:gd name="T74" fmla="*/ 160 w 473"/>
                  <a:gd name="T75" fmla="*/ 60 h 62"/>
                  <a:gd name="T76" fmla="*/ 133 w 473"/>
                  <a:gd name="T77" fmla="*/ 60 h 62"/>
                  <a:gd name="T78" fmla="*/ 117 w 473"/>
                  <a:gd name="T79" fmla="*/ 55 h 62"/>
                  <a:gd name="T80" fmla="*/ 92 w 473"/>
                  <a:gd name="T81" fmla="*/ 38 h 62"/>
                  <a:gd name="T82" fmla="*/ 74 w 473"/>
                  <a:gd name="T83" fmla="*/ 26 h 62"/>
                  <a:gd name="T84" fmla="*/ 53 w 473"/>
                  <a:gd name="T85" fmla="*/ 20 h 62"/>
                  <a:gd name="T86" fmla="*/ 32 w 473"/>
                  <a:gd name="T87" fmla="*/ 27 h 62"/>
                  <a:gd name="T88" fmla="*/ 12 w 473"/>
                  <a:gd name="T89" fmla="*/ 41 h 62"/>
                  <a:gd name="T90" fmla="*/ 9 w 473"/>
                  <a:gd name="T91" fmla="*/ 17 h 62"/>
                  <a:gd name="T92" fmla="*/ 24 w 473"/>
                  <a:gd name="T93" fmla="*/ 8 h 62"/>
                  <a:gd name="T94" fmla="*/ 39 w 473"/>
                  <a:gd name="T95" fmla="*/ 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3" h="62">
                    <a:moveTo>
                      <a:pt x="53" y="0"/>
                    </a:moveTo>
                    <a:lnTo>
                      <a:pt x="66" y="3"/>
                    </a:lnTo>
                    <a:lnTo>
                      <a:pt x="70" y="3"/>
                    </a:lnTo>
                    <a:lnTo>
                      <a:pt x="82" y="7"/>
                    </a:lnTo>
                    <a:lnTo>
                      <a:pt x="93" y="14"/>
                    </a:lnTo>
                    <a:lnTo>
                      <a:pt x="96" y="16"/>
                    </a:lnTo>
                    <a:lnTo>
                      <a:pt x="107" y="24"/>
                    </a:lnTo>
                    <a:lnTo>
                      <a:pt x="118" y="32"/>
                    </a:lnTo>
                    <a:lnTo>
                      <a:pt x="124" y="36"/>
                    </a:lnTo>
                    <a:lnTo>
                      <a:pt x="133" y="39"/>
                    </a:lnTo>
                    <a:lnTo>
                      <a:pt x="147" y="42"/>
                    </a:lnTo>
                    <a:lnTo>
                      <a:pt x="160" y="39"/>
                    </a:lnTo>
                    <a:lnTo>
                      <a:pt x="169" y="36"/>
                    </a:lnTo>
                    <a:lnTo>
                      <a:pt x="176" y="32"/>
                    </a:lnTo>
                    <a:lnTo>
                      <a:pt x="187" y="24"/>
                    </a:lnTo>
                    <a:lnTo>
                      <a:pt x="197" y="16"/>
                    </a:lnTo>
                    <a:lnTo>
                      <a:pt x="201" y="14"/>
                    </a:lnTo>
                    <a:lnTo>
                      <a:pt x="212" y="7"/>
                    </a:lnTo>
                    <a:lnTo>
                      <a:pt x="223" y="3"/>
                    </a:lnTo>
                    <a:lnTo>
                      <a:pt x="226" y="3"/>
                    </a:lnTo>
                    <a:lnTo>
                      <a:pt x="240" y="0"/>
                    </a:lnTo>
                    <a:lnTo>
                      <a:pt x="253" y="3"/>
                    </a:lnTo>
                    <a:lnTo>
                      <a:pt x="257" y="3"/>
                    </a:lnTo>
                    <a:lnTo>
                      <a:pt x="269" y="7"/>
                    </a:lnTo>
                    <a:lnTo>
                      <a:pt x="282" y="16"/>
                    </a:lnTo>
                    <a:lnTo>
                      <a:pt x="292" y="24"/>
                    </a:lnTo>
                    <a:lnTo>
                      <a:pt x="304" y="32"/>
                    </a:lnTo>
                    <a:lnTo>
                      <a:pt x="310" y="36"/>
                    </a:lnTo>
                    <a:lnTo>
                      <a:pt x="319" y="39"/>
                    </a:lnTo>
                    <a:lnTo>
                      <a:pt x="333" y="42"/>
                    </a:lnTo>
                    <a:lnTo>
                      <a:pt x="346" y="39"/>
                    </a:lnTo>
                    <a:lnTo>
                      <a:pt x="355" y="36"/>
                    </a:lnTo>
                    <a:lnTo>
                      <a:pt x="364" y="31"/>
                    </a:lnTo>
                    <a:lnTo>
                      <a:pt x="383" y="16"/>
                    </a:lnTo>
                    <a:lnTo>
                      <a:pt x="386" y="14"/>
                    </a:lnTo>
                    <a:lnTo>
                      <a:pt x="398" y="7"/>
                    </a:lnTo>
                    <a:lnTo>
                      <a:pt x="410" y="3"/>
                    </a:lnTo>
                    <a:lnTo>
                      <a:pt x="413" y="3"/>
                    </a:lnTo>
                    <a:lnTo>
                      <a:pt x="427" y="0"/>
                    </a:lnTo>
                    <a:lnTo>
                      <a:pt x="439" y="3"/>
                    </a:lnTo>
                    <a:lnTo>
                      <a:pt x="442" y="3"/>
                    </a:lnTo>
                    <a:lnTo>
                      <a:pt x="452" y="8"/>
                    </a:lnTo>
                    <a:lnTo>
                      <a:pt x="456" y="10"/>
                    </a:lnTo>
                    <a:lnTo>
                      <a:pt x="464" y="17"/>
                    </a:lnTo>
                    <a:lnTo>
                      <a:pt x="473" y="24"/>
                    </a:lnTo>
                    <a:lnTo>
                      <a:pt x="460" y="39"/>
                    </a:lnTo>
                    <a:lnTo>
                      <a:pt x="449" y="32"/>
                    </a:lnTo>
                    <a:lnTo>
                      <a:pt x="442" y="26"/>
                    </a:lnTo>
                    <a:lnTo>
                      <a:pt x="436" y="22"/>
                    </a:lnTo>
                    <a:lnTo>
                      <a:pt x="427" y="20"/>
                    </a:lnTo>
                    <a:lnTo>
                      <a:pt x="415" y="23"/>
                    </a:lnTo>
                    <a:lnTo>
                      <a:pt x="405" y="26"/>
                    </a:lnTo>
                    <a:lnTo>
                      <a:pt x="396" y="32"/>
                    </a:lnTo>
                    <a:lnTo>
                      <a:pt x="377" y="46"/>
                    </a:lnTo>
                    <a:lnTo>
                      <a:pt x="374" y="48"/>
                    </a:lnTo>
                    <a:lnTo>
                      <a:pt x="363" y="55"/>
                    </a:lnTo>
                    <a:lnTo>
                      <a:pt x="351" y="60"/>
                    </a:lnTo>
                    <a:lnTo>
                      <a:pt x="346" y="60"/>
                    </a:lnTo>
                    <a:lnTo>
                      <a:pt x="333" y="62"/>
                    </a:lnTo>
                    <a:lnTo>
                      <a:pt x="319" y="60"/>
                    </a:lnTo>
                    <a:lnTo>
                      <a:pt x="315" y="60"/>
                    </a:lnTo>
                    <a:lnTo>
                      <a:pt x="302" y="55"/>
                    </a:lnTo>
                    <a:lnTo>
                      <a:pt x="289" y="46"/>
                    </a:lnTo>
                    <a:lnTo>
                      <a:pt x="278" y="38"/>
                    </a:lnTo>
                    <a:lnTo>
                      <a:pt x="268" y="31"/>
                    </a:lnTo>
                    <a:lnTo>
                      <a:pt x="261" y="26"/>
                    </a:lnTo>
                    <a:lnTo>
                      <a:pt x="251" y="23"/>
                    </a:lnTo>
                    <a:lnTo>
                      <a:pt x="240" y="20"/>
                    </a:lnTo>
                    <a:lnTo>
                      <a:pt x="230" y="23"/>
                    </a:lnTo>
                    <a:lnTo>
                      <a:pt x="220" y="26"/>
                    </a:lnTo>
                    <a:lnTo>
                      <a:pt x="211" y="32"/>
                    </a:lnTo>
                    <a:lnTo>
                      <a:pt x="202" y="38"/>
                    </a:lnTo>
                    <a:lnTo>
                      <a:pt x="190" y="46"/>
                    </a:lnTo>
                    <a:lnTo>
                      <a:pt x="177" y="55"/>
                    </a:lnTo>
                    <a:lnTo>
                      <a:pt x="165" y="60"/>
                    </a:lnTo>
                    <a:lnTo>
                      <a:pt x="160" y="60"/>
                    </a:lnTo>
                    <a:lnTo>
                      <a:pt x="147" y="62"/>
                    </a:lnTo>
                    <a:lnTo>
                      <a:pt x="133" y="60"/>
                    </a:lnTo>
                    <a:lnTo>
                      <a:pt x="129" y="60"/>
                    </a:lnTo>
                    <a:lnTo>
                      <a:pt x="117" y="55"/>
                    </a:lnTo>
                    <a:lnTo>
                      <a:pt x="103" y="46"/>
                    </a:lnTo>
                    <a:lnTo>
                      <a:pt x="92" y="38"/>
                    </a:lnTo>
                    <a:lnTo>
                      <a:pt x="83" y="32"/>
                    </a:lnTo>
                    <a:lnTo>
                      <a:pt x="74" y="26"/>
                    </a:lnTo>
                    <a:lnTo>
                      <a:pt x="64" y="23"/>
                    </a:lnTo>
                    <a:lnTo>
                      <a:pt x="53" y="20"/>
                    </a:lnTo>
                    <a:lnTo>
                      <a:pt x="43" y="23"/>
                    </a:lnTo>
                    <a:lnTo>
                      <a:pt x="32" y="27"/>
                    </a:lnTo>
                    <a:lnTo>
                      <a:pt x="23" y="33"/>
                    </a:lnTo>
                    <a:lnTo>
                      <a:pt x="12" y="41"/>
                    </a:lnTo>
                    <a:lnTo>
                      <a:pt x="0" y="25"/>
                    </a:lnTo>
                    <a:lnTo>
                      <a:pt x="9" y="17"/>
                    </a:lnTo>
                    <a:lnTo>
                      <a:pt x="12" y="15"/>
                    </a:lnTo>
                    <a:lnTo>
                      <a:pt x="24" y="8"/>
                    </a:lnTo>
                    <a:lnTo>
                      <a:pt x="36" y="3"/>
                    </a:lnTo>
                    <a:lnTo>
                      <a:pt x="39" y="3"/>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grpSp>
        <p:grpSp>
          <p:nvGrpSpPr>
            <p:cNvPr id="28" name="Group 27">
              <a:extLst>
                <a:ext uri="{FF2B5EF4-FFF2-40B4-BE49-F238E27FC236}">
                  <a16:creationId xmlns:a16="http://schemas.microsoft.com/office/drawing/2014/main" id="{D39797B3-1027-412D-9618-40E4EB421745}"/>
                </a:ext>
              </a:extLst>
            </p:cNvPr>
            <p:cNvGrpSpPr/>
            <p:nvPr/>
          </p:nvGrpSpPr>
          <p:grpSpPr bwMode="gray">
            <a:xfrm>
              <a:off x="5296311" y="1532797"/>
              <a:ext cx="1578889" cy="99318"/>
              <a:chOff x="-1136994" y="1217273"/>
              <a:chExt cx="1578889" cy="99318"/>
            </a:xfrm>
            <a:solidFill>
              <a:schemeClr val="bg1"/>
            </a:solidFill>
          </p:grpSpPr>
          <p:sp>
            <p:nvSpPr>
              <p:cNvPr id="30" name="Freeform 175">
                <a:extLst>
                  <a:ext uri="{FF2B5EF4-FFF2-40B4-BE49-F238E27FC236}">
                    <a16:creationId xmlns:a16="http://schemas.microsoft.com/office/drawing/2014/main" id="{E02EB22B-1FAF-4EC1-B740-36D9F93F0FB5}"/>
                  </a:ext>
                </a:extLst>
              </p:cNvPr>
              <p:cNvSpPr>
                <a:spLocks/>
              </p:cNvSpPr>
              <p:nvPr/>
            </p:nvSpPr>
            <p:spPr bwMode="gray">
              <a:xfrm>
                <a:off x="-308993" y="1221341"/>
                <a:ext cx="750888" cy="95250"/>
              </a:xfrm>
              <a:custGeom>
                <a:avLst/>
                <a:gdLst>
                  <a:gd name="T0" fmla="*/ 66 w 473"/>
                  <a:gd name="T1" fmla="*/ 2 h 60"/>
                  <a:gd name="T2" fmla="*/ 82 w 473"/>
                  <a:gd name="T3" fmla="*/ 7 h 60"/>
                  <a:gd name="T4" fmla="*/ 96 w 473"/>
                  <a:gd name="T5" fmla="*/ 15 h 60"/>
                  <a:gd name="T6" fmla="*/ 114 w 473"/>
                  <a:gd name="T7" fmla="*/ 28 h 60"/>
                  <a:gd name="T8" fmla="*/ 124 w 473"/>
                  <a:gd name="T9" fmla="*/ 35 h 60"/>
                  <a:gd name="T10" fmla="*/ 147 w 473"/>
                  <a:gd name="T11" fmla="*/ 40 h 60"/>
                  <a:gd name="T12" fmla="*/ 169 w 473"/>
                  <a:gd name="T13" fmla="*/ 35 h 60"/>
                  <a:gd name="T14" fmla="*/ 179 w 473"/>
                  <a:gd name="T15" fmla="*/ 28 h 60"/>
                  <a:gd name="T16" fmla="*/ 197 w 473"/>
                  <a:gd name="T17" fmla="*/ 15 h 60"/>
                  <a:gd name="T18" fmla="*/ 212 w 473"/>
                  <a:gd name="T19" fmla="*/ 7 h 60"/>
                  <a:gd name="T20" fmla="*/ 226 w 473"/>
                  <a:gd name="T21" fmla="*/ 2 h 60"/>
                  <a:gd name="T22" fmla="*/ 253 w 473"/>
                  <a:gd name="T23" fmla="*/ 2 h 60"/>
                  <a:gd name="T24" fmla="*/ 269 w 473"/>
                  <a:gd name="T25" fmla="*/ 7 h 60"/>
                  <a:gd name="T26" fmla="*/ 292 w 473"/>
                  <a:gd name="T27" fmla="*/ 23 h 60"/>
                  <a:gd name="T28" fmla="*/ 300 w 473"/>
                  <a:gd name="T29" fmla="*/ 28 h 60"/>
                  <a:gd name="T30" fmla="*/ 319 w 473"/>
                  <a:gd name="T31" fmla="*/ 38 h 60"/>
                  <a:gd name="T32" fmla="*/ 346 w 473"/>
                  <a:gd name="T33" fmla="*/ 38 h 60"/>
                  <a:gd name="T34" fmla="*/ 366 w 473"/>
                  <a:gd name="T35" fmla="*/ 28 h 60"/>
                  <a:gd name="T36" fmla="*/ 383 w 473"/>
                  <a:gd name="T37" fmla="*/ 15 h 60"/>
                  <a:gd name="T38" fmla="*/ 398 w 473"/>
                  <a:gd name="T39" fmla="*/ 7 h 60"/>
                  <a:gd name="T40" fmla="*/ 413 w 473"/>
                  <a:gd name="T41" fmla="*/ 2 h 60"/>
                  <a:gd name="T42" fmla="*/ 439 w 473"/>
                  <a:gd name="T43" fmla="*/ 2 h 60"/>
                  <a:gd name="T44" fmla="*/ 452 w 473"/>
                  <a:gd name="T45" fmla="*/ 8 h 60"/>
                  <a:gd name="T46" fmla="*/ 464 w 473"/>
                  <a:gd name="T47" fmla="*/ 17 h 60"/>
                  <a:gd name="T48" fmla="*/ 460 w 473"/>
                  <a:gd name="T49" fmla="*/ 39 h 60"/>
                  <a:gd name="T50" fmla="*/ 442 w 473"/>
                  <a:gd name="T51" fmla="*/ 26 h 60"/>
                  <a:gd name="T52" fmla="*/ 427 w 473"/>
                  <a:gd name="T53" fmla="*/ 20 h 60"/>
                  <a:gd name="T54" fmla="*/ 405 w 473"/>
                  <a:gd name="T55" fmla="*/ 26 h 60"/>
                  <a:gd name="T56" fmla="*/ 387 w 473"/>
                  <a:gd name="T57" fmla="*/ 38 h 60"/>
                  <a:gd name="T58" fmla="*/ 363 w 473"/>
                  <a:gd name="T59" fmla="*/ 54 h 60"/>
                  <a:gd name="T60" fmla="*/ 346 w 473"/>
                  <a:gd name="T61" fmla="*/ 58 h 60"/>
                  <a:gd name="T62" fmla="*/ 319 w 473"/>
                  <a:gd name="T63" fmla="*/ 58 h 60"/>
                  <a:gd name="T64" fmla="*/ 302 w 473"/>
                  <a:gd name="T65" fmla="*/ 54 h 60"/>
                  <a:gd name="T66" fmla="*/ 278 w 473"/>
                  <a:gd name="T67" fmla="*/ 38 h 60"/>
                  <a:gd name="T68" fmla="*/ 261 w 473"/>
                  <a:gd name="T69" fmla="*/ 26 h 60"/>
                  <a:gd name="T70" fmla="*/ 240 w 473"/>
                  <a:gd name="T71" fmla="*/ 20 h 60"/>
                  <a:gd name="T72" fmla="*/ 220 w 473"/>
                  <a:gd name="T73" fmla="*/ 26 h 60"/>
                  <a:gd name="T74" fmla="*/ 202 w 473"/>
                  <a:gd name="T75" fmla="*/ 38 h 60"/>
                  <a:gd name="T76" fmla="*/ 177 w 473"/>
                  <a:gd name="T77" fmla="*/ 54 h 60"/>
                  <a:gd name="T78" fmla="*/ 160 w 473"/>
                  <a:gd name="T79" fmla="*/ 58 h 60"/>
                  <a:gd name="T80" fmla="*/ 133 w 473"/>
                  <a:gd name="T81" fmla="*/ 58 h 60"/>
                  <a:gd name="T82" fmla="*/ 117 w 473"/>
                  <a:gd name="T83" fmla="*/ 54 h 60"/>
                  <a:gd name="T84" fmla="*/ 92 w 473"/>
                  <a:gd name="T85" fmla="*/ 38 h 60"/>
                  <a:gd name="T86" fmla="*/ 74 w 473"/>
                  <a:gd name="T87" fmla="*/ 26 h 60"/>
                  <a:gd name="T88" fmla="*/ 53 w 473"/>
                  <a:gd name="T89" fmla="*/ 20 h 60"/>
                  <a:gd name="T90" fmla="*/ 32 w 473"/>
                  <a:gd name="T91" fmla="*/ 27 h 60"/>
                  <a:gd name="T92" fmla="*/ 11 w 473"/>
                  <a:gd name="T93" fmla="*/ 40 h 60"/>
                  <a:gd name="T94" fmla="*/ 9 w 473"/>
                  <a:gd name="T95" fmla="*/ 17 h 60"/>
                  <a:gd name="T96" fmla="*/ 24 w 473"/>
                  <a:gd name="T97" fmla="*/ 8 h 60"/>
                  <a:gd name="T98" fmla="*/ 39 w 473"/>
                  <a:gd name="T99"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3" h="60">
                    <a:moveTo>
                      <a:pt x="53" y="0"/>
                    </a:moveTo>
                    <a:lnTo>
                      <a:pt x="66" y="2"/>
                    </a:lnTo>
                    <a:lnTo>
                      <a:pt x="70" y="2"/>
                    </a:lnTo>
                    <a:lnTo>
                      <a:pt x="82" y="7"/>
                    </a:lnTo>
                    <a:lnTo>
                      <a:pt x="93" y="13"/>
                    </a:lnTo>
                    <a:lnTo>
                      <a:pt x="96" y="15"/>
                    </a:lnTo>
                    <a:lnTo>
                      <a:pt x="107" y="23"/>
                    </a:lnTo>
                    <a:lnTo>
                      <a:pt x="114" y="28"/>
                    </a:lnTo>
                    <a:lnTo>
                      <a:pt x="114" y="28"/>
                    </a:lnTo>
                    <a:lnTo>
                      <a:pt x="124" y="35"/>
                    </a:lnTo>
                    <a:lnTo>
                      <a:pt x="133" y="38"/>
                    </a:lnTo>
                    <a:lnTo>
                      <a:pt x="147" y="40"/>
                    </a:lnTo>
                    <a:lnTo>
                      <a:pt x="160" y="38"/>
                    </a:lnTo>
                    <a:lnTo>
                      <a:pt x="169" y="35"/>
                    </a:lnTo>
                    <a:lnTo>
                      <a:pt x="179" y="28"/>
                    </a:lnTo>
                    <a:lnTo>
                      <a:pt x="179" y="28"/>
                    </a:lnTo>
                    <a:lnTo>
                      <a:pt x="187" y="23"/>
                    </a:lnTo>
                    <a:lnTo>
                      <a:pt x="197" y="15"/>
                    </a:lnTo>
                    <a:lnTo>
                      <a:pt x="201" y="13"/>
                    </a:lnTo>
                    <a:lnTo>
                      <a:pt x="212" y="7"/>
                    </a:lnTo>
                    <a:lnTo>
                      <a:pt x="223" y="2"/>
                    </a:lnTo>
                    <a:lnTo>
                      <a:pt x="226" y="2"/>
                    </a:lnTo>
                    <a:lnTo>
                      <a:pt x="240" y="0"/>
                    </a:lnTo>
                    <a:lnTo>
                      <a:pt x="253" y="2"/>
                    </a:lnTo>
                    <a:lnTo>
                      <a:pt x="257" y="2"/>
                    </a:lnTo>
                    <a:lnTo>
                      <a:pt x="269" y="7"/>
                    </a:lnTo>
                    <a:lnTo>
                      <a:pt x="282" y="15"/>
                    </a:lnTo>
                    <a:lnTo>
                      <a:pt x="292" y="23"/>
                    </a:lnTo>
                    <a:lnTo>
                      <a:pt x="300" y="28"/>
                    </a:lnTo>
                    <a:lnTo>
                      <a:pt x="300" y="28"/>
                    </a:lnTo>
                    <a:lnTo>
                      <a:pt x="310" y="35"/>
                    </a:lnTo>
                    <a:lnTo>
                      <a:pt x="319" y="38"/>
                    </a:lnTo>
                    <a:lnTo>
                      <a:pt x="333" y="40"/>
                    </a:lnTo>
                    <a:lnTo>
                      <a:pt x="346" y="38"/>
                    </a:lnTo>
                    <a:lnTo>
                      <a:pt x="355" y="35"/>
                    </a:lnTo>
                    <a:lnTo>
                      <a:pt x="366" y="28"/>
                    </a:lnTo>
                    <a:lnTo>
                      <a:pt x="373" y="23"/>
                    </a:lnTo>
                    <a:lnTo>
                      <a:pt x="383" y="15"/>
                    </a:lnTo>
                    <a:lnTo>
                      <a:pt x="386" y="13"/>
                    </a:lnTo>
                    <a:lnTo>
                      <a:pt x="398" y="7"/>
                    </a:lnTo>
                    <a:lnTo>
                      <a:pt x="410" y="2"/>
                    </a:lnTo>
                    <a:lnTo>
                      <a:pt x="413" y="2"/>
                    </a:lnTo>
                    <a:lnTo>
                      <a:pt x="427" y="0"/>
                    </a:lnTo>
                    <a:lnTo>
                      <a:pt x="439" y="2"/>
                    </a:lnTo>
                    <a:lnTo>
                      <a:pt x="442" y="2"/>
                    </a:lnTo>
                    <a:lnTo>
                      <a:pt x="452" y="8"/>
                    </a:lnTo>
                    <a:lnTo>
                      <a:pt x="456" y="10"/>
                    </a:lnTo>
                    <a:lnTo>
                      <a:pt x="464" y="17"/>
                    </a:lnTo>
                    <a:lnTo>
                      <a:pt x="473" y="23"/>
                    </a:lnTo>
                    <a:lnTo>
                      <a:pt x="460" y="39"/>
                    </a:lnTo>
                    <a:lnTo>
                      <a:pt x="449" y="31"/>
                    </a:lnTo>
                    <a:lnTo>
                      <a:pt x="442" y="26"/>
                    </a:lnTo>
                    <a:lnTo>
                      <a:pt x="436" y="21"/>
                    </a:lnTo>
                    <a:lnTo>
                      <a:pt x="427" y="20"/>
                    </a:lnTo>
                    <a:lnTo>
                      <a:pt x="415" y="22"/>
                    </a:lnTo>
                    <a:lnTo>
                      <a:pt x="405" y="26"/>
                    </a:lnTo>
                    <a:lnTo>
                      <a:pt x="396" y="31"/>
                    </a:lnTo>
                    <a:lnTo>
                      <a:pt x="387" y="38"/>
                    </a:lnTo>
                    <a:lnTo>
                      <a:pt x="374" y="47"/>
                    </a:lnTo>
                    <a:lnTo>
                      <a:pt x="363" y="54"/>
                    </a:lnTo>
                    <a:lnTo>
                      <a:pt x="351" y="58"/>
                    </a:lnTo>
                    <a:lnTo>
                      <a:pt x="346" y="58"/>
                    </a:lnTo>
                    <a:lnTo>
                      <a:pt x="333" y="60"/>
                    </a:lnTo>
                    <a:lnTo>
                      <a:pt x="319" y="58"/>
                    </a:lnTo>
                    <a:lnTo>
                      <a:pt x="315" y="58"/>
                    </a:lnTo>
                    <a:lnTo>
                      <a:pt x="302" y="54"/>
                    </a:lnTo>
                    <a:lnTo>
                      <a:pt x="289" y="45"/>
                    </a:lnTo>
                    <a:lnTo>
                      <a:pt x="278" y="38"/>
                    </a:lnTo>
                    <a:lnTo>
                      <a:pt x="268" y="30"/>
                    </a:lnTo>
                    <a:lnTo>
                      <a:pt x="261" y="26"/>
                    </a:lnTo>
                    <a:lnTo>
                      <a:pt x="251" y="22"/>
                    </a:lnTo>
                    <a:lnTo>
                      <a:pt x="240" y="20"/>
                    </a:lnTo>
                    <a:lnTo>
                      <a:pt x="230" y="22"/>
                    </a:lnTo>
                    <a:lnTo>
                      <a:pt x="220" y="26"/>
                    </a:lnTo>
                    <a:lnTo>
                      <a:pt x="211" y="31"/>
                    </a:lnTo>
                    <a:lnTo>
                      <a:pt x="202" y="38"/>
                    </a:lnTo>
                    <a:lnTo>
                      <a:pt x="190" y="45"/>
                    </a:lnTo>
                    <a:lnTo>
                      <a:pt x="177" y="54"/>
                    </a:lnTo>
                    <a:lnTo>
                      <a:pt x="165" y="58"/>
                    </a:lnTo>
                    <a:lnTo>
                      <a:pt x="160" y="58"/>
                    </a:lnTo>
                    <a:lnTo>
                      <a:pt x="147" y="60"/>
                    </a:lnTo>
                    <a:lnTo>
                      <a:pt x="133" y="58"/>
                    </a:lnTo>
                    <a:lnTo>
                      <a:pt x="129" y="58"/>
                    </a:lnTo>
                    <a:lnTo>
                      <a:pt x="117" y="54"/>
                    </a:lnTo>
                    <a:lnTo>
                      <a:pt x="103" y="45"/>
                    </a:lnTo>
                    <a:lnTo>
                      <a:pt x="92" y="38"/>
                    </a:lnTo>
                    <a:lnTo>
                      <a:pt x="83" y="31"/>
                    </a:lnTo>
                    <a:lnTo>
                      <a:pt x="74" y="26"/>
                    </a:lnTo>
                    <a:lnTo>
                      <a:pt x="64" y="22"/>
                    </a:lnTo>
                    <a:lnTo>
                      <a:pt x="53" y="20"/>
                    </a:lnTo>
                    <a:lnTo>
                      <a:pt x="43" y="22"/>
                    </a:lnTo>
                    <a:lnTo>
                      <a:pt x="32" y="27"/>
                    </a:lnTo>
                    <a:lnTo>
                      <a:pt x="21" y="32"/>
                    </a:lnTo>
                    <a:lnTo>
                      <a:pt x="11" y="40"/>
                    </a:lnTo>
                    <a:lnTo>
                      <a:pt x="0" y="23"/>
                    </a:lnTo>
                    <a:lnTo>
                      <a:pt x="9" y="17"/>
                    </a:lnTo>
                    <a:lnTo>
                      <a:pt x="12" y="14"/>
                    </a:lnTo>
                    <a:lnTo>
                      <a:pt x="24" y="8"/>
                    </a:lnTo>
                    <a:lnTo>
                      <a:pt x="36" y="2"/>
                    </a:lnTo>
                    <a:lnTo>
                      <a:pt x="39" y="2"/>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1" name="Freeform 176">
                <a:extLst>
                  <a:ext uri="{FF2B5EF4-FFF2-40B4-BE49-F238E27FC236}">
                    <a16:creationId xmlns:a16="http://schemas.microsoft.com/office/drawing/2014/main" id="{CAD395E9-E754-4A9A-AC0C-77E6DDBFC0F8}"/>
                  </a:ext>
                </a:extLst>
              </p:cNvPr>
              <p:cNvSpPr>
                <a:spLocks/>
              </p:cNvSpPr>
              <p:nvPr/>
            </p:nvSpPr>
            <p:spPr bwMode="gray">
              <a:xfrm>
                <a:off x="-1136994" y="1217273"/>
                <a:ext cx="750888" cy="98425"/>
              </a:xfrm>
              <a:custGeom>
                <a:avLst/>
                <a:gdLst>
                  <a:gd name="T0" fmla="*/ 66 w 473"/>
                  <a:gd name="T1" fmla="*/ 3 h 62"/>
                  <a:gd name="T2" fmla="*/ 82 w 473"/>
                  <a:gd name="T3" fmla="*/ 7 h 62"/>
                  <a:gd name="T4" fmla="*/ 96 w 473"/>
                  <a:gd name="T5" fmla="*/ 16 h 62"/>
                  <a:gd name="T6" fmla="*/ 118 w 473"/>
                  <a:gd name="T7" fmla="*/ 32 h 62"/>
                  <a:gd name="T8" fmla="*/ 133 w 473"/>
                  <a:gd name="T9" fmla="*/ 39 h 62"/>
                  <a:gd name="T10" fmla="*/ 160 w 473"/>
                  <a:gd name="T11" fmla="*/ 39 h 62"/>
                  <a:gd name="T12" fmla="*/ 176 w 473"/>
                  <a:gd name="T13" fmla="*/ 32 h 62"/>
                  <a:gd name="T14" fmla="*/ 197 w 473"/>
                  <a:gd name="T15" fmla="*/ 16 h 62"/>
                  <a:gd name="T16" fmla="*/ 212 w 473"/>
                  <a:gd name="T17" fmla="*/ 7 h 62"/>
                  <a:gd name="T18" fmla="*/ 226 w 473"/>
                  <a:gd name="T19" fmla="*/ 3 h 62"/>
                  <a:gd name="T20" fmla="*/ 253 w 473"/>
                  <a:gd name="T21" fmla="*/ 3 h 62"/>
                  <a:gd name="T22" fmla="*/ 269 w 473"/>
                  <a:gd name="T23" fmla="*/ 7 h 62"/>
                  <a:gd name="T24" fmla="*/ 292 w 473"/>
                  <a:gd name="T25" fmla="*/ 24 h 62"/>
                  <a:gd name="T26" fmla="*/ 310 w 473"/>
                  <a:gd name="T27" fmla="*/ 36 h 62"/>
                  <a:gd name="T28" fmla="*/ 333 w 473"/>
                  <a:gd name="T29" fmla="*/ 42 h 62"/>
                  <a:gd name="T30" fmla="*/ 355 w 473"/>
                  <a:gd name="T31" fmla="*/ 36 h 62"/>
                  <a:gd name="T32" fmla="*/ 383 w 473"/>
                  <a:gd name="T33" fmla="*/ 16 h 62"/>
                  <a:gd name="T34" fmla="*/ 398 w 473"/>
                  <a:gd name="T35" fmla="*/ 7 h 62"/>
                  <a:gd name="T36" fmla="*/ 413 w 473"/>
                  <a:gd name="T37" fmla="*/ 3 h 62"/>
                  <a:gd name="T38" fmla="*/ 439 w 473"/>
                  <a:gd name="T39" fmla="*/ 3 h 62"/>
                  <a:gd name="T40" fmla="*/ 452 w 473"/>
                  <a:gd name="T41" fmla="*/ 8 h 62"/>
                  <a:gd name="T42" fmla="*/ 464 w 473"/>
                  <a:gd name="T43" fmla="*/ 17 h 62"/>
                  <a:gd name="T44" fmla="*/ 460 w 473"/>
                  <a:gd name="T45" fmla="*/ 39 h 62"/>
                  <a:gd name="T46" fmla="*/ 442 w 473"/>
                  <a:gd name="T47" fmla="*/ 26 h 62"/>
                  <a:gd name="T48" fmla="*/ 427 w 473"/>
                  <a:gd name="T49" fmla="*/ 20 h 62"/>
                  <a:gd name="T50" fmla="*/ 405 w 473"/>
                  <a:gd name="T51" fmla="*/ 26 h 62"/>
                  <a:gd name="T52" fmla="*/ 377 w 473"/>
                  <a:gd name="T53" fmla="*/ 46 h 62"/>
                  <a:gd name="T54" fmla="*/ 363 w 473"/>
                  <a:gd name="T55" fmla="*/ 55 h 62"/>
                  <a:gd name="T56" fmla="*/ 346 w 473"/>
                  <a:gd name="T57" fmla="*/ 60 h 62"/>
                  <a:gd name="T58" fmla="*/ 319 w 473"/>
                  <a:gd name="T59" fmla="*/ 60 h 62"/>
                  <a:gd name="T60" fmla="*/ 302 w 473"/>
                  <a:gd name="T61" fmla="*/ 55 h 62"/>
                  <a:gd name="T62" fmla="*/ 278 w 473"/>
                  <a:gd name="T63" fmla="*/ 38 h 62"/>
                  <a:gd name="T64" fmla="*/ 261 w 473"/>
                  <a:gd name="T65" fmla="*/ 26 h 62"/>
                  <a:gd name="T66" fmla="*/ 240 w 473"/>
                  <a:gd name="T67" fmla="*/ 20 h 62"/>
                  <a:gd name="T68" fmla="*/ 220 w 473"/>
                  <a:gd name="T69" fmla="*/ 26 h 62"/>
                  <a:gd name="T70" fmla="*/ 202 w 473"/>
                  <a:gd name="T71" fmla="*/ 38 h 62"/>
                  <a:gd name="T72" fmla="*/ 177 w 473"/>
                  <a:gd name="T73" fmla="*/ 55 h 62"/>
                  <a:gd name="T74" fmla="*/ 160 w 473"/>
                  <a:gd name="T75" fmla="*/ 60 h 62"/>
                  <a:gd name="T76" fmla="*/ 133 w 473"/>
                  <a:gd name="T77" fmla="*/ 60 h 62"/>
                  <a:gd name="T78" fmla="*/ 117 w 473"/>
                  <a:gd name="T79" fmla="*/ 55 h 62"/>
                  <a:gd name="T80" fmla="*/ 92 w 473"/>
                  <a:gd name="T81" fmla="*/ 38 h 62"/>
                  <a:gd name="T82" fmla="*/ 74 w 473"/>
                  <a:gd name="T83" fmla="*/ 26 h 62"/>
                  <a:gd name="T84" fmla="*/ 53 w 473"/>
                  <a:gd name="T85" fmla="*/ 20 h 62"/>
                  <a:gd name="T86" fmla="*/ 32 w 473"/>
                  <a:gd name="T87" fmla="*/ 27 h 62"/>
                  <a:gd name="T88" fmla="*/ 12 w 473"/>
                  <a:gd name="T89" fmla="*/ 41 h 62"/>
                  <a:gd name="T90" fmla="*/ 9 w 473"/>
                  <a:gd name="T91" fmla="*/ 17 h 62"/>
                  <a:gd name="T92" fmla="*/ 24 w 473"/>
                  <a:gd name="T93" fmla="*/ 8 h 62"/>
                  <a:gd name="T94" fmla="*/ 39 w 473"/>
                  <a:gd name="T95" fmla="*/ 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3" h="62">
                    <a:moveTo>
                      <a:pt x="53" y="0"/>
                    </a:moveTo>
                    <a:lnTo>
                      <a:pt x="66" y="3"/>
                    </a:lnTo>
                    <a:lnTo>
                      <a:pt x="70" y="3"/>
                    </a:lnTo>
                    <a:lnTo>
                      <a:pt x="82" y="7"/>
                    </a:lnTo>
                    <a:lnTo>
                      <a:pt x="93" y="14"/>
                    </a:lnTo>
                    <a:lnTo>
                      <a:pt x="96" y="16"/>
                    </a:lnTo>
                    <a:lnTo>
                      <a:pt x="107" y="24"/>
                    </a:lnTo>
                    <a:lnTo>
                      <a:pt x="118" y="32"/>
                    </a:lnTo>
                    <a:lnTo>
                      <a:pt x="124" y="36"/>
                    </a:lnTo>
                    <a:lnTo>
                      <a:pt x="133" y="39"/>
                    </a:lnTo>
                    <a:lnTo>
                      <a:pt x="147" y="42"/>
                    </a:lnTo>
                    <a:lnTo>
                      <a:pt x="160" y="39"/>
                    </a:lnTo>
                    <a:lnTo>
                      <a:pt x="169" y="36"/>
                    </a:lnTo>
                    <a:lnTo>
                      <a:pt x="176" y="32"/>
                    </a:lnTo>
                    <a:lnTo>
                      <a:pt x="187" y="24"/>
                    </a:lnTo>
                    <a:lnTo>
                      <a:pt x="197" y="16"/>
                    </a:lnTo>
                    <a:lnTo>
                      <a:pt x="201" y="14"/>
                    </a:lnTo>
                    <a:lnTo>
                      <a:pt x="212" y="7"/>
                    </a:lnTo>
                    <a:lnTo>
                      <a:pt x="223" y="3"/>
                    </a:lnTo>
                    <a:lnTo>
                      <a:pt x="226" y="3"/>
                    </a:lnTo>
                    <a:lnTo>
                      <a:pt x="240" y="0"/>
                    </a:lnTo>
                    <a:lnTo>
                      <a:pt x="253" y="3"/>
                    </a:lnTo>
                    <a:lnTo>
                      <a:pt x="257" y="3"/>
                    </a:lnTo>
                    <a:lnTo>
                      <a:pt x="269" y="7"/>
                    </a:lnTo>
                    <a:lnTo>
                      <a:pt x="282" y="16"/>
                    </a:lnTo>
                    <a:lnTo>
                      <a:pt x="292" y="24"/>
                    </a:lnTo>
                    <a:lnTo>
                      <a:pt x="304" y="32"/>
                    </a:lnTo>
                    <a:lnTo>
                      <a:pt x="310" y="36"/>
                    </a:lnTo>
                    <a:lnTo>
                      <a:pt x="319" y="39"/>
                    </a:lnTo>
                    <a:lnTo>
                      <a:pt x="333" y="42"/>
                    </a:lnTo>
                    <a:lnTo>
                      <a:pt x="346" y="39"/>
                    </a:lnTo>
                    <a:lnTo>
                      <a:pt x="355" y="36"/>
                    </a:lnTo>
                    <a:lnTo>
                      <a:pt x="364" y="31"/>
                    </a:lnTo>
                    <a:lnTo>
                      <a:pt x="383" y="16"/>
                    </a:lnTo>
                    <a:lnTo>
                      <a:pt x="386" y="14"/>
                    </a:lnTo>
                    <a:lnTo>
                      <a:pt x="398" y="7"/>
                    </a:lnTo>
                    <a:lnTo>
                      <a:pt x="410" y="3"/>
                    </a:lnTo>
                    <a:lnTo>
                      <a:pt x="413" y="3"/>
                    </a:lnTo>
                    <a:lnTo>
                      <a:pt x="427" y="0"/>
                    </a:lnTo>
                    <a:lnTo>
                      <a:pt x="439" y="3"/>
                    </a:lnTo>
                    <a:lnTo>
                      <a:pt x="442" y="3"/>
                    </a:lnTo>
                    <a:lnTo>
                      <a:pt x="452" y="8"/>
                    </a:lnTo>
                    <a:lnTo>
                      <a:pt x="456" y="10"/>
                    </a:lnTo>
                    <a:lnTo>
                      <a:pt x="464" y="17"/>
                    </a:lnTo>
                    <a:lnTo>
                      <a:pt x="473" y="24"/>
                    </a:lnTo>
                    <a:lnTo>
                      <a:pt x="460" y="39"/>
                    </a:lnTo>
                    <a:lnTo>
                      <a:pt x="449" y="32"/>
                    </a:lnTo>
                    <a:lnTo>
                      <a:pt x="442" y="26"/>
                    </a:lnTo>
                    <a:lnTo>
                      <a:pt x="436" y="22"/>
                    </a:lnTo>
                    <a:lnTo>
                      <a:pt x="427" y="20"/>
                    </a:lnTo>
                    <a:lnTo>
                      <a:pt x="415" y="23"/>
                    </a:lnTo>
                    <a:lnTo>
                      <a:pt x="405" y="26"/>
                    </a:lnTo>
                    <a:lnTo>
                      <a:pt x="396" y="32"/>
                    </a:lnTo>
                    <a:lnTo>
                      <a:pt x="377" y="46"/>
                    </a:lnTo>
                    <a:lnTo>
                      <a:pt x="374" y="48"/>
                    </a:lnTo>
                    <a:lnTo>
                      <a:pt x="363" y="55"/>
                    </a:lnTo>
                    <a:lnTo>
                      <a:pt x="351" y="60"/>
                    </a:lnTo>
                    <a:lnTo>
                      <a:pt x="346" y="60"/>
                    </a:lnTo>
                    <a:lnTo>
                      <a:pt x="333" y="62"/>
                    </a:lnTo>
                    <a:lnTo>
                      <a:pt x="319" y="60"/>
                    </a:lnTo>
                    <a:lnTo>
                      <a:pt x="315" y="60"/>
                    </a:lnTo>
                    <a:lnTo>
                      <a:pt x="302" y="55"/>
                    </a:lnTo>
                    <a:lnTo>
                      <a:pt x="289" y="46"/>
                    </a:lnTo>
                    <a:lnTo>
                      <a:pt x="278" y="38"/>
                    </a:lnTo>
                    <a:lnTo>
                      <a:pt x="268" y="31"/>
                    </a:lnTo>
                    <a:lnTo>
                      <a:pt x="261" y="26"/>
                    </a:lnTo>
                    <a:lnTo>
                      <a:pt x="251" y="23"/>
                    </a:lnTo>
                    <a:lnTo>
                      <a:pt x="240" y="20"/>
                    </a:lnTo>
                    <a:lnTo>
                      <a:pt x="230" y="23"/>
                    </a:lnTo>
                    <a:lnTo>
                      <a:pt x="220" y="26"/>
                    </a:lnTo>
                    <a:lnTo>
                      <a:pt x="211" y="32"/>
                    </a:lnTo>
                    <a:lnTo>
                      <a:pt x="202" y="38"/>
                    </a:lnTo>
                    <a:lnTo>
                      <a:pt x="190" y="46"/>
                    </a:lnTo>
                    <a:lnTo>
                      <a:pt x="177" y="55"/>
                    </a:lnTo>
                    <a:lnTo>
                      <a:pt x="165" y="60"/>
                    </a:lnTo>
                    <a:lnTo>
                      <a:pt x="160" y="60"/>
                    </a:lnTo>
                    <a:lnTo>
                      <a:pt x="147" y="62"/>
                    </a:lnTo>
                    <a:lnTo>
                      <a:pt x="133" y="60"/>
                    </a:lnTo>
                    <a:lnTo>
                      <a:pt x="129" y="60"/>
                    </a:lnTo>
                    <a:lnTo>
                      <a:pt x="117" y="55"/>
                    </a:lnTo>
                    <a:lnTo>
                      <a:pt x="103" y="46"/>
                    </a:lnTo>
                    <a:lnTo>
                      <a:pt x="92" y="38"/>
                    </a:lnTo>
                    <a:lnTo>
                      <a:pt x="83" y="32"/>
                    </a:lnTo>
                    <a:lnTo>
                      <a:pt x="74" y="26"/>
                    </a:lnTo>
                    <a:lnTo>
                      <a:pt x="64" y="23"/>
                    </a:lnTo>
                    <a:lnTo>
                      <a:pt x="53" y="20"/>
                    </a:lnTo>
                    <a:lnTo>
                      <a:pt x="43" y="23"/>
                    </a:lnTo>
                    <a:lnTo>
                      <a:pt x="32" y="27"/>
                    </a:lnTo>
                    <a:lnTo>
                      <a:pt x="23" y="33"/>
                    </a:lnTo>
                    <a:lnTo>
                      <a:pt x="12" y="41"/>
                    </a:lnTo>
                    <a:lnTo>
                      <a:pt x="0" y="25"/>
                    </a:lnTo>
                    <a:lnTo>
                      <a:pt x="9" y="17"/>
                    </a:lnTo>
                    <a:lnTo>
                      <a:pt x="12" y="15"/>
                    </a:lnTo>
                    <a:lnTo>
                      <a:pt x="24" y="8"/>
                    </a:lnTo>
                    <a:lnTo>
                      <a:pt x="36" y="3"/>
                    </a:lnTo>
                    <a:lnTo>
                      <a:pt x="39" y="3"/>
                    </a:lnTo>
                    <a:lnTo>
                      <a:pt x="53" y="0"/>
                    </a:lnTo>
                    <a:close/>
                  </a:path>
                </a:pathLst>
              </a:custGeom>
              <a:grp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grpSp>
        <p:sp>
          <p:nvSpPr>
            <p:cNvPr id="29" name="Freeform 176">
              <a:extLst>
                <a:ext uri="{FF2B5EF4-FFF2-40B4-BE49-F238E27FC236}">
                  <a16:creationId xmlns:a16="http://schemas.microsoft.com/office/drawing/2014/main" id="{EA1A6F93-B109-423C-A33F-93CB25675C4A}"/>
                </a:ext>
              </a:extLst>
            </p:cNvPr>
            <p:cNvSpPr>
              <a:spLocks/>
            </p:cNvSpPr>
            <p:nvPr/>
          </p:nvSpPr>
          <p:spPr bwMode="gray">
            <a:xfrm>
              <a:off x="6990357" y="1532797"/>
              <a:ext cx="750888" cy="98425"/>
            </a:xfrm>
            <a:custGeom>
              <a:avLst/>
              <a:gdLst>
                <a:gd name="T0" fmla="*/ 66 w 473"/>
                <a:gd name="T1" fmla="*/ 3 h 62"/>
                <a:gd name="T2" fmla="*/ 82 w 473"/>
                <a:gd name="T3" fmla="*/ 7 h 62"/>
                <a:gd name="T4" fmla="*/ 96 w 473"/>
                <a:gd name="T5" fmla="*/ 16 h 62"/>
                <a:gd name="T6" fmla="*/ 118 w 473"/>
                <a:gd name="T7" fmla="*/ 32 h 62"/>
                <a:gd name="T8" fmla="*/ 133 w 473"/>
                <a:gd name="T9" fmla="*/ 39 h 62"/>
                <a:gd name="T10" fmla="*/ 160 w 473"/>
                <a:gd name="T11" fmla="*/ 39 h 62"/>
                <a:gd name="T12" fmla="*/ 176 w 473"/>
                <a:gd name="T13" fmla="*/ 32 h 62"/>
                <a:gd name="T14" fmla="*/ 197 w 473"/>
                <a:gd name="T15" fmla="*/ 16 h 62"/>
                <a:gd name="T16" fmla="*/ 212 w 473"/>
                <a:gd name="T17" fmla="*/ 7 h 62"/>
                <a:gd name="T18" fmla="*/ 226 w 473"/>
                <a:gd name="T19" fmla="*/ 3 h 62"/>
                <a:gd name="T20" fmla="*/ 253 w 473"/>
                <a:gd name="T21" fmla="*/ 3 h 62"/>
                <a:gd name="T22" fmla="*/ 269 w 473"/>
                <a:gd name="T23" fmla="*/ 7 h 62"/>
                <a:gd name="T24" fmla="*/ 292 w 473"/>
                <a:gd name="T25" fmla="*/ 24 h 62"/>
                <a:gd name="T26" fmla="*/ 310 w 473"/>
                <a:gd name="T27" fmla="*/ 36 h 62"/>
                <a:gd name="T28" fmla="*/ 333 w 473"/>
                <a:gd name="T29" fmla="*/ 42 h 62"/>
                <a:gd name="T30" fmla="*/ 355 w 473"/>
                <a:gd name="T31" fmla="*/ 36 h 62"/>
                <a:gd name="T32" fmla="*/ 383 w 473"/>
                <a:gd name="T33" fmla="*/ 16 h 62"/>
                <a:gd name="T34" fmla="*/ 398 w 473"/>
                <a:gd name="T35" fmla="*/ 7 h 62"/>
                <a:gd name="T36" fmla="*/ 413 w 473"/>
                <a:gd name="T37" fmla="*/ 3 h 62"/>
                <a:gd name="T38" fmla="*/ 439 w 473"/>
                <a:gd name="T39" fmla="*/ 3 h 62"/>
                <a:gd name="T40" fmla="*/ 452 w 473"/>
                <a:gd name="T41" fmla="*/ 8 h 62"/>
                <a:gd name="T42" fmla="*/ 464 w 473"/>
                <a:gd name="T43" fmla="*/ 17 h 62"/>
                <a:gd name="T44" fmla="*/ 460 w 473"/>
                <a:gd name="T45" fmla="*/ 39 h 62"/>
                <a:gd name="T46" fmla="*/ 442 w 473"/>
                <a:gd name="T47" fmla="*/ 26 h 62"/>
                <a:gd name="T48" fmla="*/ 427 w 473"/>
                <a:gd name="T49" fmla="*/ 20 h 62"/>
                <a:gd name="T50" fmla="*/ 405 w 473"/>
                <a:gd name="T51" fmla="*/ 26 h 62"/>
                <a:gd name="T52" fmla="*/ 377 w 473"/>
                <a:gd name="T53" fmla="*/ 46 h 62"/>
                <a:gd name="T54" fmla="*/ 363 w 473"/>
                <a:gd name="T55" fmla="*/ 55 h 62"/>
                <a:gd name="T56" fmla="*/ 346 w 473"/>
                <a:gd name="T57" fmla="*/ 60 h 62"/>
                <a:gd name="T58" fmla="*/ 319 w 473"/>
                <a:gd name="T59" fmla="*/ 60 h 62"/>
                <a:gd name="T60" fmla="*/ 302 w 473"/>
                <a:gd name="T61" fmla="*/ 55 h 62"/>
                <a:gd name="T62" fmla="*/ 278 w 473"/>
                <a:gd name="T63" fmla="*/ 38 h 62"/>
                <a:gd name="T64" fmla="*/ 261 w 473"/>
                <a:gd name="T65" fmla="*/ 26 h 62"/>
                <a:gd name="T66" fmla="*/ 240 w 473"/>
                <a:gd name="T67" fmla="*/ 20 h 62"/>
                <a:gd name="T68" fmla="*/ 220 w 473"/>
                <a:gd name="T69" fmla="*/ 26 h 62"/>
                <a:gd name="T70" fmla="*/ 202 w 473"/>
                <a:gd name="T71" fmla="*/ 38 h 62"/>
                <a:gd name="T72" fmla="*/ 177 w 473"/>
                <a:gd name="T73" fmla="*/ 55 h 62"/>
                <a:gd name="T74" fmla="*/ 160 w 473"/>
                <a:gd name="T75" fmla="*/ 60 h 62"/>
                <a:gd name="T76" fmla="*/ 133 w 473"/>
                <a:gd name="T77" fmla="*/ 60 h 62"/>
                <a:gd name="T78" fmla="*/ 117 w 473"/>
                <a:gd name="T79" fmla="*/ 55 h 62"/>
                <a:gd name="T80" fmla="*/ 92 w 473"/>
                <a:gd name="T81" fmla="*/ 38 h 62"/>
                <a:gd name="T82" fmla="*/ 74 w 473"/>
                <a:gd name="T83" fmla="*/ 26 h 62"/>
                <a:gd name="T84" fmla="*/ 53 w 473"/>
                <a:gd name="T85" fmla="*/ 20 h 62"/>
                <a:gd name="T86" fmla="*/ 32 w 473"/>
                <a:gd name="T87" fmla="*/ 27 h 62"/>
                <a:gd name="T88" fmla="*/ 12 w 473"/>
                <a:gd name="T89" fmla="*/ 41 h 62"/>
                <a:gd name="T90" fmla="*/ 9 w 473"/>
                <a:gd name="T91" fmla="*/ 17 h 62"/>
                <a:gd name="T92" fmla="*/ 24 w 473"/>
                <a:gd name="T93" fmla="*/ 8 h 62"/>
                <a:gd name="T94" fmla="*/ 39 w 473"/>
                <a:gd name="T95" fmla="*/ 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3" h="62">
                  <a:moveTo>
                    <a:pt x="53" y="0"/>
                  </a:moveTo>
                  <a:lnTo>
                    <a:pt x="66" y="3"/>
                  </a:lnTo>
                  <a:lnTo>
                    <a:pt x="70" y="3"/>
                  </a:lnTo>
                  <a:lnTo>
                    <a:pt x="82" y="7"/>
                  </a:lnTo>
                  <a:lnTo>
                    <a:pt x="93" y="14"/>
                  </a:lnTo>
                  <a:lnTo>
                    <a:pt x="96" y="16"/>
                  </a:lnTo>
                  <a:lnTo>
                    <a:pt x="107" y="24"/>
                  </a:lnTo>
                  <a:lnTo>
                    <a:pt x="118" y="32"/>
                  </a:lnTo>
                  <a:lnTo>
                    <a:pt x="124" y="36"/>
                  </a:lnTo>
                  <a:lnTo>
                    <a:pt x="133" y="39"/>
                  </a:lnTo>
                  <a:lnTo>
                    <a:pt x="147" y="42"/>
                  </a:lnTo>
                  <a:lnTo>
                    <a:pt x="160" y="39"/>
                  </a:lnTo>
                  <a:lnTo>
                    <a:pt x="169" y="36"/>
                  </a:lnTo>
                  <a:lnTo>
                    <a:pt x="176" y="32"/>
                  </a:lnTo>
                  <a:lnTo>
                    <a:pt x="187" y="24"/>
                  </a:lnTo>
                  <a:lnTo>
                    <a:pt x="197" y="16"/>
                  </a:lnTo>
                  <a:lnTo>
                    <a:pt x="201" y="14"/>
                  </a:lnTo>
                  <a:lnTo>
                    <a:pt x="212" y="7"/>
                  </a:lnTo>
                  <a:lnTo>
                    <a:pt x="223" y="3"/>
                  </a:lnTo>
                  <a:lnTo>
                    <a:pt x="226" y="3"/>
                  </a:lnTo>
                  <a:lnTo>
                    <a:pt x="240" y="0"/>
                  </a:lnTo>
                  <a:lnTo>
                    <a:pt x="253" y="3"/>
                  </a:lnTo>
                  <a:lnTo>
                    <a:pt x="257" y="3"/>
                  </a:lnTo>
                  <a:lnTo>
                    <a:pt x="269" y="7"/>
                  </a:lnTo>
                  <a:lnTo>
                    <a:pt x="282" y="16"/>
                  </a:lnTo>
                  <a:lnTo>
                    <a:pt x="292" y="24"/>
                  </a:lnTo>
                  <a:lnTo>
                    <a:pt x="304" y="32"/>
                  </a:lnTo>
                  <a:lnTo>
                    <a:pt x="310" y="36"/>
                  </a:lnTo>
                  <a:lnTo>
                    <a:pt x="319" y="39"/>
                  </a:lnTo>
                  <a:lnTo>
                    <a:pt x="333" y="42"/>
                  </a:lnTo>
                  <a:lnTo>
                    <a:pt x="346" y="39"/>
                  </a:lnTo>
                  <a:lnTo>
                    <a:pt x="355" y="36"/>
                  </a:lnTo>
                  <a:lnTo>
                    <a:pt x="364" y="31"/>
                  </a:lnTo>
                  <a:lnTo>
                    <a:pt x="383" y="16"/>
                  </a:lnTo>
                  <a:lnTo>
                    <a:pt x="386" y="14"/>
                  </a:lnTo>
                  <a:lnTo>
                    <a:pt x="398" y="7"/>
                  </a:lnTo>
                  <a:lnTo>
                    <a:pt x="410" y="3"/>
                  </a:lnTo>
                  <a:lnTo>
                    <a:pt x="413" y="3"/>
                  </a:lnTo>
                  <a:lnTo>
                    <a:pt x="427" y="0"/>
                  </a:lnTo>
                  <a:lnTo>
                    <a:pt x="439" y="3"/>
                  </a:lnTo>
                  <a:lnTo>
                    <a:pt x="442" y="3"/>
                  </a:lnTo>
                  <a:lnTo>
                    <a:pt x="452" y="8"/>
                  </a:lnTo>
                  <a:lnTo>
                    <a:pt x="456" y="10"/>
                  </a:lnTo>
                  <a:lnTo>
                    <a:pt x="464" y="17"/>
                  </a:lnTo>
                  <a:lnTo>
                    <a:pt x="473" y="24"/>
                  </a:lnTo>
                  <a:lnTo>
                    <a:pt x="460" y="39"/>
                  </a:lnTo>
                  <a:lnTo>
                    <a:pt x="449" y="32"/>
                  </a:lnTo>
                  <a:lnTo>
                    <a:pt x="442" y="26"/>
                  </a:lnTo>
                  <a:lnTo>
                    <a:pt x="436" y="22"/>
                  </a:lnTo>
                  <a:lnTo>
                    <a:pt x="427" y="20"/>
                  </a:lnTo>
                  <a:lnTo>
                    <a:pt x="415" y="23"/>
                  </a:lnTo>
                  <a:lnTo>
                    <a:pt x="405" y="26"/>
                  </a:lnTo>
                  <a:lnTo>
                    <a:pt x="396" y="32"/>
                  </a:lnTo>
                  <a:lnTo>
                    <a:pt x="377" y="46"/>
                  </a:lnTo>
                  <a:lnTo>
                    <a:pt x="374" y="48"/>
                  </a:lnTo>
                  <a:lnTo>
                    <a:pt x="363" y="55"/>
                  </a:lnTo>
                  <a:lnTo>
                    <a:pt x="351" y="60"/>
                  </a:lnTo>
                  <a:lnTo>
                    <a:pt x="346" y="60"/>
                  </a:lnTo>
                  <a:lnTo>
                    <a:pt x="333" y="62"/>
                  </a:lnTo>
                  <a:lnTo>
                    <a:pt x="319" y="60"/>
                  </a:lnTo>
                  <a:lnTo>
                    <a:pt x="315" y="60"/>
                  </a:lnTo>
                  <a:lnTo>
                    <a:pt x="302" y="55"/>
                  </a:lnTo>
                  <a:lnTo>
                    <a:pt x="289" y="46"/>
                  </a:lnTo>
                  <a:lnTo>
                    <a:pt x="278" y="38"/>
                  </a:lnTo>
                  <a:lnTo>
                    <a:pt x="268" y="31"/>
                  </a:lnTo>
                  <a:lnTo>
                    <a:pt x="261" y="26"/>
                  </a:lnTo>
                  <a:lnTo>
                    <a:pt x="251" y="23"/>
                  </a:lnTo>
                  <a:lnTo>
                    <a:pt x="240" y="20"/>
                  </a:lnTo>
                  <a:lnTo>
                    <a:pt x="230" y="23"/>
                  </a:lnTo>
                  <a:lnTo>
                    <a:pt x="220" y="26"/>
                  </a:lnTo>
                  <a:lnTo>
                    <a:pt x="211" y="32"/>
                  </a:lnTo>
                  <a:lnTo>
                    <a:pt x="202" y="38"/>
                  </a:lnTo>
                  <a:lnTo>
                    <a:pt x="190" y="46"/>
                  </a:lnTo>
                  <a:lnTo>
                    <a:pt x="177" y="55"/>
                  </a:lnTo>
                  <a:lnTo>
                    <a:pt x="165" y="60"/>
                  </a:lnTo>
                  <a:lnTo>
                    <a:pt x="160" y="60"/>
                  </a:lnTo>
                  <a:lnTo>
                    <a:pt x="147" y="62"/>
                  </a:lnTo>
                  <a:lnTo>
                    <a:pt x="133" y="60"/>
                  </a:lnTo>
                  <a:lnTo>
                    <a:pt x="129" y="60"/>
                  </a:lnTo>
                  <a:lnTo>
                    <a:pt x="117" y="55"/>
                  </a:lnTo>
                  <a:lnTo>
                    <a:pt x="103" y="46"/>
                  </a:lnTo>
                  <a:lnTo>
                    <a:pt x="92" y="38"/>
                  </a:lnTo>
                  <a:lnTo>
                    <a:pt x="83" y="32"/>
                  </a:lnTo>
                  <a:lnTo>
                    <a:pt x="74" y="26"/>
                  </a:lnTo>
                  <a:lnTo>
                    <a:pt x="64" y="23"/>
                  </a:lnTo>
                  <a:lnTo>
                    <a:pt x="53" y="20"/>
                  </a:lnTo>
                  <a:lnTo>
                    <a:pt x="43" y="23"/>
                  </a:lnTo>
                  <a:lnTo>
                    <a:pt x="32" y="27"/>
                  </a:lnTo>
                  <a:lnTo>
                    <a:pt x="23" y="33"/>
                  </a:lnTo>
                  <a:lnTo>
                    <a:pt x="12" y="41"/>
                  </a:lnTo>
                  <a:lnTo>
                    <a:pt x="0" y="25"/>
                  </a:lnTo>
                  <a:lnTo>
                    <a:pt x="9" y="17"/>
                  </a:lnTo>
                  <a:lnTo>
                    <a:pt x="12" y="15"/>
                  </a:lnTo>
                  <a:lnTo>
                    <a:pt x="24" y="8"/>
                  </a:lnTo>
                  <a:lnTo>
                    <a:pt x="36" y="3"/>
                  </a:lnTo>
                  <a:lnTo>
                    <a:pt x="39" y="3"/>
                  </a:lnTo>
                  <a:lnTo>
                    <a:pt x="53" y="0"/>
                  </a:lnTo>
                  <a:close/>
                </a:path>
              </a:pathLst>
            </a:custGeom>
            <a:solidFill>
              <a:schemeClr val="bg1"/>
            </a:solidFill>
            <a:ln w="0">
              <a:no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grpSp>
      <p:sp>
        <p:nvSpPr>
          <p:cNvPr id="58" name="TextBox 57">
            <a:extLst>
              <a:ext uri="{FF2B5EF4-FFF2-40B4-BE49-F238E27FC236}">
                <a16:creationId xmlns:a16="http://schemas.microsoft.com/office/drawing/2014/main" id="{541F203C-99E4-40F5-8CA3-185AC4F9331E}"/>
              </a:ext>
            </a:extLst>
          </p:cNvPr>
          <p:cNvSpPr txBox="1">
            <a:spLocks/>
          </p:cNvSpPr>
          <p:nvPr/>
        </p:nvSpPr>
        <p:spPr bwMode="gray">
          <a:xfrm>
            <a:off x="1377233" y="2533844"/>
            <a:ext cx="1734627" cy="205121"/>
          </a:xfrm>
          <a:prstGeom prst="rect">
            <a:avLst/>
          </a:prstGeom>
        </p:spPr>
        <p:txBody>
          <a:bodyPr vert="horz" wrap="square" lIns="0" tIns="0" rIns="0" bIns="0" rtlCol="0" anchor="b" anchorCtr="0">
            <a:spAutoFit/>
          </a:bodyPr>
          <a:lstStyle>
            <a:lvl1pPr marL="0" lvl="0" indent="0" defTabSz="913041" eaLnBrk="1" hangingPunct="1">
              <a:buClr>
                <a:schemeClr val="tx2"/>
              </a:buClr>
              <a:defRPr baseline="0">
                <a:latin typeface="+mn-lt"/>
              </a:defRPr>
            </a:lvl1pPr>
            <a:lvl2pPr marL="197503" indent="-195884" defTabSz="913041" eaLnBrk="1" hangingPunct="1">
              <a:buClr>
                <a:schemeClr val="tx2"/>
              </a:buClr>
              <a:buSzPct val="125000"/>
              <a:buFont typeface="Arial" charset="0"/>
              <a:buChar char="▪"/>
              <a:defRPr baseline="0">
                <a:latin typeface="+mn-lt"/>
              </a:defRPr>
            </a:lvl2pPr>
            <a:lvl3pPr marL="466231" indent="-267114" defTabSz="913041" eaLnBrk="1" hangingPunct="1">
              <a:buClr>
                <a:schemeClr val="tx2"/>
              </a:buClr>
              <a:buSzPct val="120000"/>
              <a:buFont typeface="Arial" charset="0"/>
              <a:buChar char="–"/>
              <a:defRPr baseline="0">
                <a:latin typeface="+mn-lt"/>
              </a:defRPr>
            </a:lvl3pPr>
            <a:lvl4pPr marL="626503" indent="-158650" defTabSz="913041" eaLnBrk="1" hangingPunct="1">
              <a:buClr>
                <a:schemeClr val="tx2"/>
              </a:buClr>
              <a:buSzPct val="120000"/>
              <a:buFont typeface="Arial" charset="0"/>
              <a:buChar char="▫"/>
              <a:defRPr baseline="0">
                <a:latin typeface="+mn-lt"/>
              </a:defRPr>
            </a:lvl4pPr>
            <a:lvl5pPr marL="764623" indent="-132747" defTabSz="913041" eaLnBrk="1" hangingPunct="1">
              <a:buClr>
                <a:schemeClr val="tx2"/>
              </a:buClr>
              <a:buSzPct val="89000"/>
              <a:buFont typeface="Arial" charset="0"/>
              <a:buChar char="-"/>
              <a:defRPr baseline="0">
                <a:latin typeface="+mn-lt"/>
              </a:defRPr>
            </a:lvl5pPr>
            <a:lvl6pPr marL="764623" indent="-132747" defTabSz="913041" fontAlgn="base">
              <a:spcBef>
                <a:spcPct val="0"/>
              </a:spcBef>
              <a:spcAft>
                <a:spcPct val="0"/>
              </a:spcAft>
              <a:buClr>
                <a:schemeClr val="tx2"/>
              </a:buClr>
              <a:buSzPct val="89000"/>
              <a:buFont typeface="Arial" charset="0"/>
              <a:buChar char="-"/>
              <a:defRPr baseline="0">
                <a:latin typeface="+mn-lt"/>
              </a:defRPr>
            </a:lvl6pPr>
            <a:lvl7pPr marL="764623" indent="-132747" defTabSz="913041" fontAlgn="base">
              <a:spcBef>
                <a:spcPct val="0"/>
              </a:spcBef>
              <a:spcAft>
                <a:spcPct val="0"/>
              </a:spcAft>
              <a:buClr>
                <a:schemeClr val="tx2"/>
              </a:buClr>
              <a:buSzPct val="89000"/>
              <a:buFont typeface="Arial" charset="0"/>
              <a:buChar char="-"/>
              <a:defRPr baseline="0">
                <a:latin typeface="+mn-lt"/>
              </a:defRPr>
            </a:lvl7pPr>
            <a:lvl8pPr marL="764623" indent="-132747" defTabSz="913041" fontAlgn="base">
              <a:spcBef>
                <a:spcPct val="0"/>
              </a:spcBef>
              <a:spcAft>
                <a:spcPct val="0"/>
              </a:spcAft>
              <a:buClr>
                <a:schemeClr val="tx2"/>
              </a:buClr>
              <a:buSzPct val="89000"/>
              <a:buFont typeface="Arial" charset="0"/>
              <a:buChar char="-"/>
              <a:defRPr baseline="0">
                <a:latin typeface="+mn-lt"/>
              </a:defRPr>
            </a:lvl8pPr>
            <a:lvl9pPr marL="764623" indent="-132747" defTabSz="913041" fontAlgn="base">
              <a:spcBef>
                <a:spcPct val="0"/>
              </a:spcBef>
              <a:spcAft>
                <a:spcPct val="0"/>
              </a:spcAft>
              <a:buClr>
                <a:schemeClr val="tx2"/>
              </a:buClr>
              <a:buSzPct val="89000"/>
              <a:buFont typeface="Arial" charset="0"/>
              <a:buChar char="-"/>
              <a:defRPr baseline="0">
                <a:latin typeface="+mn-lt"/>
              </a:defRPr>
            </a:lvl9pPr>
          </a:lstStyle>
          <a:p>
            <a:pPr algn="ctr"/>
            <a:r>
              <a:rPr lang="en-US" sz="1333" b="1" dirty="0">
                <a:solidFill>
                  <a:schemeClr val="accent2"/>
                </a:solidFill>
              </a:rPr>
              <a:t>Process optimization</a:t>
            </a:r>
          </a:p>
        </p:txBody>
      </p:sp>
      <p:sp>
        <p:nvSpPr>
          <p:cNvPr id="60" name="TextBox 59">
            <a:extLst>
              <a:ext uri="{FF2B5EF4-FFF2-40B4-BE49-F238E27FC236}">
                <a16:creationId xmlns:a16="http://schemas.microsoft.com/office/drawing/2014/main" id="{49C9B8FD-0885-4B79-A619-CBB2D28E2BEF}"/>
              </a:ext>
            </a:extLst>
          </p:cNvPr>
          <p:cNvSpPr txBox="1">
            <a:spLocks/>
          </p:cNvSpPr>
          <p:nvPr/>
        </p:nvSpPr>
        <p:spPr bwMode="gray">
          <a:xfrm>
            <a:off x="7158642" y="2320984"/>
            <a:ext cx="2602540" cy="410241"/>
          </a:xfrm>
          <a:prstGeom prst="rect">
            <a:avLst/>
          </a:prstGeom>
        </p:spPr>
        <p:txBody>
          <a:bodyPr vert="horz" wrap="square" lIns="0" tIns="0" rIns="0" bIns="0" rtlCol="0" anchor="b" anchorCtr="0">
            <a:spAutoFit/>
          </a:bodyPr>
          <a:lstStyle>
            <a:lvl1pPr marL="0" lvl="0" indent="0" defTabSz="913041" eaLnBrk="1" hangingPunct="1">
              <a:buClr>
                <a:schemeClr val="tx2"/>
              </a:buClr>
              <a:defRPr baseline="0">
                <a:latin typeface="+mn-lt"/>
              </a:defRPr>
            </a:lvl1pPr>
            <a:lvl2pPr marL="197503" indent="-195884" defTabSz="913041" eaLnBrk="1" hangingPunct="1">
              <a:buClr>
                <a:schemeClr val="tx2"/>
              </a:buClr>
              <a:buSzPct val="125000"/>
              <a:buFont typeface="Arial" charset="0"/>
              <a:buChar char="▪"/>
              <a:defRPr baseline="0">
                <a:latin typeface="+mn-lt"/>
              </a:defRPr>
            </a:lvl2pPr>
            <a:lvl3pPr marL="466231" indent="-267114" defTabSz="913041" eaLnBrk="1" hangingPunct="1">
              <a:buClr>
                <a:schemeClr val="tx2"/>
              </a:buClr>
              <a:buSzPct val="120000"/>
              <a:buFont typeface="Arial" charset="0"/>
              <a:buChar char="–"/>
              <a:defRPr baseline="0">
                <a:latin typeface="+mn-lt"/>
              </a:defRPr>
            </a:lvl3pPr>
            <a:lvl4pPr marL="626503" indent="-158650" defTabSz="913041" eaLnBrk="1" hangingPunct="1">
              <a:buClr>
                <a:schemeClr val="tx2"/>
              </a:buClr>
              <a:buSzPct val="120000"/>
              <a:buFont typeface="Arial" charset="0"/>
              <a:buChar char="▫"/>
              <a:defRPr baseline="0">
                <a:latin typeface="+mn-lt"/>
              </a:defRPr>
            </a:lvl4pPr>
            <a:lvl5pPr marL="764623" indent="-132747" defTabSz="913041" eaLnBrk="1" hangingPunct="1">
              <a:buClr>
                <a:schemeClr val="tx2"/>
              </a:buClr>
              <a:buSzPct val="89000"/>
              <a:buFont typeface="Arial" charset="0"/>
              <a:buChar char="-"/>
              <a:defRPr baseline="0">
                <a:latin typeface="+mn-lt"/>
              </a:defRPr>
            </a:lvl5pPr>
            <a:lvl6pPr marL="764623" indent="-132747" defTabSz="913041" fontAlgn="base">
              <a:spcBef>
                <a:spcPct val="0"/>
              </a:spcBef>
              <a:spcAft>
                <a:spcPct val="0"/>
              </a:spcAft>
              <a:buClr>
                <a:schemeClr val="tx2"/>
              </a:buClr>
              <a:buSzPct val="89000"/>
              <a:buFont typeface="Arial" charset="0"/>
              <a:buChar char="-"/>
              <a:defRPr baseline="0">
                <a:latin typeface="+mn-lt"/>
              </a:defRPr>
            </a:lvl6pPr>
            <a:lvl7pPr marL="764623" indent="-132747" defTabSz="913041" fontAlgn="base">
              <a:spcBef>
                <a:spcPct val="0"/>
              </a:spcBef>
              <a:spcAft>
                <a:spcPct val="0"/>
              </a:spcAft>
              <a:buClr>
                <a:schemeClr val="tx2"/>
              </a:buClr>
              <a:buSzPct val="89000"/>
              <a:buFont typeface="Arial" charset="0"/>
              <a:buChar char="-"/>
              <a:defRPr baseline="0">
                <a:latin typeface="+mn-lt"/>
              </a:defRPr>
            </a:lvl7pPr>
            <a:lvl8pPr marL="764623" indent="-132747" defTabSz="913041" fontAlgn="base">
              <a:spcBef>
                <a:spcPct val="0"/>
              </a:spcBef>
              <a:spcAft>
                <a:spcPct val="0"/>
              </a:spcAft>
              <a:buClr>
                <a:schemeClr val="tx2"/>
              </a:buClr>
              <a:buSzPct val="89000"/>
              <a:buFont typeface="Arial" charset="0"/>
              <a:buChar char="-"/>
              <a:defRPr baseline="0">
                <a:latin typeface="+mn-lt"/>
              </a:defRPr>
            </a:lvl8pPr>
            <a:lvl9pPr marL="764623" indent="-132747" defTabSz="913041" fontAlgn="base">
              <a:spcBef>
                <a:spcPct val="0"/>
              </a:spcBef>
              <a:spcAft>
                <a:spcPct val="0"/>
              </a:spcAft>
              <a:buClr>
                <a:schemeClr val="tx2"/>
              </a:buClr>
              <a:buSzPct val="89000"/>
              <a:buFont typeface="Arial" charset="0"/>
              <a:buChar char="-"/>
              <a:defRPr baseline="0">
                <a:latin typeface="+mn-lt"/>
              </a:defRPr>
            </a:lvl9pPr>
          </a:lstStyle>
          <a:p>
            <a:pPr algn="ctr"/>
            <a:r>
              <a:rPr lang="en-US" sz="1333" b="1" dirty="0">
                <a:solidFill>
                  <a:schemeClr val="accent2"/>
                </a:solidFill>
              </a:rPr>
              <a:t>Product mix / profit optimization</a:t>
            </a:r>
          </a:p>
        </p:txBody>
      </p:sp>
      <p:sp>
        <p:nvSpPr>
          <p:cNvPr id="62" name="TextBox 61">
            <a:extLst>
              <a:ext uri="{FF2B5EF4-FFF2-40B4-BE49-F238E27FC236}">
                <a16:creationId xmlns:a16="http://schemas.microsoft.com/office/drawing/2014/main" id="{C33B56D5-F400-4728-B5FB-123B87F4F536}"/>
              </a:ext>
            </a:extLst>
          </p:cNvPr>
          <p:cNvSpPr txBox="1"/>
          <p:nvPr/>
        </p:nvSpPr>
        <p:spPr bwMode="gray">
          <a:xfrm>
            <a:off x="4718297" y="2435428"/>
            <a:ext cx="724580" cy="205184"/>
          </a:xfrm>
          <a:prstGeom prst="rect">
            <a:avLst/>
          </a:prstGeom>
        </p:spPr>
        <p:txBody>
          <a:bodyPr vert="horz" wrap="square" lIns="0" tIns="0" rIns="0" bIns="0" rtlCol="0">
            <a:noAutofit/>
          </a:bodyPr>
          <a:lstStyle>
            <a:lvl1pPr marL="0" lvl="0" indent="0" defTabSz="913041" eaLnBrk="1" hangingPunct="1">
              <a:buClr>
                <a:schemeClr val="tx2"/>
              </a:buClr>
              <a:defRPr baseline="0">
                <a:latin typeface="+mn-lt"/>
              </a:defRPr>
            </a:lvl1pPr>
            <a:lvl2pPr marL="197503" indent="-195884" defTabSz="913041" eaLnBrk="1" hangingPunct="1">
              <a:buClr>
                <a:schemeClr val="tx2"/>
              </a:buClr>
              <a:buSzPct val="125000"/>
              <a:buFont typeface="Arial" charset="0"/>
              <a:buChar char="▪"/>
              <a:defRPr baseline="0">
                <a:latin typeface="+mn-lt"/>
              </a:defRPr>
            </a:lvl2pPr>
            <a:lvl3pPr marL="466231" indent="-267114" defTabSz="913041" eaLnBrk="1" hangingPunct="1">
              <a:buClr>
                <a:schemeClr val="tx2"/>
              </a:buClr>
              <a:buSzPct val="120000"/>
              <a:buFont typeface="Arial" charset="0"/>
              <a:buChar char="–"/>
              <a:defRPr baseline="0">
                <a:latin typeface="+mn-lt"/>
              </a:defRPr>
            </a:lvl3pPr>
            <a:lvl4pPr marL="626503" indent="-158650" defTabSz="913041" eaLnBrk="1" hangingPunct="1">
              <a:buClr>
                <a:schemeClr val="tx2"/>
              </a:buClr>
              <a:buSzPct val="120000"/>
              <a:buFont typeface="Arial" charset="0"/>
              <a:buChar char="▫"/>
              <a:defRPr baseline="0">
                <a:latin typeface="+mn-lt"/>
              </a:defRPr>
            </a:lvl4pPr>
            <a:lvl5pPr marL="764623" indent="-132747" defTabSz="913041" eaLnBrk="1" hangingPunct="1">
              <a:buClr>
                <a:schemeClr val="tx2"/>
              </a:buClr>
              <a:buSzPct val="89000"/>
              <a:buFont typeface="Arial" charset="0"/>
              <a:buChar char="-"/>
              <a:defRPr baseline="0">
                <a:latin typeface="+mn-lt"/>
              </a:defRPr>
            </a:lvl5pPr>
            <a:lvl6pPr marL="764623" indent="-132747" defTabSz="913041" fontAlgn="base">
              <a:spcBef>
                <a:spcPct val="0"/>
              </a:spcBef>
              <a:spcAft>
                <a:spcPct val="0"/>
              </a:spcAft>
              <a:buClr>
                <a:schemeClr val="tx2"/>
              </a:buClr>
              <a:buSzPct val="89000"/>
              <a:buFont typeface="Arial" charset="0"/>
              <a:buChar char="-"/>
              <a:defRPr baseline="0">
                <a:latin typeface="+mn-lt"/>
              </a:defRPr>
            </a:lvl6pPr>
            <a:lvl7pPr marL="764623" indent="-132747" defTabSz="913041" fontAlgn="base">
              <a:spcBef>
                <a:spcPct val="0"/>
              </a:spcBef>
              <a:spcAft>
                <a:spcPct val="0"/>
              </a:spcAft>
              <a:buClr>
                <a:schemeClr val="tx2"/>
              </a:buClr>
              <a:buSzPct val="89000"/>
              <a:buFont typeface="Arial" charset="0"/>
              <a:buChar char="-"/>
              <a:defRPr baseline="0">
                <a:latin typeface="+mn-lt"/>
              </a:defRPr>
            </a:lvl7pPr>
            <a:lvl8pPr marL="764623" indent="-132747" defTabSz="913041" fontAlgn="base">
              <a:spcBef>
                <a:spcPct val="0"/>
              </a:spcBef>
              <a:spcAft>
                <a:spcPct val="0"/>
              </a:spcAft>
              <a:buClr>
                <a:schemeClr val="tx2"/>
              </a:buClr>
              <a:buSzPct val="89000"/>
              <a:buFont typeface="Arial" charset="0"/>
              <a:buChar char="-"/>
              <a:defRPr baseline="0">
                <a:latin typeface="+mn-lt"/>
              </a:defRPr>
            </a:lvl8pPr>
            <a:lvl9pPr marL="764623" indent="-132747" defTabSz="913041" fontAlgn="base">
              <a:spcBef>
                <a:spcPct val="0"/>
              </a:spcBef>
              <a:spcAft>
                <a:spcPct val="0"/>
              </a:spcAft>
              <a:buClr>
                <a:schemeClr val="tx2"/>
              </a:buClr>
              <a:buSzPct val="89000"/>
              <a:buFont typeface="Arial" charset="0"/>
              <a:buChar char="-"/>
              <a:defRPr baseline="0">
                <a:latin typeface="+mn-lt"/>
              </a:defRPr>
            </a:lvl9pPr>
          </a:lstStyle>
          <a:p>
            <a:pPr algn="ctr"/>
            <a:r>
              <a:rPr lang="en-US" sz="1333" b="1" dirty="0">
                <a:solidFill>
                  <a:schemeClr val="accent2"/>
                </a:solidFill>
              </a:rPr>
              <a:t>Capacity</a:t>
            </a:r>
          </a:p>
        </p:txBody>
      </p:sp>
      <p:sp>
        <p:nvSpPr>
          <p:cNvPr id="63" name="TextBox 62">
            <a:extLst>
              <a:ext uri="{FF2B5EF4-FFF2-40B4-BE49-F238E27FC236}">
                <a16:creationId xmlns:a16="http://schemas.microsoft.com/office/drawing/2014/main" id="{87884C22-E57F-4116-B7DA-06601D57857D}"/>
              </a:ext>
            </a:extLst>
          </p:cNvPr>
          <p:cNvSpPr txBox="1"/>
          <p:nvPr/>
        </p:nvSpPr>
        <p:spPr bwMode="gray">
          <a:xfrm>
            <a:off x="4509419" y="3463677"/>
            <a:ext cx="1119053" cy="205184"/>
          </a:xfrm>
          <a:prstGeom prst="rect">
            <a:avLst/>
          </a:prstGeom>
        </p:spPr>
        <p:txBody>
          <a:bodyPr vert="horz" wrap="square" lIns="0" tIns="0" rIns="0" bIns="0" rtlCol="0">
            <a:noAutofit/>
          </a:bodyPr>
          <a:lstStyle>
            <a:lvl1pPr marL="0" lvl="0" indent="0" defTabSz="913041" eaLnBrk="1" hangingPunct="1">
              <a:buClr>
                <a:schemeClr val="tx2"/>
              </a:buClr>
              <a:defRPr baseline="0">
                <a:latin typeface="+mn-lt"/>
              </a:defRPr>
            </a:lvl1pPr>
            <a:lvl2pPr marL="197503" indent="-195884" defTabSz="913041" eaLnBrk="1" hangingPunct="1">
              <a:buClr>
                <a:schemeClr val="tx2"/>
              </a:buClr>
              <a:buSzPct val="125000"/>
              <a:buFont typeface="Arial" charset="0"/>
              <a:buChar char="▪"/>
              <a:defRPr baseline="0">
                <a:latin typeface="+mn-lt"/>
              </a:defRPr>
            </a:lvl2pPr>
            <a:lvl3pPr marL="466231" indent="-267114" defTabSz="913041" eaLnBrk="1" hangingPunct="1">
              <a:buClr>
                <a:schemeClr val="tx2"/>
              </a:buClr>
              <a:buSzPct val="120000"/>
              <a:buFont typeface="Arial" charset="0"/>
              <a:buChar char="–"/>
              <a:defRPr baseline="0">
                <a:latin typeface="+mn-lt"/>
              </a:defRPr>
            </a:lvl3pPr>
            <a:lvl4pPr marL="626503" indent="-158650" defTabSz="913041" eaLnBrk="1" hangingPunct="1">
              <a:buClr>
                <a:schemeClr val="tx2"/>
              </a:buClr>
              <a:buSzPct val="120000"/>
              <a:buFont typeface="Arial" charset="0"/>
              <a:buChar char="▫"/>
              <a:defRPr baseline="0">
                <a:latin typeface="+mn-lt"/>
              </a:defRPr>
            </a:lvl4pPr>
            <a:lvl5pPr marL="764623" indent="-132747" defTabSz="913041" eaLnBrk="1" hangingPunct="1">
              <a:buClr>
                <a:schemeClr val="tx2"/>
              </a:buClr>
              <a:buSzPct val="89000"/>
              <a:buFont typeface="Arial" charset="0"/>
              <a:buChar char="-"/>
              <a:defRPr baseline="0">
                <a:latin typeface="+mn-lt"/>
              </a:defRPr>
            </a:lvl5pPr>
            <a:lvl6pPr marL="764623" indent="-132747" defTabSz="913041" fontAlgn="base">
              <a:spcBef>
                <a:spcPct val="0"/>
              </a:spcBef>
              <a:spcAft>
                <a:spcPct val="0"/>
              </a:spcAft>
              <a:buClr>
                <a:schemeClr val="tx2"/>
              </a:buClr>
              <a:buSzPct val="89000"/>
              <a:buFont typeface="Arial" charset="0"/>
              <a:buChar char="-"/>
              <a:defRPr baseline="0">
                <a:latin typeface="+mn-lt"/>
              </a:defRPr>
            </a:lvl6pPr>
            <a:lvl7pPr marL="764623" indent="-132747" defTabSz="913041" fontAlgn="base">
              <a:spcBef>
                <a:spcPct val="0"/>
              </a:spcBef>
              <a:spcAft>
                <a:spcPct val="0"/>
              </a:spcAft>
              <a:buClr>
                <a:schemeClr val="tx2"/>
              </a:buClr>
              <a:buSzPct val="89000"/>
              <a:buFont typeface="Arial" charset="0"/>
              <a:buChar char="-"/>
              <a:defRPr baseline="0">
                <a:latin typeface="+mn-lt"/>
              </a:defRPr>
            </a:lvl7pPr>
            <a:lvl8pPr marL="764623" indent="-132747" defTabSz="913041" fontAlgn="base">
              <a:spcBef>
                <a:spcPct val="0"/>
              </a:spcBef>
              <a:spcAft>
                <a:spcPct val="0"/>
              </a:spcAft>
              <a:buClr>
                <a:schemeClr val="tx2"/>
              </a:buClr>
              <a:buSzPct val="89000"/>
              <a:buFont typeface="Arial" charset="0"/>
              <a:buChar char="-"/>
              <a:defRPr baseline="0">
                <a:latin typeface="+mn-lt"/>
              </a:defRPr>
            </a:lvl8pPr>
            <a:lvl9pPr marL="764623" indent="-132747" defTabSz="913041" fontAlgn="base">
              <a:spcBef>
                <a:spcPct val="0"/>
              </a:spcBef>
              <a:spcAft>
                <a:spcPct val="0"/>
              </a:spcAft>
              <a:buClr>
                <a:schemeClr val="tx2"/>
              </a:buClr>
              <a:buSzPct val="89000"/>
              <a:buFont typeface="Arial" charset="0"/>
              <a:buChar char="-"/>
              <a:defRPr baseline="0">
                <a:latin typeface="+mn-lt"/>
              </a:defRPr>
            </a:lvl9pPr>
          </a:lstStyle>
          <a:p>
            <a:pPr algn="ctr"/>
            <a:r>
              <a:rPr lang="en-US" sz="1333" b="1" dirty="0">
                <a:solidFill>
                  <a:schemeClr val="accent2"/>
                </a:solidFill>
              </a:rPr>
              <a:t>Volume mix</a:t>
            </a:r>
          </a:p>
        </p:txBody>
      </p:sp>
      <p:grpSp>
        <p:nvGrpSpPr>
          <p:cNvPr id="418" name="Group 417">
            <a:extLst>
              <a:ext uri="{FF2B5EF4-FFF2-40B4-BE49-F238E27FC236}">
                <a16:creationId xmlns:a16="http://schemas.microsoft.com/office/drawing/2014/main" id="{3CB25DE9-B6A4-4DAF-BE95-942C4BCD51BC}"/>
              </a:ext>
            </a:extLst>
          </p:cNvPr>
          <p:cNvGrpSpPr/>
          <p:nvPr/>
        </p:nvGrpSpPr>
        <p:grpSpPr>
          <a:xfrm>
            <a:off x="4773846" y="4544315"/>
            <a:ext cx="375193" cy="139723"/>
            <a:chOff x="3815105" y="3460488"/>
            <a:chExt cx="497231" cy="104792"/>
          </a:xfrm>
        </p:grpSpPr>
        <p:cxnSp>
          <p:nvCxnSpPr>
            <p:cNvPr id="65" name="Straight Arrow Connector 64">
              <a:extLst>
                <a:ext uri="{FF2B5EF4-FFF2-40B4-BE49-F238E27FC236}">
                  <a16:creationId xmlns:a16="http://schemas.microsoft.com/office/drawing/2014/main" id="{51BC183F-4538-45B6-93E0-9374D357CC9B}"/>
                </a:ext>
              </a:extLst>
            </p:cNvPr>
            <p:cNvCxnSpPr>
              <a:cxnSpLocks/>
            </p:cNvCxnSpPr>
            <p:nvPr/>
          </p:nvCxnSpPr>
          <p:spPr bwMode="gray">
            <a:xfrm flipH="1">
              <a:off x="3815105" y="3565280"/>
              <a:ext cx="497231"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5EE53486-81B2-4A8D-B474-8E353BF99C10}"/>
                </a:ext>
              </a:extLst>
            </p:cNvPr>
            <p:cNvCxnSpPr>
              <a:cxnSpLocks/>
            </p:cNvCxnSpPr>
            <p:nvPr/>
          </p:nvCxnSpPr>
          <p:spPr bwMode="gray">
            <a:xfrm>
              <a:off x="3827589" y="3460488"/>
              <a:ext cx="460196"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sp>
        <p:nvSpPr>
          <p:cNvPr id="67" name="Flowchart: Magnetic Disk 66">
            <a:extLst>
              <a:ext uri="{FF2B5EF4-FFF2-40B4-BE49-F238E27FC236}">
                <a16:creationId xmlns:a16="http://schemas.microsoft.com/office/drawing/2014/main" id="{976E0730-199C-4E4C-8345-15F0FC3F916F}"/>
              </a:ext>
            </a:extLst>
          </p:cNvPr>
          <p:cNvSpPr/>
          <p:nvPr/>
        </p:nvSpPr>
        <p:spPr>
          <a:xfrm>
            <a:off x="4402374" y="1693711"/>
            <a:ext cx="1548476" cy="342820"/>
          </a:xfrm>
          <a:prstGeom prst="flowChartMagneticDisk">
            <a:avLst/>
          </a:prstGeom>
          <a:solidFill>
            <a:schemeClr val="accent6">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33" b="1" dirty="0">
                <a:solidFill>
                  <a:schemeClr val="accent2"/>
                </a:solidFill>
              </a:rPr>
              <a:t>Data lake</a:t>
            </a:r>
          </a:p>
        </p:txBody>
      </p:sp>
      <p:sp>
        <p:nvSpPr>
          <p:cNvPr id="68" name="Flowchart: Magnetic Disk 67">
            <a:extLst>
              <a:ext uri="{FF2B5EF4-FFF2-40B4-BE49-F238E27FC236}">
                <a16:creationId xmlns:a16="http://schemas.microsoft.com/office/drawing/2014/main" id="{EFCC174B-6BB9-477B-9BDC-2CA8F660F376}"/>
              </a:ext>
            </a:extLst>
          </p:cNvPr>
          <p:cNvSpPr/>
          <p:nvPr/>
        </p:nvSpPr>
        <p:spPr>
          <a:xfrm>
            <a:off x="2115674" y="1138130"/>
            <a:ext cx="1018596" cy="289701"/>
          </a:xfrm>
          <a:prstGeom prst="flowChartMagneticDisk">
            <a:avLst/>
          </a:prstGeom>
          <a:solidFill>
            <a:schemeClr val="accent6">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33" b="1" dirty="0">
                <a:solidFill>
                  <a:schemeClr val="accent2"/>
                </a:solidFill>
              </a:rPr>
              <a:t>PI</a:t>
            </a:r>
          </a:p>
        </p:txBody>
      </p:sp>
      <p:sp>
        <p:nvSpPr>
          <p:cNvPr id="70" name="Flowchart: Magnetic Disk 69">
            <a:extLst>
              <a:ext uri="{FF2B5EF4-FFF2-40B4-BE49-F238E27FC236}">
                <a16:creationId xmlns:a16="http://schemas.microsoft.com/office/drawing/2014/main" id="{31B86B51-9610-4610-9D7D-85028AFF964A}"/>
              </a:ext>
            </a:extLst>
          </p:cNvPr>
          <p:cNvSpPr/>
          <p:nvPr/>
        </p:nvSpPr>
        <p:spPr>
          <a:xfrm>
            <a:off x="4667315" y="1138648"/>
            <a:ext cx="1018596" cy="289701"/>
          </a:xfrm>
          <a:prstGeom prst="flowChartMagneticDisk">
            <a:avLst/>
          </a:prstGeom>
          <a:solidFill>
            <a:schemeClr val="accent6">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33" b="1" dirty="0">
                <a:solidFill>
                  <a:schemeClr val="accent2"/>
                </a:solidFill>
              </a:rPr>
              <a:t>Prices</a:t>
            </a:r>
          </a:p>
        </p:txBody>
      </p:sp>
      <p:sp>
        <p:nvSpPr>
          <p:cNvPr id="71" name="Flowchart: Magnetic Disk 70">
            <a:extLst>
              <a:ext uri="{FF2B5EF4-FFF2-40B4-BE49-F238E27FC236}">
                <a16:creationId xmlns:a16="http://schemas.microsoft.com/office/drawing/2014/main" id="{06FCA535-5218-4CE4-83FB-CE5569AFD0B6}"/>
              </a:ext>
            </a:extLst>
          </p:cNvPr>
          <p:cNvSpPr/>
          <p:nvPr/>
        </p:nvSpPr>
        <p:spPr>
          <a:xfrm>
            <a:off x="7271123" y="1138130"/>
            <a:ext cx="1018596" cy="289701"/>
          </a:xfrm>
          <a:prstGeom prst="flowChartMagneticDisk">
            <a:avLst/>
          </a:prstGeom>
          <a:solidFill>
            <a:schemeClr val="accent6">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33" b="1" dirty="0">
                <a:solidFill>
                  <a:schemeClr val="accent2"/>
                </a:solidFill>
              </a:rPr>
              <a:t>Inventory</a:t>
            </a:r>
          </a:p>
        </p:txBody>
      </p:sp>
      <p:cxnSp>
        <p:nvCxnSpPr>
          <p:cNvPr id="72" name="Straight Arrow Connector 442">
            <a:extLst>
              <a:ext uri="{FF2B5EF4-FFF2-40B4-BE49-F238E27FC236}">
                <a16:creationId xmlns:a16="http://schemas.microsoft.com/office/drawing/2014/main" id="{75A2FDAE-D65F-47C3-ACC8-2B3EF5BCDFE8}"/>
              </a:ext>
            </a:extLst>
          </p:cNvPr>
          <p:cNvCxnSpPr>
            <a:cxnSpLocks/>
            <a:stCxn id="68" idx="3"/>
            <a:endCxn id="67" idx="1"/>
          </p:cNvCxnSpPr>
          <p:nvPr/>
        </p:nvCxnSpPr>
        <p:spPr bwMode="gray">
          <a:xfrm rot="16200000" flipH="1">
            <a:off x="3767854" y="284951"/>
            <a:ext cx="265879" cy="2551640"/>
          </a:xfrm>
          <a:prstGeom prst="bentConnector3">
            <a:avLst>
              <a:gd name="adj1" fmla="val 50000"/>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442">
            <a:extLst>
              <a:ext uri="{FF2B5EF4-FFF2-40B4-BE49-F238E27FC236}">
                <a16:creationId xmlns:a16="http://schemas.microsoft.com/office/drawing/2014/main" id="{E6FECEB5-F3CD-409F-93E1-B31245DEF3AA}"/>
              </a:ext>
            </a:extLst>
          </p:cNvPr>
          <p:cNvCxnSpPr>
            <a:cxnSpLocks/>
            <a:stCxn id="70" idx="3"/>
            <a:endCxn id="67" idx="1"/>
          </p:cNvCxnSpPr>
          <p:nvPr/>
        </p:nvCxnSpPr>
        <p:spPr bwMode="gray">
          <a:xfrm rot="5400000">
            <a:off x="5043936" y="1561030"/>
            <a:ext cx="265361" cy="1"/>
          </a:xfrm>
          <a:prstGeom prst="bentConnector3">
            <a:avLst>
              <a:gd name="adj1" fmla="val 50000"/>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442">
            <a:extLst>
              <a:ext uri="{FF2B5EF4-FFF2-40B4-BE49-F238E27FC236}">
                <a16:creationId xmlns:a16="http://schemas.microsoft.com/office/drawing/2014/main" id="{ECBBF251-D004-4B65-AB9C-D7A325E850C7}"/>
              </a:ext>
            </a:extLst>
          </p:cNvPr>
          <p:cNvCxnSpPr>
            <a:cxnSpLocks/>
            <a:stCxn id="71" idx="3"/>
            <a:endCxn id="67" idx="1"/>
          </p:cNvCxnSpPr>
          <p:nvPr/>
        </p:nvCxnSpPr>
        <p:spPr bwMode="gray">
          <a:xfrm rot="5400000">
            <a:off x="6345578" y="258865"/>
            <a:ext cx="265879" cy="2603808"/>
          </a:xfrm>
          <a:prstGeom prst="bentConnector3">
            <a:avLst>
              <a:gd name="adj1" fmla="val 50000"/>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416" name="Group 415">
            <a:extLst>
              <a:ext uri="{FF2B5EF4-FFF2-40B4-BE49-F238E27FC236}">
                <a16:creationId xmlns:a16="http://schemas.microsoft.com/office/drawing/2014/main" id="{778FE5FC-0E1E-4569-BFA7-F266A9DB0399}"/>
              </a:ext>
            </a:extLst>
          </p:cNvPr>
          <p:cNvGrpSpPr/>
          <p:nvPr/>
        </p:nvGrpSpPr>
        <p:grpSpPr>
          <a:xfrm>
            <a:off x="2298904" y="4544315"/>
            <a:ext cx="832461" cy="139723"/>
            <a:chOff x="2066475" y="3460488"/>
            <a:chExt cx="269498" cy="104792"/>
          </a:xfrm>
        </p:grpSpPr>
        <p:cxnSp>
          <p:nvCxnSpPr>
            <p:cNvPr id="76" name="Straight Arrow Connector 75">
              <a:extLst>
                <a:ext uri="{FF2B5EF4-FFF2-40B4-BE49-F238E27FC236}">
                  <a16:creationId xmlns:a16="http://schemas.microsoft.com/office/drawing/2014/main" id="{0E51DE39-493C-4B47-8CD2-39D7577A9899}"/>
                </a:ext>
              </a:extLst>
            </p:cNvPr>
            <p:cNvCxnSpPr>
              <a:cxnSpLocks/>
            </p:cNvCxnSpPr>
            <p:nvPr/>
          </p:nvCxnSpPr>
          <p:spPr bwMode="gray">
            <a:xfrm flipH="1">
              <a:off x="2066475" y="3565280"/>
              <a:ext cx="246845"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C566A3B3-B298-4ACC-9206-30E0C594C752}"/>
                </a:ext>
              </a:extLst>
            </p:cNvPr>
            <p:cNvCxnSpPr>
              <a:cxnSpLocks/>
            </p:cNvCxnSpPr>
            <p:nvPr/>
          </p:nvCxnSpPr>
          <p:spPr bwMode="gray">
            <a:xfrm>
              <a:off x="2089128" y="3460488"/>
              <a:ext cx="246845"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pic>
        <p:nvPicPr>
          <p:cNvPr id="78" name="Picture 77">
            <a:extLst>
              <a:ext uri="{FF2B5EF4-FFF2-40B4-BE49-F238E27FC236}">
                <a16:creationId xmlns:a16="http://schemas.microsoft.com/office/drawing/2014/main" id="{79B508AF-71AE-43BA-9D3F-FC75124F1DE3}"/>
              </a:ext>
            </a:extLst>
          </p:cNvPr>
          <p:cNvPicPr>
            <a:picLocks/>
          </p:cNvPicPr>
          <p:nvPr/>
        </p:nvPicPr>
        <p:blipFill rotWithShape="1">
          <a:blip r:embed="rId12" cstate="print">
            <a:extLst>
              <a:ext uri="{28A0092B-C50C-407E-A947-70E740481C1C}">
                <a14:useLocalDpi xmlns:a14="http://schemas.microsoft.com/office/drawing/2010/main" val="0"/>
              </a:ext>
            </a:extLst>
          </a:blip>
          <a:srcRect t="-12768"/>
          <a:stretch/>
        </p:blipFill>
        <p:spPr bwMode="gray">
          <a:xfrm>
            <a:off x="5210290" y="3869765"/>
            <a:ext cx="1611069" cy="1459577"/>
          </a:xfrm>
          <a:prstGeom prst="ellipse">
            <a:avLst/>
          </a:prstGeom>
          <a:ln w="28575">
            <a:solidFill>
              <a:schemeClr val="accent1"/>
            </a:solidFill>
          </a:ln>
        </p:spPr>
      </p:pic>
      <p:sp>
        <p:nvSpPr>
          <p:cNvPr id="80" name="Oval 79">
            <a:extLst>
              <a:ext uri="{FF2B5EF4-FFF2-40B4-BE49-F238E27FC236}">
                <a16:creationId xmlns:a16="http://schemas.microsoft.com/office/drawing/2014/main" id="{4DE0AFCC-363F-41CC-93FE-65EFF305C314}"/>
              </a:ext>
            </a:extLst>
          </p:cNvPr>
          <p:cNvSpPr>
            <a:spLocks/>
          </p:cNvSpPr>
          <p:nvPr/>
        </p:nvSpPr>
        <p:spPr bwMode="gray">
          <a:xfrm>
            <a:off x="3162776" y="3869765"/>
            <a:ext cx="1611069" cy="1459577"/>
          </a:xfrm>
          <a:prstGeom prst="ellipse">
            <a:avLst/>
          </a:prstGeom>
          <a:blipFill>
            <a:blip r:embed="rId13" cstate="print">
              <a:extLst>
                <a:ext uri="{28A0092B-C50C-407E-A947-70E740481C1C}">
                  <a14:useLocalDpi xmlns:a14="http://schemas.microsoft.com/office/drawing/2010/main" val="0"/>
                </a:ext>
              </a:extLst>
            </a:blip>
            <a:stretch>
              <a:fillRect/>
            </a:stretch>
          </a:bli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33" dirty="0">
              <a:solidFill>
                <a:schemeClr val="tx1"/>
              </a:solidFill>
            </a:endParaRPr>
          </a:p>
        </p:txBody>
      </p:sp>
      <p:grpSp>
        <p:nvGrpSpPr>
          <p:cNvPr id="81" name="Group 80">
            <a:extLst>
              <a:ext uri="{FF2B5EF4-FFF2-40B4-BE49-F238E27FC236}">
                <a16:creationId xmlns:a16="http://schemas.microsoft.com/office/drawing/2014/main" id="{B2A75CB2-5971-46E7-B7AF-8BE9F502EE47}"/>
              </a:ext>
            </a:extLst>
          </p:cNvPr>
          <p:cNvGrpSpPr/>
          <p:nvPr/>
        </p:nvGrpSpPr>
        <p:grpSpPr bwMode="gray">
          <a:xfrm>
            <a:off x="3518294" y="3987706"/>
            <a:ext cx="316500" cy="308073"/>
            <a:chOff x="1153472" y="1602631"/>
            <a:chExt cx="629110" cy="650030"/>
          </a:xfrm>
        </p:grpSpPr>
        <p:sp>
          <p:nvSpPr>
            <p:cNvPr id="259" name="Freeform 401">
              <a:extLst>
                <a:ext uri="{FF2B5EF4-FFF2-40B4-BE49-F238E27FC236}">
                  <a16:creationId xmlns:a16="http://schemas.microsoft.com/office/drawing/2014/main" id="{1B002555-AD66-4140-9C4C-BABBD342E908}"/>
                </a:ext>
              </a:extLst>
            </p:cNvPr>
            <p:cNvSpPr>
              <a:spLocks/>
            </p:cNvSpPr>
            <p:nvPr/>
          </p:nvSpPr>
          <p:spPr bwMode="gray">
            <a:xfrm>
              <a:off x="1625861" y="1957900"/>
              <a:ext cx="60234" cy="54657"/>
            </a:xfrm>
            <a:custGeom>
              <a:avLst/>
              <a:gdLst>
                <a:gd name="T0" fmla="*/ 16 w 108"/>
                <a:gd name="T1" fmla="*/ 0 h 98"/>
                <a:gd name="T2" fmla="*/ 28 w 108"/>
                <a:gd name="T3" fmla="*/ 2 h 98"/>
                <a:gd name="T4" fmla="*/ 42 w 108"/>
                <a:gd name="T5" fmla="*/ 6 h 98"/>
                <a:gd name="T6" fmla="*/ 56 w 108"/>
                <a:gd name="T7" fmla="*/ 15 h 98"/>
                <a:gd name="T8" fmla="*/ 72 w 108"/>
                <a:gd name="T9" fmla="*/ 25 h 98"/>
                <a:gd name="T10" fmla="*/ 84 w 108"/>
                <a:gd name="T11" fmla="*/ 36 h 98"/>
                <a:gd name="T12" fmla="*/ 96 w 108"/>
                <a:gd name="T13" fmla="*/ 49 h 98"/>
                <a:gd name="T14" fmla="*/ 104 w 108"/>
                <a:gd name="T15" fmla="*/ 61 h 98"/>
                <a:gd name="T16" fmla="*/ 108 w 108"/>
                <a:gd name="T17" fmla="*/ 72 h 98"/>
                <a:gd name="T18" fmla="*/ 106 w 108"/>
                <a:gd name="T19" fmla="*/ 81 h 98"/>
                <a:gd name="T20" fmla="*/ 91 w 108"/>
                <a:gd name="T21" fmla="*/ 93 h 98"/>
                <a:gd name="T22" fmla="*/ 74 w 108"/>
                <a:gd name="T23" fmla="*/ 98 h 98"/>
                <a:gd name="T24" fmla="*/ 58 w 108"/>
                <a:gd name="T25" fmla="*/ 98 h 98"/>
                <a:gd name="T26" fmla="*/ 41 w 108"/>
                <a:gd name="T27" fmla="*/ 93 h 98"/>
                <a:gd name="T28" fmla="*/ 25 w 108"/>
                <a:gd name="T29" fmla="*/ 85 h 98"/>
                <a:gd name="T30" fmla="*/ 13 w 108"/>
                <a:gd name="T31" fmla="*/ 74 h 98"/>
                <a:gd name="T32" fmla="*/ 4 w 108"/>
                <a:gd name="T33" fmla="*/ 58 h 98"/>
                <a:gd name="T34" fmla="*/ 0 w 108"/>
                <a:gd name="T35" fmla="*/ 42 h 98"/>
                <a:gd name="T36" fmla="*/ 1 w 108"/>
                <a:gd name="T37" fmla="*/ 24 h 98"/>
                <a:gd name="T38" fmla="*/ 7 w 108"/>
                <a:gd name="T39" fmla="*/ 6 h 98"/>
                <a:gd name="T40" fmla="*/ 16 w 108"/>
                <a:gd name="T4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98">
                  <a:moveTo>
                    <a:pt x="16" y="0"/>
                  </a:moveTo>
                  <a:lnTo>
                    <a:pt x="28" y="2"/>
                  </a:lnTo>
                  <a:lnTo>
                    <a:pt x="42" y="6"/>
                  </a:lnTo>
                  <a:lnTo>
                    <a:pt x="56" y="15"/>
                  </a:lnTo>
                  <a:lnTo>
                    <a:pt x="72" y="25"/>
                  </a:lnTo>
                  <a:lnTo>
                    <a:pt x="84" y="36"/>
                  </a:lnTo>
                  <a:lnTo>
                    <a:pt x="96" y="49"/>
                  </a:lnTo>
                  <a:lnTo>
                    <a:pt x="104" y="61"/>
                  </a:lnTo>
                  <a:lnTo>
                    <a:pt x="108" y="72"/>
                  </a:lnTo>
                  <a:lnTo>
                    <a:pt x="106" y="81"/>
                  </a:lnTo>
                  <a:lnTo>
                    <a:pt x="91" y="93"/>
                  </a:lnTo>
                  <a:lnTo>
                    <a:pt x="74" y="98"/>
                  </a:lnTo>
                  <a:lnTo>
                    <a:pt x="58" y="98"/>
                  </a:lnTo>
                  <a:lnTo>
                    <a:pt x="41" y="93"/>
                  </a:lnTo>
                  <a:lnTo>
                    <a:pt x="25" y="85"/>
                  </a:lnTo>
                  <a:lnTo>
                    <a:pt x="13" y="74"/>
                  </a:lnTo>
                  <a:lnTo>
                    <a:pt x="4" y="58"/>
                  </a:lnTo>
                  <a:lnTo>
                    <a:pt x="0" y="42"/>
                  </a:lnTo>
                  <a:lnTo>
                    <a:pt x="1" y="24"/>
                  </a:lnTo>
                  <a:lnTo>
                    <a:pt x="7" y="6"/>
                  </a:lnTo>
                  <a:lnTo>
                    <a:pt x="16" y="0"/>
                  </a:lnTo>
                  <a:close/>
                </a:path>
              </a:pathLst>
            </a:custGeom>
            <a:solidFill>
              <a:srgbClr val="37474F"/>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60" name="Freeform 402">
              <a:extLst>
                <a:ext uri="{FF2B5EF4-FFF2-40B4-BE49-F238E27FC236}">
                  <a16:creationId xmlns:a16="http://schemas.microsoft.com/office/drawing/2014/main" id="{A0CBBB4B-FDFA-41C7-B7D8-F6110123C9FC}"/>
                </a:ext>
              </a:extLst>
            </p:cNvPr>
            <p:cNvSpPr>
              <a:spLocks/>
            </p:cNvSpPr>
            <p:nvPr/>
          </p:nvSpPr>
          <p:spPr bwMode="gray">
            <a:xfrm>
              <a:off x="1636458" y="1951765"/>
              <a:ext cx="47964" cy="48522"/>
            </a:xfrm>
            <a:custGeom>
              <a:avLst/>
              <a:gdLst>
                <a:gd name="T0" fmla="*/ 17 w 86"/>
                <a:gd name="T1" fmla="*/ 0 h 87"/>
                <a:gd name="T2" fmla="*/ 26 w 86"/>
                <a:gd name="T3" fmla="*/ 1 h 87"/>
                <a:gd name="T4" fmla="*/ 36 w 86"/>
                <a:gd name="T5" fmla="*/ 4 h 87"/>
                <a:gd name="T6" fmla="*/ 47 w 86"/>
                <a:gd name="T7" fmla="*/ 10 h 87"/>
                <a:gd name="T8" fmla="*/ 59 w 86"/>
                <a:gd name="T9" fmla="*/ 19 h 87"/>
                <a:gd name="T10" fmla="*/ 69 w 86"/>
                <a:gd name="T11" fmla="*/ 29 h 87"/>
                <a:gd name="T12" fmla="*/ 78 w 86"/>
                <a:gd name="T13" fmla="*/ 40 h 87"/>
                <a:gd name="T14" fmla="*/ 85 w 86"/>
                <a:gd name="T15" fmla="*/ 50 h 87"/>
                <a:gd name="T16" fmla="*/ 86 w 86"/>
                <a:gd name="T17" fmla="*/ 60 h 87"/>
                <a:gd name="T18" fmla="*/ 83 w 86"/>
                <a:gd name="T19" fmla="*/ 69 h 87"/>
                <a:gd name="T20" fmla="*/ 68 w 86"/>
                <a:gd name="T21" fmla="*/ 82 h 87"/>
                <a:gd name="T22" fmla="*/ 51 w 86"/>
                <a:gd name="T23" fmla="*/ 87 h 87"/>
                <a:gd name="T24" fmla="*/ 36 w 86"/>
                <a:gd name="T25" fmla="*/ 87 h 87"/>
                <a:gd name="T26" fmla="*/ 22 w 86"/>
                <a:gd name="T27" fmla="*/ 83 h 87"/>
                <a:gd name="T28" fmla="*/ 12 w 86"/>
                <a:gd name="T29" fmla="*/ 73 h 87"/>
                <a:gd name="T30" fmla="*/ 4 w 86"/>
                <a:gd name="T31" fmla="*/ 60 h 87"/>
                <a:gd name="T32" fmla="*/ 0 w 86"/>
                <a:gd name="T33" fmla="*/ 44 h 87"/>
                <a:gd name="T34" fmla="*/ 3 w 86"/>
                <a:gd name="T35" fmla="*/ 24 h 87"/>
                <a:gd name="T36" fmla="*/ 12 w 86"/>
                <a:gd name="T37" fmla="*/ 4 h 87"/>
                <a:gd name="T38" fmla="*/ 17 w 86"/>
                <a:gd name="T3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87">
                  <a:moveTo>
                    <a:pt x="17" y="0"/>
                  </a:moveTo>
                  <a:lnTo>
                    <a:pt x="26" y="1"/>
                  </a:lnTo>
                  <a:lnTo>
                    <a:pt x="36" y="4"/>
                  </a:lnTo>
                  <a:lnTo>
                    <a:pt x="47" y="10"/>
                  </a:lnTo>
                  <a:lnTo>
                    <a:pt x="59" y="19"/>
                  </a:lnTo>
                  <a:lnTo>
                    <a:pt x="69" y="29"/>
                  </a:lnTo>
                  <a:lnTo>
                    <a:pt x="78" y="40"/>
                  </a:lnTo>
                  <a:lnTo>
                    <a:pt x="85" y="50"/>
                  </a:lnTo>
                  <a:lnTo>
                    <a:pt x="86" y="60"/>
                  </a:lnTo>
                  <a:lnTo>
                    <a:pt x="83" y="69"/>
                  </a:lnTo>
                  <a:lnTo>
                    <a:pt x="68" y="82"/>
                  </a:lnTo>
                  <a:lnTo>
                    <a:pt x="51" y="87"/>
                  </a:lnTo>
                  <a:lnTo>
                    <a:pt x="36" y="87"/>
                  </a:lnTo>
                  <a:lnTo>
                    <a:pt x="22" y="83"/>
                  </a:lnTo>
                  <a:lnTo>
                    <a:pt x="12" y="73"/>
                  </a:lnTo>
                  <a:lnTo>
                    <a:pt x="4" y="60"/>
                  </a:lnTo>
                  <a:lnTo>
                    <a:pt x="0" y="44"/>
                  </a:lnTo>
                  <a:lnTo>
                    <a:pt x="3" y="24"/>
                  </a:lnTo>
                  <a:lnTo>
                    <a:pt x="12" y="4"/>
                  </a:lnTo>
                  <a:lnTo>
                    <a:pt x="17" y="0"/>
                  </a:lnTo>
                  <a:close/>
                </a:path>
              </a:pathLst>
            </a:custGeom>
            <a:solidFill>
              <a:srgbClr val="ECEFF1"/>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61" name="Freeform 403">
              <a:extLst>
                <a:ext uri="{FF2B5EF4-FFF2-40B4-BE49-F238E27FC236}">
                  <a16:creationId xmlns:a16="http://schemas.microsoft.com/office/drawing/2014/main" id="{671069F1-6C40-4930-9044-6749F7439D42}"/>
                </a:ext>
              </a:extLst>
            </p:cNvPr>
            <p:cNvSpPr>
              <a:spLocks/>
            </p:cNvSpPr>
            <p:nvPr/>
          </p:nvSpPr>
          <p:spPr bwMode="gray">
            <a:xfrm>
              <a:off x="1631439" y="1879261"/>
              <a:ext cx="151143" cy="132738"/>
            </a:xfrm>
            <a:custGeom>
              <a:avLst/>
              <a:gdLst>
                <a:gd name="T0" fmla="*/ 228 w 271"/>
                <a:gd name="T1" fmla="*/ 2 h 238"/>
                <a:gd name="T2" fmla="*/ 209 w 271"/>
                <a:gd name="T3" fmla="*/ 27 h 238"/>
                <a:gd name="T4" fmla="*/ 231 w 271"/>
                <a:gd name="T5" fmla="*/ 17 h 238"/>
                <a:gd name="T6" fmla="*/ 249 w 271"/>
                <a:gd name="T7" fmla="*/ 11 h 238"/>
                <a:gd name="T8" fmla="*/ 262 w 271"/>
                <a:gd name="T9" fmla="*/ 17 h 238"/>
                <a:gd name="T10" fmla="*/ 239 w 271"/>
                <a:gd name="T11" fmla="*/ 32 h 238"/>
                <a:gd name="T12" fmla="*/ 230 w 271"/>
                <a:gd name="T13" fmla="*/ 40 h 238"/>
                <a:gd name="T14" fmla="*/ 237 w 271"/>
                <a:gd name="T15" fmla="*/ 39 h 238"/>
                <a:gd name="T16" fmla="*/ 253 w 271"/>
                <a:gd name="T17" fmla="*/ 34 h 238"/>
                <a:gd name="T18" fmla="*/ 267 w 271"/>
                <a:gd name="T19" fmla="*/ 34 h 238"/>
                <a:gd name="T20" fmla="*/ 248 w 271"/>
                <a:gd name="T21" fmla="*/ 53 h 238"/>
                <a:gd name="T22" fmla="*/ 222 w 271"/>
                <a:gd name="T23" fmla="*/ 72 h 238"/>
                <a:gd name="T24" fmla="*/ 214 w 271"/>
                <a:gd name="T25" fmla="*/ 80 h 238"/>
                <a:gd name="T26" fmla="*/ 239 w 271"/>
                <a:gd name="T27" fmla="*/ 72 h 238"/>
                <a:gd name="T28" fmla="*/ 252 w 271"/>
                <a:gd name="T29" fmla="*/ 77 h 238"/>
                <a:gd name="T30" fmla="*/ 217 w 271"/>
                <a:gd name="T31" fmla="*/ 100 h 238"/>
                <a:gd name="T32" fmla="*/ 175 w 271"/>
                <a:gd name="T33" fmla="*/ 130 h 238"/>
                <a:gd name="T34" fmla="*/ 126 w 271"/>
                <a:gd name="T35" fmla="*/ 154 h 238"/>
                <a:gd name="T36" fmla="*/ 42 w 271"/>
                <a:gd name="T37" fmla="*/ 238 h 238"/>
                <a:gd name="T38" fmla="*/ 1 w 271"/>
                <a:gd name="T39" fmla="*/ 208 h 238"/>
                <a:gd name="T40" fmla="*/ 12 w 271"/>
                <a:gd name="T41" fmla="*/ 188 h 238"/>
                <a:gd name="T42" fmla="*/ 27 w 271"/>
                <a:gd name="T43" fmla="*/ 154 h 238"/>
                <a:gd name="T44" fmla="*/ 39 w 271"/>
                <a:gd name="T45" fmla="*/ 115 h 238"/>
                <a:gd name="T46" fmla="*/ 49 w 271"/>
                <a:gd name="T47" fmla="*/ 88 h 238"/>
                <a:gd name="T48" fmla="*/ 63 w 271"/>
                <a:gd name="T49" fmla="*/ 73 h 238"/>
                <a:gd name="T50" fmla="*/ 74 w 271"/>
                <a:gd name="T51" fmla="*/ 62 h 238"/>
                <a:gd name="T52" fmla="*/ 94 w 271"/>
                <a:gd name="T53" fmla="*/ 25 h 238"/>
                <a:gd name="T54" fmla="*/ 108 w 271"/>
                <a:gd name="T55" fmla="*/ 11 h 238"/>
                <a:gd name="T56" fmla="*/ 114 w 271"/>
                <a:gd name="T57" fmla="*/ 27 h 238"/>
                <a:gd name="T58" fmla="*/ 112 w 271"/>
                <a:gd name="T59" fmla="*/ 44 h 238"/>
                <a:gd name="T60" fmla="*/ 109 w 271"/>
                <a:gd name="T61" fmla="*/ 53 h 238"/>
                <a:gd name="T62" fmla="*/ 122 w 271"/>
                <a:gd name="T63" fmla="*/ 52 h 238"/>
                <a:gd name="T64" fmla="*/ 145 w 271"/>
                <a:gd name="T65" fmla="*/ 47 h 238"/>
                <a:gd name="T66" fmla="*/ 178 w 271"/>
                <a:gd name="T67" fmla="*/ 23 h 238"/>
                <a:gd name="T68" fmla="*/ 210 w 271"/>
                <a:gd name="T69" fmla="*/ 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1" h="238">
                  <a:moveTo>
                    <a:pt x="221" y="0"/>
                  </a:moveTo>
                  <a:lnTo>
                    <a:pt x="228" y="2"/>
                  </a:lnTo>
                  <a:lnTo>
                    <a:pt x="234" y="7"/>
                  </a:lnTo>
                  <a:lnTo>
                    <a:pt x="209" y="27"/>
                  </a:lnTo>
                  <a:lnTo>
                    <a:pt x="221" y="22"/>
                  </a:lnTo>
                  <a:lnTo>
                    <a:pt x="231" y="17"/>
                  </a:lnTo>
                  <a:lnTo>
                    <a:pt x="241" y="12"/>
                  </a:lnTo>
                  <a:lnTo>
                    <a:pt x="249" y="11"/>
                  </a:lnTo>
                  <a:lnTo>
                    <a:pt x="257" y="12"/>
                  </a:lnTo>
                  <a:lnTo>
                    <a:pt x="262" y="17"/>
                  </a:lnTo>
                  <a:lnTo>
                    <a:pt x="249" y="25"/>
                  </a:lnTo>
                  <a:lnTo>
                    <a:pt x="239" y="32"/>
                  </a:lnTo>
                  <a:lnTo>
                    <a:pt x="231" y="38"/>
                  </a:lnTo>
                  <a:lnTo>
                    <a:pt x="230" y="40"/>
                  </a:lnTo>
                  <a:lnTo>
                    <a:pt x="232" y="40"/>
                  </a:lnTo>
                  <a:lnTo>
                    <a:pt x="237" y="39"/>
                  </a:lnTo>
                  <a:lnTo>
                    <a:pt x="245" y="36"/>
                  </a:lnTo>
                  <a:lnTo>
                    <a:pt x="253" y="34"/>
                  </a:lnTo>
                  <a:lnTo>
                    <a:pt x="260" y="32"/>
                  </a:lnTo>
                  <a:lnTo>
                    <a:pt x="267" y="34"/>
                  </a:lnTo>
                  <a:lnTo>
                    <a:pt x="271" y="39"/>
                  </a:lnTo>
                  <a:lnTo>
                    <a:pt x="248" y="53"/>
                  </a:lnTo>
                  <a:lnTo>
                    <a:pt x="231" y="63"/>
                  </a:lnTo>
                  <a:lnTo>
                    <a:pt x="222" y="72"/>
                  </a:lnTo>
                  <a:lnTo>
                    <a:pt x="217" y="79"/>
                  </a:lnTo>
                  <a:lnTo>
                    <a:pt x="214" y="80"/>
                  </a:lnTo>
                  <a:lnTo>
                    <a:pt x="228" y="73"/>
                  </a:lnTo>
                  <a:lnTo>
                    <a:pt x="239" y="72"/>
                  </a:lnTo>
                  <a:lnTo>
                    <a:pt x="246" y="73"/>
                  </a:lnTo>
                  <a:lnTo>
                    <a:pt x="252" y="77"/>
                  </a:lnTo>
                  <a:lnTo>
                    <a:pt x="235" y="88"/>
                  </a:lnTo>
                  <a:lnTo>
                    <a:pt x="217" y="100"/>
                  </a:lnTo>
                  <a:lnTo>
                    <a:pt x="196" y="116"/>
                  </a:lnTo>
                  <a:lnTo>
                    <a:pt x="175" y="130"/>
                  </a:lnTo>
                  <a:lnTo>
                    <a:pt x="150" y="144"/>
                  </a:lnTo>
                  <a:lnTo>
                    <a:pt x="126" y="154"/>
                  </a:lnTo>
                  <a:lnTo>
                    <a:pt x="100" y="159"/>
                  </a:lnTo>
                  <a:lnTo>
                    <a:pt x="42" y="238"/>
                  </a:lnTo>
                  <a:lnTo>
                    <a:pt x="0" y="211"/>
                  </a:lnTo>
                  <a:lnTo>
                    <a:pt x="1" y="208"/>
                  </a:lnTo>
                  <a:lnTo>
                    <a:pt x="5" y="199"/>
                  </a:lnTo>
                  <a:lnTo>
                    <a:pt x="12" y="188"/>
                  </a:lnTo>
                  <a:lnTo>
                    <a:pt x="18" y="172"/>
                  </a:lnTo>
                  <a:lnTo>
                    <a:pt x="27" y="154"/>
                  </a:lnTo>
                  <a:lnTo>
                    <a:pt x="36" y="136"/>
                  </a:lnTo>
                  <a:lnTo>
                    <a:pt x="39" y="115"/>
                  </a:lnTo>
                  <a:lnTo>
                    <a:pt x="44" y="99"/>
                  </a:lnTo>
                  <a:lnTo>
                    <a:pt x="49" y="88"/>
                  </a:lnTo>
                  <a:lnTo>
                    <a:pt x="55" y="80"/>
                  </a:lnTo>
                  <a:lnTo>
                    <a:pt x="63" y="73"/>
                  </a:lnTo>
                  <a:lnTo>
                    <a:pt x="69" y="68"/>
                  </a:lnTo>
                  <a:lnTo>
                    <a:pt x="74" y="62"/>
                  </a:lnTo>
                  <a:lnTo>
                    <a:pt x="86" y="44"/>
                  </a:lnTo>
                  <a:lnTo>
                    <a:pt x="94" y="25"/>
                  </a:lnTo>
                  <a:lnTo>
                    <a:pt x="99" y="4"/>
                  </a:lnTo>
                  <a:lnTo>
                    <a:pt x="108" y="11"/>
                  </a:lnTo>
                  <a:lnTo>
                    <a:pt x="113" y="18"/>
                  </a:lnTo>
                  <a:lnTo>
                    <a:pt x="114" y="27"/>
                  </a:lnTo>
                  <a:lnTo>
                    <a:pt x="114" y="36"/>
                  </a:lnTo>
                  <a:lnTo>
                    <a:pt x="112" y="44"/>
                  </a:lnTo>
                  <a:lnTo>
                    <a:pt x="110" y="50"/>
                  </a:lnTo>
                  <a:lnTo>
                    <a:pt x="109" y="53"/>
                  </a:lnTo>
                  <a:lnTo>
                    <a:pt x="113" y="53"/>
                  </a:lnTo>
                  <a:lnTo>
                    <a:pt x="122" y="52"/>
                  </a:lnTo>
                  <a:lnTo>
                    <a:pt x="133" y="50"/>
                  </a:lnTo>
                  <a:lnTo>
                    <a:pt x="145" y="47"/>
                  </a:lnTo>
                  <a:lnTo>
                    <a:pt x="157" y="40"/>
                  </a:lnTo>
                  <a:lnTo>
                    <a:pt x="178" y="23"/>
                  </a:lnTo>
                  <a:lnTo>
                    <a:pt x="196" y="12"/>
                  </a:lnTo>
                  <a:lnTo>
                    <a:pt x="210" y="4"/>
                  </a:lnTo>
                  <a:lnTo>
                    <a:pt x="221" y="0"/>
                  </a:lnTo>
                  <a:close/>
                </a:path>
              </a:pathLst>
            </a:custGeom>
            <a:solidFill>
              <a:srgbClr val="FFAC88"/>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62" name="Freeform 404">
              <a:extLst>
                <a:ext uri="{FF2B5EF4-FFF2-40B4-BE49-F238E27FC236}">
                  <a16:creationId xmlns:a16="http://schemas.microsoft.com/office/drawing/2014/main" id="{D3B0C91B-9149-45A7-A789-6D2F67001988}"/>
                </a:ext>
              </a:extLst>
            </p:cNvPr>
            <p:cNvSpPr>
              <a:spLocks/>
            </p:cNvSpPr>
            <p:nvPr/>
          </p:nvSpPr>
          <p:spPr bwMode="gray">
            <a:xfrm>
              <a:off x="1625862" y="1953995"/>
              <a:ext cx="56888" cy="61907"/>
            </a:xfrm>
            <a:custGeom>
              <a:avLst/>
              <a:gdLst>
                <a:gd name="T0" fmla="*/ 31 w 102"/>
                <a:gd name="T1" fmla="*/ 0 h 111"/>
                <a:gd name="T2" fmla="*/ 37 w 102"/>
                <a:gd name="T3" fmla="*/ 19 h 111"/>
                <a:gd name="T4" fmla="*/ 49 w 102"/>
                <a:gd name="T5" fmla="*/ 34 h 111"/>
                <a:gd name="T6" fmla="*/ 64 w 102"/>
                <a:gd name="T7" fmla="*/ 47 h 111"/>
                <a:gd name="T8" fmla="*/ 82 w 102"/>
                <a:gd name="T9" fmla="*/ 58 h 111"/>
                <a:gd name="T10" fmla="*/ 102 w 102"/>
                <a:gd name="T11" fmla="*/ 65 h 111"/>
                <a:gd name="T12" fmla="*/ 70 w 102"/>
                <a:gd name="T13" fmla="*/ 111 h 111"/>
                <a:gd name="T14" fmla="*/ 0 w 102"/>
                <a:gd name="T15" fmla="*/ 47 h 111"/>
                <a:gd name="T16" fmla="*/ 31 w 102"/>
                <a:gd name="T1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11">
                  <a:moveTo>
                    <a:pt x="31" y="0"/>
                  </a:moveTo>
                  <a:lnTo>
                    <a:pt x="37" y="19"/>
                  </a:lnTo>
                  <a:lnTo>
                    <a:pt x="49" y="34"/>
                  </a:lnTo>
                  <a:lnTo>
                    <a:pt x="64" y="47"/>
                  </a:lnTo>
                  <a:lnTo>
                    <a:pt x="82" y="58"/>
                  </a:lnTo>
                  <a:lnTo>
                    <a:pt x="102" y="65"/>
                  </a:lnTo>
                  <a:lnTo>
                    <a:pt x="70" y="111"/>
                  </a:lnTo>
                  <a:lnTo>
                    <a:pt x="0" y="47"/>
                  </a:lnTo>
                  <a:lnTo>
                    <a:pt x="31" y="0"/>
                  </a:lnTo>
                  <a:close/>
                </a:path>
              </a:pathLst>
            </a:custGeom>
            <a:solidFill>
              <a:srgbClr val="FFFFFF"/>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63" name="Freeform 405">
              <a:extLst>
                <a:ext uri="{FF2B5EF4-FFF2-40B4-BE49-F238E27FC236}">
                  <a16:creationId xmlns:a16="http://schemas.microsoft.com/office/drawing/2014/main" id="{46937DF9-A8E7-4539-8899-34ADDE983DFC}"/>
                </a:ext>
              </a:extLst>
            </p:cNvPr>
            <p:cNvSpPr>
              <a:spLocks/>
            </p:cNvSpPr>
            <p:nvPr/>
          </p:nvSpPr>
          <p:spPr bwMode="gray">
            <a:xfrm>
              <a:off x="1455199" y="1873684"/>
              <a:ext cx="229782" cy="249859"/>
            </a:xfrm>
            <a:custGeom>
              <a:avLst/>
              <a:gdLst>
                <a:gd name="T0" fmla="*/ 0 w 412"/>
                <a:gd name="T1" fmla="*/ 0 h 448"/>
                <a:gd name="T2" fmla="*/ 0 w 412"/>
                <a:gd name="T3" fmla="*/ 1 h 448"/>
                <a:gd name="T4" fmla="*/ 15 w 412"/>
                <a:gd name="T5" fmla="*/ 12 h 448"/>
                <a:gd name="T6" fmla="*/ 29 w 412"/>
                <a:gd name="T7" fmla="*/ 27 h 448"/>
                <a:gd name="T8" fmla="*/ 44 w 412"/>
                <a:gd name="T9" fmla="*/ 48 h 448"/>
                <a:gd name="T10" fmla="*/ 61 w 412"/>
                <a:gd name="T11" fmla="*/ 71 h 448"/>
                <a:gd name="T12" fmla="*/ 77 w 412"/>
                <a:gd name="T13" fmla="*/ 96 h 448"/>
                <a:gd name="T14" fmla="*/ 93 w 412"/>
                <a:gd name="T15" fmla="*/ 122 h 448"/>
                <a:gd name="T16" fmla="*/ 108 w 412"/>
                <a:gd name="T17" fmla="*/ 149 h 448"/>
                <a:gd name="T18" fmla="*/ 122 w 412"/>
                <a:gd name="T19" fmla="*/ 176 h 448"/>
                <a:gd name="T20" fmla="*/ 136 w 412"/>
                <a:gd name="T21" fmla="*/ 200 h 448"/>
                <a:gd name="T22" fmla="*/ 148 w 412"/>
                <a:gd name="T23" fmla="*/ 222 h 448"/>
                <a:gd name="T24" fmla="*/ 158 w 412"/>
                <a:gd name="T25" fmla="*/ 241 h 448"/>
                <a:gd name="T26" fmla="*/ 167 w 412"/>
                <a:gd name="T27" fmla="*/ 255 h 448"/>
                <a:gd name="T28" fmla="*/ 172 w 412"/>
                <a:gd name="T29" fmla="*/ 263 h 448"/>
                <a:gd name="T30" fmla="*/ 180 w 412"/>
                <a:gd name="T31" fmla="*/ 268 h 448"/>
                <a:gd name="T32" fmla="*/ 190 w 412"/>
                <a:gd name="T33" fmla="*/ 268 h 448"/>
                <a:gd name="T34" fmla="*/ 202 w 412"/>
                <a:gd name="T35" fmla="*/ 262 h 448"/>
                <a:gd name="T36" fmla="*/ 216 w 412"/>
                <a:gd name="T37" fmla="*/ 252 h 448"/>
                <a:gd name="T38" fmla="*/ 233 w 412"/>
                <a:gd name="T39" fmla="*/ 237 h 448"/>
                <a:gd name="T40" fmla="*/ 251 w 412"/>
                <a:gd name="T41" fmla="*/ 221 h 448"/>
                <a:gd name="T42" fmla="*/ 270 w 412"/>
                <a:gd name="T43" fmla="*/ 200 h 448"/>
                <a:gd name="T44" fmla="*/ 292 w 412"/>
                <a:gd name="T45" fmla="*/ 178 h 448"/>
                <a:gd name="T46" fmla="*/ 313 w 412"/>
                <a:gd name="T47" fmla="*/ 155 h 448"/>
                <a:gd name="T48" fmla="*/ 316 w 412"/>
                <a:gd name="T49" fmla="*/ 158 h 448"/>
                <a:gd name="T50" fmla="*/ 320 w 412"/>
                <a:gd name="T51" fmla="*/ 166 h 448"/>
                <a:gd name="T52" fmla="*/ 329 w 412"/>
                <a:gd name="T53" fmla="*/ 175 h 448"/>
                <a:gd name="T54" fmla="*/ 339 w 412"/>
                <a:gd name="T55" fmla="*/ 187 h 448"/>
                <a:gd name="T56" fmla="*/ 353 w 412"/>
                <a:gd name="T57" fmla="*/ 200 h 448"/>
                <a:gd name="T58" fmla="*/ 370 w 412"/>
                <a:gd name="T59" fmla="*/ 213 h 448"/>
                <a:gd name="T60" fmla="*/ 389 w 412"/>
                <a:gd name="T61" fmla="*/ 225 h 448"/>
                <a:gd name="T62" fmla="*/ 412 w 412"/>
                <a:gd name="T63" fmla="*/ 234 h 448"/>
                <a:gd name="T64" fmla="*/ 410 w 412"/>
                <a:gd name="T65" fmla="*/ 235 h 448"/>
                <a:gd name="T66" fmla="*/ 403 w 412"/>
                <a:gd name="T67" fmla="*/ 243 h 448"/>
                <a:gd name="T68" fmla="*/ 393 w 412"/>
                <a:gd name="T69" fmla="*/ 253 h 448"/>
                <a:gd name="T70" fmla="*/ 379 w 412"/>
                <a:gd name="T71" fmla="*/ 267 h 448"/>
                <a:gd name="T72" fmla="*/ 362 w 412"/>
                <a:gd name="T73" fmla="*/ 282 h 448"/>
                <a:gd name="T74" fmla="*/ 344 w 412"/>
                <a:gd name="T75" fmla="*/ 302 h 448"/>
                <a:gd name="T76" fmla="*/ 324 w 412"/>
                <a:gd name="T77" fmla="*/ 321 h 448"/>
                <a:gd name="T78" fmla="*/ 303 w 412"/>
                <a:gd name="T79" fmla="*/ 340 h 448"/>
                <a:gd name="T80" fmla="*/ 281 w 412"/>
                <a:gd name="T81" fmla="*/ 361 h 448"/>
                <a:gd name="T82" fmla="*/ 260 w 412"/>
                <a:gd name="T83" fmla="*/ 380 h 448"/>
                <a:gd name="T84" fmla="*/ 238 w 412"/>
                <a:gd name="T85" fmla="*/ 398 h 448"/>
                <a:gd name="T86" fmla="*/ 217 w 412"/>
                <a:gd name="T87" fmla="*/ 414 h 448"/>
                <a:gd name="T88" fmla="*/ 198 w 412"/>
                <a:gd name="T89" fmla="*/ 429 h 448"/>
                <a:gd name="T90" fmla="*/ 181 w 412"/>
                <a:gd name="T91" fmla="*/ 439 h 448"/>
                <a:gd name="T92" fmla="*/ 167 w 412"/>
                <a:gd name="T93" fmla="*/ 445 h 448"/>
                <a:gd name="T94" fmla="*/ 156 w 412"/>
                <a:gd name="T95" fmla="*/ 448 h 448"/>
                <a:gd name="T96" fmla="*/ 143 w 412"/>
                <a:gd name="T97" fmla="*/ 445 h 448"/>
                <a:gd name="T98" fmla="*/ 127 w 412"/>
                <a:gd name="T99" fmla="*/ 439 h 448"/>
                <a:gd name="T100" fmla="*/ 113 w 412"/>
                <a:gd name="T101" fmla="*/ 427 h 448"/>
                <a:gd name="T102" fmla="*/ 99 w 412"/>
                <a:gd name="T103" fmla="*/ 414 h 448"/>
                <a:gd name="T104" fmla="*/ 85 w 412"/>
                <a:gd name="T105" fmla="*/ 400 h 448"/>
                <a:gd name="T106" fmla="*/ 72 w 412"/>
                <a:gd name="T107" fmla="*/ 385 h 448"/>
                <a:gd name="T108" fmla="*/ 61 w 412"/>
                <a:gd name="T109" fmla="*/ 370 h 448"/>
                <a:gd name="T110" fmla="*/ 52 w 412"/>
                <a:gd name="T111" fmla="*/ 357 h 448"/>
                <a:gd name="T112" fmla="*/ 45 w 412"/>
                <a:gd name="T113" fmla="*/ 346 h 448"/>
                <a:gd name="T114" fmla="*/ 40 w 412"/>
                <a:gd name="T115" fmla="*/ 339 h 448"/>
                <a:gd name="T116" fmla="*/ 39 w 412"/>
                <a:gd name="T117" fmla="*/ 336 h 448"/>
                <a:gd name="T118" fmla="*/ 0 w 412"/>
                <a:gd name="T119" fmla="*/ 3 h 448"/>
                <a:gd name="T120" fmla="*/ 0 w 412"/>
                <a:gd name="T121" fmla="*/ 1 h 448"/>
                <a:gd name="T122" fmla="*/ 0 w 412"/>
                <a:gd name="T123"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 h="448">
                  <a:moveTo>
                    <a:pt x="0" y="0"/>
                  </a:moveTo>
                  <a:lnTo>
                    <a:pt x="0" y="1"/>
                  </a:lnTo>
                  <a:lnTo>
                    <a:pt x="15" y="12"/>
                  </a:lnTo>
                  <a:lnTo>
                    <a:pt x="29" y="27"/>
                  </a:lnTo>
                  <a:lnTo>
                    <a:pt x="44" y="48"/>
                  </a:lnTo>
                  <a:lnTo>
                    <a:pt x="61" y="71"/>
                  </a:lnTo>
                  <a:lnTo>
                    <a:pt x="77" y="96"/>
                  </a:lnTo>
                  <a:lnTo>
                    <a:pt x="93" y="122"/>
                  </a:lnTo>
                  <a:lnTo>
                    <a:pt x="108" y="149"/>
                  </a:lnTo>
                  <a:lnTo>
                    <a:pt x="122" y="176"/>
                  </a:lnTo>
                  <a:lnTo>
                    <a:pt x="136" y="200"/>
                  </a:lnTo>
                  <a:lnTo>
                    <a:pt x="148" y="222"/>
                  </a:lnTo>
                  <a:lnTo>
                    <a:pt x="158" y="241"/>
                  </a:lnTo>
                  <a:lnTo>
                    <a:pt x="167" y="255"/>
                  </a:lnTo>
                  <a:lnTo>
                    <a:pt x="172" y="263"/>
                  </a:lnTo>
                  <a:lnTo>
                    <a:pt x="180" y="268"/>
                  </a:lnTo>
                  <a:lnTo>
                    <a:pt x="190" y="268"/>
                  </a:lnTo>
                  <a:lnTo>
                    <a:pt x="202" y="262"/>
                  </a:lnTo>
                  <a:lnTo>
                    <a:pt x="216" y="252"/>
                  </a:lnTo>
                  <a:lnTo>
                    <a:pt x="233" y="237"/>
                  </a:lnTo>
                  <a:lnTo>
                    <a:pt x="251" y="221"/>
                  </a:lnTo>
                  <a:lnTo>
                    <a:pt x="270" y="200"/>
                  </a:lnTo>
                  <a:lnTo>
                    <a:pt x="292" y="178"/>
                  </a:lnTo>
                  <a:lnTo>
                    <a:pt x="313" y="155"/>
                  </a:lnTo>
                  <a:lnTo>
                    <a:pt x="316" y="158"/>
                  </a:lnTo>
                  <a:lnTo>
                    <a:pt x="320" y="166"/>
                  </a:lnTo>
                  <a:lnTo>
                    <a:pt x="329" y="175"/>
                  </a:lnTo>
                  <a:lnTo>
                    <a:pt x="339" y="187"/>
                  </a:lnTo>
                  <a:lnTo>
                    <a:pt x="353" y="200"/>
                  </a:lnTo>
                  <a:lnTo>
                    <a:pt x="370" y="213"/>
                  </a:lnTo>
                  <a:lnTo>
                    <a:pt x="389" y="225"/>
                  </a:lnTo>
                  <a:lnTo>
                    <a:pt x="412" y="234"/>
                  </a:lnTo>
                  <a:lnTo>
                    <a:pt x="410" y="235"/>
                  </a:lnTo>
                  <a:lnTo>
                    <a:pt x="403" y="243"/>
                  </a:lnTo>
                  <a:lnTo>
                    <a:pt x="393" y="253"/>
                  </a:lnTo>
                  <a:lnTo>
                    <a:pt x="379" y="267"/>
                  </a:lnTo>
                  <a:lnTo>
                    <a:pt x="362" y="282"/>
                  </a:lnTo>
                  <a:lnTo>
                    <a:pt x="344" y="302"/>
                  </a:lnTo>
                  <a:lnTo>
                    <a:pt x="324" y="321"/>
                  </a:lnTo>
                  <a:lnTo>
                    <a:pt x="303" y="340"/>
                  </a:lnTo>
                  <a:lnTo>
                    <a:pt x="281" y="361"/>
                  </a:lnTo>
                  <a:lnTo>
                    <a:pt x="260" y="380"/>
                  </a:lnTo>
                  <a:lnTo>
                    <a:pt x="238" y="398"/>
                  </a:lnTo>
                  <a:lnTo>
                    <a:pt x="217" y="414"/>
                  </a:lnTo>
                  <a:lnTo>
                    <a:pt x="198" y="429"/>
                  </a:lnTo>
                  <a:lnTo>
                    <a:pt x="181" y="439"/>
                  </a:lnTo>
                  <a:lnTo>
                    <a:pt x="167" y="445"/>
                  </a:lnTo>
                  <a:lnTo>
                    <a:pt x="156" y="448"/>
                  </a:lnTo>
                  <a:lnTo>
                    <a:pt x="143" y="445"/>
                  </a:lnTo>
                  <a:lnTo>
                    <a:pt x="127" y="439"/>
                  </a:lnTo>
                  <a:lnTo>
                    <a:pt x="113" y="427"/>
                  </a:lnTo>
                  <a:lnTo>
                    <a:pt x="99" y="414"/>
                  </a:lnTo>
                  <a:lnTo>
                    <a:pt x="85" y="400"/>
                  </a:lnTo>
                  <a:lnTo>
                    <a:pt x="72" y="385"/>
                  </a:lnTo>
                  <a:lnTo>
                    <a:pt x="61" y="370"/>
                  </a:lnTo>
                  <a:lnTo>
                    <a:pt x="52" y="357"/>
                  </a:lnTo>
                  <a:lnTo>
                    <a:pt x="45" y="346"/>
                  </a:lnTo>
                  <a:lnTo>
                    <a:pt x="40" y="339"/>
                  </a:lnTo>
                  <a:lnTo>
                    <a:pt x="39" y="336"/>
                  </a:lnTo>
                  <a:lnTo>
                    <a:pt x="0" y="3"/>
                  </a:lnTo>
                  <a:lnTo>
                    <a:pt x="0" y="1"/>
                  </a:lnTo>
                  <a:lnTo>
                    <a:pt x="0"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64" name="Freeform 407">
              <a:extLst>
                <a:ext uri="{FF2B5EF4-FFF2-40B4-BE49-F238E27FC236}">
                  <a16:creationId xmlns:a16="http://schemas.microsoft.com/office/drawing/2014/main" id="{83CA1C37-6F9B-4FE8-86F4-E1E648D7C654}"/>
                </a:ext>
              </a:extLst>
            </p:cNvPr>
            <p:cNvSpPr>
              <a:spLocks/>
            </p:cNvSpPr>
            <p:nvPr/>
          </p:nvSpPr>
          <p:spPr bwMode="gray">
            <a:xfrm>
              <a:off x="1455199" y="1873684"/>
              <a:ext cx="52426" cy="228108"/>
            </a:xfrm>
            <a:custGeom>
              <a:avLst/>
              <a:gdLst>
                <a:gd name="T0" fmla="*/ 0 w 94"/>
                <a:gd name="T1" fmla="*/ 0 h 409"/>
                <a:gd name="T2" fmla="*/ 0 w 94"/>
                <a:gd name="T3" fmla="*/ 1 h 409"/>
                <a:gd name="T4" fmla="*/ 4 w 94"/>
                <a:gd name="T5" fmla="*/ 5 h 409"/>
                <a:gd name="T6" fmla="*/ 9 w 94"/>
                <a:gd name="T7" fmla="*/ 15 h 409"/>
                <a:gd name="T8" fmla="*/ 18 w 94"/>
                <a:gd name="T9" fmla="*/ 31 h 409"/>
                <a:gd name="T10" fmla="*/ 29 w 94"/>
                <a:gd name="T11" fmla="*/ 53 h 409"/>
                <a:gd name="T12" fmla="*/ 40 w 94"/>
                <a:gd name="T13" fmla="*/ 80 h 409"/>
                <a:gd name="T14" fmla="*/ 53 w 94"/>
                <a:gd name="T15" fmla="*/ 112 h 409"/>
                <a:gd name="T16" fmla="*/ 65 w 94"/>
                <a:gd name="T17" fmla="*/ 149 h 409"/>
                <a:gd name="T18" fmla="*/ 75 w 94"/>
                <a:gd name="T19" fmla="*/ 191 h 409"/>
                <a:gd name="T20" fmla="*/ 84 w 94"/>
                <a:gd name="T21" fmla="*/ 239 h 409"/>
                <a:gd name="T22" fmla="*/ 90 w 94"/>
                <a:gd name="T23" fmla="*/ 291 h 409"/>
                <a:gd name="T24" fmla="*/ 94 w 94"/>
                <a:gd name="T25" fmla="*/ 348 h 409"/>
                <a:gd name="T26" fmla="*/ 94 w 94"/>
                <a:gd name="T27" fmla="*/ 409 h 409"/>
                <a:gd name="T28" fmla="*/ 83 w 94"/>
                <a:gd name="T29" fmla="*/ 398 h 409"/>
                <a:gd name="T30" fmla="*/ 71 w 94"/>
                <a:gd name="T31" fmla="*/ 385 h 409"/>
                <a:gd name="T32" fmla="*/ 61 w 94"/>
                <a:gd name="T33" fmla="*/ 371 h 409"/>
                <a:gd name="T34" fmla="*/ 52 w 94"/>
                <a:gd name="T35" fmla="*/ 358 h 409"/>
                <a:gd name="T36" fmla="*/ 44 w 94"/>
                <a:gd name="T37" fmla="*/ 346 h 409"/>
                <a:gd name="T38" fmla="*/ 40 w 94"/>
                <a:gd name="T39" fmla="*/ 339 h 409"/>
                <a:gd name="T40" fmla="*/ 39 w 94"/>
                <a:gd name="T41" fmla="*/ 336 h 409"/>
                <a:gd name="T42" fmla="*/ 0 w 94"/>
                <a:gd name="T43" fmla="*/ 3 h 409"/>
                <a:gd name="T44" fmla="*/ 0 w 94"/>
                <a:gd name="T45" fmla="*/ 1 h 409"/>
                <a:gd name="T46" fmla="*/ 0 w 94"/>
                <a:gd name="T47"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 h="409">
                  <a:moveTo>
                    <a:pt x="0" y="0"/>
                  </a:moveTo>
                  <a:lnTo>
                    <a:pt x="0" y="1"/>
                  </a:lnTo>
                  <a:lnTo>
                    <a:pt x="4" y="5"/>
                  </a:lnTo>
                  <a:lnTo>
                    <a:pt x="9" y="15"/>
                  </a:lnTo>
                  <a:lnTo>
                    <a:pt x="18" y="31"/>
                  </a:lnTo>
                  <a:lnTo>
                    <a:pt x="29" y="53"/>
                  </a:lnTo>
                  <a:lnTo>
                    <a:pt x="40" y="80"/>
                  </a:lnTo>
                  <a:lnTo>
                    <a:pt x="53" y="112"/>
                  </a:lnTo>
                  <a:lnTo>
                    <a:pt x="65" y="149"/>
                  </a:lnTo>
                  <a:lnTo>
                    <a:pt x="75" y="191"/>
                  </a:lnTo>
                  <a:lnTo>
                    <a:pt x="84" y="239"/>
                  </a:lnTo>
                  <a:lnTo>
                    <a:pt x="90" y="291"/>
                  </a:lnTo>
                  <a:lnTo>
                    <a:pt x="94" y="348"/>
                  </a:lnTo>
                  <a:lnTo>
                    <a:pt x="94" y="409"/>
                  </a:lnTo>
                  <a:lnTo>
                    <a:pt x="83" y="398"/>
                  </a:lnTo>
                  <a:lnTo>
                    <a:pt x="71" y="385"/>
                  </a:lnTo>
                  <a:lnTo>
                    <a:pt x="61" y="371"/>
                  </a:lnTo>
                  <a:lnTo>
                    <a:pt x="52" y="358"/>
                  </a:lnTo>
                  <a:lnTo>
                    <a:pt x="44" y="346"/>
                  </a:lnTo>
                  <a:lnTo>
                    <a:pt x="40" y="339"/>
                  </a:lnTo>
                  <a:lnTo>
                    <a:pt x="39" y="336"/>
                  </a:lnTo>
                  <a:lnTo>
                    <a:pt x="0" y="3"/>
                  </a:lnTo>
                  <a:lnTo>
                    <a:pt x="0" y="1"/>
                  </a:lnTo>
                  <a:lnTo>
                    <a:pt x="0" y="0"/>
                  </a:lnTo>
                  <a:close/>
                </a:path>
              </a:pathLst>
            </a:custGeom>
            <a:solidFill>
              <a:srgbClr val="0087C4"/>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65" name="Freeform 550">
              <a:extLst>
                <a:ext uri="{FF2B5EF4-FFF2-40B4-BE49-F238E27FC236}">
                  <a16:creationId xmlns:a16="http://schemas.microsoft.com/office/drawing/2014/main" id="{DB794312-E5A8-4DFB-A0B7-36F8755C1E21}"/>
                </a:ext>
              </a:extLst>
            </p:cNvPr>
            <p:cNvSpPr>
              <a:spLocks/>
            </p:cNvSpPr>
            <p:nvPr/>
          </p:nvSpPr>
          <p:spPr bwMode="gray">
            <a:xfrm>
              <a:off x="1330269" y="1908260"/>
              <a:ext cx="148912" cy="315934"/>
            </a:xfrm>
            <a:custGeom>
              <a:avLst/>
              <a:gdLst>
                <a:gd name="connsiteX0" fmla="*/ 130455 w 174149"/>
                <a:gd name="connsiteY0" fmla="*/ 0 h 369477"/>
                <a:gd name="connsiteX1" fmla="*/ 134356 w 174149"/>
                <a:gd name="connsiteY1" fmla="*/ 3901 h 369477"/>
                <a:gd name="connsiteX2" fmla="*/ 139580 w 174149"/>
                <a:gd name="connsiteY2" fmla="*/ 12394 h 369477"/>
                <a:gd name="connsiteX3" fmla="*/ 144143 w 174149"/>
                <a:gd name="connsiteY3" fmla="*/ 25438 h 369477"/>
                <a:gd name="connsiteX4" fmla="*/ 148706 w 174149"/>
                <a:gd name="connsiteY4" fmla="*/ 41732 h 369477"/>
                <a:gd name="connsiteX5" fmla="*/ 153930 w 174149"/>
                <a:gd name="connsiteY5" fmla="*/ 61969 h 369477"/>
                <a:gd name="connsiteX6" fmla="*/ 157849 w 174149"/>
                <a:gd name="connsiteY6" fmla="*/ 83505 h 369477"/>
                <a:gd name="connsiteX7" fmla="*/ 163056 w 174149"/>
                <a:gd name="connsiteY7" fmla="*/ 107602 h 369477"/>
                <a:gd name="connsiteX8" fmla="*/ 166330 w 174149"/>
                <a:gd name="connsiteY8" fmla="*/ 134380 h 369477"/>
                <a:gd name="connsiteX9" fmla="*/ 169586 w 174149"/>
                <a:gd name="connsiteY9" fmla="*/ 162419 h 369477"/>
                <a:gd name="connsiteX10" fmla="*/ 172199 w 174149"/>
                <a:gd name="connsiteY10" fmla="*/ 189807 h 369477"/>
                <a:gd name="connsiteX11" fmla="*/ 174149 w 174149"/>
                <a:gd name="connsiteY11" fmla="*/ 219145 h 369477"/>
                <a:gd name="connsiteX12" fmla="*/ 174149 w 174149"/>
                <a:gd name="connsiteY12" fmla="*/ 247183 h 369477"/>
                <a:gd name="connsiteX13" fmla="*/ 172843 w 174149"/>
                <a:gd name="connsiteY13" fmla="*/ 275912 h 369477"/>
                <a:gd name="connsiteX14" fmla="*/ 171537 w 174149"/>
                <a:gd name="connsiteY14" fmla="*/ 303301 h 369477"/>
                <a:gd name="connsiteX15" fmla="*/ 168280 w 174149"/>
                <a:gd name="connsiteY15" fmla="*/ 329388 h 369477"/>
                <a:gd name="connsiteX16" fmla="*/ 163056 w 174149"/>
                <a:gd name="connsiteY16" fmla="*/ 353526 h 369477"/>
                <a:gd name="connsiteX17" fmla="*/ 155881 w 174149"/>
                <a:gd name="connsiteY17" fmla="*/ 357426 h 369477"/>
                <a:gd name="connsiteX18" fmla="*/ 146111 w 174149"/>
                <a:gd name="connsiteY18" fmla="*/ 361327 h 369477"/>
                <a:gd name="connsiteX19" fmla="*/ 140725 w 174149"/>
                <a:gd name="connsiteY19" fmla="*/ 364030 h 369477"/>
                <a:gd name="connsiteX20" fmla="*/ 0 w 174149"/>
                <a:gd name="connsiteY20" fmla="*/ 369477 h 369477"/>
                <a:gd name="connsiteX21" fmla="*/ 0 w 174149"/>
                <a:gd name="connsiteY21" fmla="*/ 364619 h 369477"/>
                <a:gd name="connsiteX22" fmla="*/ 0 w 174149"/>
                <a:gd name="connsiteY22" fmla="*/ 346374 h 369477"/>
                <a:gd name="connsiteX23" fmla="*/ 1306 w 174149"/>
                <a:gd name="connsiteY23" fmla="*/ 325487 h 369477"/>
                <a:gd name="connsiteX24" fmla="*/ 3257 w 174149"/>
                <a:gd name="connsiteY24" fmla="*/ 301350 h 369477"/>
                <a:gd name="connsiteX25" fmla="*/ 5225 w 174149"/>
                <a:gd name="connsiteY25" fmla="*/ 275262 h 369477"/>
                <a:gd name="connsiteX26" fmla="*/ 7175 w 174149"/>
                <a:gd name="connsiteY26" fmla="*/ 248524 h 369477"/>
                <a:gd name="connsiteX27" fmla="*/ 9787 w 174149"/>
                <a:gd name="connsiteY27" fmla="*/ 220445 h 369477"/>
                <a:gd name="connsiteX28" fmla="*/ 12399 w 174149"/>
                <a:gd name="connsiteY28" fmla="*/ 192407 h 369477"/>
                <a:gd name="connsiteX29" fmla="*/ 14994 w 174149"/>
                <a:gd name="connsiteY29" fmla="*/ 164369 h 369477"/>
                <a:gd name="connsiteX30" fmla="*/ 17607 w 174149"/>
                <a:gd name="connsiteY30" fmla="*/ 137591 h 369477"/>
                <a:gd name="connsiteX31" fmla="*/ 18913 w 174149"/>
                <a:gd name="connsiteY31" fmla="*/ 112194 h 369477"/>
                <a:gd name="connsiteX32" fmla="*/ 20881 w 174149"/>
                <a:gd name="connsiteY32" fmla="*/ 88706 h 369477"/>
                <a:gd name="connsiteX33" fmla="*/ 21525 w 174149"/>
                <a:gd name="connsiteY33" fmla="*/ 66520 h 369477"/>
                <a:gd name="connsiteX34" fmla="*/ 22831 w 174149"/>
                <a:gd name="connsiteY34" fmla="*/ 48234 h 369477"/>
                <a:gd name="connsiteX35" fmla="*/ 21525 w 174149"/>
                <a:gd name="connsiteY35" fmla="*/ 33890 h 369477"/>
                <a:gd name="connsiteX36" fmla="*/ 20219 w 174149"/>
                <a:gd name="connsiteY36" fmla="*/ 23487 h 369477"/>
                <a:gd name="connsiteX37" fmla="*/ 17607 w 174149"/>
                <a:gd name="connsiteY37" fmla="*/ 17636 h 369477"/>
                <a:gd name="connsiteX38" fmla="*/ 79220 w 174149"/>
                <a:gd name="connsiteY38" fmla="*/ 28648 h 369477"/>
                <a:gd name="connsiteX39" fmla="*/ 127181 w 174149"/>
                <a:gd name="connsiteY39" fmla="*/ 691 h 36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74149" h="369477">
                  <a:moveTo>
                    <a:pt x="130455" y="0"/>
                  </a:moveTo>
                  <a:lnTo>
                    <a:pt x="134356" y="3901"/>
                  </a:lnTo>
                  <a:lnTo>
                    <a:pt x="139580" y="12394"/>
                  </a:lnTo>
                  <a:lnTo>
                    <a:pt x="144143" y="25438"/>
                  </a:lnTo>
                  <a:lnTo>
                    <a:pt x="148706" y="41732"/>
                  </a:lnTo>
                  <a:lnTo>
                    <a:pt x="153930" y="61969"/>
                  </a:lnTo>
                  <a:lnTo>
                    <a:pt x="157849" y="83505"/>
                  </a:lnTo>
                  <a:lnTo>
                    <a:pt x="163056" y="107602"/>
                  </a:lnTo>
                  <a:cubicBezTo>
                    <a:pt x="164153" y="116542"/>
                    <a:pt x="165233" y="125441"/>
                    <a:pt x="166330" y="134380"/>
                  </a:cubicBezTo>
                  <a:cubicBezTo>
                    <a:pt x="167410" y="143726"/>
                    <a:pt x="168507" y="153072"/>
                    <a:pt x="169586" y="162419"/>
                  </a:cubicBezTo>
                  <a:lnTo>
                    <a:pt x="172199" y="189807"/>
                  </a:lnTo>
                  <a:cubicBezTo>
                    <a:pt x="172843" y="199559"/>
                    <a:pt x="173505" y="209393"/>
                    <a:pt x="174149" y="219145"/>
                  </a:cubicBezTo>
                  <a:lnTo>
                    <a:pt x="174149" y="247183"/>
                  </a:lnTo>
                  <a:cubicBezTo>
                    <a:pt x="173714" y="256733"/>
                    <a:pt x="173278" y="266363"/>
                    <a:pt x="172843" y="275912"/>
                  </a:cubicBezTo>
                  <a:cubicBezTo>
                    <a:pt x="172408" y="285055"/>
                    <a:pt x="171972" y="294158"/>
                    <a:pt x="171537" y="303301"/>
                  </a:cubicBezTo>
                  <a:cubicBezTo>
                    <a:pt x="170457" y="311996"/>
                    <a:pt x="169360" y="320692"/>
                    <a:pt x="168280" y="329388"/>
                  </a:cubicBezTo>
                  <a:lnTo>
                    <a:pt x="163056" y="353526"/>
                  </a:lnTo>
                  <a:lnTo>
                    <a:pt x="155881" y="357426"/>
                  </a:lnTo>
                  <a:lnTo>
                    <a:pt x="146111" y="361327"/>
                  </a:lnTo>
                  <a:lnTo>
                    <a:pt x="140725" y="364030"/>
                  </a:lnTo>
                  <a:lnTo>
                    <a:pt x="0" y="369477"/>
                  </a:lnTo>
                  <a:lnTo>
                    <a:pt x="0" y="364619"/>
                  </a:lnTo>
                  <a:lnTo>
                    <a:pt x="0" y="346374"/>
                  </a:lnTo>
                  <a:cubicBezTo>
                    <a:pt x="435" y="339425"/>
                    <a:pt x="871" y="332436"/>
                    <a:pt x="1306" y="325487"/>
                  </a:cubicBezTo>
                  <a:cubicBezTo>
                    <a:pt x="1951" y="317442"/>
                    <a:pt x="2612" y="309396"/>
                    <a:pt x="3257" y="301350"/>
                  </a:cubicBezTo>
                  <a:cubicBezTo>
                    <a:pt x="3918" y="292654"/>
                    <a:pt x="4563" y="283958"/>
                    <a:pt x="5225" y="275262"/>
                  </a:cubicBezTo>
                  <a:cubicBezTo>
                    <a:pt x="5869" y="266363"/>
                    <a:pt x="6531" y="257423"/>
                    <a:pt x="7175" y="248524"/>
                  </a:cubicBezTo>
                  <a:lnTo>
                    <a:pt x="9787" y="220445"/>
                  </a:lnTo>
                  <a:lnTo>
                    <a:pt x="12399" y="192407"/>
                  </a:lnTo>
                  <a:cubicBezTo>
                    <a:pt x="13270" y="183102"/>
                    <a:pt x="14124" y="173715"/>
                    <a:pt x="14994" y="164369"/>
                  </a:cubicBezTo>
                  <a:lnTo>
                    <a:pt x="17607" y="137591"/>
                  </a:lnTo>
                  <a:cubicBezTo>
                    <a:pt x="18042" y="129138"/>
                    <a:pt x="18477" y="120646"/>
                    <a:pt x="18913" y="112194"/>
                  </a:cubicBezTo>
                  <a:cubicBezTo>
                    <a:pt x="19574" y="104392"/>
                    <a:pt x="20219" y="96549"/>
                    <a:pt x="20881" y="88706"/>
                  </a:cubicBezTo>
                  <a:cubicBezTo>
                    <a:pt x="21090" y="81311"/>
                    <a:pt x="21316" y="73915"/>
                    <a:pt x="21525" y="66520"/>
                  </a:cubicBezTo>
                  <a:cubicBezTo>
                    <a:pt x="21960" y="60424"/>
                    <a:pt x="22396" y="54370"/>
                    <a:pt x="22831" y="48234"/>
                  </a:cubicBezTo>
                  <a:cubicBezTo>
                    <a:pt x="22396" y="43439"/>
                    <a:pt x="21960" y="38685"/>
                    <a:pt x="21525" y="33890"/>
                  </a:cubicBezTo>
                  <a:cubicBezTo>
                    <a:pt x="21090" y="30436"/>
                    <a:pt x="20654" y="26982"/>
                    <a:pt x="20219" y="23487"/>
                  </a:cubicBezTo>
                  <a:lnTo>
                    <a:pt x="17607" y="17636"/>
                  </a:lnTo>
                  <a:lnTo>
                    <a:pt x="79220" y="28648"/>
                  </a:lnTo>
                  <a:lnTo>
                    <a:pt x="127181" y="691"/>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66" name="Freeform 551">
              <a:extLst>
                <a:ext uri="{FF2B5EF4-FFF2-40B4-BE49-F238E27FC236}">
                  <a16:creationId xmlns:a16="http://schemas.microsoft.com/office/drawing/2014/main" id="{79F22375-939E-42E9-A5A3-BCC62D174610}"/>
                </a:ext>
              </a:extLst>
            </p:cNvPr>
            <p:cNvSpPr>
              <a:spLocks/>
            </p:cNvSpPr>
            <p:nvPr/>
          </p:nvSpPr>
          <p:spPr bwMode="gray">
            <a:xfrm>
              <a:off x="1376003" y="1854163"/>
              <a:ext cx="121209" cy="365043"/>
            </a:xfrm>
            <a:custGeom>
              <a:avLst/>
              <a:gdLst>
                <a:gd name="connsiteX0" fmla="*/ 0 w 141751"/>
                <a:gd name="connsiteY0" fmla="*/ 0 h 426909"/>
                <a:gd name="connsiteX1" fmla="*/ 22828 w 141751"/>
                <a:gd name="connsiteY1" fmla="*/ 4566 h 426909"/>
                <a:gd name="connsiteX2" fmla="*/ 41091 w 141751"/>
                <a:gd name="connsiteY2" fmla="*/ 8479 h 426909"/>
                <a:gd name="connsiteX3" fmla="*/ 56745 w 141751"/>
                <a:gd name="connsiteY3" fmla="*/ 11740 h 426909"/>
                <a:gd name="connsiteX4" fmla="*/ 69138 w 141751"/>
                <a:gd name="connsiteY4" fmla="*/ 16306 h 426909"/>
                <a:gd name="connsiteX5" fmla="*/ 82182 w 141751"/>
                <a:gd name="connsiteY5" fmla="*/ 19567 h 426909"/>
                <a:gd name="connsiteX6" fmla="*/ 92618 w 141751"/>
                <a:gd name="connsiteY6" fmla="*/ 22829 h 426909"/>
                <a:gd name="connsiteX7" fmla="*/ 104359 w 141751"/>
                <a:gd name="connsiteY7" fmla="*/ 37830 h 426909"/>
                <a:gd name="connsiteX8" fmla="*/ 114794 w 141751"/>
                <a:gd name="connsiteY8" fmla="*/ 56093 h 426909"/>
                <a:gd name="connsiteX9" fmla="*/ 121317 w 141751"/>
                <a:gd name="connsiteY9" fmla="*/ 76965 h 426909"/>
                <a:gd name="connsiteX10" fmla="*/ 127187 w 141751"/>
                <a:gd name="connsiteY10" fmla="*/ 101750 h 426909"/>
                <a:gd name="connsiteX11" fmla="*/ 131100 w 141751"/>
                <a:gd name="connsiteY11" fmla="*/ 128492 h 426909"/>
                <a:gd name="connsiteX12" fmla="*/ 135014 w 141751"/>
                <a:gd name="connsiteY12" fmla="*/ 156538 h 426909"/>
                <a:gd name="connsiteX13" fmla="*/ 136318 w 141751"/>
                <a:gd name="connsiteY13" fmla="*/ 187846 h 426909"/>
                <a:gd name="connsiteX14" fmla="*/ 136971 w 141751"/>
                <a:gd name="connsiteY14" fmla="*/ 220458 h 426909"/>
                <a:gd name="connsiteX15" fmla="*/ 138275 w 141751"/>
                <a:gd name="connsiteY15" fmla="*/ 254375 h 426909"/>
                <a:gd name="connsiteX16" fmla="*/ 138275 w 141751"/>
                <a:gd name="connsiteY16" fmla="*/ 289596 h 426909"/>
                <a:gd name="connsiteX17" fmla="*/ 138927 w 141751"/>
                <a:gd name="connsiteY17" fmla="*/ 326121 h 426909"/>
                <a:gd name="connsiteX18" fmla="*/ 138927 w 141751"/>
                <a:gd name="connsiteY18" fmla="*/ 362647 h 426909"/>
                <a:gd name="connsiteX19" fmla="*/ 140884 w 141751"/>
                <a:gd name="connsiteY19" fmla="*/ 400477 h 426909"/>
                <a:gd name="connsiteX20" fmla="*/ 141751 w 141751"/>
                <a:gd name="connsiteY20" fmla="*/ 425184 h 426909"/>
                <a:gd name="connsiteX21" fmla="*/ 97184 w 141751"/>
                <a:gd name="connsiteY21" fmla="*/ 426909 h 426909"/>
                <a:gd name="connsiteX22" fmla="*/ 97184 w 141751"/>
                <a:gd name="connsiteY22" fmla="*/ 401129 h 426909"/>
                <a:gd name="connsiteX23" fmla="*/ 96532 w 141751"/>
                <a:gd name="connsiteY23" fmla="*/ 365256 h 426909"/>
                <a:gd name="connsiteX24" fmla="*/ 95227 w 141751"/>
                <a:gd name="connsiteY24" fmla="*/ 324165 h 426909"/>
                <a:gd name="connsiteX25" fmla="*/ 93923 w 141751"/>
                <a:gd name="connsiteY25" fmla="*/ 277855 h 426909"/>
                <a:gd name="connsiteX26" fmla="*/ 93923 w 141751"/>
                <a:gd name="connsiteY26" fmla="*/ 275899 h 426909"/>
                <a:gd name="connsiteX27" fmla="*/ 93923 w 141751"/>
                <a:gd name="connsiteY27" fmla="*/ 268072 h 426909"/>
                <a:gd name="connsiteX28" fmla="*/ 93923 w 141751"/>
                <a:gd name="connsiteY28" fmla="*/ 255679 h 426909"/>
                <a:gd name="connsiteX29" fmla="*/ 93923 w 141751"/>
                <a:gd name="connsiteY29" fmla="*/ 239373 h 426909"/>
                <a:gd name="connsiteX30" fmla="*/ 93923 w 141751"/>
                <a:gd name="connsiteY30" fmla="*/ 219806 h 426909"/>
                <a:gd name="connsiteX31" fmla="*/ 91966 w 141751"/>
                <a:gd name="connsiteY31" fmla="*/ 197630 h 426909"/>
                <a:gd name="connsiteX32" fmla="*/ 90661 w 141751"/>
                <a:gd name="connsiteY32" fmla="*/ 174149 h 426909"/>
                <a:gd name="connsiteX33" fmla="*/ 86748 w 141751"/>
                <a:gd name="connsiteY33" fmla="*/ 149364 h 426909"/>
                <a:gd name="connsiteX34" fmla="*/ 82835 w 141751"/>
                <a:gd name="connsiteY34" fmla="*/ 123274 h 426909"/>
                <a:gd name="connsiteX35" fmla="*/ 76964 w 141751"/>
                <a:gd name="connsiteY35" fmla="*/ 97184 h 426909"/>
                <a:gd name="connsiteX36" fmla="*/ 71747 w 141751"/>
                <a:gd name="connsiteY36" fmla="*/ 82835 h 426909"/>
                <a:gd name="connsiteX37" fmla="*/ 63920 w 141751"/>
                <a:gd name="connsiteY37" fmla="*/ 72399 h 426909"/>
                <a:gd name="connsiteX38" fmla="*/ 54136 w 141751"/>
                <a:gd name="connsiteY38" fmla="*/ 61963 h 426909"/>
                <a:gd name="connsiteX39" fmla="*/ 43700 w 141751"/>
                <a:gd name="connsiteY39" fmla="*/ 54136 h 426909"/>
                <a:gd name="connsiteX40" fmla="*/ 32612 w 141751"/>
                <a:gd name="connsiteY40" fmla="*/ 45657 h 426909"/>
                <a:gd name="connsiteX41" fmla="*/ 21524 w 141751"/>
                <a:gd name="connsiteY41" fmla="*/ 36526 h 426909"/>
                <a:gd name="connsiteX42" fmla="*/ 12393 w 141751"/>
                <a:gd name="connsiteY42" fmla="*/ 26090 h 426909"/>
                <a:gd name="connsiteX43" fmla="*/ 5218 w 141751"/>
                <a:gd name="connsiteY43" fmla="*/ 14349 h 426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41751" h="426909">
                  <a:moveTo>
                    <a:pt x="0" y="0"/>
                  </a:moveTo>
                  <a:lnTo>
                    <a:pt x="22828" y="4566"/>
                  </a:lnTo>
                  <a:lnTo>
                    <a:pt x="41091" y="8479"/>
                  </a:lnTo>
                  <a:lnTo>
                    <a:pt x="56745" y="11740"/>
                  </a:lnTo>
                  <a:lnTo>
                    <a:pt x="69138" y="16306"/>
                  </a:lnTo>
                  <a:lnTo>
                    <a:pt x="82182" y="19567"/>
                  </a:lnTo>
                  <a:lnTo>
                    <a:pt x="92618" y="22829"/>
                  </a:lnTo>
                  <a:lnTo>
                    <a:pt x="104359" y="37830"/>
                  </a:lnTo>
                  <a:lnTo>
                    <a:pt x="114794" y="56093"/>
                  </a:lnTo>
                  <a:lnTo>
                    <a:pt x="121317" y="76965"/>
                  </a:lnTo>
                  <a:lnTo>
                    <a:pt x="127187" y="101750"/>
                  </a:lnTo>
                  <a:lnTo>
                    <a:pt x="131100" y="128492"/>
                  </a:lnTo>
                  <a:lnTo>
                    <a:pt x="135014" y="156538"/>
                  </a:lnTo>
                  <a:lnTo>
                    <a:pt x="136318" y="187846"/>
                  </a:lnTo>
                  <a:lnTo>
                    <a:pt x="136971" y="220458"/>
                  </a:lnTo>
                  <a:lnTo>
                    <a:pt x="138275" y="254375"/>
                  </a:lnTo>
                  <a:lnTo>
                    <a:pt x="138275" y="289596"/>
                  </a:lnTo>
                  <a:lnTo>
                    <a:pt x="138927" y="326121"/>
                  </a:lnTo>
                  <a:lnTo>
                    <a:pt x="138927" y="362647"/>
                  </a:lnTo>
                  <a:lnTo>
                    <a:pt x="140884" y="400477"/>
                  </a:lnTo>
                  <a:lnTo>
                    <a:pt x="141751" y="425184"/>
                  </a:lnTo>
                  <a:lnTo>
                    <a:pt x="97184" y="426909"/>
                  </a:lnTo>
                  <a:lnTo>
                    <a:pt x="97184" y="401129"/>
                  </a:lnTo>
                  <a:lnTo>
                    <a:pt x="96532" y="365256"/>
                  </a:lnTo>
                  <a:lnTo>
                    <a:pt x="95227" y="324165"/>
                  </a:lnTo>
                  <a:lnTo>
                    <a:pt x="93923" y="277855"/>
                  </a:lnTo>
                  <a:lnTo>
                    <a:pt x="93923" y="275899"/>
                  </a:lnTo>
                  <a:lnTo>
                    <a:pt x="93923" y="268072"/>
                  </a:lnTo>
                  <a:lnTo>
                    <a:pt x="93923" y="255679"/>
                  </a:lnTo>
                  <a:lnTo>
                    <a:pt x="93923" y="239373"/>
                  </a:lnTo>
                  <a:lnTo>
                    <a:pt x="93923" y="219806"/>
                  </a:lnTo>
                  <a:lnTo>
                    <a:pt x="91966" y="197630"/>
                  </a:lnTo>
                  <a:lnTo>
                    <a:pt x="90661" y="174149"/>
                  </a:lnTo>
                  <a:lnTo>
                    <a:pt x="86748" y="149364"/>
                  </a:lnTo>
                  <a:lnTo>
                    <a:pt x="82835" y="123274"/>
                  </a:lnTo>
                  <a:lnTo>
                    <a:pt x="76964" y="97184"/>
                  </a:lnTo>
                  <a:lnTo>
                    <a:pt x="71747" y="82835"/>
                  </a:lnTo>
                  <a:lnTo>
                    <a:pt x="63920" y="72399"/>
                  </a:lnTo>
                  <a:lnTo>
                    <a:pt x="54136" y="61963"/>
                  </a:lnTo>
                  <a:lnTo>
                    <a:pt x="43700" y="54136"/>
                  </a:lnTo>
                  <a:lnTo>
                    <a:pt x="32612" y="45657"/>
                  </a:lnTo>
                  <a:lnTo>
                    <a:pt x="21524" y="36526"/>
                  </a:lnTo>
                  <a:lnTo>
                    <a:pt x="12393" y="26090"/>
                  </a:lnTo>
                  <a:lnTo>
                    <a:pt x="5218" y="14349"/>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67" name="Freeform 432">
              <a:extLst>
                <a:ext uri="{FF2B5EF4-FFF2-40B4-BE49-F238E27FC236}">
                  <a16:creationId xmlns:a16="http://schemas.microsoft.com/office/drawing/2014/main" id="{BA356761-521B-45D3-AF08-FFC63F342F96}"/>
                </a:ext>
              </a:extLst>
            </p:cNvPr>
            <p:cNvSpPr>
              <a:spLocks/>
            </p:cNvSpPr>
            <p:nvPr/>
          </p:nvSpPr>
          <p:spPr bwMode="gray">
            <a:xfrm>
              <a:off x="1359271" y="1840778"/>
              <a:ext cx="71946" cy="74177"/>
            </a:xfrm>
            <a:custGeom>
              <a:avLst/>
              <a:gdLst>
                <a:gd name="T0" fmla="*/ 6 w 129"/>
                <a:gd name="T1" fmla="*/ 0 h 133"/>
                <a:gd name="T2" fmla="*/ 13 w 129"/>
                <a:gd name="T3" fmla="*/ 3 h 133"/>
                <a:gd name="T4" fmla="*/ 25 w 129"/>
                <a:gd name="T5" fmla="*/ 9 h 133"/>
                <a:gd name="T6" fmla="*/ 40 w 129"/>
                <a:gd name="T7" fmla="*/ 19 h 133"/>
                <a:gd name="T8" fmla="*/ 70 w 129"/>
                <a:gd name="T9" fmla="*/ 42 h 133"/>
                <a:gd name="T10" fmla="*/ 92 w 129"/>
                <a:gd name="T11" fmla="*/ 65 h 133"/>
                <a:gd name="T12" fmla="*/ 108 w 129"/>
                <a:gd name="T13" fmla="*/ 87 h 133"/>
                <a:gd name="T14" fmla="*/ 119 w 129"/>
                <a:gd name="T15" fmla="*/ 107 h 133"/>
                <a:gd name="T16" fmla="*/ 125 w 129"/>
                <a:gd name="T17" fmla="*/ 121 h 133"/>
                <a:gd name="T18" fmla="*/ 129 w 129"/>
                <a:gd name="T19" fmla="*/ 131 h 133"/>
                <a:gd name="T20" fmla="*/ 129 w 129"/>
                <a:gd name="T21" fmla="*/ 133 h 133"/>
                <a:gd name="T22" fmla="*/ 113 w 129"/>
                <a:gd name="T23" fmla="*/ 123 h 133"/>
                <a:gd name="T24" fmla="*/ 95 w 129"/>
                <a:gd name="T25" fmla="*/ 113 h 133"/>
                <a:gd name="T26" fmla="*/ 75 w 129"/>
                <a:gd name="T27" fmla="*/ 104 h 133"/>
                <a:gd name="T28" fmla="*/ 56 w 129"/>
                <a:gd name="T29" fmla="*/ 99 h 133"/>
                <a:gd name="T30" fmla="*/ 54 w 129"/>
                <a:gd name="T31" fmla="*/ 96 h 133"/>
                <a:gd name="T32" fmla="*/ 51 w 129"/>
                <a:gd name="T33" fmla="*/ 92 h 133"/>
                <a:gd name="T34" fmla="*/ 45 w 129"/>
                <a:gd name="T35" fmla="*/ 85 h 133"/>
                <a:gd name="T36" fmla="*/ 39 w 129"/>
                <a:gd name="T37" fmla="*/ 76 h 133"/>
                <a:gd name="T38" fmla="*/ 33 w 129"/>
                <a:gd name="T39" fmla="*/ 65 h 133"/>
                <a:gd name="T40" fmla="*/ 25 w 129"/>
                <a:gd name="T41" fmla="*/ 55 h 133"/>
                <a:gd name="T42" fmla="*/ 18 w 129"/>
                <a:gd name="T43" fmla="*/ 44 h 133"/>
                <a:gd name="T44" fmla="*/ 12 w 129"/>
                <a:gd name="T45" fmla="*/ 32 h 133"/>
                <a:gd name="T46" fmla="*/ 6 w 129"/>
                <a:gd name="T47" fmla="*/ 23 h 133"/>
                <a:gd name="T48" fmla="*/ 3 w 129"/>
                <a:gd name="T49" fmla="*/ 14 h 133"/>
                <a:gd name="T50" fmla="*/ 0 w 129"/>
                <a:gd name="T51" fmla="*/ 6 h 133"/>
                <a:gd name="T52" fmla="*/ 2 w 129"/>
                <a:gd name="T53" fmla="*/ 3 h 133"/>
                <a:gd name="T54" fmla="*/ 6 w 129"/>
                <a:gd name="T5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9" h="133">
                  <a:moveTo>
                    <a:pt x="6" y="0"/>
                  </a:moveTo>
                  <a:lnTo>
                    <a:pt x="13" y="3"/>
                  </a:lnTo>
                  <a:lnTo>
                    <a:pt x="25" y="9"/>
                  </a:lnTo>
                  <a:lnTo>
                    <a:pt x="40" y="19"/>
                  </a:lnTo>
                  <a:lnTo>
                    <a:pt x="70" y="42"/>
                  </a:lnTo>
                  <a:lnTo>
                    <a:pt x="92" y="65"/>
                  </a:lnTo>
                  <a:lnTo>
                    <a:pt x="108" y="87"/>
                  </a:lnTo>
                  <a:lnTo>
                    <a:pt x="119" y="107"/>
                  </a:lnTo>
                  <a:lnTo>
                    <a:pt x="125" y="121"/>
                  </a:lnTo>
                  <a:lnTo>
                    <a:pt x="129" y="131"/>
                  </a:lnTo>
                  <a:lnTo>
                    <a:pt x="129" y="133"/>
                  </a:lnTo>
                  <a:lnTo>
                    <a:pt x="113" y="123"/>
                  </a:lnTo>
                  <a:lnTo>
                    <a:pt x="95" y="113"/>
                  </a:lnTo>
                  <a:lnTo>
                    <a:pt x="75" y="104"/>
                  </a:lnTo>
                  <a:lnTo>
                    <a:pt x="56" y="99"/>
                  </a:lnTo>
                  <a:lnTo>
                    <a:pt x="54" y="96"/>
                  </a:lnTo>
                  <a:lnTo>
                    <a:pt x="51" y="92"/>
                  </a:lnTo>
                  <a:lnTo>
                    <a:pt x="45" y="85"/>
                  </a:lnTo>
                  <a:lnTo>
                    <a:pt x="39" y="76"/>
                  </a:lnTo>
                  <a:lnTo>
                    <a:pt x="33" y="65"/>
                  </a:lnTo>
                  <a:lnTo>
                    <a:pt x="25" y="55"/>
                  </a:lnTo>
                  <a:lnTo>
                    <a:pt x="18" y="44"/>
                  </a:lnTo>
                  <a:lnTo>
                    <a:pt x="12" y="32"/>
                  </a:lnTo>
                  <a:lnTo>
                    <a:pt x="6" y="23"/>
                  </a:lnTo>
                  <a:lnTo>
                    <a:pt x="3" y="14"/>
                  </a:lnTo>
                  <a:lnTo>
                    <a:pt x="0" y="6"/>
                  </a:lnTo>
                  <a:lnTo>
                    <a:pt x="2" y="3"/>
                  </a:lnTo>
                  <a:lnTo>
                    <a:pt x="6" y="0"/>
                  </a:lnTo>
                  <a:close/>
                </a:path>
              </a:pathLst>
            </a:custGeom>
            <a:solidFill>
              <a:srgbClr val="FFFFFF"/>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68" name="Freeform 433">
              <a:extLst>
                <a:ext uri="{FF2B5EF4-FFF2-40B4-BE49-F238E27FC236}">
                  <a16:creationId xmlns:a16="http://schemas.microsoft.com/office/drawing/2014/main" id="{A8C95C74-595F-4954-A81F-2A3B3B71E891}"/>
                </a:ext>
              </a:extLst>
            </p:cNvPr>
            <p:cNvSpPr>
              <a:spLocks/>
            </p:cNvSpPr>
            <p:nvPr/>
          </p:nvSpPr>
          <p:spPr bwMode="gray">
            <a:xfrm>
              <a:off x="1318558" y="1820142"/>
              <a:ext cx="87005" cy="81985"/>
            </a:xfrm>
            <a:custGeom>
              <a:avLst/>
              <a:gdLst>
                <a:gd name="T0" fmla="*/ 156 w 156"/>
                <a:gd name="T1" fmla="*/ 0 h 147"/>
                <a:gd name="T2" fmla="*/ 143 w 156"/>
                <a:gd name="T3" fmla="*/ 19 h 147"/>
                <a:gd name="T4" fmla="*/ 136 w 156"/>
                <a:gd name="T5" fmla="*/ 38 h 147"/>
                <a:gd name="T6" fmla="*/ 134 w 156"/>
                <a:gd name="T7" fmla="*/ 55 h 147"/>
                <a:gd name="T8" fmla="*/ 134 w 156"/>
                <a:gd name="T9" fmla="*/ 72 h 147"/>
                <a:gd name="T10" fmla="*/ 136 w 156"/>
                <a:gd name="T11" fmla="*/ 87 h 147"/>
                <a:gd name="T12" fmla="*/ 138 w 156"/>
                <a:gd name="T13" fmla="*/ 100 h 147"/>
                <a:gd name="T14" fmla="*/ 139 w 156"/>
                <a:gd name="T15" fmla="*/ 113 h 147"/>
                <a:gd name="T16" fmla="*/ 135 w 156"/>
                <a:gd name="T17" fmla="*/ 124 h 147"/>
                <a:gd name="T18" fmla="*/ 129 w 156"/>
                <a:gd name="T19" fmla="*/ 136 h 147"/>
                <a:gd name="T20" fmla="*/ 112 w 156"/>
                <a:gd name="T21" fmla="*/ 141 h 147"/>
                <a:gd name="T22" fmla="*/ 98 w 156"/>
                <a:gd name="T23" fmla="*/ 146 h 147"/>
                <a:gd name="T24" fmla="*/ 84 w 156"/>
                <a:gd name="T25" fmla="*/ 147 h 147"/>
                <a:gd name="T26" fmla="*/ 70 w 156"/>
                <a:gd name="T27" fmla="*/ 147 h 147"/>
                <a:gd name="T28" fmla="*/ 54 w 156"/>
                <a:gd name="T29" fmla="*/ 142 h 147"/>
                <a:gd name="T30" fmla="*/ 38 w 156"/>
                <a:gd name="T31" fmla="*/ 133 h 147"/>
                <a:gd name="T32" fmla="*/ 18 w 156"/>
                <a:gd name="T33" fmla="*/ 118 h 147"/>
                <a:gd name="T34" fmla="*/ 9 w 156"/>
                <a:gd name="T35" fmla="*/ 108 h 147"/>
                <a:gd name="T36" fmla="*/ 4 w 156"/>
                <a:gd name="T37" fmla="*/ 100 h 147"/>
                <a:gd name="T38" fmla="*/ 2 w 156"/>
                <a:gd name="T39" fmla="*/ 92 h 147"/>
                <a:gd name="T40" fmla="*/ 0 w 156"/>
                <a:gd name="T41" fmla="*/ 85 h 147"/>
                <a:gd name="T42" fmla="*/ 2 w 156"/>
                <a:gd name="T43" fmla="*/ 76 h 147"/>
                <a:gd name="T44" fmla="*/ 3 w 156"/>
                <a:gd name="T45" fmla="*/ 63 h 147"/>
                <a:gd name="T46" fmla="*/ 4 w 156"/>
                <a:gd name="T47" fmla="*/ 49 h 147"/>
                <a:gd name="T48" fmla="*/ 4 w 156"/>
                <a:gd name="T49" fmla="*/ 28 h 147"/>
                <a:gd name="T50" fmla="*/ 2 w 156"/>
                <a:gd name="T51" fmla="*/ 4 h 147"/>
                <a:gd name="T52" fmla="*/ 156 w 156"/>
                <a:gd name="T53"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 h="147">
                  <a:moveTo>
                    <a:pt x="156" y="0"/>
                  </a:moveTo>
                  <a:lnTo>
                    <a:pt x="143" y="19"/>
                  </a:lnTo>
                  <a:lnTo>
                    <a:pt x="136" y="38"/>
                  </a:lnTo>
                  <a:lnTo>
                    <a:pt x="134" y="55"/>
                  </a:lnTo>
                  <a:lnTo>
                    <a:pt x="134" y="72"/>
                  </a:lnTo>
                  <a:lnTo>
                    <a:pt x="136" y="87"/>
                  </a:lnTo>
                  <a:lnTo>
                    <a:pt x="138" y="100"/>
                  </a:lnTo>
                  <a:lnTo>
                    <a:pt x="139" y="113"/>
                  </a:lnTo>
                  <a:lnTo>
                    <a:pt x="135" y="124"/>
                  </a:lnTo>
                  <a:lnTo>
                    <a:pt x="129" y="136"/>
                  </a:lnTo>
                  <a:lnTo>
                    <a:pt x="112" y="141"/>
                  </a:lnTo>
                  <a:lnTo>
                    <a:pt x="98" y="146"/>
                  </a:lnTo>
                  <a:lnTo>
                    <a:pt x="84" y="147"/>
                  </a:lnTo>
                  <a:lnTo>
                    <a:pt x="70" y="147"/>
                  </a:lnTo>
                  <a:lnTo>
                    <a:pt x="54" y="142"/>
                  </a:lnTo>
                  <a:lnTo>
                    <a:pt x="38" y="133"/>
                  </a:lnTo>
                  <a:lnTo>
                    <a:pt x="18" y="118"/>
                  </a:lnTo>
                  <a:lnTo>
                    <a:pt x="9" y="108"/>
                  </a:lnTo>
                  <a:lnTo>
                    <a:pt x="4" y="100"/>
                  </a:lnTo>
                  <a:lnTo>
                    <a:pt x="2" y="92"/>
                  </a:lnTo>
                  <a:lnTo>
                    <a:pt x="0" y="85"/>
                  </a:lnTo>
                  <a:lnTo>
                    <a:pt x="2" y="76"/>
                  </a:lnTo>
                  <a:lnTo>
                    <a:pt x="3" y="63"/>
                  </a:lnTo>
                  <a:lnTo>
                    <a:pt x="4" y="49"/>
                  </a:lnTo>
                  <a:lnTo>
                    <a:pt x="4" y="28"/>
                  </a:lnTo>
                  <a:lnTo>
                    <a:pt x="2" y="4"/>
                  </a:lnTo>
                  <a:lnTo>
                    <a:pt x="156" y="0"/>
                  </a:lnTo>
                  <a:close/>
                </a:path>
              </a:pathLst>
            </a:custGeom>
            <a:solidFill>
              <a:srgbClr val="F29979"/>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69" name="Freeform 434">
              <a:extLst>
                <a:ext uri="{FF2B5EF4-FFF2-40B4-BE49-F238E27FC236}">
                  <a16:creationId xmlns:a16="http://schemas.microsoft.com/office/drawing/2014/main" id="{73CB652F-EE62-408D-80AB-CF33DC9BA209}"/>
                </a:ext>
              </a:extLst>
            </p:cNvPr>
            <p:cNvSpPr>
              <a:spLocks/>
            </p:cNvSpPr>
            <p:nvPr/>
          </p:nvSpPr>
          <p:spPr bwMode="gray">
            <a:xfrm>
              <a:off x="1378234" y="1837990"/>
              <a:ext cx="85889" cy="253763"/>
            </a:xfrm>
            <a:custGeom>
              <a:avLst/>
              <a:gdLst>
                <a:gd name="T0" fmla="*/ 1 w 154"/>
                <a:gd name="T1" fmla="*/ 0 h 455"/>
                <a:gd name="T2" fmla="*/ 5 w 154"/>
                <a:gd name="T3" fmla="*/ 0 h 455"/>
                <a:gd name="T4" fmla="*/ 11 w 154"/>
                <a:gd name="T5" fmla="*/ 2 h 455"/>
                <a:gd name="T6" fmla="*/ 19 w 154"/>
                <a:gd name="T7" fmla="*/ 6 h 455"/>
                <a:gd name="T8" fmla="*/ 27 w 154"/>
                <a:gd name="T9" fmla="*/ 11 h 455"/>
                <a:gd name="T10" fmla="*/ 36 w 154"/>
                <a:gd name="T11" fmla="*/ 17 h 455"/>
                <a:gd name="T12" fmla="*/ 45 w 154"/>
                <a:gd name="T13" fmla="*/ 23 h 455"/>
                <a:gd name="T14" fmla="*/ 52 w 154"/>
                <a:gd name="T15" fmla="*/ 29 h 455"/>
                <a:gd name="T16" fmla="*/ 60 w 154"/>
                <a:gd name="T17" fmla="*/ 35 h 455"/>
                <a:gd name="T18" fmla="*/ 67 w 154"/>
                <a:gd name="T19" fmla="*/ 38 h 455"/>
                <a:gd name="T20" fmla="*/ 70 w 154"/>
                <a:gd name="T21" fmla="*/ 42 h 455"/>
                <a:gd name="T22" fmla="*/ 72 w 154"/>
                <a:gd name="T23" fmla="*/ 42 h 455"/>
                <a:gd name="T24" fmla="*/ 73 w 154"/>
                <a:gd name="T25" fmla="*/ 45 h 455"/>
                <a:gd name="T26" fmla="*/ 77 w 154"/>
                <a:gd name="T27" fmla="*/ 51 h 455"/>
                <a:gd name="T28" fmla="*/ 82 w 154"/>
                <a:gd name="T29" fmla="*/ 61 h 455"/>
                <a:gd name="T30" fmla="*/ 90 w 154"/>
                <a:gd name="T31" fmla="*/ 77 h 455"/>
                <a:gd name="T32" fmla="*/ 97 w 154"/>
                <a:gd name="T33" fmla="*/ 94 h 455"/>
                <a:gd name="T34" fmla="*/ 97 w 154"/>
                <a:gd name="T35" fmla="*/ 96 h 455"/>
                <a:gd name="T36" fmla="*/ 95 w 154"/>
                <a:gd name="T37" fmla="*/ 99 h 455"/>
                <a:gd name="T38" fmla="*/ 94 w 154"/>
                <a:gd name="T39" fmla="*/ 101 h 455"/>
                <a:gd name="T40" fmla="*/ 91 w 154"/>
                <a:gd name="T41" fmla="*/ 104 h 455"/>
                <a:gd name="T42" fmla="*/ 88 w 154"/>
                <a:gd name="T43" fmla="*/ 106 h 455"/>
                <a:gd name="T44" fmla="*/ 87 w 154"/>
                <a:gd name="T45" fmla="*/ 109 h 455"/>
                <a:gd name="T46" fmla="*/ 87 w 154"/>
                <a:gd name="T47" fmla="*/ 112 h 455"/>
                <a:gd name="T48" fmla="*/ 90 w 154"/>
                <a:gd name="T49" fmla="*/ 115 h 455"/>
                <a:gd name="T50" fmla="*/ 97 w 154"/>
                <a:gd name="T51" fmla="*/ 119 h 455"/>
                <a:gd name="T52" fmla="*/ 104 w 154"/>
                <a:gd name="T53" fmla="*/ 123 h 455"/>
                <a:gd name="T54" fmla="*/ 109 w 154"/>
                <a:gd name="T55" fmla="*/ 127 h 455"/>
                <a:gd name="T56" fmla="*/ 122 w 154"/>
                <a:gd name="T57" fmla="*/ 153 h 455"/>
                <a:gd name="T58" fmla="*/ 135 w 154"/>
                <a:gd name="T59" fmla="*/ 185 h 455"/>
                <a:gd name="T60" fmla="*/ 144 w 154"/>
                <a:gd name="T61" fmla="*/ 223 h 455"/>
                <a:gd name="T62" fmla="*/ 150 w 154"/>
                <a:gd name="T63" fmla="*/ 266 h 455"/>
                <a:gd name="T64" fmla="*/ 154 w 154"/>
                <a:gd name="T65" fmla="*/ 312 h 455"/>
                <a:gd name="T66" fmla="*/ 154 w 154"/>
                <a:gd name="T67" fmla="*/ 359 h 455"/>
                <a:gd name="T68" fmla="*/ 149 w 154"/>
                <a:gd name="T69" fmla="*/ 408 h 455"/>
                <a:gd name="T70" fmla="*/ 140 w 154"/>
                <a:gd name="T71" fmla="*/ 455 h 455"/>
                <a:gd name="T72" fmla="*/ 138 w 154"/>
                <a:gd name="T73" fmla="*/ 408 h 455"/>
                <a:gd name="T74" fmla="*/ 136 w 154"/>
                <a:gd name="T75" fmla="*/ 359 h 455"/>
                <a:gd name="T76" fmla="*/ 129 w 154"/>
                <a:gd name="T77" fmla="*/ 309 h 455"/>
                <a:gd name="T78" fmla="*/ 122 w 154"/>
                <a:gd name="T79" fmla="*/ 260 h 455"/>
                <a:gd name="T80" fmla="*/ 110 w 154"/>
                <a:gd name="T81" fmla="*/ 212 h 455"/>
                <a:gd name="T82" fmla="*/ 96 w 154"/>
                <a:gd name="T83" fmla="*/ 165 h 455"/>
                <a:gd name="T84" fmla="*/ 78 w 154"/>
                <a:gd name="T85" fmla="*/ 122 h 455"/>
                <a:gd name="T86" fmla="*/ 56 w 154"/>
                <a:gd name="T87" fmla="*/ 82 h 455"/>
                <a:gd name="T88" fmla="*/ 31 w 154"/>
                <a:gd name="T89" fmla="*/ 47 h 455"/>
                <a:gd name="T90" fmla="*/ 17 w 154"/>
                <a:gd name="T91" fmla="*/ 29 h 455"/>
                <a:gd name="T92" fmla="*/ 8 w 154"/>
                <a:gd name="T93" fmla="*/ 18 h 455"/>
                <a:gd name="T94" fmla="*/ 2 w 154"/>
                <a:gd name="T95" fmla="*/ 9 h 455"/>
                <a:gd name="T96" fmla="*/ 0 w 154"/>
                <a:gd name="T97" fmla="*/ 2 h 455"/>
                <a:gd name="T98" fmla="*/ 1 w 154"/>
                <a:gd name="T99"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455">
                  <a:moveTo>
                    <a:pt x="1" y="0"/>
                  </a:moveTo>
                  <a:lnTo>
                    <a:pt x="5" y="0"/>
                  </a:lnTo>
                  <a:lnTo>
                    <a:pt x="11" y="2"/>
                  </a:lnTo>
                  <a:lnTo>
                    <a:pt x="19" y="6"/>
                  </a:lnTo>
                  <a:lnTo>
                    <a:pt x="27" y="11"/>
                  </a:lnTo>
                  <a:lnTo>
                    <a:pt x="36" y="17"/>
                  </a:lnTo>
                  <a:lnTo>
                    <a:pt x="45" y="23"/>
                  </a:lnTo>
                  <a:lnTo>
                    <a:pt x="52" y="29"/>
                  </a:lnTo>
                  <a:lnTo>
                    <a:pt x="60" y="35"/>
                  </a:lnTo>
                  <a:lnTo>
                    <a:pt x="67" y="38"/>
                  </a:lnTo>
                  <a:lnTo>
                    <a:pt x="70" y="42"/>
                  </a:lnTo>
                  <a:lnTo>
                    <a:pt x="72" y="42"/>
                  </a:lnTo>
                  <a:lnTo>
                    <a:pt x="73" y="45"/>
                  </a:lnTo>
                  <a:lnTo>
                    <a:pt x="77" y="51"/>
                  </a:lnTo>
                  <a:lnTo>
                    <a:pt x="82" y="61"/>
                  </a:lnTo>
                  <a:lnTo>
                    <a:pt x="90" y="77"/>
                  </a:lnTo>
                  <a:lnTo>
                    <a:pt x="97" y="94"/>
                  </a:lnTo>
                  <a:lnTo>
                    <a:pt x="97" y="96"/>
                  </a:lnTo>
                  <a:lnTo>
                    <a:pt x="95" y="99"/>
                  </a:lnTo>
                  <a:lnTo>
                    <a:pt x="94" y="101"/>
                  </a:lnTo>
                  <a:lnTo>
                    <a:pt x="91" y="104"/>
                  </a:lnTo>
                  <a:lnTo>
                    <a:pt x="88" y="106"/>
                  </a:lnTo>
                  <a:lnTo>
                    <a:pt x="87" y="109"/>
                  </a:lnTo>
                  <a:lnTo>
                    <a:pt x="87" y="112"/>
                  </a:lnTo>
                  <a:lnTo>
                    <a:pt x="90" y="115"/>
                  </a:lnTo>
                  <a:lnTo>
                    <a:pt x="97" y="119"/>
                  </a:lnTo>
                  <a:lnTo>
                    <a:pt x="104" y="123"/>
                  </a:lnTo>
                  <a:lnTo>
                    <a:pt x="109" y="127"/>
                  </a:lnTo>
                  <a:lnTo>
                    <a:pt x="122" y="153"/>
                  </a:lnTo>
                  <a:lnTo>
                    <a:pt x="135" y="185"/>
                  </a:lnTo>
                  <a:lnTo>
                    <a:pt x="144" y="223"/>
                  </a:lnTo>
                  <a:lnTo>
                    <a:pt x="150" y="266"/>
                  </a:lnTo>
                  <a:lnTo>
                    <a:pt x="154" y="312"/>
                  </a:lnTo>
                  <a:lnTo>
                    <a:pt x="154" y="359"/>
                  </a:lnTo>
                  <a:lnTo>
                    <a:pt x="149" y="408"/>
                  </a:lnTo>
                  <a:lnTo>
                    <a:pt x="140" y="455"/>
                  </a:lnTo>
                  <a:lnTo>
                    <a:pt x="138" y="408"/>
                  </a:lnTo>
                  <a:lnTo>
                    <a:pt x="136" y="359"/>
                  </a:lnTo>
                  <a:lnTo>
                    <a:pt x="129" y="309"/>
                  </a:lnTo>
                  <a:lnTo>
                    <a:pt x="122" y="260"/>
                  </a:lnTo>
                  <a:lnTo>
                    <a:pt x="110" y="212"/>
                  </a:lnTo>
                  <a:lnTo>
                    <a:pt x="96" y="165"/>
                  </a:lnTo>
                  <a:lnTo>
                    <a:pt x="78" y="122"/>
                  </a:lnTo>
                  <a:lnTo>
                    <a:pt x="56" y="82"/>
                  </a:lnTo>
                  <a:lnTo>
                    <a:pt x="31" y="47"/>
                  </a:lnTo>
                  <a:lnTo>
                    <a:pt x="17" y="29"/>
                  </a:lnTo>
                  <a:lnTo>
                    <a:pt x="8" y="18"/>
                  </a:lnTo>
                  <a:lnTo>
                    <a:pt x="2" y="9"/>
                  </a:lnTo>
                  <a:lnTo>
                    <a:pt x="0" y="2"/>
                  </a:lnTo>
                  <a:lnTo>
                    <a:pt x="1"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70" name="Freeform 435">
              <a:extLst>
                <a:ext uri="{FF2B5EF4-FFF2-40B4-BE49-F238E27FC236}">
                  <a16:creationId xmlns:a16="http://schemas.microsoft.com/office/drawing/2014/main" id="{5A0B2230-9D8E-42FA-A19F-EBAB60C180AB}"/>
                </a:ext>
              </a:extLst>
            </p:cNvPr>
            <p:cNvSpPr>
              <a:spLocks/>
            </p:cNvSpPr>
            <p:nvPr/>
          </p:nvSpPr>
          <p:spPr bwMode="gray">
            <a:xfrm>
              <a:off x="1319673" y="1688520"/>
              <a:ext cx="127719" cy="177913"/>
            </a:xfrm>
            <a:custGeom>
              <a:avLst/>
              <a:gdLst>
                <a:gd name="T0" fmla="*/ 155 w 229"/>
                <a:gd name="T1" fmla="*/ 0 h 319"/>
                <a:gd name="T2" fmla="*/ 184 w 229"/>
                <a:gd name="T3" fmla="*/ 4 h 319"/>
                <a:gd name="T4" fmla="*/ 187 w 229"/>
                <a:gd name="T5" fmla="*/ 4 h 319"/>
                <a:gd name="T6" fmla="*/ 193 w 229"/>
                <a:gd name="T7" fmla="*/ 6 h 319"/>
                <a:gd name="T8" fmla="*/ 202 w 229"/>
                <a:gd name="T9" fmla="*/ 13 h 319"/>
                <a:gd name="T10" fmla="*/ 211 w 229"/>
                <a:gd name="T11" fmla="*/ 23 h 319"/>
                <a:gd name="T12" fmla="*/ 218 w 229"/>
                <a:gd name="T13" fmla="*/ 33 h 319"/>
                <a:gd name="T14" fmla="*/ 223 w 229"/>
                <a:gd name="T15" fmla="*/ 46 h 319"/>
                <a:gd name="T16" fmla="*/ 227 w 229"/>
                <a:gd name="T17" fmla="*/ 63 h 319"/>
                <a:gd name="T18" fmla="*/ 229 w 229"/>
                <a:gd name="T19" fmla="*/ 82 h 319"/>
                <a:gd name="T20" fmla="*/ 228 w 229"/>
                <a:gd name="T21" fmla="*/ 105 h 319"/>
                <a:gd name="T22" fmla="*/ 224 w 229"/>
                <a:gd name="T23" fmla="*/ 133 h 319"/>
                <a:gd name="T24" fmla="*/ 224 w 229"/>
                <a:gd name="T25" fmla="*/ 151 h 319"/>
                <a:gd name="T26" fmla="*/ 227 w 229"/>
                <a:gd name="T27" fmla="*/ 172 h 319"/>
                <a:gd name="T28" fmla="*/ 228 w 229"/>
                <a:gd name="T29" fmla="*/ 193 h 319"/>
                <a:gd name="T30" fmla="*/ 225 w 229"/>
                <a:gd name="T31" fmla="*/ 214 h 319"/>
                <a:gd name="T32" fmla="*/ 218 w 229"/>
                <a:gd name="T33" fmla="*/ 245 h 319"/>
                <a:gd name="T34" fmla="*/ 207 w 229"/>
                <a:gd name="T35" fmla="*/ 270 h 319"/>
                <a:gd name="T36" fmla="*/ 195 w 229"/>
                <a:gd name="T37" fmla="*/ 291 h 319"/>
                <a:gd name="T38" fmla="*/ 181 w 229"/>
                <a:gd name="T39" fmla="*/ 306 h 319"/>
                <a:gd name="T40" fmla="*/ 165 w 229"/>
                <a:gd name="T41" fmla="*/ 317 h 319"/>
                <a:gd name="T42" fmla="*/ 148 w 229"/>
                <a:gd name="T43" fmla="*/ 319 h 319"/>
                <a:gd name="T44" fmla="*/ 114 w 229"/>
                <a:gd name="T45" fmla="*/ 310 h 319"/>
                <a:gd name="T46" fmla="*/ 83 w 229"/>
                <a:gd name="T47" fmla="*/ 300 h 319"/>
                <a:gd name="T48" fmla="*/ 59 w 229"/>
                <a:gd name="T49" fmla="*/ 288 h 319"/>
                <a:gd name="T50" fmla="*/ 39 w 229"/>
                <a:gd name="T51" fmla="*/ 277 h 319"/>
                <a:gd name="T52" fmla="*/ 24 w 229"/>
                <a:gd name="T53" fmla="*/ 265 h 319"/>
                <a:gd name="T54" fmla="*/ 12 w 229"/>
                <a:gd name="T55" fmla="*/ 255 h 319"/>
                <a:gd name="T56" fmla="*/ 6 w 229"/>
                <a:gd name="T57" fmla="*/ 247 h 319"/>
                <a:gd name="T58" fmla="*/ 1 w 229"/>
                <a:gd name="T59" fmla="*/ 242 h 319"/>
                <a:gd name="T60" fmla="*/ 0 w 229"/>
                <a:gd name="T61" fmla="*/ 240 h 319"/>
                <a:gd name="T62" fmla="*/ 0 w 229"/>
                <a:gd name="T63" fmla="*/ 237 h 319"/>
                <a:gd name="T64" fmla="*/ 1 w 229"/>
                <a:gd name="T65" fmla="*/ 231 h 319"/>
                <a:gd name="T66" fmla="*/ 1 w 229"/>
                <a:gd name="T67" fmla="*/ 219 h 319"/>
                <a:gd name="T68" fmla="*/ 2 w 229"/>
                <a:gd name="T69" fmla="*/ 205 h 319"/>
                <a:gd name="T70" fmla="*/ 5 w 229"/>
                <a:gd name="T71" fmla="*/ 188 h 319"/>
                <a:gd name="T72" fmla="*/ 7 w 229"/>
                <a:gd name="T73" fmla="*/ 169 h 319"/>
                <a:gd name="T74" fmla="*/ 11 w 229"/>
                <a:gd name="T75" fmla="*/ 149 h 319"/>
                <a:gd name="T76" fmla="*/ 16 w 229"/>
                <a:gd name="T77" fmla="*/ 127 h 319"/>
                <a:gd name="T78" fmla="*/ 23 w 229"/>
                <a:gd name="T79" fmla="*/ 106 h 319"/>
                <a:gd name="T80" fmla="*/ 32 w 229"/>
                <a:gd name="T81" fmla="*/ 84 h 319"/>
                <a:gd name="T82" fmla="*/ 42 w 229"/>
                <a:gd name="T83" fmla="*/ 64 h 319"/>
                <a:gd name="T84" fmla="*/ 55 w 229"/>
                <a:gd name="T85" fmla="*/ 46 h 319"/>
                <a:gd name="T86" fmla="*/ 70 w 229"/>
                <a:gd name="T87" fmla="*/ 29 h 319"/>
                <a:gd name="T88" fmla="*/ 87 w 229"/>
                <a:gd name="T89" fmla="*/ 16 h 319"/>
                <a:gd name="T90" fmla="*/ 107 w 229"/>
                <a:gd name="T91" fmla="*/ 6 h 319"/>
                <a:gd name="T92" fmla="*/ 129 w 229"/>
                <a:gd name="T93" fmla="*/ 0 h 319"/>
                <a:gd name="T94" fmla="*/ 155 w 229"/>
                <a:gd name="T95"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9" h="319">
                  <a:moveTo>
                    <a:pt x="155" y="0"/>
                  </a:moveTo>
                  <a:lnTo>
                    <a:pt x="184" y="4"/>
                  </a:lnTo>
                  <a:lnTo>
                    <a:pt x="187" y="4"/>
                  </a:lnTo>
                  <a:lnTo>
                    <a:pt x="193" y="6"/>
                  </a:lnTo>
                  <a:lnTo>
                    <a:pt x="202" y="13"/>
                  </a:lnTo>
                  <a:lnTo>
                    <a:pt x="211" y="23"/>
                  </a:lnTo>
                  <a:lnTo>
                    <a:pt x="218" y="33"/>
                  </a:lnTo>
                  <a:lnTo>
                    <a:pt x="223" y="46"/>
                  </a:lnTo>
                  <a:lnTo>
                    <a:pt x="227" y="63"/>
                  </a:lnTo>
                  <a:lnTo>
                    <a:pt x="229" y="82"/>
                  </a:lnTo>
                  <a:lnTo>
                    <a:pt x="228" y="105"/>
                  </a:lnTo>
                  <a:lnTo>
                    <a:pt x="224" y="133"/>
                  </a:lnTo>
                  <a:lnTo>
                    <a:pt x="224" y="151"/>
                  </a:lnTo>
                  <a:lnTo>
                    <a:pt x="227" y="172"/>
                  </a:lnTo>
                  <a:lnTo>
                    <a:pt x="228" y="193"/>
                  </a:lnTo>
                  <a:lnTo>
                    <a:pt x="225" y="214"/>
                  </a:lnTo>
                  <a:lnTo>
                    <a:pt x="218" y="245"/>
                  </a:lnTo>
                  <a:lnTo>
                    <a:pt x="207" y="270"/>
                  </a:lnTo>
                  <a:lnTo>
                    <a:pt x="195" y="291"/>
                  </a:lnTo>
                  <a:lnTo>
                    <a:pt x="181" y="306"/>
                  </a:lnTo>
                  <a:lnTo>
                    <a:pt x="165" y="317"/>
                  </a:lnTo>
                  <a:lnTo>
                    <a:pt x="148" y="319"/>
                  </a:lnTo>
                  <a:lnTo>
                    <a:pt x="114" y="310"/>
                  </a:lnTo>
                  <a:lnTo>
                    <a:pt x="83" y="300"/>
                  </a:lnTo>
                  <a:lnTo>
                    <a:pt x="59" y="288"/>
                  </a:lnTo>
                  <a:lnTo>
                    <a:pt x="39" y="277"/>
                  </a:lnTo>
                  <a:lnTo>
                    <a:pt x="24" y="265"/>
                  </a:lnTo>
                  <a:lnTo>
                    <a:pt x="12" y="255"/>
                  </a:lnTo>
                  <a:lnTo>
                    <a:pt x="6" y="247"/>
                  </a:lnTo>
                  <a:lnTo>
                    <a:pt x="1" y="242"/>
                  </a:lnTo>
                  <a:lnTo>
                    <a:pt x="0" y="240"/>
                  </a:lnTo>
                  <a:lnTo>
                    <a:pt x="0" y="237"/>
                  </a:lnTo>
                  <a:lnTo>
                    <a:pt x="1" y="231"/>
                  </a:lnTo>
                  <a:lnTo>
                    <a:pt x="1" y="219"/>
                  </a:lnTo>
                  <a:lnTo>
                    <a:pt x="2" y="205"/>
                  </a:lnTo>
                  <a:lnTo>
                    <a:pt x="5" y="188"/>
                  </a:lnTo>
                  <a:lnTo>
                    <a:pt x="7" y="169"/>
                  </a:lnTo>
                  <a:lnTo>
                    <a:pt x="11" y="149"/>
                  </a:lnTo>
                  <a:lnTo>
                    <a:pt x="16" y="127"/>
                  </a:lnTo>
                  <a:lnTo>
                    <a:pt x="23" y="106"/>
                  </a:lnTo>
                  <a:lnTo>
                    <a:pt x="32" y="84"/>
                  </a:lnTo>
                  <a:lnTo>
                    <a:pt x="42" y="64"/>
                  </a:lnTo>
                  <a:lnTo>
                    <a:pt x="55" y="46"/>
                  </a:lnTo>
                  <a:lnTo>
                    <a:pt x="70" y="29"/>
                  </a:lnTo>
                  <a:lnTo>
                    <a:pt x="87" y="16"/>
                  </a:lnTo>
                  <a:lnTo>
                    <a:pt x="107" y="6"/>
                  </a:lnTo>
                  <a:lnTo>
                    <a:pt x="129" y="0"/>
                  </a:lnTo>
                  <a:lnTo>
                    <a:pt x="155" y="0"/>
                  </a:lnTo>
                  <a:close/>
                </a:path>
              </a:pathLst>
            </a:custGeom>
            <a:solidFill>
              <a:srgbClr val="FFAC88"/>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71" name="Freeform 436">
              <a:extLst>
                <a:ext uri="{FF2B5EF4-FFF2-40B4-BE49-F238E27FC236}">
                  <a16:creationId xmlns:a16="http://schemas.microsoft.com/office/drawing/2014/main" id="{298889BE-22B4-4347-9458-2869B702D417}"/>
                </a:ext>
              </a:extLst>
            </p:cNvPr>
            <p:cNvSpPr>
              <a:spLocks/>
            </p:cNvSpPr>
            <p:nvPr/>
          </p:nvSpPr>
          <p:spPr bwMode="gray">
            <a:xfrm>
              <a:off x="1402216" y="1701348"/>
              <a:ext cx="45176" cy="166201"/>
            </a:xfrm>
            <a:custGeom>
              <a:avLst/>
              <a:gdLst>
                <a:gd name="T0" fmla="*/ 54 w 81"/>
                <a:gd name="T1" fmla="*/ 0 h 298"/>
                <a:gd name="T2" fmla="*/ 57 w 81"/>
                <a:gd name="T3" fmla="*/ 0 h 298"/>
                <a:gd name="T4" fmla="*/ 62 w 81"/>
                <a:gd name="T5" fmla="*/ 0 h 298"/>
                <a:gd name="T6" fmla="*/ 63 w 81"/>
                <a:gd name="T7" fmla="*/ 0 h 298"/>
                <a:gd name="T8" fmla="*/ 70 w 81"/>
                <a:gd name="T9" fmla="*/ 10 h 298"/>
                <a:gd name="T10" fmla="*/ 75 w 81"/>
                <a:gd name="T11" fmla="*/ 23 h 298"/>
                <a:gd name="T12" fmla="*/ 79 w 81"/>
                <a:gd name="T13" fmla="*/ 40 h 298"/>
                <a:gd name="T14" fmla="*/ 81 w 81"/>
                <a:gd name="T15" fmla="*/ 59 h 298"/>
                <a:gd name="T16" fmla="*/ 80 w 81"/>
                <a:gd name="T17" fmla="*/ 82 h 298"/>
                <a:gd name="T18" fmla="*/ 76 w 81"/>
                <a:gd name="T19" fmla="*/ 110 h 298"/>
                <a:gd name="T20" fmla="*/ 76 w 81"/>
                <a:gd name="T21" fmla="*/ 128 h 298"/>
                <a:gd name="T22" fmla="*/ 79 w 81"/>
                <a:gd name="T23" fmla="*/ 149 h 298"/>
                <a:gd name="T24" fmla="*/ 80 w 81"/>
                <a:gd name="T25" fmla="*/ 170 h 298"/>
                <a:gd name="T26" fmla="*/ 77 w 81"/>
                <a:gd name="T27" fmla="*/ 191 h 298"/>
                <a:gd name="T28" fmla="*/ 72 w 81"/>
                <a:gd name="T29" fmla="*/ 221 h 298"/>
                <a:gd name="T30" fmla="*/ 68 w 81"/>
                <a:gd name="T31" fmla="*/ 245 h 298"/>
                <a:gd name="T32" fmla="*/ 63 w 81"/>
                <a:gd name="T33" fmla="*/ 264 h 298"/>
                <a:gd name="T34" fmla="*/ 58 w 81"/>
                <a:gd name="T35" fmla="*/ 278 h 298"/>
                <a:gd name="T36" fmla="*/ 48 w 81"/>
                <a:gd name="T37" fmla="*/ 289 h 298"/>
                <a:gd name="T38" fmla="*/ 34 w 81"/>
                <a:gd name="T39" fmla="*/ 295 h 298"/>
                <a:gd name="T40" fmla="*/ 18 w 81"/>
                <a:gd name="T41" fmla="*/ 298 h 298"/>
                <a:gd name="T42" fmla="*/ 0 w 81"/>
                <a:gd name="T43" fmla="*/ 296 h 298"/>
                <a:gd name="T44" fmla="*/ 15 w 81"/>
                <a:gd name="T45" fmla="*/ 292 h 298"/>
                <a:gd name="T46" fmla="*/ 24 w 81"/>
                <a:gd name="T47" fmla="*/ 285 h 298"/>
                <a:gd name="T48" fmla="*/ 31 w 81"/>
                <a:gd name="T49" fmla="*/ 273 h 298"/>
                <a:gd name="T50" fmla="*/ 38 w 81"/>
                <a:gd name="T51" fmla="*/ 260 h 298"/>
                <a:gd name="T52" fmla="*/ 40 w 81"/>
                <a:gd name="T53" fmla="*/ 245 h 298"/>
                <a:gd name="T54" fmla="*/ 43 w 81"/>
                <a:gd name="T55" fmla="*/ 231 h 298"/>
                <a:gd name="T56" fmla="*/ 45 w 81"/>
                <a:gd name="T57" fmla="*/ 218 h 298"/>
                <a:gd name="T58" fmla="*/ 47 w 81"/>
                <a:gd name="T59" fmla="*/ 208 h 298"/>
                <a:gd name="T60" fmla="*/ 48 w 81"/>
                <a:gd name="T61" fmla="*/ 201 h 298"/>
                <a:gd name="T62" fmla="*/ 57 w 81"/>
                <a:gd name="T63" fmla="*/ 201 h 298"/>
                <a:gd name="T64" fmla="*/ 65 w 81"/>
                <a:gd name="T65" fmla="*/ 201 h 298"/>
                <a:gd name="T66" fmla="*/ 71 w 81"/>
                <a:gd name="T67" fmla="*/ 196 h 298"/>
                <a:gd name="T68" fmla="*/ 71 w 81"/>
                <a:gd name="T69" fmla="*/ 191 h 298"/>
                <a:gd name="T70" fmla="*/ 68 w 81"/>
                <a:gd name="T71" fmla="*/ 181 h 298"/>
                <a:gd name="T72" fmla="*/ 65 w 81"/>
                <a:gd name="T73" fmla="*/ 168 h 298"/>
                <a:gd name="T74" fmla="*/ 59 w 81"/>
                <a:gd name="T75" fmla="*/ 153 h 298"/>
                <a:gd name="T76" fmla="*/ 56 w 81"/>
                <a:gd name="T77" fmla="*/ 135 h 298"/>
                <a:gd name="T78" fmla="*/ 53 w 81"/>
                <a:gd name="T79" fmla="*/ 117 h 298"/>
                <a:gd name="T80" fmla="*/ 54 w 81"/>
                <a:gd name="T81" fmla="*/ 100 h 298"/>
                <a:gd name="T82" fmla="*/ 57 w 81"/>
                <a:gd name="T83" fmla="*/ 78 h 298"/>
                <a:gd name="T84" fmla="*/ 56 w 81"/>
                <a:gd name="T85" fmla="*/ 55 h 298"/>
                <a:gd name="T86" fmla="*/ 51 w 81"/>
                <a:gd name="T87" fmla="*/ 32 h 298"/>
                <a:gd name="T88" fmla="*/ 43 w 81"/>
                <a:gd name="T89" fmla="*/ 10 h 298"/>
                <a:gd name="T90" fmla="*/ 45 w 81"/>
                <a:gd name="T91" fmla="*/ 6 h 298"/>
                <a:gd name="T92" fmla="*/ 47 w 81"/>
                <a:gd name="T93" fmla="*/ 2 h 298"/>
                <a:gd name="T94" fmla="*/ 48 w 81"/>
                <a:gd name="T95" fmla="*/ 1 h 298"/>
                <a:gd name="T96" fmla="*/ 49 w 81"/>
                <a:gd name="T97" fmla="*/ 0 h 298"/>
                <a:gd name="T98" fmla="*/ 52 w 81"/>
                <a:gd name="T99" fmla="*/ 0 h 298"/>
                <a:gd name="T100" fmla="*/ 54 w 81"/>
                <a:gd name="T101"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298">
                  <a:moveTo>
                    <a:pt x="54" y="0"/>
                  </a:moveTo>
                  <a:lnTo>
                    <a:pt x="57" y="0"/>
                  </a:lnTo>
                  <a:lnTo>
                    <a:pt x="62" y="0"/>
                  </a:lnTo>
                  <a:lnTo>
                    <a:pt x="63" y="0"/>
                  </a:lnTo>
                  <a:lnTo>
                    <a:pt x="70" y="10"/>
                  </a:lnTo>
                  <a:lnTo>
                    <a:pt x="75" y="23"/>
                  </a:lnTo>
                  <a:lnTo>
                    <a:pt x="79" y="40"/>
                  </a:lnTo>
                  <a:lnTo>
                    <a:pt x="81" y="59"/>
                  </a:lnTo>
                  <a:lnTo>
                    <a:pt x="80" y="82"/>
                  </a:lnTo>
                  <a:lnTo>
                    <a:pt x="76" y="110"/>
                  </a:lnTo>
                  <a:lnTo>
                    <a:pt x="76" y="128"/>
                  </a:lnTo>
                  <a:lnTo>
                    <a:pt x="79" y="149"/>
                  </a:lnTo>
                  <a:lnTo>
                    <a:pt x="80" y="170"/>
                  </a:lnTo>
                  <a:lnTo>
                    <a:pt x="77" y="191"/>
                  </a:lnTo>
                  <a:lnTo>
                    <a:pt x="72" y="221"/>
                  </a:lnTo>
                  <a:lnTo>
                    <a:pt x="68" y="245"/>
                  </a:lnTo>
                  <a:lnTo>
                    <a:pt x="63" y="264"/>
                  </a:lnTo>
                  <a:lnTo>
                    <a:pt x="58" y="278"/>
                  </a:lnTo>
                  <a:lnTo>
                    <a:pt x="48" y="289"/>
                  </a:lnTo>
                  <a:lnTo>
                    <a:pt x="34" y="295"/>
                  </a:lnTo>
                  <a:lnTo>
                    <a:pt x="18" y="298"/>
                  </a:lnTo>
                  <a:lnTo>
                    <a:pt x="0" y="296"/>
                  </a:lnTo>
                  <a:lnTo>
                    <a:pt x="15" y="292"/>
                  </a:lnTo>
                  <a:lnTo>
                    <a:pt x="24" y="285"/>
                  </a:lnTo>
                  <a:lnTo>
                    <a:pt x="31" y="273"/>
                  </a:lnTo>
                  <a:lnTo>
                    <a:pt x="38" y="260"/>
                  </a:lnTo>
                  <a:lnTo>
                    <a:pt x="40" y="245"/>
                  </a:lnTo>
                  <a:lnTo>
                    <a:pt x="43" y="231"/>
                  </a:lnTo>
                  <a:lnTo>
                    <a:pt x="45" y="218"/>
                  </a:lnTo>
                  <a:lnTo>
                    <a:pt x="47" y="208"/>
                  </a:lnTo>
                  <a:lnTo>
                    <a:pt x="48" y="201"/>
                  </a:lnTo>
                  <a:lnTo>
                    <a:pt x="57" y="201"/>
                  </a:lnTo>
                  <a:lnTo>
                    <a:pt x="65" y="201"/>
                  </a:lnTo>
                  <a:lnTo>
                    <a:pt x="71" y="196"/>
                  </a:lnTo>
                  <a:lnTo>
                    <a:pt x="71" y="191"/>
                  </a:lnTo>
                  <a:lnTo>
                    <a:pt x="68" y="181"/>
                  </a:lnTo>
                  <a:lnTo>
                    <a:pt x="65" y="168"/>
                  </a:lnTo>
                  <a:lnTo>
                    <a:pt x="59" y="153"/>
                  </a:lnTo>
                  <a:lnTo>
                    <a:pt x="56" y="135"/>
                  </a:lnTo>
                  <a:lnTo>
                    <a:pt x="53" y="117"/>
                  </a:lnTo>
                  <a:lnTo>
                    <a:pt x="54" y="100"/>
                  </a:lnTo>
                  <a:lnTo>
                    <a:pt x="57" y="78"/>
                  </a:lnTo>
                  <a:lnTo>
                    <a:pt x="56" y="55"/>
                  </a:lnTo>
                  <a:lnTo>
                    <a:pt x="51" y="32"/>
                  </a:lnTo>
                  <a:lnTo>
                    <a:pt x="43" y="10"/>
                  </a:lnTo>
                  <a:lnTo>
                    <a:pt x="45" y="6"/>
                  </a:lnTo>
                  <a:lnTo>
                    <a:pt x="47" y="2"/>
                  </a:lnTo>
                  <a:lnTo>
                    <a:pt x="48" y="1"/>
                  </a:lnTo>
                  <a:lnTo>
                    <a:pt x="49" y="0"/>
                  </a:lnTo>
                  <a:lnTo>
                    <a:pt x="52" y="0"/>
                  </a:lnTo>
                  <a:lnTo>
                    <a:pt x="54" y="0"/>
                  </a:lnTo>
                  <a:close/>
                </a:path>
              </a:pathLst>
            </a:custGeom>
            <a:solidFill>
              <a:srgbClr val="F29979"/>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72" name="Freeform 437">
              <a:extLst>
                <a:ext uri="{FF2B5EF4-FFF2-40B4-BE49-F238E27FC236}">
                  <a16:creationId xmlns:a16="http://schemas.microsoft.com/office/drawing/2014/main" id="{BE096952-E4A3-473E-9688-C047E9FC7E15}"/>
                </a:ext>
              </a:extLst>
            </p:cNvPr>
            <p:cNvSpPr>
              <a:spLocks/>
            </p:cNvSpPr>
            <p:nvPr/>
          </p:nvSpPr>
          <p:spPr bwMode="gray">
            <a:xfrm>
              <a:off x="1287325" y="1656730"/>
              <a:ext cx="167874" cy="165644"/>
            </a:xfrm>
            <a:custGeom>
              <a:avLst/>
              <a:gdLst>
                <a:gd name="T0" fmla="*/ 167 w 301"/>
                <a:gd name="T1" fmla="*/ 0 h 297"/>
                <a:gd name="T2" fmla="*/ 192 w 301"/>
                <a:gd name="T3" fmla="*/ 3 h 297"/>
                <a:gd name="T4" fmla="*/ 217 w 301"/>
                <a:gd name="T5" fmla="*/ 9 h 297"/>
                <a:gd name="T6" fmla="*/ 240 w 301"/>
                <a:gd name="T7" fmla="*/ 16 h 297"/>
                <a:gd name="T8" fmla="*/ 260 w 301"/>
                <a:gd name="T9" fmla="*/ 26 h 297"/>
                <a:gd name="T10" fmla="*/ 278 w 301"/>
                <a:gd name="T11" fmla="*/ 38 h 297"/>
                <a:gd name="T12" fmla="*/ 291 w 301"/>
                <a:gd name="T13" fmla="*/ 50 h 297"/>
                <a:gd name="T14" fmla="*/ 300 w 301"/>
                <a:gd name="T15" fmla="*/ 64 h 297"/>
                <a:gd name="T16" fmla="*/ 301 w 301"/>
                <a:gd name="T17" fmla="*/ 73 h 297"/>
                <a:gd name="T18" fmla="*/ 296 w 301"/>
                <a:gd name="T19" fmla="*/ 85 h 297"/>
                <a:gd name="T20" fmla="*/ 287 w 301"/>
                <a:gd name="T21" fmla="*/ 97 h 297"/>
                <a:gd name="T22" fmla="*/ 274 w 301"/>
                <a:gd name="T23" fmla="*/ 109 h 297"/>
                <a:gd name="T24" fmla="*/ 255 w 301"/>
                <a:gd name="T25" fmla="*/ 121 h 297"/>
                <a:gd name="T26" fmla="*/ 233 w 301"/>
                <a:gd name="T27" fmla="*/ 130 h 297"/>
                <a:gd name="T28" fmla="*/ 206 w 301"/>
                <a:gd name="T29" fmla="*/ 136 h 297"/>
                <a:gd name="T30" fmla="*/ 176 w 301"/>
                <a:gd name="T31" fmla="*/ 140 h 297"/>
                <a:gd name="T32" fmla="*/ 151 w 301"/>
                <a:gd name="T33" fmla="*/ 139 h 297"/>
                <a:gd name="T34" fmla="*/ 151 w 301"/>
                <a:gd name="T35" fmla="*/ 143 h 297"/>
                <a:gd name="T36" fmla="*/ 151 w 301"/>
                <a:gd name="T37" fmla="*/ 152 h 297"/>
                <a:gd name="T38" fmla="*/ 151 w 301"/>
                <a:gd name="T39" fmla="*/ 163 h 297"/>
                <a:gd name="T40" fmla="*/ 150 w 301"/>
                <a:gd name="T41" fmla="*/ 176 h 297"/>
                <a:gd name="T42" fmla="*/ 150 w 301"/>
                <a:gd name="T43" fmla="*/ 186 h 297"/>
                <a:gd name="T44" fmla="*/ 147 w 301"/>
                <a:gd name="T45" fmla="*/ 195 h 297"/>
                <a:gd name="T46" fmla="*/ 144 w 301"/>
                <a:gd name="T47" fmla="*/ 204 h 297"/>
                <a:gd name="T48" fmla="*/ 140 w 301"/>
                <a:gd name="T49" fmla="*/ 216 h 297"/>
                <a:gd name="T50" fmla="*/ 136 w 301"/>
                <a:gd name="T51" fmla="*/ 227 h 297"/>
                <a:gd name="T52" fmla="*/ 137 w 301"/>
                <a:gd name="T53" fmla="*/ 242 h 297"/>
                <a:gd name="T54" fmla="*/ 121 w 301"/>
                <a:gd name="T55" fmla="*/ 235 h 297"/>
                <a:gd name="T56" fmla="*/ 119 w 301"/>
                <a:gd name="T57" fmla="*/ 233 h 297"/>
                <a:gd name="T58" fmla="*/ 115 w 301"/>
                <a:gd name="T59" fmla="*/ 227 h 297"/>
                <a:gd name="T60" fmla="*/ 109 w 301"/>
                <a:gd name="T61" fmla="*/ 220 h 297"/>
                <a:gd name="T62" fmla="*/ 103 w 301"/>
                <a:gd name="T63" fmla="*/ 212 h 297"/>
                <a:gd name="T64" fmla="*/ 95 w 301"/>
                <a:gd name="T65" fmla="*/ 208 h 297"/>
                <a:gd name="T66" fmla="*/ 87 w 301"/>
                <a:gd name="T67" fmla="*/ 208 h 297"/>
                <a:gd name="T68" fmla="*/ 78 w 301"/>
                <a:gd name="T69" fmla="*/ 216 h 297"/>
                <a:gd name="T70" fmla="*/ 72 w 301"/>
                <a:gd name="T71" fmla="*/ 227 h 297"/>
                <a:gd name="T72" fmla="*/ 69 w 301"/>
                <a:gd name="T73" fmla="*/ 242 h 297"/>
                <a:gd name="T74" fmla="*/ 68 w 301"/>
                <a:gd name="T75" fmla="*/ 257 h 297"/>
                <a:gd name="T76" fmla="*/ 68 w 301"/>
                <a:gd name="T77" fmla="*/ 270 h 297"/>
                <a:gd name="T78" fmla="*/ 67 w 301"/>
                <a:gd name="T79" fmla="*/ 283 h 297"/>
                <a:gd name="T80" fmla="*/ 64 w 301"/>
                <a:gd name="T81" fmla="*/ 292 h 297"/>
                <a:gd name="T82" fmla="*/ 58 w 301"/>
                <a:gd name="T83" fmla="*/ 297 h 297"/>
                <a:gd name="T84" fmla="*/ 53 w 301"/>
                <a:gd name="T85" fmla="*/ 275 h 297"/>
                <a:gd name="T86" fmla="*/ 44 w 301"/>
                <a:gd name="T87" fmla="*/ 256 h 297"/>
                <a:gd name="T88" fmla="*/ 35 w 301"/>
                <a:gd name="T89" fmla="*/ 235 h 297"/>
                <a:gd name="T90" fmla="*/ 24 w 301"/>
                <a:gd name="T91" fmla="*/ 216 h 297"/>
                <a:gd name="T92" fmla="*/ 14 w 301"/>
                <a:gd name="T93" fmla="*/ 197 h 297"/>
                <a:gd name="T94" fmla="*/ 6 w 301"/>
                <a:gd name="T95" fmla="*/ 177 h 297"/>
                <a:gd name="T96" fmla="*/ 1 w 301"/>
                <a:gd name="T97" fmla="*/ 156 h 297"/>
                <a:gd name="T98" fmla="*/ 0 w 301"/>
                <a:gd name="T99" fmla="*/ 134 h 297"/>
                <a:gd name="T100" fmla="*/ 2 w 301"/>
                <a:gd name="T101" fmla="*/ 108 h 297"/>
                <a:gd name="T102" fmla="*/ 11 w 301"/>
                <a:gd name="T103" fmla="*/ 81 h 297"/>
                <a:gd name="T104" fmla="*/ 14 w 301"/>
                <a:gd name="T105" fmla="*/ 75 h 297"/>
                <a:gd name="T106" fmla="*/ 28 w 301"/>
                <a:gd name="T107" fmla="*/ 53 h 297"/>
                <a:gd name="T108" fmla="*/ 45 w 301"/>
                <a:gd name="T109" fmla="*/ 35 h 297"/>
                <a:gd name="T110" fmla="*/ 67 w 301"/>
                <a:gd name="T111" fmla="*/ 21 h 297"/>
                <a:gd name="T112" fmla="*/ 90 w 301"/>
                <a:gd name="T113" fmla="*/ 11 h 297"/>
                <a:gd name="T114" fmla="*/ 114 w 301"/>
                <a:gd name="T115" fmla="*/ 4 h 297"/>
                <a:gd name="T116" fmla="*/ 140 w 301"/>
                <a:gd name="T117" fmla="*/ 2 h 297"/>
                <a:gd name="T118" fmla="*/ 167 w 301"/>
                <a:gd name="T119"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1" h="297">
                  <a:moveTo>
                    <a:pt x="167" y="0"/>
                  </a:moveTo>
                  <a:lnTo>
                    <a:pt x="192" y="3"/>
                  </a:lnTo>
                  <a:lnTo>
                    <a:pt x="217" y="9"/>
                  </a:lnTo>
                  <a:lnTo>
                    <a:pt x="240" y="16"/>
                  </a:lnTo>
                  <a:lnTo>
                    <a:pt x="260" y="26"/>
                  </a:lnTo>
                  <a:lnTo>
                    <a:pt x="278" y="38"/>
                  </a:lnTo>
                  <a:lnTo>
                    <a:pt x="291" y="50"/>
                  </a:lnTo>
                  <a:lnTo>
                    <a:pt x="300" y="64"/>
                  </a:lnTo>
                  <a:lnTo>
                    <a:pt x="301" y="73"/>
                  </a:lnTo>
                  <a:lnTo>
                    <a:pt x="296" y="85"/>
                  </a:lnTo>
                  <a:lnTo>
                    <a:pt x="287" y="97"/>
                  </a:lnTo>
                  <a:lnTo>
                    <a:pt x="274" y="109"/>
                  </a:lnTo>
                  <a:lnTo>
                    <a:pt x="255" y="121"/>
                  </a:lnTo>
                  <a:lnTo>
                    <a:pt x="233" y="130"/>
                  </a:lnTo>
                  <a:lnTo>
                    <a:pt x="206" y="136"/>
                  </a:lnTo>
                  <a:lnTo>
                    <a:pt x="176" y="140"/>
                  </a:lnTo>
                  <a:lnTo>
                    <a:pt x="151" y="139"/>
                  </a:lnTo>
                  <a:lnTo>
                    <a:pt x="151" y="143"/>
                  </a:lnTo>
                  <a:lnTo>
                    <a:pt x="151" y="152"/>
                  </a:lnTo>
                  <a:lnTo>
                    <a:pt x="151" y="163"/>
                  </a:lnTo>
                  <a:lnTo>
                    <a:pt x="150" y="176"/>
                  </a:lnTo>
                  <a:lnTo>
                    <a:pt x="150" y="186"/>
                  </a:lnTo>
                  <a:lnTo>
                    <a:pt x="147" y="195"/>
                  </a:lnTo>
                  <a:lnTo>
                    <a:pt x="144" y="204"/>
                  </a:lnTo>
                  <a:lnTo>
                    <a:pt x="140" y="216"/>
                  </a:lnTo>
                  <a:lnTo>
                    <a:pt x="136" y="227"/>
                  </a:lnTo>
                  <a:lnTo>
                    <a:pt x="137" y="242"/>
                  </a:lnTo>
                  <a:lnTo>
                    <a:pt x="121" y="235"/>
                  </a:lnTo>
                  <a:lnTo>
                    <a:pt x="119" y="233"/>
                  </a:lnTo>
                  <a:lnTo>
                    <a:pt x="115" y="227"/>
                  </a:lnTo>
                  <a:lnTo>
                    <a:pt x="109" y="220"/>
                  </a:lnTo>
                  <a:lnTo>
                    <a:pt x="103" y="212"/>
                  </a:lnTo>
                  <a:lnTo>
                    <a:pt x="95" y="208"/>
                  </a:lnTo>
                  <a:lnTo>
                    <a:pt x="87" y="208"/>
                  </a:lnTo>
                  <a:lnTo>
                    <a:pt x="78" y="216"/>
                  </a:lnTo>
                  <a:lnTo>
                    <a:pt x="72" y="227"/>
                  </a:lnTo>
                  <a:lnTo>
                    <a:pt x="69" y="242"/>
                  </a:lnTo>
                  <a:lnTo>
                    <a:pt x="68" y="257"/>
                  </a:lnTo>
                  <a:lnTo>
                    <a:pt x="68" y="270"/>
                  </a:lnTo>
                  <a:lnTo>
                    <a:pt x="67" y="283"/>
                  </a:lnTo>
                  <a:lnTo>
                    <a:pt x="64" y="292"/>
                  </a:lnTo>
                  <a:lnTo>
                    <a:pt x="58" y="297"/>
                  </a:lnTo>
                  <a:lnTo>
                    <a:pt x="53" y="275"/>
                  </a:lnTo>
                  <a:lnTo>
                    <a:pt x="44" y="256"/>
                  </a:lnTo>
                  <a:lnTo>
                    <a:pt x="35" y="235"/>
                  </a:lnTo>
                  <a:lnTo>
                    <a:pt x="24" y="216"/>
                  </a:lnTo>
                  <a:lnTo>
                    <a:pt x="14" y="197"/>
                  </a:lnTo>
                  <a:lnTo>
                    <a:pt x="6" y="177"/>
                  </a:lnTo>
                  <a:lnTo>
                    <a:pt x="1" y="156"/>
                  </a:lnTo>
                  <a:lnTo>
                    <a:pt x="0" y="134"/>
                  </a:lnTo>
                  <a:lnTo>
                    <a:pt x="2" y="108"/>
                  </a:lnTo>
                  <a:lnTo>
                    <a:pt x="11" y="81"/>
                  </a:lnTo>
                  <a:lnTo>
                    <a:pt x="14" y="75"/>
                  </a:lnTo>
                  <a:lnTo>
                    <a:pt x="28" y="53"/>
                  </a:lnTo>
                  <a:lnTo>
                    <a:pt x="45" y="35"/>
                  </a:lnTo>
                  <a:lnTo>
                    <a:pt x="67" y="21"/>
                  </a:lnTo>
                  <a:lnTo>
                    <a:pt x="90" y="11"/>
                  </a:lnTo>
                  <a:lnTo>
                    <a:pt x="114" y="4"/>
                  </a:lnTo>
                  <a:lnTo>
                    <a:pt x="140" y="2"/>
                  </a:lnTo>
                  <a:lnTo>
                    <a:pt x="167" y="0"/>
                  </a:lnTo>
                  <a:close/>
                </a:path>
              </a:pathLst>
            </a:custGeom>
            <a:solidFill>
              <a:srgbClr val="8D6E63"/>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73" name="Freeform 438">
              <a:extLst>
                <a:ext uri="{FF2B5EF4-FFF2-40B4-BE49-F238E27FC236}">
                  <a16:creationId xmlns:a16="http://schemas.microsoft.com/office/drawing/2014/main" id="{3BD22A74-5BDC-4CCA-BE57-32BB500ADD1F}"/>
                </a:ext>
              </a:extLst>
            </p:cNvPr>
            <p:cNvSpPr>
              <a:spLocks/>
            </p:cNvSpPr>
            <p:nvPr/>
          </p:nvSpPr>
          <p:spPr bwMode="gray">
            <a:xfrm>
              <a:off x="1303499" y="1846356"/>
              <a:ext cx="87005" cy="84774"/>
            </a:xfrm>
            <a:custGeom>
              <a:avLst/>
              <a:gdLst>
                <a:gd name="T0" fmla="*/ 31 w 156"/>
                <a:gd name="T1" fmla="*/ 0 h 152"/>
                <a:gd name="T2" fmla="*/ 31 w 156"/>
                <a:gd name="T3" fmla="*/ 3 h 152"/>
                <a:gd name="T4" fmla="*/ 34 w 156"/>
                <a:gd name="T5" fmla="*/ 7 h 152"/>
                <a:gd name="T6" fmla="*/ 38 w 156"/>
                <a:gd name="T7" fmla="*/ 14 h 152"/>
                <a:gd name="T8" fmla="*/ 45 w 156"/>
                <a:gd name="T9" fmla="*/ 25 h 152"/>
                <a:gd name="T10" fmla="*/ 57 w 156"/>
                <a:gd name="T11" fmla="*/ 36 h 152"/>
                <a:gd name="T12" fmla="*/ 72 w 156"/>
                <a:gd name="T13" fmla="*/ 49 h 152"/>
                <a:gd name="T14" fmla="*/ 94 w 156"/>
                <a:gd name="T15" fmla="*/ 62 h 152"/>
                <a:gd name="T16" fmla="*/ 121 w 156"/>
                <a:gd name="T17" fmla="*/ 76 h 152"/>
                <a:gd name="T18" fmla="*/ 156 w 156"/>
                <a:gd name="T19" fmla="*/ 89 h 152"/>
                <a:gd name="T20" fmla="*/ 133 w 156"/>
                <a:gd name="T21" fmla="*/ 109 h 152"/>
                <a:gd name="T22" fmla="*/ 116 w 156"/>
                <a:gd name="T23" fmla="*/ 130 h 152"/>
                <a:gd name="T24" fmla="*/ 100 w 156"/>
                <a:gd name="T25" fmla="*/ 152 h 152"/>
                <a:gd name="T26" fmla="*/ 98 w 156"/>
                <a:gd name="T27" fmla="*/ 150 h 152"/>
                <a:gd name="T28" fmla="*/ 89 w 156"/>
                <a:gd name="T29" fmla="*/ 147 h 152"/>
                <a:gd name="T30" fmla="*/ 77 w 156"/>
                <a:gd name="T31" fmla="*/ 140 h 152"/>
                <a:gd name="T32" fmla="*/ 62 w 156"/>
                <a:gd name="T33" fmla="*/ 130 h 152"/>
                <a:gd name="T34" fmla="*/ 47 w 156"/>
                <a:gd name="T35" fmla="*/ 114 h 152"/>
                <a:gd name="T36" fmla="*/ 30 w 156"/>
                <a:gd name="T37" fmla="*/ 95 h 152"/>
                <a:gd name="T38" fmla="*/ 15 w 156"/>
                <a:gd name="T39" fmla="*/ 71 h 152"/>
                <a:gd name="T40" fmla="*/ 0 w 156"/>
                <a:gd name="T41" fmla="*/ 41 h 152"/>
                <a:gd name="T42" fmla="*/ 31 w 156"/>
                <a:gd name="T4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6" h="152">
                  <a:moveTo>
                    <a:pt x="31" y="0"/>
                  </a:moveTo>
                  <a:lnTo>
                    <a:pt x="31" y="3"/>
                  </a:lnTo>
                  <a:lnTo>
                    <a:pt x="34" y="7"/>
                  </a:lnTo>
                  <a:lnTo>
                    <a:pt x="38" y="14"/>
                  </a:lnTo>
                  <a:lnTo>
                    <a:pt x="45" y="25"/>
                  </a:lnTo>
                  <a:lnTo>
                    <a:pt x="57" y="36"/>
                  </a:lnTo>
                  <a:lnTo>
                    <a:pt x="72" y="49"/>
                  </a:lnTo>
                  <a:lnTo>
                    <a:pt x="94" y="62"/>
                  </a:lnTo>
                  <a:lnTo>
                    <a:pt x="121" y="76"/>
                  </a:lnTo>
                  <a:lnTo>
                    <a:pt x="156" y="89"/>
                  </a:lnTo>
                  <a:lnTo>
                    <a:pt x="133" y="109"/>
                  </a:lnTo>
                  <a:lnTo>
                    <a:pt x="116" y="130"/>
                  </a:lnTo>
                  <a:lnTo>
                    <a:pt x="100" y="152"/>
                  </a:lnTo>
                  <a:lnTo>
                    <a:pt x="98" y="150"/>
                  </a:lnTo>
                  <a:lnTo>
                    <a:pt x="89" y="147"/>
                  </a:lnTo>
                  <a:lnTo>
                    <a:pt x="77" y="140"/>
                  </a:lnTo>
                  <a:lnTo>
                    <a:pt x="62" y="130"/>
                  </a:lnTo>
                  <a:lnTo>
                    <a:pt x="47" y="114"/>
                  </a:lnTo>
                  <a:lnTo>
                    <a:pt x="30" y="95"/>
                  </a:lnTo>
                  <a:lnTo>
                    <a:pt x="15" y="71"/>
                  </a:lnTo>
                  <a:lnTo>
                    <a:pt x="0" y="41"/>
                  </a:lnTo>
                  <a:lnTo>
                    <a:pt x="31" y="0"/>
                  </a:lnTo>
                  <a:close/>
                </a:path>
              </a:pathLst>
            </a:custGeom>
            <a:solidFill>
              <a:srgbClr val="FFFFFF"/>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74" name="Freeform 559">
              <a:extLst>
                <a:ext uri="{FF2B5EF4-FFF2-40B4-BE49-F238E27FC236}">
                  <a16:creationId xmlns:a16="http://schemas.microsoft.com/office/drawing/2014/main" id="{1E575B89-4881-4598-A320-9A6BCB687A01}"/>
                </a:ext>
              </a:extLst>
            </p:cNvPr>
            <p:cNvSpPr>
              <a:spLocks/>
            </p:cNvSpPr>
            <p:nvPr/>
          </p:nvSpPr>
          <p:spPr bwMode="gray">
            <a:xfrm>
              <a:off x="1210917" y="1873684"/>
              <a:ext cx="192972" cy="353618"/>
            </a:xfrm>
            <a:custGeom>
              <a:avLst/>
              <a:gdLst>
                <a:gd name="connsiteX0" fmla="*/ 95880 w 225676"/>
                <a:gd name="connsiteY0" fmla="*/ 0 h 413548"/>
                <a:gd name="connsiteX1" fmla="*/ 100445 w 225676"/>
                <a:gd name="connsiteY1" fmla="*/ 0 h 413548"/>
                <a:gd name="connsiteX2" fmla="*/ 106968 w 225676"/>
                <a:gd name="connsiteY2" fmla="*/ 3261 h 413548"/>
                <a:gd name="connsiteX3" fmla="*/ 115447 w 225676"/>
                <a:gd name="connsiteY3" fmla="*/ 11088 h 413548"/>
                <a:gd name="connsiteX4" fmla="*/ 124578 w 225676"/>
                <a:gd name="connsiteY4" fmla="*/ 20872 h 413548"/>
                <a:gd name="connsiteX5" fmla="*/ 135014 w 225676"/>
                <a:gd name="connsiteY5" fmla="*/ 35221 h 413548"/>
                <a:gd name="connsiteX6" fmla="*/ 146102 w 225676"/>
                <a:gd name="connsiteY6" fmla="*/ 50875 h 413548"/>
                <a:gd name="connsiteX7" fmla="*/ 157843 w 225676"/>
                <a:gd name="connsiteY7" fmla="*/ 70442 h 413548"/>
                <a:gd name="connsiteX8" fmla="*/ 169583 w 225676"/>
                <a:gd name="connsiteY8" fmla="*/ 91314 h 413548"/>
                <a:gd name="connsiteX9" fmla="*/ 180671 w 225676"/>
                <a:gd name="connsiteY9" fmla="*/ 115447 h 413548"/>
                <a:gd name="connsiteX10" fmla="*/ 190455 w 225676"/>
                <a:gd name="connsiteY10" fmla="*/ 141537 h 413548"/>
                <a:gd name="connsiteX11" fmla="*/ 199586 w 225676"/>
                <a:gd name="connsiteY11" fmla="*/ 168931 h 413548"/>
                <a:gd name="connsiteX12" fmla="*/ 207413 w 225676"/>
                <a:gd name="connsiteY12" fmla="*/ 197629 h 413548"/>
                <a:gd name="connsiteX13" fmla="*/ 212631 w 225676"/>
                <a:gd name="connsiteY13" fmla="*/ 228285 h 413548"/>
                <a:gd name="connsiteX14" fmla="*/ 213283 w 225676"/>
                <a:gd name="connsiteY14" fmla="*/ 231546 h 413548"/>
                <a:gd name="connsiteX15" fmla="*/ 213936 w 225676"/>
                <a:gd name="connsiteY15" fmla="*/ 240025 h 413548"/>
                <a:gd name="connsiteX16" fmla="*/ 215892 w 225676"/>
                <a:gd name="connsiteY16" fmla="*/ 251766 h 413548"/>
                <a:gd name="connsiteX17" fmla="*/ 217197 w 225676"/>
                <a:gd name="connsiteY17" fmla="*/ 266767 h 413548"/>
                <a:gd name="connsiteX18" fmla="*/ 219154 w 225676"/>
                <a:gd name="connsiteY18" fmla="*/ 284378 h 413548"/>
                <a:gd name="connsiteX19" fmla="*/ 220458 w 225676"/>
                <a:gd name="connsiteY19" fmla="*/ 303945 h 413548"/>
                <a:gd name="connsiteX20" fmla="*/ 222415 w 225676"/>
                <a:gd name="connsiteY20" fmla="*/ 324165 h 413548"/>
                <a:gd name="connsiteX21" fmla="*/ 223719 w 225676"/>
                <a:gd name="connsiteY21" fmla="*/ 343732 h 413548"/>
                <a:gd name="connsiteX22" fmla="*/ 225024 w 225676"/>
                <a:gd name="connsiteY22" fmla="*/ 363951 h 413548"/>
                <a:gd name="connsiteX23" fmla="*/ 225676 w 225676"/>
                <a:gd name="connsiteY23" fmla="*/ 382214 h 413548"/>
                <a:gd name="connsiteX24" fmla="*/ 225024 w 225676"/>
                <a:gd name="connsiteY24" fmla="*/ 399172 h 413548"/>
                <a:gd name="connsiteX25" fmla="*/ 224346 w 225676"/>
                <a:gd name="connsiteY25" fmla="*/ 406631 h 413548"/>
                <a:gd name="connsiteX26" fmla="*/ 46828 w 225676"/>
                <a:gd name="connsiteY26" fmla="*/ 413502 h 413548"/>
                <a:gd name="connsiteX27" fmla="*/ 45647 w 225676"/>
                <a:gd name="connsiteY27" fmla="*/ 413548 h 413548"/>
                <a:gd name="connsiteX28" fmla="*/ 45657 w 225676"/>
                <a:gd name="connsiteY28" fmla="*/ 413522 h 413548"/>
                <a:gd name="connsiteX29" fmla="*/ 48918 w 225676"/>
                <a:gd name="connsiteY29" fmla="*/ 405043 h 413548"/>
                <a:gd name="connsiteX30" fmla="*/ 52179 w 225676"/>
                <a:gd name="connsiteY30" fmla="*/ 395911 h 413548"/>
                <a:gd name="connsiteX31" fmla="*/ 54136 w 225676"/>
                <a:gd name="connsiteY31" fmla="*/ 386128 h 413548"/>
                <a:gd name="connsiteX32" fmla="*/ 54136 w 225676"/>
                <a:gd name="connsiteY32" fmla="*/ 373083 h 413548"/>
                <a:gd name="connsiteX33" fmla="*/ 54136 w 225676"/>
                <a:gd name="connsiteY33" fmla="*/ 355472 h 413548"/>
                <a:gd name="connsiteX34" fmla="*/ 54136 w 225676"/>
                <a:gd name="connsiteY34" fmla="*/ 334600 h 413548"/>
                <a:gd name="connsiteX35" fmla="*/ 54136 w 225676"/>
                <a:gd name="connsiteY35" fmla="*/ 309815 h 413548"/>
                <a:gd name="connsiteX36" fmla="*/ 54136 w 225676"/>
                <a:gd name="connsiteY36" fmla="*/ 283725 h 413548"/>
                <a:gd name="connsiteX37" fmla="*/ 54136 w 225676"/>
                <a:gd name="connsiteY37" fmla="*/ 256331 h 413548"/>
                <a:gd name="connsiteX38" fmla="*/ 53484 w 225676"/>
                <a:gd name="connsiteY38" fmla="*/ 229589 h 413548"/>
                <a:gd name="connsiteX39" fmla="*/ 52179 w 225676"/>
                <a:gd name="connsiteY39" fmla="*/ 201543 h 413548"/>
                <a:gd name="connsiteX40" fmla="*/ 50875 w 225676"/>
                <a:gd name="connsiteY40" fmla="*/ 176758 h 413548"/>
                <a:gd name="connsiteX41" fmla="*/ 48918 w 225676"/>
                <a:gd name="connsiteY41" fmla="*/ 153277 h 413548"/>
                <a:gd name="connsiteX42" fmla="*/ 45657 w 225676"/>
                <a:gd name="connsiteY42" fmla="*/ 133057 h 413548"/>
                <a:gd name="connsiteX43" fmla="*/ 42396 w 225676"/>
                <a:gd name="connsiteY43" fmla="*/ 117404 h 413548"/>
                <a:gd name="connsiteX44" fmla="*/ 36526 w 225676"/>
                <a:gd name="connsiteY44" fmla="*/ 100445 h 413548"/>
                <a:gd name="connsiteX45" fmla="*/ 29351 w 225676"/>
                <a:gd name="connsiteY45" fmla="*/ 86096 h 413548"/>
                <a:gd name="connsiteX46" fmla="*/ 20872 w 225676"/>
                <a:gd name="connsiteY46" fmla="*/ 75660 h 413548"/>
                <a:gd name="connsiteX47" fmla="*/ 13045 w 225676"/>
                <a:gd name="connsiteY47" fmla="*/ 65877 h 413548"/>
                <a:gd name="connsiteX48" fmla="*/ 6522 w 225676"/>
                <a:gd name="connsiteY48" fmla="*/ 60006 h 413548"/>
                <a:gd name="connsiteX49" fmla="*/ 1305 w 225676"/>
                <a:gd name="connsiteY49" fmla="*/ 56093 h 413548"/>
                <a:gd name="connsiteX50" fmla="*/ 0 w 225676"/>
                <a:gd name="connsiteY50" fmla="*/ 53484 h 413548"/>
                <a:gd name="connsiteX51" fmla="*/ 21524 w 225676"/>
                <a:gd name="connsiteY51" fmla="*/ 41091 h 413548"/>
                <a:gd name="connsiteX52" fmla="*/ 46309 w 225676"/>
                <a:gd name="connsiteY52" fmla="*/ 27394 h 413548"/>
                <a:gd name="connsiteX53" fmla="*/ 71747 w 225676"/>
                <a:gd name="connsiteY53" fmla="*/ 13697 h 413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25676" h="413548">
                  <a:moveTo>
                    <a:pt x="95880" y="0"/>
                  </a:moveTo>
                  <a:lnTo>
                    <a:pt x="100445" y="0"/>
                  </a:lnTo>
                  <a:lnTo>
                    <a:pt x="106968" y="3261"/>
                  </a:lnTo>
                  <a:lnTo>
                    <a:pt x="115447" y="11088"/>
                  </a:lnTo>
                  <a:lnTo>
                    <a:pt x="124578" y="20872"/>
                  </a:lnTo>
                  <a:lnTo>
                    <a:pt x="135014" y="35221"/>
                  </a:lnTo>
                  <a:lnTo>
                    <a:pt x="146102" y="50875"/>
                  </a:lnTo>
                  <a:lnTo>
                    <a:pt x="157843" y="70442"/>
                  </a:lnTo>
                  <a:lnTo>
                    <a:pt x="169583" y="91314"/>
                  </a:lnTo>
                  <a:lnTo>
                    <a:pt x="180671" y="115447"/>
                  </a:lnTo>
                  <a:lnTo>
                    <a:pt x="190455" y="141537"/>
                  </a:lnTo>
                  <a:lnTo>
                    <a:pt x="199586" y="168931"/>
                  </a:lnTo>
                  <a:lnTo>
                    <a:pt x="207413" y="197629"/>
                  </a:lnTo>
                  <a:lnTo>
                    <a:pt x="212631" y="228285"/>
                  </a:lnTo>
                  <a:lnTo>
                    <a:pt x="213283" y="231546"/>
                  </a:lnTo>
                  <a:lnTo>
                    <a:pt x="213936" y="240025"/>
                  </a:lnTo>
                  <a:lnTo>
                    <a:pt x="215892" y="251766"/>
                  </a:lnTo>
                  <a:lnTo>
                    <a:pt x="217197" y="266767"/>
                  </a:lnTo>
                  <a:lnTo>
                    <a:pt x="219154" y="284378"/>
                  </a:lnTo>
                  <a:lnTo>
                    <a:pt x="220458" y="303945"/>
                  </a:lnTo>
                  <a:lnTo>
                    <a:pt x="222415" y="324165"/>
                  </a:lnTo>
                  <a:lnTo>
                    <a:pt x="223719" y="343732"/>
                  </a:lnTo>
                  <a:lnTo>
                    <a:pt x="225024" y="363951"/>
                  </a:lnTo>
                  <a:lnTo>
                    <a:pt x="225676" y="382214"/>
                  </a:lnTo>
                  <a:lnTo>
                    <a:pt x="225024" y="399172"/>
                  </a:lnTo>
                  <a:lnTo>
                    <a:pt x="224346" y="406631"/>
                  </a:lnTo>
                  <a:lnTo>
                    <a:pt x="46828" y="413502"/>
                  </a:lnTo>
                  <a:lnTo>
                    <a:pt x="45647" y="413548"/>
                  </a:lnTo>
                  <a:lnTo>
                    <a:pt x="45657" y="413522"/>
                  </a:lnTo>
                  <a:lnTo>
                    <a:pt x="48918" y="405043"/>
                  </a:lnTo>
                  <a:lnTo>
                    <a:pt x="52179" y="395911"/>
                  </a:lnTo>
                  <a:lnTo>
                    <a:pt x="54136" y="386128"/>
                  </a:lnTo>
                  <a:lnTo>
                    <a:pt x="54136" y="373083"/>
                  </a:lnTo>
                  <a:lnTo>
                    <a:pt x="54136" y="355472"/>
                  </a:lnTo>
                  <a:lnTo>
                    <a:pt x="54136" y="334600"/>
                  </a:lnTo>
                  <a:lnTo>
                    <a:pt x="54136" y="309815"/>
                  </a:lnTo>
                  <a:lnTo>
                    <a:pt x="54136" y="283725"/>
                  </a:lnTo>
                  <a:lnTo>
                    <a:pt x="54136" y="256331"/>
                  </a:lnTo>
                  <a:lnTo>
                    <a:pt x="53484" y="229589"/>
                  </a:lnTo>
                  <a:lnTo>
                    <a:pt x="52179" y="201543"/>
                  </a:lnTo>
                  <a:lnTo>
                    <a:pt x="50875" y="176758"/>
                  </a:lnTo>
                  <a:lnTo>
                    <a:pt x="48918" y="153277"/>
                  </a:lnTo>
                  <a:lnTo>
                    <a:pt x="45657" y="133057"/>
                  </a:lnTo>
                  <a:lnTo>
                    <a:pt x="42396" y="117404"/>
                  </a:lnTo>
                  <a:lnTo>
                    <a:pt x="36526" y="100445"/>
                  </a:lnTo>
                  <a:lnTo>
                    <a:pt x="29351" y="86096"/>
                  </a:lnTo>
                  <a:lnTo>
                    <a:pt x="20872" y="75660"/>
                  </a:lnTo>
                  <a:lnTo>
                    <a:pt x="13045" y="65877"/>
                  </a:lnTo>
                  <a:lnTo>
                    <a:pt x="6522" y="60006"/>
                  </a:lnTo>
                  <a:lnTo>
                    <a:pt x="1305" y="56093"/>
                  </a:lnTo>
                  <a:lnTo>
                    <a:pt x="0" y="53484"/>
                  </a:lnTo>
                  <a:lnTo>
                    <a:pt x="21524" y="41091"/>
                  </a:lnTo>
                  <a:lnTo>
                    <a:pt x="46309" y="27394"/>
                  </a:lnTo>
                  <a:lnTo>
                    <a:pt x="71747" y="13697"/>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75" name="Freeform 441">
              <a:extLst>
                <a:ext uri="{FF2B5EF4-FFF2-40B4-BE49-F238E27FC236}">
                  <a16:creationId xmlns:a16="http://schemas.microsoft.com/office/drawing/2014/main" id="{588C58A8-78C5-48C0-ABF2-A9C61AD5BC46}"/>
                </a:ext>
              </a:extLst>
            </p:cNvPr>
            <p:cNvSpPr>
              <a:spLocks/>
            </p:cNvSpPr>
            <p:nvPr/>
          </p:nvSpPr>
          <p:spPr bwMode="gray">
            <a:xfrm>
              <a:off x="1292902" y="1857509"/>
              <a:ext cx="103179" cy="258783"/>
            </a:xfrm>
            <a:custGeom>
              <a:avLst/>
              <a:gdLst>
                <a:gd name="T0" fmla="*/ 36 w 185"/>
                <a:gd name="T1" fmla="*/ 0 h 464"/>
                <a:gd name="T2" fmla="*/ 50 w 185"/>
                <a:gd name="T3" fmla="*/ 25 h 464"/>
                <a:gd name="T4" fmla="*/ 67 w 185"/>
                <a:gd name="T5" fmla="*/ 50 h 464"/>
                <a:gd name="T6" fmla="*/ 87 w 185"/>
                <a:gd name="T7" fmla="*/ 74 h 464"/>
                <a:gd name="T8" fmla="*/ 107 w 185"/>
                <a:gd name="T9" fmla="*/ 100 h 464"/>
                <a:gd name="T10" fmla="*/ 127 w 185"/>
                <a:gd name="T11" fmla="*/ 128 h 464"/>
                <a:gd name="T12" fmla="*/ 144 w 185"/>
                <a:gd name="T13" fmla="*/ 159 h 464"/>
                <a:gd name="T14" fmla="*/ 155 w 185"/>
                <a:gd name="T15" fmla="*/ 189 h 464"/>
                <a:gd name="T16" fmla="*/ 163 w 185"/>
                <a:gd name="T17" fmla="*/ 225 h 464"/>
                <a:gd name="T18" fmla="*/ 170 w 185"/>
                <a:gd name="T19" fmla="*/ 265 h 464"/>
                <a:gd name="T20" fmla="*/ 173 w 185"/>
                <a:gd name="T21" fmla="*/ 306 h 464"/>
                <a:gd name="T22" fmla="*/ 176 w 185"/>
                <a:gd name="T23" fmla="*/ 349 h 464"/>
                <a:gd name="T24" fmla="*/ 179 w 185"/>
                <a:gd name="T25" fmla="*/ 390 h 464"/>
                <a:gd name="T26" fmla="*/ 182 w 185"/>
                <a:gd name="T27" fmla="*/ 428 h 464"/>
                <a:gd name="T28" fmla="*/ 185 w 185"/>
                <a:gd name="T29" fmla="*/ 464 h 464"/>
                <a:gd name="T30" fmla="*/ 171 w 185"/>
                <a:gd name="T31" fmla="*/ 415 h 464"/>
                <a:gd name="T32" fmla="*/ 158 w 185"/>
                <a:gd name="T33" fmla="*/ 373 h 464"/>
                <a:gd name="T34" fmla="*/ 145 w 185"/>
                <a:gd name="T35" fmla="*/ 336 h 464"/>
                <a:gd name="T36" fmla="*/ 134 w 185"/>
                <a:gd name="T37" fmla="*/ 302 h 464"/>
                <a:gd name="T38" fmla="*/ 122 w 185"/>
                <a:gd name="T39" fmla="*/ 272 h 464"/>
                <a:gd name="T40" fmla="*/ 109 w 185"/>
                <a:gd name="T41" fmla="*/ 243 h 464"/>
                <a:gd name="T42" fmla="*/ 98 w 185"/>
                <a:gd name="T43" fmla="*/ 215 h 464"/>
                <a:gd name="T44" fmla="*/ 86 w 185"/>
                <a:gd name="T45" fmla="*/ 187 h 464"/>
                <a:gd name="T46" fmla="*/ 73 w 185"/>
                <a:gd name="T47" fmla="*/ 157 h 464"/>
                <a:gd name="T48" fmla="*/ 75 w 185"/>
                <a:gd name="T49" fmla="*/ 155 h 464"/>
                <a:gd name="T50" fmla="*/ 78 w 185"/>
                <a:gd name="T51" fmla="*/ 147 h 464"/>
                <a:gd name="T52" fmla="*/ 84 w 185"/>
                <a:gd name="T53" fmla="*/ 138 h 464"/>
                <a:gd name="T54" fmla="*/ 87 w 185"/>
                <a:gd name="T55" fmla="*/ 130 h 464"/>
                <a:gd name="T56" fmla="*/ 87 w 185"/>
                <a:gd name="T57" fmla="*/ 124 h 464"/>
                <a:gd name="T58" fmla="*/ 84 w 185"/>
                <a:gd name="T59" fmla="*/ 121 h 464"/>
                <a:gd name="T60" fmla="*/ 77 w 185"/>
                <a:gd name="T61" fmla="*/ 123 h 464"/>
                <a:gd name="T62" fmla="*/ 71 w 185"/>
                <a:gd name="T63" fmla="*/ 125 h 464"/>
                <a:gd name="T64" fmla="*/ 63 w 185"/>
                <a:gd name="T65" fmla="*/ 129 h 464"/>
                <a:gd name="T66" fmla="*/ 58 w 185"/>
                <a:gd name="T67" fmla="*/ 130 h 464"/>
                <a:gd name="T68" fmla="*/ 53 w 185"/>
                <a:gd name="T69" fmla="*/ 128 h 464"/>
                <a:gd name="T70" fmla="*/ 39 w 185"/>
                <a:gd name="T71" fmla="*/ 103 h 464"/>
                <a:gd name="T72" fmla="*/ 23 w 185"/>
                <a:gd name="T73" fmla="*/ 78 h 464"/>
                <a:gd name="T74" fmla="*/ 9 w 185"/>
                <a:gd name="T75" fmla="*/ 52 h 464"/>
                <a:gd name="T76" fmla="*/ 0 w 185"/>
                <a:gd name="T77" fmla="*/ 29 h 464"/>
                <a:gd name="T78" fmla="*/ 36 w 185"/>
                <a:gd name="T79"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5" h="464">
                  <a:moveTo>
                    <a:pt x="36" y="0"/>
                  </a:moveTo>
                  <a:lnTo>
                    <a:pt x="50" y="25"/>
                  </a:lnTo>
                  <a:lnTo>
                    <a:pt x="67" y="50"/>
                  </a:lnTo>
                  <a:lnTo>
                    <a:pt x="87" y="74"/>
                  </a:lnTo>
                  <a:lnTo>
                    <a:pt x="107" y="100"/>
                  </a:lnTo>
                  <a:lnTo>
                    <a:pt x="127" y="128"/>
                  </a:lnTo>
                  <a:lnTo>
                    <a:pt x="144" y="159"/>
                  </a:lnTo>
                  <a:lnTo>
                    <a:pt x="155" y="189"/>
                  </a:lnTo>
                  <a:lnTo>
                    <a:pt x="163" y="225"/>
                  </a:lnTo>
                  <a:lnTo>
                    <a:pt x="170" y="265"/>
                  </a:lnTo>
                  <a:lnTo>
                    <a:pt x="173" y="306"/>
                  </a:lnTo>
                  <a:lnTo>
                    <a:pt x="176" y="349"/>
                  </a:lnTo>
                  <a:lnTo>
                    <a:pt x="179" y="390"/>
                  </a:lnTo>
                  <a:lnTo>
                    <a:pt x="182" y="428"/>
                  </a:lnTo>
                  <a:lnTo>
                    <a:pt x="185" y="464"/>
                  </a:lnTo>
                  <a:lnTo>
                    <a:pt x="171" y="415"/>
                  </a:lnTo>
                  <a:lnTo>
                    <a:pt x="158" y="373"/>
                  </a:lnTo>
                  <a:lnTo>
                    <a:pt x="145" y="336"/>
                  </a:lnTo>
                  <a:lnTo>
                    <a:pt x="134" y="302"/>
                  </a:lnTo>
                  <a:lnTo>
                    <a:pt x="122" y="272"/>
                  </a:lnTo>
                  <a:lnTo>
                    <a:pt x="109" y="243"/>
                  </a:lnTo>
                  <a:lnTo>
                    <a:pt x="98" y="215"/>
                  </a:lnTo>
                  <a:lnTo>
                    <a:pt x="86" y="187"/>
                  </a:lnTo>
                  <a:lnTo>
                    <a:pt x="73" y="157"/>
                  </a:lnTo>
                  <a:lnTo>
                    <a:pt x="75" y="155"/>
                  </a:lnTo>
                  <a:lnTo>
                    <a:pt x="78" y="147"/>
                  </a:lnTo>
                  <a:lnTo>
                    <a:pt x="84" y="138"/>
                  </a:lnTo>
                  <a:lnTo>
                    <a:pt x="87" y="130"/>
                  </a:lnTo>
                  <a:lnTo>
                    <a:pt x="87" y="124"/>
                  </a:lnTo>
                  <a:lnTo>
                    <a:pt x="84" y="121"/>
                  </a:lnTo>
                  <a:lnTo>
                    <a:pt x="77" y="123"/>
                  </a:lnTo>
                  <a:lnTo>
                    <a:pt x="71" y="125"/>
                  </a:lnTo>
                  <a:lnTo>
                    <a:pt x="63" y="129"/>
                  </a:lnTo>
                  <a:lnTo>
                    <a:pt x="58" y="130"/>
                  </a:lnTo>
                  <a:lnTo>
                    <a:pt x="53" y="128"/>
                  </a:lnTo>
                  <a:lnTo>
                    <a:pt x="39" y="103"/>
                  </a:lnTo>
                  <a:lnTo>
                    <a:pt x="23" y="78"/>
                  </a:lnTo>
                  <a:lnTo>
                    <a:pt x="9" y="52"/>
                  </a:lnTo>
                  <a:lnTo>
                    <a:pt x="0" y="29"/>
                  </a:lnTo>
                  <a:lnTo>
                    <a:pt x="36"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76" name="Freeform 446">
              <a:extLst>
                <a:ext uri="{FF2B5EF4-FFF2-40B4-BE49-F238E27FC236}">
                  <a16:creationId xmlns:a16="http://schemas.microsoft.com/office/drawing/2014/main" id="{8A45CC89-C4A4-4EF3-BB08-B227041E5A00}"/>
                </a:ext>
              </a:extLst>
            </p:cNvPr>
            <p:cNvSpPr>
              <a:spLocks/>
            </p:cNvSpPr>
            <p:nvPr/>
          </p:nvSpPr>
          <p:spPr bwMode="gray">
            <a:xfrm>
              <a:off x="1417275" y="2230625"/>
              <a:ext cx="8924" cy="6135"/>
            </a:xfrm>
            <a:custGeom>
              <a:avLst/>
              <a:gdLst>
                <a:gd name="T0" fmla="*/ 13 w 16"/>
                <a:gd name="T1" fmla="*/ 0 h 11"/>
                <a:gd name="T2" fmla="*/ 15 w 16"/>
                <a:gd name="T3" fmla="*/ 0 h 11"/>
                <a:gd name="T4" fmla="*/ 16 w 16"/>
                <a:gd name="T5" fmla="*/ 2 h 11"/>
                <a:gd name="T6" fmla="*/ 16 w 16"/>
                <a:gd name="T7" fmla="*/ 4 h 11"/>
                <a:gd name="T8" fmla="*/ 15 w 16"/>
                <a:gd name="T9" fmla="*/ 5 h 11"/>
                <a:gd name="T10" fmla="*/ 13 w 16"/>
                <a:gd name="T11" fmla="*/ 7 h 11"/>
                <a:gd name="T12" fmla="*/ 4 w 16"/>
                <a:gd name="T13" fmla="*/ 9 h 11"/>
                <a:gd name="T14" fmla="*/ 3 w 16"/>
                <a:gd name="T15" fmla="*/ 11 h 11"/>
                <a:gd name="T16" fmla="*/ 0 w 16"/>
                <a:gd name="T17" fmla="*/ 9 h 11"/>
                <a:gd name="T18" fmla="*/ 0 w 16"/>
                <a:gd name="T19" fmla="*/ 8 h 11"/>
                <a:gd name="T20" fmla="*/ 0 w 16"/>
                <a:gd name="T21" fmla="*/ 7 h 11"/>
                <a:gd name="T22" fmla="*/ 0 w 16"/>
                <a:gd name="T23" fmla="*/ 4 h 11"/>
                <a:gd name="T24" fmla="*/ 2 w 16"/>
                <a:gd name="T25" fmla="*/ 4 h 11"/>
                <a:gd name="T26" fmla="*/ 11 w 16"/>
                <a:gd name="T27" fmla="*/ 0 h 11"/>
                <a:gd name="T28" fmla="*/ 13 w 16"/>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1">
                  <a:moveTo>
                    <a:pt x="13" y="0"/>
                  </a:moveTo>
                  <a:lnTo>
                    <a:pt x="15" y="0"/>
                  </a:lnTo>
                  <a:lnTo>
                    <a:pt x="16" y="2"/>
                  </a:lnTo>
                  <a:lnTo>
                    <a:pt x="16" y="4"/>
                  </a:lnTo>
                  <a:lnTo>
                    <a:pt x="15" y="5"/>
                  </a:lnTo>
                  <a:lnTo>
                    <a:pt x="13" y="7"/>
                  </a:lnTo>
                  <a:lnTo>
                    <a:pt x="4" y="9"/>
                  </a:lnTo>
                  <a:lnTo>
                    <a:pt x="3" y="11"/>
                  </a:lnTo>
                  <a:lnTo>
                    <a:pt x="0" y="9"/>
                  </a:lnTo>
                  <a:lnTo>
                    <a:pt x="0" y="8"/>
                  </a:lnTo>
                  <a:lnTo>
                    <a:pt x="0" y="7"/>
                  </a:lnTo>
                  <a:lnTo>
                    <a:pt x="0" y="4"/>
                  </a:lnTo>
                  <a:lnTo>
                    <a:pt x="2" y="4"/>
                  </a:lnTo>
                  <a:lnTo>
                    <a:pt x="11" y="0"/>
                  </a:lnTo>
                  <a:lnTo>
                    <a:pt x="13" y="0"/>
                  </a:lnTo>
                  <a:close/>
                </a:path>
              </a:pathLst>
            </a:custGeom>
            <a:solidFill>
              <a:srgbClr val="ECEFF1"/>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77" name="Freeform 447">
              <a:extLst>
                <a:ext uri="{FF2B5EF4-FFF2-40B4-BE49-F238E27FC236}">
                  <a16:creationId xmlns:a16="http://schemas.microsoft.com/office/drawing/2014/main" id="{EDB980EC-08B6-4BE5-861F-992DA8AEB270}"/>
                </a:ext>
              </a:extLst>
            </p:cNvPr>
            <p:cNvSpPr>
              <a:spLocks/>
            </p:cNvSpPr>
            <p:nvPr/>
          </p:nvSpPr>
          <p:spPr bwMode="gray">
            <a:xfrm>
              <a:off x="1295133" y="1656730"/>
              <a:ext cx="160067" cy="78081"/>
            </a:xfrm>
            <a:custGeom>
              <a:avLst/>
              <a:gdLst>
                <a:gd name="T0" fmla="*/ 153 w 287"/>
                <a:gd name="T1" fmla="*/ 0 h 140"/>
                <a:gd name="T2" fmla="*/ 178 w 287"/>
                <a:gd name="T3" fmla="*/ 3 h 140"/>
                <a:gd name="T4" fmla="*/ 203 w 287"/>
                <a:gd name="T5" fmla="*/ 9 h 140"/>
                <a:gd name="T6" fmla="*/ 226 w 287"/>
                <a:gd name="T7" fmla="*/ 16 h 140"/>
                <a:gd name="T8" fmla="*/ 246 w 287"/>
                <a:gd name="T9" fmla="*/ 26 h 140"/>
                <a:gd name="T10" fmla="*/ 264 w 287"/>
                <a:gd name="T11" fmla="*/ 38 h 140"/>
                <a:gd name="T12" fmla="*/ 277 w 287"/>
                <a:gd name="T13" fmla="*/ 50 h 140"/>
                <a:gd name="T14" fmla="*/ 286 w 287"/>
                <a:gd name="T15" fmla="*/ 64 h 140"/>
                <a:gd name="T16" fmla="*/ 287 w 287"/>
                <a:gd name="T17" fmla="*/ 73 h 140"/>
                <a:gd name="T18" fmla="*/ 282 w 287"/>
                <a:gd name="T19" fmla="*/ 85 h 140"/>
                <a:gd name="T20" fmla="*/ 273 w 287"/>
                <a:gd name="T21" fmla="*/ 97 h 140"/>
                <a:gd name="T22" fmla="*/ 260 w 287"/>
                <a:gd name="T23" fmla="*/ 109 h 140"/>
                <a:gd name="T24" fmla="*/ 241 w 287"/>
                <a:gd name="T25" fmla="*/ 121 h 140"/>
                <a:gd name="T26" fmla="*/ 219 w 287"/>
                <a:gd name="T27" fmla="*/ 130 h 140"/>
                <a:gd name="T28" fmla="*/ 192 w 287"/>
                <a:gd name="T29" fmla="*/ 136 h 140"/>
                <a:gd name="T30" fmla="*/ 162 w 287"/>
                <a:gd name="T31" fmla="*/ 140 h 140"/>
                <a:gd name="T32" fmla="*/ 166 w 287"/>
                <a:gd name="T33" fmla="*/ 135 h 140"/>
                <a:gd name="T34" fmla="*/ 171 w 287"/>
                <a:gd name="T35" fmla="*/ 131 h 140"/>
                <a:gd name="T36" fmla="*/ 181 w 287"/>
                <a:gd name="T37" fmla="*/ 126 h 140"/>
                <a:gd name="T38" fmla="*/ 192 w 287"/>
                <a:gd name="T39" fmla="*/ 122 h 140"/>
                <a:gd name="T40" fmla="*/ 203 w 287"/>
                <a:gd name="T41" fmla="*/ 116 h 140"/>
                <a:gd name="T42" fmla="*/ 212 w 287"/>
                <a:gd name="T43" fmla="*/ 106 h 140"/>
                <a:gd name="T44" fmla="*/ 218 w 287"/>
                <a:gd name="T45" fmla="*/ 94 h 140"/>
                <a:gd name="T46" fmla="*/ 219 w 287"/>
                <a:gd name="T47" fmla="*/ 80 h 140"/>
                <a:gd name="T48" fmla="*/ 218 w 287"/>
                <a:gd name="T49" fmla="*/ 66 h 140"/>
                <a:gd name="T50" fmla="*/ 213 w 287"/>
                <a:gd name="T51" fmla="*/ 52 h 140"/>
                <a:gd name="T52" fmla="*/ 204 w 287"/>
                <a:gd name="T53" fmla="*/ 40 h 140"/>
                <a:gd name="T54" fmla="*/ 187 w 287"/>
                <a:gd name="T55" fmla="*/ 27 h 140"/>
                <a:gd name="T56" fmla="*/ 168 w 287"/>
                <a:gd name="T57" fmla="*/ 20 h 140"/>
                <a:gd name="T58" fmla="*/ 148 w 287"/>
                <a:gd name="T59" fmla="*/ 14 h 140"/>
                <a:gd name="T60" fmla="*/ 126 w 287"/>
                <a:gd name="T61" fmla="*/ 14 h 140"/>
                <a:gd name="T62" fmla="*/ 95 w 287"/>
                <a:gd name="T63" fmla="*/ 18 h 140"/>
                <a:gd name="T64" fmla="*/ 68 w 287"/>
                <a:gd name="T65" fmla="*/ 27 h 140"/>
                <a:gd name="T66" fmla="*/ 44 w 287"/>
                <a:gd name="T67" fmla="*/ 40 h 140"/>
                <a:gd name="T68" fmla="*/ 22 w 287"/>
                <a:gd name="T69" fmla="*/ 57 h 140"/>
                <a:gd name="T70" fmla="*/ 0 w 287"/>
                <a:gd name="T71" fmla="*/ 75 h 140"/>
                <a:gd name="T72" fmla="*/ 14 w 287"/>
                <a:gd name="T73" fmla="*/ 53 h 140"/>
                <a:gd name="T74" fmla="*/ 31 w 287"/>
                <a:gd name="T75" fmla="*/ 35 h 140"/>
                <a:gd name="T76" fmla="*/ 53 w 287"/>
                <a:gd name="T77" fmla="*/ 21 h 140"/>
                <a:gd name="T78" fmla="*/ 76 w 287"/>
                <a:gd name="T79" fmla="*/ 11 h 140"/>
                <a:gd name="T80" fmla="*/ 100 w 287"/>
                <a:gd name="T81" fmla="*/ 4 h 140"/>
                <a:gd name="T82" fmla="*/ 126 w 287"/>
                <a:gd name="T83" fmla="*/ 2 h 140"/>
                <a:gd name="T84" fmla="*/ 153 w 287"/>
                <a:gd name="T8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7" h="140">
                  <a:moveTo>
                    <a:pt x="153" y="0"/>
                  </a:moveTo>
                  <a:lnTo>
                    <a:pt x="178" y="3"/>
                  </a:lnTo>
                  <a:lnTo>
                    <a:pt x="203" y="9"/>
                  </a:lnTo>
                  <a:lnTo>
                    <a:pt x="226" y="16"/>
                  </a:lnTo>
                  <a:lnTo>
                    <a:pt x="246" y="26"/>
                  </a:lnTo>
                  <a:lnTo>
                    <a:pt x="264" y="38"/>
                  </a:lnTo>
                  <a:lnTo>
                    <a:pt x="277" y="50"/>
                  </a:lnTo>
                  <a:lnTo>
                    <a:pt x="286" y="64"/>
                  </a:lnTo>
                  <a:lnTo>
                    <a:pt x="287" y="73"/>
                  </a:lnTo>
                  <a:lnTo>
                    <a:pt x="282" y="85"/>
                  </a:lnTo>
                  <a:lnTo>
                    <a:pt x="273" y="97"/>
                  </a:lnTo>
                  <a:lnTo>
                    <a:pt x="260" y="109"/>
                  </a:lnTo>
                  <a:lnTo>
                    <a:pt x="241" y="121"/>
                  </a:lnTo>
                  <a:lnTo>
                    <a:pt x="219" y="130"/>
                  </a:lnTo>
                  <a:lnTo>
                    <a:pt x="192" y="136"/>
                  </a:lnTo>
                  <a:lnTo>
                    <a:pt x="162" y="140"/>
                  </a:lnTo>
                  <a:lnTo>
                    <a:pt x="166" y="135"/>
                  </a:lnTo>
                  <a:lnTo>
                    <a:pt x="171" y="131"/>
                  </a:lnTo>
                  <a:lnTo>
                    <a:pt x="181" y="126"/>
                  </a:lnTo>
                  <a:lnTo>
                    <a:pt x="192" y="122"/>
                  </a:lnTo>
                  <a:lnTo>
                    <a:pt x="203" y="116"/>
                  </a:lnTo>
                  <a:lnTo>
                    <a:pt x="212" y="106"/>
                  </a:lnTo>
                  <a:lnTo>
                    <a:pt x="218" y="94"/>
                  </a:lnTo>
                  <a:lnTo>
                    <a:pt x="219" y="80"/>
                  </a:lnTo>
                  <a:lnTo>
                    <a:pt x="218" y="66"/>
                  </a:lnTo>
                  <a:lnTo>
                    <a:pt x="213" y="52"/>
                  </a:lnTo>
                  <a:lnTo>
                    <a:pt x="204" y="40"/>
                  </a:lnTo>
                  <a:lnTo>
                    <a:pt x="187" y="27"/>
                  </a:lnTo>
                  <a:lnTo>
                    <a:pt x="168" y="20"/>
                  </a:lnTo>
                  <a:lnTo>
                    <a:pt x="148" y="14"/>
                  </a:lnTo>
                  <a:lnTo>
                    <a:pt x="126" y="14"/>
                  </a:lnTo>
                  <a:lnTo>
                    <a:pt x="95" y="18"/>
                  </a:lnTo>
                  <a:lnTo>
                    <a:pt x="68" y="27"/>
                  </a:lnTo>
                  <a:lnTo>
                    <a:pt x="44" y="40"/>
                  </a:lnTo>
                  <a:lnTo>
                    <a:pt x="22" y="57"/>
                  </a:lnTo>
                  <a:lnTo>
                    <a:pt x="0" y="75"/>
                  </a:lnTo>
                  <a:lnTo>
                    <a:pt x="14" y="53"/>
                  </a:lnTo>
                  <a:lnTo>
                    <a:pt x="31" y="35"/>
                  </a:lnTo>
                  <a:lnTo>
                    <a:pt x="53" y="21"/>
                  </a:lnTo>
                  <a:lnTo>
                    <a:pt x="76" y="11"/>
                  </a:lnTo>
                  <a:lnTo>
                    <a:pt x="100" y="4"/>
                  </a:lnTo>
                  <a:lnTo>
                    <a:pt x="126" y="2"/>
                  </a:lnTo>
                  <a:lnTo>
                    <a:pt x="153"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78" name="Freeform 448">
              <a:extLst>
                <a:ext uri="{FF2B5EF4-FFF2-40B4-BE49-F238E27FC236}">
                  <a16:creationId xmlns:a16="http://schemas.microsoft.com/office/drawing/2014/main" id="{549216AB-00AE-4231-8B9C-DE8F35BE0E20}"/>
                </a:ext>
              </a:extLst>
            </p:cNvPr>
            <p:cNvSpPr>
              <a:spLocks/>
            </p:cNvSpPr>
            <p:nvPr/>
          </p:nvSpPr>
          <p:spPr bwMode="gray">
            <a:xfrm>
              <a:off x="1233784" y="1944514"/>
              <a:ext cx="44060" cy="171779"/>
            </a:xfrm>
            <a:custGeom>
              <a:avLst/>
              <a:gdLst>
                <a:gd name="T0" fmla="*/ 0 w 79"/>
                <a:gd name="T1" fmla="*/ 0 h 308"/>
                <a:gd name="T2" fmla="*/ 15 w 79"/>
                <a:gd name="T3" fmla="*/ 14 h 308"/>
                <a:gd name="T4" fmla="*/ 29 w 79"/>
                <a:gd name="T5" fmla="*/ 33 h 308"/>
                <a:gd name="T6" fmla="*/ 45 w 79"/>
                <a:gd name="T7" fmla="*/ 55 h 308"/>
                <a:gd name="T8" fmla="*/ 57 w 79"/>
                <a:gd name="T9" fmla="*/ 82 h 308"/>
                <a:gd name="T10" fmla="*/ 68 w 79"/>
                <a:gd name="T11" fmla="*/ 110 h 308"/>
                <a:gd name="T12" fmla="*/ 75 w 79"/>
                <a:gd name="T13" fmla="*/ 143 h 308"/>
                <a:gd name="T14" fmla="*/ 79 w 79"/>
                <a:gd name="T15" fmla="*/ 175 h 308"/>
                <a:gd name="T16" fmla="*/ 79 w 79"/>
                <a:gd name="T17" fmla="*/ 208 h 308"/>
                <a:gd name="T18" fmla="*/ 73 w 79"/>
                <a:gd name="T19" fmla="*/ 243 h 308"/>
                <a:gd name="T20" fmla="*/ 61 w 79"/>
                <a:gd name="T21" fmla="*/ 276 h 308"/>
                <a:gd name="T22" fmla="*/ 42 w 79"/>
                <a:gd name="T23" fmla="*/ 308 h 308"/>
                <a:gd name="T24" fmla="*/ 42 w 79"/>
                <a:gd name="T25" fmla="*/ 266 h 308"/>
                <a:gd name="T26" fmla="*/ 41 w 79"/>
                <a:gd name="T27" fmla="*/ 225 h 308"/>
                <a:gd name="T28" fmla="*/ 39 w 79"/>
                <a:gd name="T29" fmla="*/ 182 h 308"/>
                <a:gd name="T30" fmla="*/ 37 w 79"/>
                <a:gd name="T31" fmla="*/ 144 h 308"/>
                <a:gd name="T32" fmla="*/ 34 w 79"/>
                <a:gd name="T33" fmla="*/ 108 h 308"/>
                <a:gd name="T34" fmla="*/ 29 w 79"/>
                <a:gd name="T35" fmla="*/ 77 h 308"/>
                <a:gd name="T36" fmla="*/ 24 w 79"/>
                <a:gd name="T37" fmla="*/ 53 h 308"/>
                <a:gd name="T38" fmla="*/ 18 w 79"/>
                <a:gd name="T39" fmla="*/ 32 h 308"/>
                <a:gd name="T40" fmla="*/ 9 w 79"/>
                <a:gd name="T41" fmla="*/ 15 h 308"/>
                <a:gd name="T42" fmla="*/ 0 w 79"/>
                <a:gd name="T43"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 h="308">
                  <a:moveTo>
                    <a:pt x="0" y="0"/>
                  </a:moveTo>
                  <a:lnTo>
                    <a:pt x="15" y="14"/>
                  </a:lnTo>
                  <a:lnTo>
                    <a:pt x="29" y="33"/>
                  </a:lnTo>
                  <a:lnTo>
                    <a:pt x="45" y="55"/>
                  </a:lnTo>
                  <a:lnTo>
                    <a:pt x="57" y="82"/>
                  </a:lnTo>
                  <a:lnTo>
                    <a:pt x="68" y="110"/>
                  </a:lnTo>
                  <a:lnTo>
                    <a:pt x="75" y="143"/>
                  </a:lnTo>
                  <a:lnTo>
                    <a:pt x="79" y="175"/>
                  </a:lnTo>
                  <a:lnTo>
                    <a:pt x="79" y="208"/>
                  </a:lnTo>
                  <a:lnTo>
                    <a:pt x="73" y="243"/>
                  </a:lnTo>
                  <a:lnTo>
                    <a:pt x="61" y="276"/>
                  </a:lnTo>
                  <a:lnTo>
                    <a:pt x="42" y="308"/>
                  </a:lnTo>
                  <a:lnTo>
                    <a:pt x="42" y="266"/>
                  </a:lnTo>
                  <a:lnTo>
                    <a:pt x="41" y="225"/>
                  </a:lnTo>
                  <a:lnTo>
                    <a:pt x="39" y="182"/>
                  </a:lnTo>
                  <a:lnTo>
                    <a:pt x="37" y="144"/>
                  </a:lnTo>
                  <a:lnTo>
                    <a:pt x="34" y="108"/>
                  </a:lnTo>
                  <a:lnTo>
                    <a:pt x="29" y="77"/>
                  </a:lnTo>
                  <a:lnTo>
                    <a:pt x="24" y="53"/>
                  </a:lnTo>
                  <a:lnTo>
                    <a:pt x="18" y="32"/>
                  </a:lnTo>
                  <a:lnTo>
                    <a:pt x="9" y="15"/>
                  </a:lnTo>
                  <a:lnTo>
                    <a:pt x="0" y="0"/>
                  </a:lnTo>
                  <a:close/>
                </a:path>
              </a:pathLst>
            </a:custGeom>
            <a:solidFill>
              <a:srgbClr val="0087C4"/>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79" name="Freeform 564">
              <a:extLst>
                <a:ext uri="{FF2B5EF4-FFF2-40B4-BE49-F238E27FC236}">
                  <a16:creationId xmlns:a16="http://schemas.microsoft.com/office/drawing/2014/main" id="{EA82110B-FEB9-4E85-ABB2-F056A10BDD0E}"/>
                </a:ext>
              </a:extLst>
            </p:cNvPr>
            <p:cNvSpPr>
              <a:spLocks/>
            </p:cNvSpPr>
            <p:nvPr/>
          </p:nvSpPr>
          <p:spPr bwMode="gray">
            <a:xfrm>
              <a:off x="1153472" y="1919417"/>
              <a:ext cx="139793" cy="309868"/>
            </a:xfrm>
            <a:custGeom>
              <a:avLst/>
              <a:gdLst>
                <a:gd name="connsiteX0" fmla="*/ 67181 w 163485"/>
                <a:gd name="connsiteY0" fmla="*/ 0 h 362383"/>
                <a:gd name="connsiteX1" fmla="*/ 88053 w 163485"/>
                <a:gd name="connsiteY1" fmla="*/ 20872 h 362383"/>
                <a:gd name="connsiteX2" fmla="*/ 103707 w 163485"/>
                <a:gd name="connsiteY2" fmla="*/ 41091 h 362383"/>
                <a:gd name="connsiteX3" fmla="*/ 114795 w 163485"/>
                <a:gd name="connsiteY3" fmla="*/ 61963 h 362383"/>
                <a:gd name="connsiteX4" fmla="*/ 121970 w 163485"/>
                <a:gd name="connsiteY4" fmla="*/ 82835 h 362383"/>
                <a:gd name="connsiteX5" fmla="*/ 127187 w 163485"/>
                <a:gd name="connsiteY5" fmla="*/ 103054 h 362383"/>
                <a:gd name="connsiteX6" fmla="*/ 129144 w 163485"/>
                <a:gd name="connsiteY6" fmla="*/ 122622 h 362383"/>
                <a:gd name="connsiteX7" fmla="*/ 129144 w 163485"/>
                <a:gd name="connsiteY7" fmla="*/ 139580 h 362383"/>
                <a:gd name="connsiteX8" fmla="*/ 127840 w 163485"/>
                <a:gd name="connsiteY8" fmla="*/ 155886 h 362383"/>
                <a:gd name="connsiteX9" fmla="*/ 126535 w 163485"/>
                <a:gd name="connsiteY9" fmla="*/ 168278 h 362383"/>
                <a:gd name="connsiteX10" fmla="*/ 123274 w 163485"/>
                <a:gd name="connsiteY10" fmla="*/ 182628 h 362383"/>
                <a:gd name="connsiteX11" fmla="*/ 119361 w 163485"/>
                <a:gd name="connsiteY11" fmla="*/ 196977 h 362383"/>
                <a:gd name="connsiteX12" fmla="*/ 115447 w 163485"/>
                <a:gd name="connsiteY12" fmla="*/ 211979 h 362383"/>
                <a:gd name="connsiteX13" fmla="*/ 111534 w 163485"/>
                <a:gd name="connsiteY13" fmla="*/ 225023 h 362383"/>
                <a:gd name="connsiteX14" fmla="*/ 107620 w 163485"/>
                <a:gd name="connsiteY14" fmla="*/ 236764 h 362383"/>
                <a:gd name="connsiteX15" fmla="*/ 104359 w 163485"/>
                <a:gd name="connsiteY15" fmla="*/ 247200 h 362383"/>
                <a:gd name="connsiteX16" fmla="*/ 103054 w 163485"/>
                <a:gd name="connsiteY16" fmla="*/ 253070 h 362383"/>
                <a:gd name="connsiteX17" fmla="*/ 102402 w 163485"/>
                <a:gd name="connsiteY17" fmla="*/ 255679 h 362383"/>
                <a:gd name="connsiteX18" fmla="*/ 163485 w 163485"/>
                <a:gd name="connsiteY18" fmla="*/ 358104 h 362383"/>
                <a:gd name="connsiteX19" fmla="*/ 52939 w 163485"/>
                <a:gd name="connsiteY19" fmla="*/ 362383 h 362383"/>
                <a:gd name="connsiteX20" fmla="*/ 48266 w 163485"/>
                <a:gd name="connsiteY20" fmla="*/ 356776 h 362383"/>
                <a:gd name="connsiteX21" fmla="*/ 36526 w 163485"/>
                <a:gd name="connsiteY21" fmla="*/ 340470 h 362383"/>
                <a:gd name="connsiteX22" fmla="*/ 26090 w 163485"/>
                <a:gd name="connsiteY22" fmla="*/ 324817 h 362383"/>
                <a:gd name="connsiteX23" fmla="*/ 16958 w 163485"/>
                <a:gd name="connsiteY23" fmla="*/ 310467 h 362383"/>
                <a:gd name="connsiteX24" fmla="*/ 9131 w 163485"/>
                <a:gd name="connsiteY24" fmla="*/ 297422 h 362383"/>
                <a:gd name="connsiteX25" fmla="*/ 3914 w 163485"/>
                <a:gd name="connsiteY25" fmla="*/ 284378 h 362383"/>
                <a:gd name="connsiteX26" fmla="*/ 652 w 163485"/>
                <a:gd name="connsiteY26" fmla="*/ 274594 h 362383"/>
                <a:gd name="connsiteX27" fmla="*/ 0 w 163485"/>
                <a:gd name="connsiteY27" fmla="*/ 266115 h 362383"/>
                <a:gd name="connsiteX28" fmla="*/ 5218 w 163485"/>
                <a:gd name="connsiteY28" fmla="*/ 236764 h 362383"/>
                <a:gd name="connsiteX29" fmla="*/ 9784 w 163485"/>
                <a:gd name="connsiteY29" fmla="*/ 206108 h 362383"/>
                <a:gd name="connsiteX30" fmla="*/ 15002 w 163485"/>
                <a:gd name="connsiteY30" fmla="*/ 174801 h 362383"/>
                <a:gd name="connsiteX31" fmla="*/ 20872 w 163485"/>
                <a:gd name="connsiteY31" fmla="*/ 144146 h 362383"/>
                <a:gd name="connsiteX32" fmla="*/ 26742 w 163485"/>
                <a:gd name="connsiteY32" fmla="*/ 114795 h 362383"/>
                <a:gd name="connsiteX33" fmla="*/ 32612 w 163485"/>
                <a:gd name="connsiteY33" fmla="*/ 87400 h 362383"/>
                <a:gd name="connsiteX34" fmla="*/ 39135 w 163485"/>
                <a:gd name="connsiteY34" fmla="*/ 61311 h 362383"/>
                <a:gd name="connsiteX35" fmla="*/ 46309 w 163485"/>
                <a:gd name="connsiteY35" fmla="*/ 39135 h 362383"/>
                <a:gd name="connsiteX36" fmla="*/ 52832 w 163485"/>
                <a:gd name="connsiteY36" fmla="*/ 20872 h 362383"/>
                <a:gd name="connsiteX37" fmla="*/ 59354 w 163485"/>
                <a:gd name="connsiteY37" fmla="*/ 8479 h 362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3485" h="362383">
                  <a:moveTo>
                    <a:pt x="67181" y="0"/>
                  </a:moveTo>
                  <a:lnTo>
                    <a:pt x="88053" y="20872"/>
                  </a:lnTo>
                  <a:lnTo>
                    <a:pt x="103707" y="41091"/>
                  </a:lnTo>
                  <a:lnTo>
                    <a:pt x="114795" y="61963"/>
                  </a:lnTo>
                  <a:lnTo>
                    <a:pt x="121970" y="82835"/>
                  </a:lnTo>
                  <a:lnTo>
                    <a:pt x="127187" y="103054"/>
                  </a:lnTo>
                  <a:lnTo>
                    <a:pt x="129144" y="122622"/>
                  </a:lnTo>
                  <a:lnTo>
                    <a:pt x="129144" y="139580"/>
                  </a:lnTo>
                  <a:lnTo>
                    <a:pt x="127840" y="155886"/>
                  </a:lnTo>
                  <a:lnTo>
                    <a:pt x="126535" y="168278"/>
                  </a:lnTo>
                  <a:lnTo>
                    <a:pt x="123274" y="182628"/>
                  </a:lnTo>
                  <a:lnTo>
                    <a:pt x="119361" y="196977"/>
                  </a:lnTo>
                  <a:lnTo>
                    <a:pt x="115447" y="211979"/>
                  </a:lnTo>
                  <a:lnTo>
                    <a:pt x="111534" y="225023"/>
                  </a:lnTo>
                  <a:lnTo>
                    <a:pt x="107620" y="236764"/>
                  </a:lnTo>
                  <a:lnTo>
                    <a:pt x="104359" y="247200"/>
                  </a:lnTo>
                  <a:lnTo>
                    <a:pt x="103054" y="253070"/>
                  </a:lnTo>
                  <a:lnTo>
                    <a:pt x="102402" y="255679"/>
                  </a:lnTo>
                  <a:lnTo>
                    <a:pt x="163485" y="358104"/>
                  </a:lnTo>
                  <a:lnTo>
                    <a:pt x="52939" y="362383"/>
                  </a:lnTo>
                  <a:lnTo>
                    <a:pt x="48266" y="356776"/>
                  </a:lnTo>
                  <a:lnTo>
                    <a:pt x="36526" y="340470"/>
                  </a:lnTo>
                  <a:lnTo>
                    <a:pt x="26090" y="324817"/>
                  </a:lnTo>
                  <a:lnTo>
                    <a:pt x="16958" y="310467"/>
                  </a:lnTo>
                  <a:lnTo>
                    <a:pt x="9131" y="297422"/>
                  </a:lnTo>
                  <a:lnTo>
                    <a:pt x="3914" y="284378"/>
                  </a:lnTo>
                  <a:lnTo>
                    <a:pt x="652" y="274594"/>
                  </a:lnTo>
                  <a:lnTo>
                    <a:pt x="0" y="266115"/>
                  </a:lnTo>
                  <a:lnTo>
                    <a:pt x="5218" y="236764"/>
                  </a:lnTo>
                  <a:lnTo>
                    <a:pt x="9784" y="206108"/>
                  </a:lnTo>
                  <a:lnTo>
                    <a:pt x="15002" y="174801"/>
                  </a:lnTo>
                  <a:lnTo>
                    <a:pt x="20872" y="144146"/>
                  </a:lnTo>
                  <a:lnTo>
                    <a:pt x="26742" y="114795"/>
                  </a:lnTo>
                  <a:lnTo>
                    <a:pt x="32612" y="87400"/>
                  </a:lnTo>
                  <a:lnTo>
                    <a:pt x="39135" y="61311"/>
                  </a:lnTo>
                  <a:lnTo>
                    <a:pt x="46309" y="39135"/>
                  </a:lnTo>
                  <a:lnTo>
                    <a:pt x="52832" y="20872"/>
                  </a:lnTo>
                  <a:lnTo>
                    <a:pt x="59354" y="8479"/>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80" name="Freeform 451">
              <a:extLst>
                <a:ext uri="{FF2B5EF4-FFF2-40B4-BE49-F238E27FC236}">
                  <a16:creationId xmlns:a16="http://schemas.microsoft.com/office/drawing/2014/main" id="{441A8972-BEAF-476D-ACDF-4F68DEED4089}"/>
                </a:ext>
              </a:extLst>
            </p:cNvPr>
            <p:cNvSpPr>
              <a:spLocks/>
            </p:cNvSpPr>
            <p:nvPr/>
          </p:nvSpPr>
          <p:spPr bwMode="gray">
            <a:xfrm>
              <a:off x="1255534" y="1647806"/>
              <a:ext cx="221973" cy="136642"/>
            </a:xfrm>
            <a:custGeom>
              <a:avLst/>
              <a:gdLst>
                <a:gd name="T0" fmla="*/ 157 w 398"/>
                <a:gd name="T1" fmla="*/ 0 h 245"/>
                <a:gd name="T2" fmla="*/ 184 w 398"/>
                <a:gd name="T3" fmla="*/ 0 h 245"/>
                <a:gd name="T4" fmla="*/ 210 w 398"/>
                <a:gd name="T5" fmla="*/ 5 h 245"/>
                <a:gd name="T6" fmla="*/ 233 w 398"/>
                <a:gd name="T7" fmla="*/ 14 h 245"/>
                <a:gd name="T8" fmla="*/ 360 w 398"/>
                <a:gd name="T9" fmla="*/ 87 h 245"/>
                <a:gd name="T10" fmla="*/ 373 w 398"/>
                <a:gd name="T11" fmla="*/ 100 h 245"/>
                <a:gd name="T12" fmla="*/ 384 w 398"/>
                <a:gd name="T13" fmla="*/ 114 h 245"/>
                <a:gd name="T14" fmla="*/ 393 w 398"/>
                <a:gd name="T15" fmla="*/ 129 h 245"/>
                <a:gd name="T16" fmla="*/ 398 w 398"/>
                <a:gd name="T17" fmla="*/ 146 h 245"/>
                <a:gd name="T18" fmla="*/ 398 w 398"/>
                <a:gd name="T19" fmla="*/ 160 h 245"/>
                <a:gd name="T20" fmla="*/ 394 w 398"/>
                <a:gd name="T21" fmla="*/ 174 h 245"/>
                <a:gd name="T22" fmla="*/ 374 w 398"/>
                <a:gd name="T23" fmla="*/ 197 h 245"/>
                <a:gd name="T24" fmla="*/ 348 w 398"/>
                <a:gd name="T25" fmla="*/ 216 h 245"/>
                <a:gd name="T26" fmla="*/ 319 w 398"/>
                <a:gd name="T27" fmla="*/ 232 h 245"/>
                <a:gd name="T28" fmla="*/ 284 w 398"/>
                <a:gd name="T29" fmla="*/ 242 h 245"/>
                <a:gd name="T30" fmla="*/ 254 w 398"/>
                <a:gd name="T31" fmla="*/ 245 h 245"/>
                <a:gd name="T32" fmla="*/ 225 w 398"/>
                <a:gd name="T33" fmla="*/ 241 h 245"/>
                <a:gd name="T34" fmla="*/ 197 w 398"/>
                <a:gd name="T35" fmla="*/ 231 h 245"/>
                <a:gd name="T36" fmla="*/ 170 w 398"/>
                <a:gd name="T37" fmla="*/ 218 h 245"/>
                <a:gd name="T38" fmla="*/ 147 w 398"/>
                <a:gd name="T39" fmla="*/ 205 h 245"/>
                <a:gd name="T40" fmla="*/ 126 w 398"/>
                <a:gd name="T41" fmla="*/ 193 h 245"/>
                <a:gd name="T42" fmla="*/ 124 w 398"/>
                <a:gd name="T43" fmla="*/ 191 h 245"/>
                <a:gd name="T44" fmla="*/ 40 w 398"/>
                <a:gd name="T45" fmla="*/ 143 h 245"/>
                <a:gd name="T46" fmla="*/ 38 w 398"/>
                <a:gd name="T47" fmla="*/ 142 h 245"/>
                <a:gd name="T48" fmla="*/ 33 w 398"/>
                <a:gd name="T49" fmla="*/ 139 h 245"/>
                <a:gd name="T50" fmla="*/ 26 w 398"/>
                <a:gd name="T51" fmla="*/ 138 h 245"/>
                <a:gd name="T52" fmla="*/ 21 w 398"/>
                <a:gd name="T53" fmla="*/ 137 h 245"/>
                <a:gd name="T54" fmla="*/ 20 w 398"/>
                <a:gd name="T55" fmla="*/ 137 h 245"/>
                <a:gd name="T56" fmla="*/ 15 w 398"/>
                <a:gd name="T57" fmla="*/ 137 h 245"/>
                <a:gd name="T58" fmla="*/ 11 w 398"/>
                <a:gd name="T59" fmla="*/ 136 h 245"/>
                <a:gd name="T60" fmla="*/ 8 w 398"/>
                <a:gd name="T61" fmla="*/ 133 h 245"/>
                <a:gd name="T62" fmla="*/ 6 w 398"/>
                <a:gd name="T63" fmla="*/ 130 h 245"/>
                <a:gd name="T64" fmla="*/ 3 w 398"/>
                <a:gd name="T65" fmla="*/ 127 h 245"/>
                <a:gd name="T66" fmla="*/ 0 w 398"/>
                <a:gd name="T67" fmla="*/ 107 h 245"/>
                <a:gd name="T68" fmla="*/ 7 w 398"/>
                <a:gd name="T69" fmla="*/ 87 h 245"/>
                <a:gd name="T70" fmla="*/ 20 w 398"/>
                <a:gd name="T71" fmla="*/ 69 h 245"/>
                <a:gd name="T72" fmla="*/ 30 w 398"/>
                <a:gd name="T73" fmla="*/ 60 h 245"/>
                <a:gd name="T74" fmla="*/ 43 w 398"/>
                <a:gd name="T75" fmla="*/ 51 h 245"/>
                <a:gd name="T76" fmla="*/ 108 w 398"/>
                <a:gd name="T77" fmla="*/ 14 h 245"/>
                <a:gd name="T78" fmla="*/ 131 w 398"/>
                <a:gd name="T79" fmla="*/ 5 h 245"/>
                <a:gd name="T80" fmla="*/ 157 w 398"/>
                <a:gd name="T8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8" h="245">
                  <a:moveTo>
                    <a:pt x="157" y="0"/>
                  </a:moveTo>
                  <a:lnTo>
                    <a:pt x="184" y="0"/>
                  </a:lnTo>
                  <a:lnTo>
                    <a:pt x="210" y="5"/>
                  </a:lnTo>
                  <a:lnTo>
                    <a:pt x="233" y="14"/>
                  </a:lnTo>
                  <a:lnTo>
                    <a:pt x="360" y="87"/>
                  </a:lnTo>
                  <a:lnTo>
                    <a:pt x="373" y="100"/>
                  </a:lnTo>
                  <a:lnTo>
                    <a:pt x="384" y="114"/>
                  </a:lnTo>
                  <a:lnTo>
                    <a:pt x="393" y="129"/>
                  </a:lnTo>
                  <a:lnTo>
                    <a:pt x="398" y="146"/>
                  </a:lnTo>
                  <a:lnTo>
                    <a:pt x="398" y="160"/>
                  </a:lnTo>
                  <a:lnTo>
                    <a:pt x="394" y="174"/>
                  </a:lnTo>
                  <a:lnTo>
                    <a:pt x="374" y="197"/>
                  </a:lnTo>
                  <a:lnTo>
                    <a:pt x="348" y="216"/>
                  </a:lnTo>
                  <a:lnTo>
                    <a:pt x="319" y="232"/>
                  </a:lnTo>
                  <a:lnTo>
                    <a:pt x="284" y="242"/>
                  </a:lnTo>
                  <a:lnTo>
                    <a:pt x="254" y="245"/>
                  </a:lnTo>
                  <a:lnTo>
                    <a:pt x="225" y="241"/>
                  </a:lnTo>
                  <a:lnTo>
                    <a:pt x="197" y="231"/>
                  </a:lnTo>
                  <a:lnTo>
                    <a:pt x="170" y="218"/>
                  </a:lnTo>
                  <a:lnTo>
                    <a:pt x="147" y="205"/>
                  </a:lnTo>
                  <a:lnTo>
                    <a:pt x="126" y="193"/>
                  </a:lnTo>
                  <a:lnTo>
                    <a:pt x="124" y="191"/>
                  </a:lnTo>
                  <a:lnTo>
                    <a:pt x="40" y="143"/>
                  </a:lnTo>
                  <a:lnTo>
                    <a:pt x="38" y="142"/>
                  </a:lnTo>
                  <a:lnTo>
                    <a:pt x="33" y="139"/>
                  </a:lnTo>
                  <a:lnTo>
                    <a:pt x="26" y="138"/>
                  </a:lnTo>
                  <a:lnTo>
                    <a:pt x="21" y="137"/>
                  </a:lnTo>
                  <a:lnTo>
                    <a:pt x="20" y="137"/>
                  </a:lnTo>
                  <a:lnTo>
                    <a:pt x="15" y="137"/>
                  </a:lnTo>
                  <a:lnTo>
                    <a:pt x="11" y="136"/>
                  </a:lnTo>
                  <a:lnTo>
                    <a:pt x="8" y="133"/>
                  </a:lnTo>
                  <a:lnTo>
                    <a:pt x="6" y="130"/>
                  </a:lnTo>
                  <a:lnTo>
                    <a:pt x="3" y="127"/>
                  </a:lnTo>
                  <a:lnTo>
                    <a:pt x="0" y="107"/>
                  </a:lnTo>
                  <a:lnTo>
                    <a:pt x="7" y="87"/>
                  </a:lnTo>
                  <a:lnTo>
                    <a:pt x="20" y="69"/>
                  </a:lnTo>
                  <a:lnTo>
                    <a:pt x="30" y="60"/>
                  </a:lnTo>
                  <a:lnTo>
                    <a:pt x="43" y="51"/>
                  </a:lnTo>
                  <a:lnTo>
                    <a:pt x="108" y="14"/>
                  </a:lnTo>
                  <a:lnTo>
                    <a:pt x="131" y="5"/>
                  </a:lnTo>
                  <a:lnTo>
                    <a:pt x="157"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81" name="Freeform 452">
              <a:extLst>
                <a:ext uri="{FF2B5EF4-FFF2-40B4-BE49-F238E27FC236}">
                  <a16:creationId xmlns:a16="http://schemas.microsoft.com/office/drawing/2014/main" id="{D1E9E6CF-9B53-478D-9CEA-50B3C349D0A5}"/>
                </a:ext>
              </a:extLst>
            </p:cNvPr>
            <p:cNvSpPr>
              <a:spLocks/>
            </p:cNvSpPr>
            <p:nvPr/>
          </p:nvSpPr>
          <p:spPr bwMode="gray">
            <a:xfrm>
              <a:off x="1255532" y="1644460"/>
              <a:ext cx="221973" cy="137200"/>
            </a:xfrm>
            <a:custGeom>
              <a:avLst/>
              <a:gdLst>
                <a:gd name="T0" fmla="*/ 157 w 398"/>
                <a:gd name="T1" fmla="*/ 0 h 246"/>
                <a:gd name="T2" fmla="*/ 184 w 398"/>
                <a:gd name="T3" fmla="*/ 0 h 246"/>
                <a:gd name="T4" fmla="*/ 210 w 398"/>
                <a:gd name="T5" fmla="*/ 6 h 246"/>
                <a:gd name="T6" fmla="*/ 233 w 398"/>
                <a:gd name="T7" fmla="*/ 15 h 246"/>
                <a:gd name="T8" fmla="*/ 360 w 398"/>
                <a:gd name="T9" fmla="*/ 89 h 246"/>
                <a:gd name="T10" fmla="*/ 373 w 398"/>
                <a:gd name="T11" fmla="*/ 101 h 246"/>
                <a:gd name="T12" fmla="*/ 384 w 398"/>
                <a:gd name="T13" fmla="*/ 115 h 246"/>
                <a:gd name="T14" fmla="*/ 393 w 398"/>
                <a:gd name="T15" fmla="*/ 130 h 246"/>
                <a:gd name="T16" fmla="*/ 398 w 398"/>
                <a:gd name="T17" fmla="*/ 147 h 246"/>
                <a:gd name="T18" fmla="*/ 398 w 398"/>
                <a:gd name="T19" fmla="*/ 161 h 246"/>
                <a:gd name="T20" fmla="*/ 394 w 398"/>
                <a:gd name="T21" fmla="*/ 175 h 246"/>
                <a:gd name="T22" fmla="*/ 374 w 398"/>
                <a:gd name="T23" fmla="*/ 198 h 246"/>
                <a:gd name="T24" fmla="*/ 348 w 398"/>
                <a:gd name="T25" fmla="*/ 217 h 246"/>
                <a:gd name="T26" fmla="*/ 319 w 398"/>
                <a:gd name="T27" fmla="*/ 233 h 246"/>
                <a:gd name="T28" fmla="*/ 284 w 398"/>
                <a:gd name="T29" fmla="*/ 243 h 246"/>
                <a:gd name="T30" fmla="*/ 254 w 398"/>
                <a:gd name="T31" fmla="*/ 246 h 246"/>
                <a:gd name="T32" fmla="*/ 225 w 398"/>
                <a:gd name="T33" fmla="*/ 242 h 246"/>
                <a:gd name="T34" fmla="*/ 197 w 398"/>
                <a:gd name="T35" fmla="*/ 231 h 246"/>
                <a:gd name="T36" fmla="*/ 170 w 398"/>
                <a:gd name="T37" fmla="*/ 219 h 246"/>
                <a:gd name="T38" fmla="*/ 147 w 398"/>
                <a:gd name="T39" fmla="*/ 206 h 246"/>
                <a:gd name="T40" fmla="*/ 126 w 398"/>
                <a:gd name="T41" fmla="*/ 194 h 246"/>
                <a:gd name="T42" fmla="*/ 124 w 398"/>
                <a:gd name="T43" fmla="*/ 193 h 246"/>
                <a:gd name="T44" fmla="*/ 40 w 398"/>
                <a:gd name="T45" fmla="*/ 144 h 246"/>
                <a:gd name="T46" fmla="*/ 38 w 398"/>
                <a:gd name="T47" fmla="*/ 143 h 246"/>
                <a:gd name="T48" fmla="*/ 33 w 398"/>
                <a:gd name="T49" fmla="*/ 140 h 246"/>
                <a:gd name="T50" fmla="*/ 26 w 398"/>
                <a:gd name="T51" fmla="*/ 139 h 246"/>
                <a:gd name="T52" fmla="*/ 21 w 398"/>
                <a:gd name="T53" fmla="*/ 138 h 246"/>
                <a:gd name="T54" fmla="*/ 20 w 398"/>
                <a:gd name="T55" fmla="*/ 138 h 246"/>
                <a:gd name="T56" fmla="*/ 15 w 398"/>
                <a:gd name="T57" fmla="*/ 138 h 246"/>
                <a:gd name="T58" fmla="*/ 11 w 398"/>
                <a:gd name="T59" fmla="*/ 136 h 246"/>
                <a:gd name="T60" fmla="*/ 8 w 398"/>
                <a:gd name="T61" fmla="*/ 134 h 246"/>
                <a:gd name="T62" fmla="*/ 6 w 398"/>
                <a:gd name="T63" fmla="*/ 131 h 246"/>
                <a:gd name="T64" fmla="*/ 3 w 398"/>
                <a:gd name="T65" fmla="*/ 128 h 246"/>
                <a:gd name="T66" fmla="*/ 0 w 398"/>
                <a:gd name="T67" fmla="*/ 108 h 246"/>
                <a:gd name="T68" fmla="*/ 7 w 398"/>
                <a:gd name="T69" fmla="*/ 89 h 246"/>
                <a:gd name="T70" fmla="*/ 20 w 398"/>
                <a:gd name="T71" fmla="*/ 70 h 246"/>
                <a:gd name="T72" fmla="*/ 30 w 398"/>
                <a:gd name="T73" fmla="*/ 61 h 246"/>
                <a:gd name="T74" fmla="*/ 43 w 398"/>
                <a:gd name="T75" fmla="*/ 53 h 246"/>
                <a:gd name="T76" fmla="*/ 108 w 398"/>
                <a:gd name="T77" fmla="*/ 15 h 246"/>
                <a:gd name="T78" fmla="*/ 131 w 398"/>
                <a:gd name="T79" fmla="*/ 6 h 246"/>
                <a:gd name="T80" fmla="*/ 157 w 398"/>
                <a:gd name="T8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8" h="246">
                  <a:moveTo>
                    <a:pt x="157" y="0"/>
                  </a:moveTo>
                  <a:lnTo>
                    <a:pt x="184" y="0"/>
                  </a:lnTo>
                  <a:lnTo>
                    <a:pt x="210" y="6"/>
                  </a:lnTo>
                  <a:lnTo>
                    <a:pt x="233" y="15"/>
                  </a:lnTo>
                  <a:lnTo>
                    <a:pt x="360" y="89"/>
                  </a:lnTo>
                  <a:lnTo>
                    <a:pt x="373" y="101"/>
                  </a:lnTo>
                  <a:lnTo>
                    <a:pt x="384" y="115"/>
                  </a:lnTo>
                  <a:lnTo>
                    <a:pt x="393" y="130"/>
                  </a:lnTo>
                  <a:lnTo>
                    <a:pt x="398" y="147"/>
                  </a:lnTo>
                  <a:lnTo>
                    <a:pt x="398" y="161"/>
                  </a:lnTo>
                  <a:lnTo>
                    <a:pt x="394" y="175"/>
                  </a:lnTo>
                  <a:lnTo>
                    <a:pt x="374" y="198"/>
                  </a:lnTo>
                  <a:lnTo>
                    <a:pt x="348" y="217"/>
                  </a:lnTo>
                  <a:lnTo>
                    <a:pt x="319" y="233"/>
                  </a:lnTo>
                  <a:lnTo>
                    <a:pt x="284" y="243"/>
                  </a:lnTo>
                  <a:lnTo>
                    <a:pt x="254" y="246"/>
                  </a:lnTo>
                  <a:lnTo>
                    <a:pt x="225" y="242"/>
                  </a:lnTo>
                  <a:lnTo>
                    <a:pt x="197" y="231"/>
                  </a:lnTo>
                  <a:lnTo>
                    <a:pt x="170" y="219"/>
                  </a:lnTo>
                  <a:lnTo>
                    <a:pt x="147" y="206"/>
                  </a:lnTo>
                  <a:lnTo>
                    <a:pt x="126" y="194"/>
                  </a:lnTo>
                  <a:lnTo>
                    <a:pt x="124" y="193"/>
                  </a:lnTo>
                  <a:lnTo>
                    <a:pt x="40" y="144"/>
                  </a:lnTo>
                  <a:lnTo>
                    <a:pt x="38" y="143"/>
                  </a:lnTo>
                  <a:lnTo>
                    <a:pt x="33" y="140"/>
                  </a:lnTo>
                  <a:lnTo>
                    <a:pt x="26" y="139"/>
                  </a:lnTo>
                  <a:lnTo>
                    <a:pt x="21" y="138"/>
                  </a:lnTo>
                  <a:lnTo>
                    <a:pt x="20" y="138"/>
                  </a:lnTo>
                  <a:lnTo>
                    <a:pt x="15" y="138"/>
                  </a:lnTo>
                  <a:lnTo>
                    <a:pt x="11" y="136"/>
                  </a:lnTo>
                  <a:lnTo>
                    <a:pt x="8" y="134"/>
                  </a:lnTo>
                  <a:lnTo>
                    <a:pt x="6" y="131"/>
                  </a:lnTo>
                  <a:lnTo>
                    <a:pt x="3" y="128"/>
                  </a:lnTo>
                  <a:lnTo>
                    <a:pt x="0" y="108"/>
                  </a:lnTo>
                  <a:lnTo>
                    <a:pt x="7" y="89"/>
                  </a:lnTo>
                  <a:lnTo>
                    <a:pt x="20" y="70"/>
                  </a:lnTo>
                  <a:lnTo>
                    <a:pt x="30" y="61"/>
                  </a:lnTo>
                  <a:lnTo>
                    <a:pt x="43" y="53"/>
                  </a:lnTo>
                  <a:lnTo>
                    <a:pt x="108" y="15"/>
                  </a:lnTo>
                  <a:lnTo>
                    <a:pt x="131" y="6"/>
                  </a:lnTo>
                  <a:lnTo>
                    <a:pt x="157"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82" name="Freeform 453">
              <a:extLst>
                <a:ext uri="{FF2B5EF4-FFF2-40B4-BE49-F238E27FC236}">
                  <a16:creationId xmlns:a16="http://schemas.microsoft.com/office/drawing/2014/main" id="{2DEC7994-52FC-4465-86C9-4E3130E863BA}"/>
                </a:ext>
              </a:extLst>
            </p:cNvPr>
            <p:cNvSpPr>
              <a:spLocks/>
            </p:cNvSpPr>
            <p:nvPr/>
          </p:nvSpPr>
          <p:spPr bwMode="gray">
            <a:xfrm>
              <a:off x="1320785" y="1737042"/>
              <a:ext cx="156720" cy="44617"/>
            </a:xfrm>
            <a:custGeom>
              <a:avLst/>
              <a:gdLst>
                <a:gd name="T0" fmla="*/ 281 w 281"/>
                <a:gd name="T1" fmla="*/ 0 h 80"/>
                <a:gd name="T2" fmla="*/ 279 w 281"/>
                <a:gd name="T3" fmla="*/ 4 h 80"/>
                <a:gd name="T4" fmla="*/ 277 w 281"/>
                <a:gd name="T5" fmla="*/ 9 h 80"/>
                <a:gd name="T6" fmla="*/ 257 w 281"/>
                <a:gd name="T7" fmla="*/ 32 h 80"/>
                <a:gd name="T8" fmla="*/ 231 w 281"/>
                <a:gd name="T9" fmla="*/ 51 h 80"/>
                <a:gd name="T10" fmla="*/ 202 w 281"/>
                <a:gd name="T11" fmla="*/ 67 h 80"/>
                <a:gd name="T12" fmla="*/ 167 w 281"/>
                <a:gd name="T13" fmla="*/ 77 h 80"/>
                <a:gd name="T14" fmla="*/ 137 w 281"/>
                <a:gd name="T15" fmla="*/ 80 h 80"/>
                <a:gd name="T16" fmla="*/ 108 w 281"/>
                <a:gd name="T17" fmla="*/ 76 h 80"/>
                <a:gd name="T18" fmla="*/ 80 w 281"/>
                <a:gd name="T19" fmla="*/ 65 h 80"/>
                <a:gd name="T20" fmla="*/ 53 w 281"/>
                <a:gd name="T21" fmla="*/ 53 h 80"/>
                <a:gd name="T22" fmla="*/ 30 w 281"/>
                <a:gd name="T23" fmla="*/ 40 h 80"/>
                <a:gd name="T24" fmla="*/ 9 w 281"/>
                <a:gd name="T25" fmla="*/ 28 h 80"/>
                <a:gd name="T26" fmla="*/ 7 w 281"/>
                <a:gd name="T27" fmla="*/ 27 h 80"/>
                <a:gd name="T28" fmla="*/ 0 w 281"/>
                <a:gd name="T29" fmla="*/ 23 h 80"/>
                <a:gd name="T30" fmla="*/ 0 w 281"/>
                <a:gd name="T31" fmla="*/ 22 h 80"/>
                <a:gd name="T32" fmla="*/ 18 w 281"/>
                <a:gd name="T33" fmla="*/ 32 h 80"/>
                <a:gd name="T34" fmla="*/ 39 w 281"/>
                <a:gd name="T35" fmla="*/ 44 h 80"/>
                <a:gd name="T36" fmla="*/ 63 w 281"/>
                <a:gd name="T37" fmla="*/ 55 h 80"/>
                <a:gd name="T38" fmla="*/ 87 w 281"/>
                <a:gd name="T39" fmla="*/ 64 h 80"/>
                <a:gd name="T40" fmla="*/ 114 w 281"/>
                <a:gd name="T41" fmla="*/ 72 h 80"/>
                <a:gd name="T42" fmla="*/ 140 w 281"/>
                <a:gd name="T43" fmla="*/ 74 h 80"/>
                <a:gd name="T44" fmla="*/ 167 w 281"/>
                <a:gd name="T45" fmla="*/ 72 h 80"/>
                <a:gd name="T46" fmla="*/ 202 w 281"/>
                <a:gd name="T47" fmla="*/ 62 h 80"/>
                <a:gd name="T48" fmla="*/ 232 w 281"/>
                <a:gd name="T49" fmla="*/ 45 h 80"/>
                <a:gd name="T50" fmla="*/ 259 w 281"/>
                <a:gd name="T51" fmla="*/ 24 h 80"/>
                <a:gd name="T52" fmla="*/ 281 w 281"/>
                <a:gd name="T53" fmla="*/ 0 h 80"/>
                <a:gd name="T54" fmla="*/ 281 w 281"/>
                <a:gd name="T5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1" h="80">
                  <a:moveTo>
                    <a:pt x="281" y="0"/>
                  </a:moveTo>
                  <a:lnTo>
                    <a:pt x="279" y="4"/>
                  </a:lnTo>
                  <a:lnTo>
                    <a:pt x="277" y="9"/>
                  </a:lnTo>
                  <a:lnTo>
                    <a:pt x="257" y="32"/>
                  </a:lnTo>
                  <a:lnTo>
                    <a:pt x="231" y="51"/>
                  </a:lnTo>
                  <a:lnTo>
                    <a:pt x="202" y="67"/>
                  </a:lnTo>
                  <a:lnTo>
                    <a:pt x="167" y="77"/>
                  </a:lnTo>
                  <a:lnTo>
                    <a:pt x="137" y="80"/>
                  </a:lnTo>
                  <a:lnTo>
                    <a:pt x="108" y="76"/>
                  </a:lnTo>
                  <a:lnTo>
                    <a:pt x="80" y="65"/>
                  </a:lnTo>
                  <a:lnTo>
                    <a:pt x="53" y="53"/>
                  </a:lnTo>
                  <a:lnTo>
                    <a:pt x="30" y="40"/>
                  </a:lnTo>
                  <a:lnTo>
                    <a:pt x="9" y="28"/>
                  </a:lnTo>
                  <a:lnTo>
                    <a:pt x="7" y="27"/>
                  </a:lnTo>
                  <a:lnTo>
                    <a:pt x="0" y="23"/>
                  </a:lnTo>
                  <a:lnTo>
                    <a:pt x="0" y="22"/>
                  </a:lnTo>
                  <a:lnTo>
                    <a:pt x="18" y="32"/>
                  </a:lnTo>
                  <a:lnTo>
                    <a:pt x="39" y="44"/>
                  </a:lnTo>
                  <a:lnTo>
                    <a:pt x="63" y="55"/>
                  </a:lnTo>
                  <a:lnTo>
                    <a:pt x="87" y="64"/>
                  </a:lnTo>
                  <a:lnTo>
                    <a:pt x="114" y="72"/>
                  </a:lnTo>
                  <a:lnTo>
                    <a:pt x="140" y="74"/>
                  </a:lnTo>
                  <a:lnTo>
                    <a:pt x="167" y="72"/>
                  </a:lnTo>
                  <a:lnTo>
                    <a:pt x="202" y="62"/>
                  </a:lnTo>
                  <a:lnTo>
                    <a:pt x="232" y="45"/>
                  </a:lnTo>
                  <a:lnTo>
                    <a:pt x="259" y="24"/>
                  </a:lnTo>
                  <a:lnTo>
                    <a:pt x="281" y="0"/>
                  </a:lnTo>
                  <a:lnTo>
                    <a:pt x="281"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83" name="Freeform 454">
              <a:extLst>
                <a:ext uri="{FF2B5EF4-FFF2-40B4-BE49-F238E27FC236}">
                  <a16:creationId xmlns:a16="http://schemas.microsoft.com/office/drawing/2014/main" id="{1F09EBD2-43C6-433B-BEDF-B500C0F5FE6C}"/>
                </a:ext>
              </a:extLst>
            </p:cNvPr>
            <p:cNvSpPr>
              <a:spLocks/>
            </p:cNvSpPr>
            <p:nvPr/>
          </p:nvSpPr>
          <p:spPr bwMode="gray">
            <a:xfrm>
              <a:off x="1255531" y="1674577"/>
              <a:ext cx="22309" cy="50195"/>
            </a:xfrm>
            <a:custGeom>
              <a:avLst/>
              <a:gdLst>
                <a:gd name="T0" fmla="*/ 40 w 40"/>
                <a:gd name="T1" fmla="*/ 0 h 90"/>
                <a:gd name="T2" fmla="*/ 40 w 40"/>
                <a:gd name="T3" fmla="*/ 90 h 90"/>
                <a:gd name="T4" fmla="*/ 38 w 40"/>
                <a:gd name="T5" fmla="*/ 89 h 90"/>
                <a:gd name="T6" fmla="*/ 33 w 40"/>
                <a:gd name="T7" fmla="*/ 86 h 90"/>
                <a:gd name="T8" fmla="*/ 26 w 40"/>
                <a:gd name="T9" fmla="*/ 85 h 90"/>
                <a:gd name="T10" fmla="*/ 21 w 40"/>
                <a:gd name="T11" fmla="*/ 84 h 90"/>
                <a:gd name="T12" fmla="*/ 20 w 40"/>
                <a:gd name="T13" fmla="*/ 84 h 90"/>
                <a:gd name="T14" fmla="*/ 15 w 40"/>
                <a:gd name="T15" fmla="*/ 84 h 90"/>
                <a:gd name="T16" fmla="*/ 11 w 40"/>
                <a:gd name="T17" fmla="*/ 82 h 90"/>
                <a:gd name="T18" fmla="*/ 8 w 40"/>
                <a:gd name="T19" fmla="*/ 80 h 90"/>
                <a:gd name="T20" fmla="*/ 6 w 40"/>
                <a:gd name="T21" fmla="*/ 77 h 90"/>
                <a:gd name="T22" fmla="*/ 3 w 40"/>
                <a:gd name="T23" fmla="*/ 74 h 90"/>
                <a:gd name="T24" fmla="*/ 0 w 40"/>
                <a:gd name="T25" fmla="*/ 54 h 90"/>
                <a:gd name="T26" fmla="*/ 7 w 40"/>
                <a:gd name="T27" fmla="*/ 35 h 90"/>
                <a:gd name="T28" fmla="*/ 20 w 40"/>
                <a:gd name="T29" fmla="*/ 16 h 90"/>
                <a:gd name="T30" fmla="*/ 29 w 40"/>
                <a:gd name="T31" fmla="*/ 8 h 90"/>
                <a:gd name="T32" fmla="*/ 40 w 40"/>
                <a:gd name="T3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90">
                  <a:moveTo>
                    <a:pt x="40" y="0"/>
                  </a:moveTo>
                  <a:lnTo>
                    <a:pt x="40" y="90"/>
                  </a:lnTo>
                  <a:lnTo>
                    <a:pt x="38" y="89"/>
                  </a:lnTo>
                  <a:lnTo>
                    <a:pt x="33" y="86"/>
                  </a:lnTo>
                  <a:lnTo>
                    <a:pt x="26" y="85"/>
                  </a:lnTo>
                  <a:lnTo>
                    <a:pt x="21" y="84"/>
                  </a:lnTo>
                  <a:lnTo>
                    <a:pt x="20" y="84"/>
                  </a:lnTo>
                  <a:lnTo>
                    <a:pt x="15" y="84"/>
                  </a:lnTo>
                  <a:lnTo>
                    <a:pt x="11" y="82"/>
                  </a:lnTo>
                  <a:lnTo>
                    <a:pt x="8" y="80"/>
                  </a:lnTo>
                  <a:lnTo>
                    <a:pt x="6" y="77"/>
                  </a:lnTo>
                  <a:lnTo>
                    <a:pt x="3" y="74"/>
                  </a:lnTo>
                  <a:lnTo>
                    <a:pt x="0" y="54"/>
                  </a:lnTo>
                  <a:lnTo>
                    <a:pt x="7" y="35"/>
                  </a:lnTo>
                  <a:lnTo>
                    <a:pt x="20" y="16"/>
                  </a:lnTo>
                  <a:lnTo>
                    <a:pt x="29" y="8"/>
                  </a:lnTo>
                  <a:lnTo>
                    <a:pt x="40"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84" name="Freeform 455">
              <a:extLst>
                <a:ext uri="{FF2B5EF4-FFF2-40B4-BE49-F238E27FC236}">
                  <a16:creationId xmlns:a16="http://schemas.microsoft.com/office/drawing/2014/main" id="{12526E32-4448-48C4-8E63-C01ECB715E6B}"/>
                </a:ext>
              </a:extLst>
            </p:cNvPr>
            <p:cNvSpPr>
              <a:spLocks/>
            </p:cNvSpPr>
            <p:nvPr/>
          </p:nvSpPr>
          <p:spPr bwMode="gray">
            <a:xfrm>
              <a:off x="1265012" y="1610996"/>
              <a:ext cx="162297" cy="149470"/>
            </a:xfrm>
            <a:custGeom>
              <a:avLst/>
              <a:gdLst>
                <a:gd name="T0" fmla="*/ 101 w 291"/>
                <a:gd name="T1" fmla="*/ 0 h 268"/>
                <a:gd name="T2" fmla="*/ 126 w 291"/>
                <a:gd name="T3" fmla="*/ 9 h 268"/>
                <a:gd name="T4" fmla="*/ 146 w 291"/>
                <a:gd name="T5" fmla="*/ 18 h 268"/>
                <a:gd name="T6" fmla="*/ 163 w 291"/>
                <a:gd name="T7" fmla="*/ 30 h 268"/>
                <a:gd name="T8" fmla="*/ 189 w 291"/>
                <a:gd name="T9" fmla="*/ 53 h 268"/>
                <a:gd name="T10" fmla="*/ 211 w 291"/>
                <a:gd name="T11" fmla="*/ 80 h 268"/>
                <a:gd name="T12" fmla="*/ 230 w 291"/>
                <a:gd name="T13" fmla="*/ 108 h 268"/>
                <a:gd name="T14" fmla="*/ 245 w 291"/>
                <a:gd name="T15" fmla="*/ 139 h 268"/>
                <a:gd name="T16" fmla="*/ 261 w 291"/>
                <a:gd name="T17" fmla="*/ 172 h 268"/>
                <a:gd name="T18" fmla="*/ 275 w 291"/>
                <a:gd name="T19" fmla="*/ 205 h 268"/>
                <a:gd name="T20" fmla="*/ 289 w 291"/>
                <a:gd name="T21" fmla="*/ 245 h 268"/>
                <a:gd name="T22" fmla="*/ 291 w 291"/>
                <a:gd name="T23" fmla="*/ 252 h 268"/>
                <a:gd name="T24" fmla="*/ 263 w 291"/>
                <a:gd name="T25" fmla="*/ 261 h 268"/>
                <a:gd name="T26" fmla="*/ 259 w 291"/>
                <a:gd name="T27" fmla="*/ 262 h 268"/>
                <a:gd name="T28" fmla="*/ 257 w 291"/>
                <a:gd name="T29" fmla="*/ 262 h 268"/>
                <a:gd name="T30" fmla="*/ 254 w 291"/>
                <a:gd name="T31" fmla="*/ 263 h 268"/>
                <a:gd name="T32" fmla="*/ 223 w 291"/>
                <a:gd name="T33" fmla="*/ 267 h 268"/>
                <a:gd name="T34" fmla="*/ 186 w 291"/>
                <a:gd name="T35" fmla="*/ 268 h 268"/>
                <a:gd name="T36" fmla="*/ 146 w 291"/>
                <a:gd name="T37" fmla="*/ 263 h 268"/>
                <a:gd name="T38" fmla="*/ 109 w 291"/>
                <a:gd name="T39" fmla="*/ 254 h 268"/>
                <a:gd name="T40" fmla="*/ 107 w 291"/>
                <a:gd name="T41" fmla="*/ 253 h 268"/>
                <a:gd name="T42" fmla="*/ 23 w 291"/>
                <a:gd name="T43" fmla="*/ 204 h 268"/>
                <a:gd name="T44" fmla="*/ 8 w 291"/>
                <a:gd name="T45" fmla="*/ 182 h 268"/>
                <a:gd name="T46" fmla="*/ 0 w 291"/>
                <a:gd name="T47" fmla="*/ 161 h 268"/>
                <a:gd name="T48" fmla="*/ 1 w 291"/>
                <a:gd name="T49" fmla="*/ 137 h 268"/>
                <a:gd name="T50" fmla="*/ 3 w 291"/>
                <a:gd name="T51" fmla="*/ 130 h 268"/>
                <a:gd name="T52" fmla="*/ 12 w 291"/>
                <a:gd name="T53" fmla="*/ 103 h 268"/>
                <a:gd name="T54" fmla="*/ 25 w 291"/>
                <a:gd name="T55" fmla="*/ 77 h 268"/>
                <a:gd name="T56" fmla="*/ 40 w 291"/>
                <a:gd name="T57" fmla="*/ 53 h 268"/>
                <a:gd name="T58" fmla="*/ 59 w 291"/>
                <a:gd name="T59" fmla="*/ 31 h 268"/>
                <a:gd name="T60" fmla="*/ 66 w 291"/>
                <a:gd name="T61" fmla="*/ 25 h 268"/>
                <a:gd name="T62" fmla="*/ 78 w 291"/>
                <a:gd name="T63" fmla="*/ 14 h 268"/>
                <a:gd name="T64" fmla="*/ 93 w 291"/>
                <a:gd name="T65" fmla="*/ 5 h 268"/>
                <a:gd name="T66" fmla="*/ 101 w 291"/>
                <a:gd name="T67"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1" h="268">
                  <a:moveTo>
                    <a:pt x="101" y="0"/>
                  </a:moveTo>
                  <a:lnTo>
                    <a:pt x="126" y="9"/>
                  </a:lnTo>
                  <a:lnTo>
                    <a:pt x="146" y="18"/>
                  </a:lnTo>
                  <a:lnTo>
                    <a:pt x="163" y="30"/>
                  </a:lnTo>
                  <a:lnTo>
                    <a:pt x="189" y="53"/>
                  </a:lnTo>
                  <a:lnTo>
                    <a:pt x="211" y="80"/>
                  </a:lnTo>
                  <a:lnTo>
                    <a:pt x="230" y="108"/>
                  </a:lnTo>
                  <a:lnTo>
                    <a:pt x="245" y="139"/>
                  </a:lnTo>
                  <a:lnTo>
                    <a:pt x="261" y="172"/>
                  </a:lnTo>
                  <a:lnTo>
                    <a:pt x="275" y="205"/>
                  </a:lnTo>
                  <a:lnTo>
                    <a:pt x="289" y="245"/>
                  </a:lnTo>
                  <a:lnTo>
                    <a:pt x="291" y="252"/>
                  </a:lnTo>
                  <a:lnTo>
                    <a:pt x="263" y="261"/>
                  </a:lnTo>
                  <a:lnTo>
                    <a:pt x="259" y="262"/>
                  </a:lnTo>
                  <a:lnTo>
                    <a:pt x="257" y="262"/>
                  </a:lnTo>
                  <a:lnTo>
                    <a:pt x="254" y="263"/>
                  </a:lnTo>
                  <a:lnTo>
                    <a:pt x="223" y="267"/>
                  </a:lnTo>
                  <a:lnTo>
                    <a:pt x="186" y="268"/>
                  </a:lnTo>
                  <a:lnTo>
                    <a:pt x="146" y="263"/>
                  </a:lnTo>
                  <a:lnTo>
                    <a:pt x="109" y="254"/>
                  </a:lnTo>
                  <a:lnTo>
                    <a:pt x="107" y="253"/>
                  </a:lnTo>
                  <a:lnTo>
                    <a:pt x="23" y="204"/>
                  </a:lnTo>
                  <a:lnTo>
                    <a:pt x="8" y="182"/>
                  </a:lnTo>
                  <a:lnTo>
                    <a:pt x="0" y="161"/>
                  </a:lnTo>
                  <a:lnTo>
                    <a:pt x="1" y="137"/>
                  </a:lnTo>
                  <a:lnTo>
                    <a:pt x="3" y="130"/>
                  </a:lnTo>
                  <a:lnTo>
                    <a:pt x="12" y="103"/>
                  </a:lnTo>
                  <a:lnTo>
                    <a:pt x="25" y="77"/>
                  </a:lnTo>
                  <a:lnTo>
                    <a:pt x="40" y="53"/>
                  </a:lnTo>
                  <a:lnTo>
                    <a:pt x="59" y="31"/>
                  </a:lnTo>
                  <a:lnTo>
                    <a:pt x="66" y="25"/>
                  </a:lnTo>
                  <a:lnTo>
                    <a:pt x="78" y="14"/>
                  </a:lnTo>
                  <a:lnTo>
                    <a:pt x="93" y="5"/>
                  </a:lnTo>
                  <a:lnTo>
                    <a:pt x="101"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85" name="Freeform 456">
              <a:extLst>
                <a:ext uri="{FF2B5EF4-FFF2-40B4-BE49-F238E27FC236}">
                  <a16:creationId xmlns:a16="http://schemas.microsoft.com/office/drawing/2014/main" id="{0CD5A4AC-CDC8-4545-B030-A6B3E5BDEAA2}"/>
                </a:ext>
              </a:extLst>
            </p:cNvPr>
            <p:cNvSpPr>
              <a:spLocks/>
            </p:cNvSpPr>
            <p:nvPr/>
          </p:nvSpPr>
          <p:spPr bwMode="gray">
            <a:xfrm>
              <a:off x="1265011" y="1610996"/>
              <a:ext cx="116006" cy="149470"/>
            </a:xfrm>
            <a:custGeom>
              <a:avLst/>
              <a:gdLst>
                <a:gd name="T0" fmla="*/ 101 w 208"/>
                <a:gd name="T1" fmla="*/ 0 h 268"/>
                <a:gd name="T2" fmla="*/ 109 w 208"/>
                <a:gd name="T3" fmla="*/ 4 h 268"/>
                <a:gd name="T4" fmla="*/ 107 w 208"/>
                <a:gd name="T5" fmla="*/ 5 h 268"/>
                <a:gd name="T6" fmla="*/ 93 w 208"/>
                <a:gd name="T7" fmla="*/ 14 h 268"/>
                <a:gd name="T8" fmla="*/ 80 w 208"/>
                <a:gd name="T9" fmla="*/ 25 h 268"/>
                <a:gd name="T10" fmla="*/ 73 w 208"/>
                <a:gd name="T11" fmla="*/ 31 h 268"/>
                <a:gd name="T12" fmla="*/ 54 w 208"/>
                <a:gd name="T13" fmla="*/ 53 h 268"/>
                <a:gd name="T14" fmla="*/ 39 w 208"/>
                <a:gd name="T15" fmla="*/ 77 h 268"/>
                <a:gd name="T16" fmla="*/ 26 w 208"/>
                <a:gd name="T17" fmla="*/ 103 h 268"/>
                <a:gd name="T18" fmla="*/ 17 w 208"/>
                <a:gd name="T19" fmla="*/ 130 h 268"/>
                <a:gd name="T20" fmla="*/ 17 w 208"/>
                <a:gd name="T21" fmla="*/ 149 h 268"/>
                <a:gd name="T22" fmla="*/ 23 w 208"/>
                <a:gd name="T23" fmla="*/ 168 h 268"/>
                <a:gd name="T24" fmla="*/ 36 w 208"/>
                <a:gd name="T25" fmla="*/ 189 h 268"/>
                <a:gd name="T26" fmla="*/ 55 w 208"/>
                <a:gd name="T27" fmla="*/ 207 h 268"/>
                <a:gd name="T28" fmla="*/ 80 w 208"/>
                <a:gd name="T29" fmla="*/ 223 h 268"/>
                <a:gd name="T30" fmla="*/ 108 w 208"/>
                <a:gd name="T31" fmla="*/ 239 h 268"/>
                <a:gd name="T32" fmla="*/ 139 w 208"/>
                <a:gd name="T33" fmla="*/ 252 h 268"/>
                <a:gd name="T34" fmla="*/ 172 w 208"/>
                <a:gd name="T35" fmla="*/ 262 h 268"/>
                <a:gd name="T36" fmla="*/ 208 w 208"/>
                <a:gd name="T37" fmla="*/ 268 h 268"/>
                <a:gd name="T38" fmla="*/ 175 w 208"/>
                <a:gd name="T39" fmla="*/ 267 h 268"/>
                <a:gd name="T40" fmla="*/ 141 w 208"/>
                <a:gd name="T41" fmla="*/ 262 h 268"/>
                <a:gd name="T42" fmla="*/ 109 w 208"/>
                <a:gd name="T43" fmla="*/ 254 h 268"/>
                <a:gd name="T44" fmla="*/ 107 w 208"/>
                <a:gd name="T45" fmla="*/ 253 h 268"/>
                <a:gd name="T46" fmla="*/ 23 w 208"/>
                <a:gd name="T47" fmla="*/ 204 h 268"/>
                <a:gd name="T48" fmla="*/ 8 w 208"/>
                <a:gd name="T49" fmla="*/ 182 h 268"/>
                <a:gd name="T50" fmla="*/ 0 w 208"/>
                <a:gd name="T51" fmla="*/ 161 h 268"/>
                <a:gd name="T52" fmla="*/ 1 w 208"/>
                <a:gd name="T53" fmla="*/ 137 h 268"/>
                <a:gd name="T54" fmla="*/ 3 w 208"/>
                <a:gd name="T55" fmla="*/ 130 h 268"/>
                <a:gd name="T56" fmla="*/ 12 w 208"/>
                <a:gd name="T57" fmla="*/ 103 h 268"/>
                <a:gd name="T58" fmla="*/ 25 w 208"/>
                <a:gd name="T59" fmla="*/ 77 h 268"/>
                <a:gd name="T60" fmla="*/ 40 w 208"/>
                <a:gd name="T61" fmla="*/ 53 h 268"/>
                <a:gd name="T62" fmla="*/ 59 w 208"/>
                <a:gd name="T63" fmla="*/ 31 h 268"/>
                <a:gd name="T64" fmla="*/ 66 w 208"/>
                <a:gd name="T65" fmla="*/ 25 h 268"/>
                <a:gd name="T66" fmla="*/ 78 w 208"/>
                <a:gd name="T67" fmla="*/ 14 h 268"/>
                <a:gd name="T68" fmla="*/ 93 w 208"/>
                <a:gd name="T69" fmla="*/ 5 h 268"/>
                <a:gd name="T70" fmla="*/ 101 w 208"/>
                <a:gd name="T7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8" h="268">
                  <a:moveTo>
                    <a:pt x="101" y="0"/>
                  </a:moveTo>
                  <a:lnTo>
                    <a:pt x="109" y="4"/>
                  </a:lnTo>
                  <a:lnTo>
                    <a:pt x="107" y="5"/>
                  </a:lnTo>
                  <a:lnTo>
                    <a:pt x="93" y="14"/>
                  </a:lnTo>
                  <a:lnTo>
                    <a:pt x="80" y="25"/>
                  </a:lnTo>
                  <a:lnTo>
                    <a:pt x="73" y="31"/>
                  </a:lnTo>
                  <a:lnTo>
                    <a:pt x="54" y="53"/>
                  </a:lnTo>
                  <a:lnTo>
                    <a:pt x="39" y="77"/>
                  </a:lnTo>
                  <a:lnTo>
                    <a:pt x="26" y="103"/>
                  </a:lnTo>
                  <a:lnTo>
                    <a:pt x="17" y="130"/>
                  </a:lnTo>
                  <a:lnTo>
                    <a:pt x="17" y="149"/>
                  </a:lnTo>
                  <a:lnTo>
                    <a:pt x="23" y="168"/>
                  </a:lnTo>
                  <a:lnTo>
                    <a:pt x="36" y="189"/>
                  </a:lnTo>
                  <a:lnTo>
                    <a:pt x="55" y="207"/>
                  </a:lnTo>
                  <a:lnTo>
                    <a:pt x="80" y="223"/>
                  </a:lnTo>
                  <a:lnTo>
                    <a:pt x="108" y="239"/>
                  </a:lnTo>
                  <a:lnTo>
                    <a:pt x="139" y="252"/>
                  </a:lnTo>
                  <a:lnTo>
                    <a:pt x="172" y="262"/>
                  </a:lnTo>
                  <a:lnTo>
                    <a:pt x="208" y="268"/>
                  </a:lnTo>
                  <a:lnTo>
                    <a:pt x="175" y="267"/>
                  </a:lnTo>
                  <a:lnTo>
                    <a:pt x="141" y="262"/>
                  </a:lnTo>
                  <a:lnTo>
                    <a:pt x="109" y="254"/>
                  </a:lnTo>
                  <a:lnTo>
                    <a:pt x="107" y="253"/>
                  </a:lnTo>
                  <a:lnTo>
                    <a:pt x="23" y="204"/>
                  </a:lnTo>
                  <a:lnTo>
                    <a:pt x="8" y="182"/>
                  </a:lnTo>
                  <a:lnTo>
                    <a:pt x="0" y="161"/>
                  </a:lnTo>
                  <a:lnTo>
                    <a:pt x="1" y="137"/>
                  </a:lnTo>
                  <a:lnTo>
                    <a:pt x="3" y="130"/>
                  </a:lnTo>
                  <a:lnTo>
                    <a:pt x="12" y="103"/>
                  </a:lnTo>
                  <a:lnTo>
                    <a:pt x="25" y="77"/>
                  </a:lnTo>
                  <a:lnTo>
                    <a:pt x="40" y="53"/>
                  </a:lnTo>
                  <a:lnTo>
                    <a:pt x="59" y="31"/>
                  </a:lnTo>
                  <a:lnTo>
                    <a:pt x="66" y="25"/>
                  </a:lnTo>
                  <a:lnTo>
                    <a:pt x="78" y="14"/>
                  </a:lnTo>
                  <a:lnTo>
                    <a:pt x="93" y="5"/>
                  </a:lnTo>
                  <a:lnTo>
                    <a:pt x="101"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86" name="Freeform 457">
              <a:extLst>
                <a:ext uri="{FF2B5EF4-FFF2-40B4-BE49-F238E27FC236}">
                  <a16:creationId xmlns:a16="http://schemas.microsoft.com/office/drawing/2014/main" id="{3A010F4D-FC4D-45FE-AACD-05C4B37BC4EB}"/>
                </a:ext>
              </a:extLst>
            </p:cNvPr>
            <p:cNvSpPr>
              <a:spLocks/>
            </p:cNvSpPr>
            <p:nvPr/>
          </p:nvSpPr>
          <p:spPr bwMode="gray">
            <a:xfrm>
              <a:off x="1321340" y="1604862"/>
              <a:ext cx="137198" cy="145565"/>
            </a:xfrm>
            <a:custGeom>
              <a:avLst/>
              <a:gdLst>
                <a:gd name="T0" fmla="*/ 44 w 246"/>
                <a:gd name="T1" fmla="*/ 0 h 261"/>
                <a:gd name="T2" fmla="*/ 74 w 246"/>
                <a:gd name="T3" fmla="*/ 1 h 261"/>
                <a:gd name="T4" fmla="*/ 99 w 246"/>
                <a:gd name="T5" fmla="*/ 6 h 261"/>
                <a:gd name="T6" fmla="*/ 131 w 246"/>
                <a:gd name="T7" fmla="*/ 18 h 261"/>
                <a:gd name="T8" fmla="*/ 161 w 246"/>
                <a:gd name="T9" fmla="*/ 34 h 261"/>
                <a:gd name="T10" fmla="*/ 185 w 246"/>
                <a:gd name="T11" fmla="*/ 56 h 261"/>
                <a:gd name="T12" fmla="*/ 204 w 246"/>
                <a:gd name="T13" fmla="*/ 79 h 261"/>
                <a:gd name="T14" fmla="*/ 221 w 246"/>
                <a:gd name="T15" fmla="*/ 105 h 261"/>
                <a:gd name="T16" fmla="*/ 234 w 246"/>
                <a:gd name="T17" fmla="*/ 132 h 261"/>
                <a:gd name="T18" fmla="*/ 242 w 246"/>
                <a:gd name="T19" fmla="*/ 160 h 261"/>
                <a:gd name="T20" fmla="*/ 246 w 246"/>
                <a:gd name="T21" fmla="*/ 191 h 261"/>
                <a:gd name="T22" fmla="*/ 246 w 246"/>
                <a:gd name="T23" fmla="*/ 196 h 261"/>
                <a:gd name="T24" fmla="*/ 242 w 246"/>
                <a:gd name="T25" fmla="*/ 215 h 261"/>
                <a:gd name="T26" fmla="*/ 231 w 246"/>
                <a:gd name="T27" fmla="*/ 233 h 261"/>
                <a:gd name="T28" fmla="*/ 228 w 246"/>
                <a:gd name="T29" fmla="*/ 238 h 261"/>
                <a:gd name="T30" fmla="*/ 222 w 246"/>
                <a:gd name="T31" fmla="*/ 242 h 261"/>
                <a:gd name="T32" fmla="*/ 220 w 246"/>
                <a:gd name="T33" fmla="*/ 245 h 261"/>
                <a:gd name="T34" fmla="*/ 216 w 246"/>
                <a:gd name="T35" fmla="*/ 247 h 261"/>
                <a:gd name="T36" fmla="*/ 216 w 246"/>
                <a:gd name="T37" fmla="*/ 249 h 261"/>
                <a:gd name="T38" fmla="*/ 213 w 246"/>
                <a:gd name="T39" fmla="*/ 249 h 261"/>
                <a:gd name="T40" fmla="*/ 204 w 246"/>
                <a:gd name="T41" fmla="*/ 255 h 261"/>
                <a:gd name="T42" fmla="*/ 193 w 246"/>
                <a:gd name="T43" fmla="*/ 261 h 261"/>
                <a:gd name="T44" fmla="*/ 188 w 246"/>
                <a:gd name="T45" fmla="*/ 250 h 261"/>
                <a:gd name="T46" fmla="*/ 172 w 246"/>
                <a:gd name="T47" fmla="*/ 206 h 261"/>
                <a:gd name="T48" fmla="*/ 154 w 246"/>
                <a:gd name="T49" fmla="*/ 163 h 261"/>
                <a:gd name="T50" fmla="*/ 131 w 246"/>
                <a:gd name="T51" fmla="*/ 120 h 261"/>
                <a:gd name="T52" fmla="*/ 104 w 246"/>
                <a:gd name="T53" fmla="*/ 80 h 261"/>
                <a:gd name="T54" fmla="*/ 81 w 246"/>
                <a:gd name="T55" fmla="*/ 55 h 261"/>
                <a:gd name="T56" fmla="*/ 54 w 246"/>
                <a:gd name="T57" fmla="*/ 33 h 261"/>
                <a:gd name="T58" fmla="*/ 38 w 246"/>
                <a:gd name="T59" fmla="*/ 24 h 261"/>
                <a:gd name="T60" fmla="*/ 20 w 246"/>
                <a:gd name="T61" fmla="*/ 18 h 261"/>
                <a:gd name="T62" fmla="*/ 0 w 246"/>
                <a:gd name="T63" fmla="*/ 11 h 261"/>
                <a:gd name="T64" fmla="*/ 9 w 246"/>
                <a:gd name="T65" fmla="*/ 7 h 261"/>
                <a:gd name="T66" fmla="*/ 18 w 246"/>
                <a:gd name="T67" fmla="*/ 5 h 261"/>
                <a:gd name="T68" fmla="*/ 44 w 246"/>
                <a:gd name="T69"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6" h="261">
                  <a:moveTo>
                    <a:pt x="44" y="0"/>
                  </a:moveTo>
                  <a:lnTo>
                    <a:pt x="74" y="1"/>
                  </a:lnTo>
                  <a:lnTo>
                    <a:pt x="99" y="6"/>
                  </a:lnTo>
                  <a:lnTo>
                    <a:pt x="131" y="18"/>
                  </a:lnTo>
                  <a:lnTo>
                    <a:pt x="161" y="34"/>
                  </a:lnTo>
                  <a:lnTo>
                    <a:pt x="185" y="56"/>
                  </a:lnTo>
                  <a:lnTo>
                    <a:pt x="204" y="79"/>
                  </a:lnTo>
                  <a:lnTo>
                    <a:pt x="221" y="105"/>
                  </a:lnTo>
                  <a:lnTo>
                    <a:pt x="234" y="132"/>
                  </a:lnTo>
                  <a:lnTo>
                    <a:pt x="242" y="160"/>
                  </a:lnTo>
                  <a:lnTo>
                    <a:pt x="246" y="191"/>
                  </a:lnTo>
                  <a:lnTo>
                    <a:pt x="246" y="196"/>
                  </a:lnTo>
                  <a:lnTo>
                    <a:pt x="242" y="215"/>
                  </a:lnTo>
                  <a:lnTo>
                    <a:pt x="231" y="233"/>
                  </a:lnTo>
                  <a:lnTo>
                    <a:pt x="228" y="238"/>
                  </a:lnTo>
                  <a:lnTo>
                    <a:pt x="222" y="242"/>
                  </a:lnTo>
                  <a:lnTo>
                    <a:pt x="220" y="245"/>
                  </a:lnTo>
                  <a:lnTo>
                    <a:pt x="216" y="247"/>
                  </a:lnTo>
                  <a:lnTo>
                    <a:pt x="216" y="249"/>
                  </a:lnTo>
                  <a:lnTo>
                    <a:pt x="213" y="249"/>
                  </a:lnTo>
                  <a:lnTo>
                    <a:pt x="204" y="255"/>
                  </a:lnTo>
                  <a:lnTo>
                    <a:pt x="193" y="261"/>
                  </a:lnTo>
                  <a:lnTo>
                    <a:pt x="188" y="250"/>
                  </a:lnTo>
                  <a:lnTo>
                    <a:pt x="172" y="206"/>
                  </a:lnTo>
                  <a:lnTo>
                    <a:pt x="154" y="163"/>
                  </a:lnTo>
                  <a:lnTo>
                    <a:pt x="131" y="120"/>
                  </a:lnTo>
                  <a:lnTo>
                    <a:pt x="104" y="80"/>
                  </a:lnTo>
                  <a:lnTo>
                    <a:pt x="81" y="55"/>
                  </a:lnTo>
                  <a:lnTo>
                    <a:pt x="54" y="33"/>
                  </a:lnTo>
                  <a:lnTo>
                    <a:pt x="38" y="24"/>
                  </a:lnTo>
                  <a:lnTo>
                    <a:pt x="20" y="18"/>
                  </a:lnTo>
                  <a:lnTo>
                    <a:pt x="0" y="11"/>
                  </a:lnTo>
                  <a:lnTo>
                    <a:pt x="9" y="7"/>
                  </a:lnTo>
                  <a:lnTo>
                    <a:pt x="18" y="5"/>
                  </a:lnTo>
                  <a:lnTo>
                    <a:pt x="44"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87" name="Freeform 458">
              <a:extLst>
                <a:ext uri="{FF2B5EF4-FFF2-40B4-BE49-F238E27FC236}">
                  <a16:creationId xmlns:a16="http://schemas.microsoft.com/office/drawing/2014/main" id="{47F7C690-F0D0-40A7-BC86-CCCA6F824BEF}"/>
                </a:ext>
              </a:extLst>
            </p:cNvPr>
            <p:cNvSpPr>
              <a:spLocks/>
            </p:cNvSpPr>
            <p:nvPr/>
          </p:nvSpPr>
          <p:spPr bwMode="gray">
            <a:xfrm>
              <a:off x="1301820" y="1602631"/>
              <a:ext cx="148353" cy="154489"/>
            </a:xfrm>
            <a:custGeom>
              <a:avLst/>
              <a:gdLst>
                <a:gd name="T0" fmla="*/ 87 w 266"/>
                <a:gd name="T1" fmla="*/ 0 h 277"/>
                <a:gd name="T2" fmla="*/ 109 w 266"/>
                <a:gd name="T3" fmla="*/ 5 h 277"/>
                <a:gd name="T4" fmla="*/ 139 w 266"/>
                <a:gd name="T5" fmla="*/ 16 h 277"/>
                <a:gd name="T6" fmla="*/ 166 w 266"/>
                <a:gd name="T7" fmla="*/ 33 h 277"/>
                <a:gd name="T8" fmla="*/ 189 w 266"/>
                <a:gd name="T9" fmla="*/ 54 h 277"/>
                <a:gd name="T10" fmla="*/ 210 w 266"/>
                <a:gd name="T11" fmla="*/ 77 h 277"/>
                <a:gd name="T12" fmla="*/ 227 w 266"/>
                <a:gd name="T13" fmla="*/ 101 h 277"/>
                <a:gd name="T14" fmla="*/ 241 w 266"/>
                <a:gd name="T15" fmla="*/ 128 h 277"/>
                <a:gd name="T16" fmla="*/ 251 w 266"/>
                <a:gd name="T17" fmla="*/ 154 h 277"/>
                <a:gd name="T18" fmla="*/ 259 w 266"/>
                <a:gd name="T19" fmla="*/ 179 h 277"/>
                <a:gd name="T20" fmla="*/ 261 w 266"/>
                <a:gd name="T21" fmla="*/ 191 h 277"/>
                <a:gd name="T22" fmla="*/ 263 w 266"/>
                <a:gd name="T23" fmla="*/ 205 h 277"/>
                <a:gd name="T24" fmla="*/ 263 w 266"/>
                <a:gd name="T25" fmla="*/ 205 h 277"/>
                <a:gd name="T26" fmla="*/ 264 w 266"/>
                <a:gd name="T27" fmla="*/ 218 h 277"/>
                <a:gd name="T28" fmla="*/ 265 w 266"/>
                <a:gd name="T29" fmla="*/ 229 h 277"/>
                <a:gd name="T30" fmla="*/ 266 w 266"/>
                <a:gd name="T31" fmla="*/ 237 h 277"/>
                <a:gd name="T32" fmla="*/ 255 w 266"/>
                <a:gd name="T33" fmla="*/ 249 h 277"/>
                <a:gd name="T34" fmla="*/ 239 w 266"/>
                <a:gd name="T35" fmla="*/ 259 h 277"/>
                <a:gd name="T36" fmla="*/ 219 w 266"/>
                <a:gd name="T37" fmla="*/ 269 h 277"/>
                <a:gd name="T38" fmla="*/ 197 w 266"/>
                <a:gd name="T39" fmla="*/ 276 h 277"/>
                <a:gd name="T40" fmla="*/ 193 w 266"/>
                <a:gd name="T41" fmla="*/ 277 h 277"/>
                <a:gd name="T42" fmla="*/ 193 w 266"/>
                <a:gd name="T43" fmla="*/ 267 h 277"/>
                <a:gd name="T44" fmla="*/ 191 w 266"/>
                <a:gd name="T45" fmla="*/ 250 h 277"/>
                <a:gd name="T46" fmla="*/ 189 w 266"/>
                <a:gd name="T47" fmla="*/ 233 h 277"/>
                <a:gd name="T48" fmla="*/ 187 w 266"/>
                <a:gd name="T49" fmla="*/ 215 h 277"/>
                <a:gd name="T50" fmla="*/ 186 w 266"/>
                <a:gd name="T51" fmla="*/ 203 h 277"/>
                <a:gd name="T52" fmla="*/ 184 w 266"/>
                <a:gd name="T53" fmla="*/ 199 h 277"/>
                <a:gd name="T54" fmla="*/ 177 w 266"/>
                <a:gd name="T55" fmla="*/ 172 h 277"/>
                <a:gd name="T56" fmla="*/ 164 w 266"/>
                <a:gd name="T57" fmla="*/ 145 h 277"/>
                <a:gd name="T58" fmla="*/ 148 w 266"/>
                <a:gd name="T59" fmla="*/ 119 h 277"/>
                <a:gd name="T60" fmla="*/ 128 w 266"/>
                <a:gd name="T61" fmla="*/ 96 h 277"/>
                <a:gd name="T62" fmla="*/ 103 w 266"/>
                <a:gd name="T63" fmla="*/ 74 h 277"/>
                <a:gd name="T64" fmla="*/ 75 w 266"/>
                <a:gd name="T65" fmla="*/ 58 h 277"/>
                <a:gd name="T66" fmla="*/ 42 w 266"/>
                <a:gd name="T67" fmla="*/ 46 h 277"/>
                <a:gd name="T68" fmla="*/ 20 w 266"/>
                <a:gd name="T69" fmla="*/ 41 h 277"/>
                <a:gd name="T70" fmla="*/ 0 w 266"/>
                <a:gd name="T71" fmla="*/ 40 h 277"/>
                <a:gd name="T72" fmla="*/ 6 w 266"/>
                <a:gd name="T73" fmla="*/ 27 h 277"/>
                <a:gd name="T74" fmla="*/ 19 w 266"/>
                <a:gd name="T75" fmla="*/ 16 h 277"/>
                <a:gd name="T76" fmla="*/ 38 w 266"/>
                <a:gd name="T77" fmla="*/ 6 h 277"/>
                <a:gd name="T78" fmla="*/ 62 w 266"/>
                <a:gd name="T79" fmla="*/ 0 h 277"/>
                <a:gd name="T80" fmla="*/ 87 w 266"/>
                <a:gd name="T81"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6" h="277">
                  <a:moveTo>
                    <a:pt x="87" y="0"/>
                  </a:moveTo>
                  <a:lnTo>
                    <a:pt x="109" y="5"/>
                  </a:lnTo>
                  <a:lnTo>
                    <a:pt x="139" y="16"/>
                  </a:lnTo>
                  <a:lnTo>
                    <a:pt x="166" y="33"/>
                  </a:lnTo>
                  <a:lnTo>
                    <a:pt x="189" y="54"/>
                  </a:lnTo>
                  <a:lnTo>
                    <a:pt x="210" y="77"/>
                  </a:lnTo>
                  <a:lnTo>
                    <a:pt x="227" y="101"/>
                  </a:lnTo>
                  <a:lnTo>
                    <a:pt x="241" y="128"/>
                  </a:lnTo>
                  <a:lnTo>
                    <a:pt x="251" y="154"/>
                  </a:lnTo>
                  <a:lnTo>
                    <a:pt x="259" y="179"/>
                  </a:lnTo>
                  <a:lnTo>
                    <a:pt x="261" y="191"/>
                  </a:lnTo>
                  <a:lnTo>
                    <a:pt x="263" y="205"/>
                  </a:lnTo>
                  <a:lnTo>
                    <a:pt x="263" y="205"/>
                  </a:lnTo>
                  <a:lnTo>
                    <a:pt x="264" y="218"/>
                  </a:lnTo>
                  <a:lnTo>
                    <a:pt x="265" y="229"/>
                  </a:lnTo>
                  <a:lnTo>
                    <a:pt x="266" y="237"/>
                  </a:lnTo>
                  <a:lnTo>
                    <a:pt x="255" y="249"/>
                  </a:lnTo>
                  <a:lnTo>
                    <a:pt x="239" y="259"/>
                  </a:lnTo>
                  <a:lnTo>
                    <a:pt x="219" y="269"/>
                  </a:lnTo>
                  <a:lnTo>
                    <a:pt x="197" y="276"/>
                  </a:lnTo>
                  <a:lnTo>
                    <a:pt x="193" y="277"/>
                  </a:lnTo>
                  <a:lnTo>
                    <a:pt x="193" y="267"/>
                  </a:lnTo>
                  <a:lnTo>
                    <a:pt x="191" y="250"/>
                  </a:lnTo>
                  <a:lnTo>
                    <a:pt x="189" y="233"/>
                  </a:lnTo>
                  <a:lnTo>
                    <a:pt x="187" y="215"/>
                  </a:lnTo>
                  <a:lnTo>
                    <a:pt x="186" y="203"/>
                  </a:lnTo>
                  <a:lnTo>
                    <a:pt x="184" y="199"/>
                  </a:lnTo>
                  <a:lnTo>
                    <a:pt x="177" y="172"/>
                  </a:lnTo>
                  <a:lnTo>
                    <a:pt x="164" y="145"/>
                  </a:lnTo>
                  <a:lnTo>
                    <a:pt x="148" y="119"/>
                  </a:lnTo>
                  <a:lnTo>
                    <a:pt x="128" y="96"/>
                  </a:lnTo>
                  <a:lnTo>
                    <a:pt x="103" y="74"/>
                  </a:lnTo>
                  <a:lnTo>
                    <a:pt x="75" y="58"/>
                  </a:lnTo>
                  <a:lnTo>
                    <a:pt x="42" y="46"/>
                  </a:lnTo>
                  <a:lnTo>
                    <a:pt x="20" y="41"/>
                  </a:lnTo>
                  <a:lnTo>
                    <a:pt x="0" y="40"/>
                  </a:lnTo>
                  <a:lnTo>
                    <a:pt x="6" y="27"/>
                  </a:lnTo>
                  <a:lnTo>
                    <a:pt x="19" y="16"/>
                  </a:lnTo>
                  <a:lnTo>
                    <a:pt x="38" y="6"/>
                  </a:lnTo>
                  <a:lnTo>
                    <a:pt x="62" y="0"/>
                  </a:lnTo>
                  <a:lnTo>
                    <a:pt x="87"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88" name="Freeform 459">
              <a:extLst>
                <a:ext uri="{FF2B5EF4-FFF2-40B4-BE49-F238E27FC236}">
                  <a16:creationId xmlns:a16="http://schemas.microsoft.com/office/drawing/2014/main" id="{1C42FD9B-9E8C-4593-8A51-230332A7CF74}"/>
                </a:ext>
              </a:extLst>
            </p:cNvPr>
            <p:cNvSpPr>
              <a:spLocks/>
            </p:cNvSpPr>
            <p:nvPr/>
          </p:nvSpPr>
          <p:spPr bwMode="gray">
            <a:xfrm>
              <a:off x="1297916" y="1618247"/>
              <a:ext cx="111543" cy="139430"/>
            </a:xfrm>
            <a:custGeom>
              <a:avLst/>
              <a:gdLst>
                <a:gd name="T0" fmla="*/ 12 w 200"/>
                <a:gd name="T1" fmla="*/ 0 h 250"/>
                <a:gd name="T2" fmla="*/ 9 w 200"/>
                <a:gd name="T3" fmla="*/ 5 h 250"/>
                <a:gd name="T4" fmla="*/ 7 w 200"/>
                <a:gd name="T5" fmla="*/ 12 h 250"/>
                <a:gd name="T6" fmla="*/ 27 w 200"/>
                <a:gd name="T7" fmla="*/ 13 h 250"/>
                <a:gd name="T8" fmla="*/ 49 w 200"/>
                <a:gd name="T9" fmla="*/ 18 h 250"/>
                <a:gd name="T10" fmla="*/ 82 w 200"/>
                <a:gd name="T11" fmla="*/ 30 h 250"/>
                <a:gd name="T12" fmla="*/ 110 w 200"/>
                <a:gd name="T13" fmla="*/ 46 h 250"/>
                <a:gd name="T14" fmla="*/ 135 w 200"/>
                <a:gd name="T15" fmla="*/ 68 h 250"/>
                <a:gd name="T16" fmla="*/ 155 w 200"/>
                <a:gd name="T17" fmla="*/ 91 h 250"/>
                <a:gd name="T18" fmla="*/ 171 w 200"/>
                <a:gd name="T19" fmla="*/ 117 h 250"/>
                <a:gd name="T20" fmla="*/ 184 w 200"/>
                <a:gd name="T21" fmla="*/ 144 h 250"/>
                <a:gd name="T22" fmla="*/ 191 w 200"/>
                <a:gd name="T23" fmla="*/ 171 h 250"/>
                <a:gd name="T24" fmla="*/ 193 w 200"/>
                <a:gd name="T25" fmla="*/ 180 h 250"/>
                <a:gd name="T26" fmla="*/ 195 w 200"/>
                <a:gd name="T27" fmla="*/ 194 h 250"/>
                <a:gd name="T28" fmla="*/ 196 w 200"/>
                <a:gd name="T29" fmla="*/ 209 h 250"/>
                <a:gd name="T30" fmla="*/ 199 w 200"/>
                <a:gd name="T31" fmla="*/ 226 h 250"/>
                <a:gd name="T32" fmla="*/ 200 w 200"/>
                <a:gd name="T33" fmla="*/ 240 h 250"/>
                <a:gd name="T34" fmla="*/ 200 w 200"/>
                <a:gd name="T35" fmla="*/ 249 h 250"/>
                <a:gd name="T36" fmla="*/ 198 w 200"/>
                <a:gd name="T37" fmla="*/ 249 h 250"/>
                <a:gd name="T38" fmla="*/ 195 w 200"/>
                <a:gd name="T39" fmla="*/ 250 h 250"/>
                <a:gd name="T40" fmla="*/ 194 w 200"/>
                <a:gd name="T41" fmla="*/ 236 h 250"/>
                <a:gd name="T42" fmla="*/ 193 w 200"/>
                <a:gd name="T43" fmla="*/ 219 h 250"/>
                <a:gd name="T44" fmla="*/ 190 w 200"/>
                <a:gd name="T45" fmla="*/ 203 h 250"/>
                <a:gd name="T46" fmla="*/ 189 w 200"/>
                <a:gd name="T47" fmla="*/ 190 h 250"/>
                <a:gd name="T48" fmla="*/ 187 w 200"/>
                <a:gd name="T49" fmla="*/ 181 h 250"/>
                <a:gd name="T50" fmla="*/ 178 w 200"/>
                <a:gd name="T51" fmla="*/ 153 h 250"/>
                <a:gd name="T52" fmla="*/ 167 w 200"/>
                <a:gd name="T53" fmla="*/ 126 h 250"/>
                <a:gd name="T54" fmla="*/ 150 w 200"/>
                <a:gd name="T55" fmla="*/ 100 h 250"/>
                <a:gd name="T56" fmla="*/ 130 w 200"/>
                <a:gd name="T57" fmla="*/ 76 h 250"/>
                <a:gd name="T58" fmla="*/ 104 w 200"/>
                <a:gd name="T59" fmla="*/ 54 h 250"/>
                <a:gd name="T60" fmla="*/ 76 w 200"/>
                <a:gd name="T61" fmla="*/ 37 h 250"/>
                <a:gd name="T62" fmla="*/ 42 w 200"/>
                <a:gd name="T63" fmla="*/ 24 h 250"/>
                <a:gd name="T64" fmla="*/ 21 w 200"/>
                <a:gd name="T65" fmla="*/ 19 h 250"/>
                <a:gd name="T66" fmla="*/ 0 w 200"/>
                <a:gd name="T67" fmla="*/ 18 h 250"/>
                <a:gd name="T68" fmla="*/ 0 w 200"/>
                <a:gd name="T69" fmla="*/ 18 h 250"/>
                <a:gd name="T70" fmla="*/ 3 w 200"/>
                <a:gd name="T71" fmla="*/ 12 h 250"/>
                <a:gd name="T72" fmla="*/ 7 w 200"/>
                <a:gd name="T73" fmla="*/ 5 h 250"/>
                <a:gd name="T74" fmla="*/ 12 w 200"/>
                <a:gd name="T7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250">
                  <a:moveTo>
                    <a:pt x="12" y="0"/>
                  </a:moveTo>
                  <a:lnTo>
                    <a:pt x="9" y="5"/>
                  </a:lnTo>
                  <a:lnTo>
                    <a:pt x="7" y="12"/>
                  </a:lnTo>
                  <a:lnTo>
                    <a:pt x="27" y="13"/>
                  </a:lnTo>
                  <a:lnTo>
                    <a:pt x="49" y="18"/>
                  </a:lnTo>
                  <a:lnTo>
                    <a:pt x="82" y="30"/>
                  </a:lnTo>
                  <a:lnTo>
                    <a:pt x="110" y="46"/>
                  </a:lnTo>
                  <a:lnTo>
                    <a:pt x="135" y="68"/>
                  </a:lnTo>
                  <a:lnTo>
                    <a:pt x="155" y="91"/>
                  </a:lnTo>
                  <a:lnTo>
                    <a:pt x="171" y="117"/>
                  </a:lnTo>
                  <a:lnTo>
                    <a:pt x="184" y="144"/>
                  </a:lnTo>
                  <a:lnTo>
                    <a:pt x="191" y="171"/>
                  </a:lnTo>
                  <a:lnTo>
                    <a:pt x="193" y="180"/>
                  </a:lnTo>
                  <a:lnTo>
                    <a:pt x="195" y="194"/>
                  </a:lnTo>
                  <a:lnTo>
                    <a:pt x="196" y="209"/>
                  </a:lnTo>
                  <a:lnTo>
                    <a:pt x="199" y="226"/>
                  </a:lnTo>
                  <a:lnTo>
                    <a:pt x="200" y="240"/>
                  </a:lnTo>
                  <a:lnTo>
                    <a:pt x="200" y="249"/>
                  </a:lnTo>
                  <a:lnTo>
                    <a:pt x="198" y="249"/>
                  </a:lnTo>
                  <a:lnTo>
                    <a:pt x="195" y="250"/>
                  </a:lnTo>
                  <a:lnTo>
                    <a:pt x="194" y="236"/>
                  </a:lnTo>
                  <a:lnTo>
                    <a:pt x="193" y="219"/>
                  </a:lnTo>
                  <a:lnTo>
                    <a:pt x="190" y="203"/>
                  </a:lnTo>
                  <a:lnTo>
                    <a:pt x="189" y="190"/>
                  </a:lnTo>
                  <a:lnTo>
                    <a:pt x="187" y="181"/>
                  </a:lnTo>
                  <a:lnTo>
                    <a:pt x="178" y="153"/>
                  </a:lnTo>
                  <a:lnTo>
                    <a:pt x="167" y="126"/>
                  </a:lnTo>
                  <a:lnTo>
                    <a:pt x="150" y="100"/>
                  </a:lnTo>
                  <a:lnTo>
                    <a:pt x="130" y="76"/>
                  </a:lnTo>
                  <a:lnTo>
                    <a:pt x="104" y="54"/>
                  </a:lnTo>
                  <a:lnTo>
                    <a:pt x="76" y="37"/>
                  </a:lnTo>
                  <a:lnTo>
                    <a:pt x="42" y="24"/>
                  </a:lnTo>
                  <a:lnTo>
                    <a:pt x="21" y="19"/>
                  </a:lnTo>
                  <a:lnTo>
                    <a:pt x="0" y="18"/>
                  </a:lnTo>
                  <a:lnTo>
                    <a:pt x="0" y="18"/>
                  </a:lnTo>
                  <a:lnTo>
                    <a:pt x="3" y="12"/>
                  </a:lnTo>
                  <a:lnTo>
                    <a:pt x="7" y="5"/>
                  </a:lnTo>
                  <a:lnTo>
                    <a:pt x="12"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89" name="Freeform 460">
              <a:extLst>
                <a:ext uri="{FF2B5EF4-FFF2-40B4-BE49-F238E27FC236}">
                  <a16:creationId xmlns:a16="http://schemas.microsoft.com/office/drawing/2014/main" id="{9A5129A5-5BED-4B68-833A-E63E800B61B0}"/>
                </a:ext>
              </a:extLst>
            </p:cNvPr>
            <p:cNvSpPr>
              <a:spLocks/>
            </p:cNvSpPr>
            <p:nvPr/>
          </p:nvSpPr>
          <p:spPr bwMode="gray">
            <a:xfrm>
              <a:off x="1316878" y="1603746"/>
              <a:ext cx="104293" cy="69158"/>
            </a:xfrm>
            <a:custGeom>
              <a:avLst/>
              <a:gdLst>
                <a:gd name="T0" fmla="*/ 26 w 187"/>
                <a:gd name="T1" fmla="*/ 0 h 124"/>
                <a:gd name="T2" fmla="*/ 41 w 187"/>
                <a:gd name="T3" fmla="*/ 2 h 124"/>
                <a:gd name="T4" fmla="*/ 56 w 187"/>
                <a:gd name="T5" fmla="*/ 4 h 124"/>
                <a:gd name="T6" fmla="*/ 91 w 187"/>
                <a:gd name="T7" fmla="*/ 18 h 124"/>
                <a:gd name="T8" fmla="*/ 123 w 187"/>
                <a:gd name="T9" fmla="*/ 36 h 124"/>
                <a:gd name="T10" fmla="*/ 150 w 187"/>
                <a:gd name="T11" fmla="*/ 58 h 124"/>
                <a:gd name="T12" fmla="*/ 170 w 187"/>
                <a:gd name="T13" fmla="*/ 84 h 124"/>
                <a:gd name="T14" fmla="*/ 187 w 187"/>
                <a:gd name="T15" fmla="*/ 113 h 124"/>
                <a:gd name="T16" fmla="*/ 165 w 187"/>
                <a:gd name="T17" fmla="*/ 124 h 124"/>
                <a:gd name="T18" fmla="*/ 150 w 187"/>
                <a:gd name="T19" fmla="*/ 97 h 124"/>
                <a:gd name="T20" fmla="*/ 130 w 187"/>
                <a:gd name="T21" fmla="*/ 75 h 124"/>
                <a:gd name="T22" fmla="*/ 109 w 187"/>
                <a:gd name="T23" fmla="*/ 56 h 124"/>
                <a:gd name="T24" fmla="*/ 83 w 187"/>
                <a:gd name="T25" fmla="*/ 39 h 124"/>
                <a:gd name="T26" fmla="*/ 55 w 187"/>
                <a:gd name="T27" fmla="*/ 26 h 124"/>
                <a:gd name="T28" fmla="*/ 26 w 187"/>
                <a:gd name="T29" fmla="*/ 16 h 124"/>
                <a:gd name="T30" fmla="*/ 0 w 187"/>
                <a:gd name="T31" fmla="*/ 11 h 124"/>
                <a:gd name="T32" fmla="*/ 12 w 187"/>
                <a:gd name="T33" fmla="*/ 2 h 124"/>
                <a:gd name="T34" fmla="*/ 26 w 187"/>
                <a:gd name="T3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24">
                  <a:moveTo>
                    <a:pt x="26" y="0"/>
                  </a:moveTo>
                  <a:lnTo>
                    <a:pt x="41" y="2"/>
                  </a:lnTo>
                  <a:lnTo>
                    <a:pt x="56" y="4"/>
                  </a:lnTo>
                  <a:lnTo>
                    <a:pt x="91" y="18"/>
                  </a:lnTo>
                  <a:lnTo>
                    <a:pt x="123" y="36"/>
                  </a:lnTo>
                  <a:lnTo>
                    <a:pt x="150" y="58"/>
                  </a:lnTo>
                  <a:lnTo>
                    <a:pt x="170" y="84"/>
                  </a:lnTo>
                  <a:lnTo>
                    <a:pt x="187" y="113"/>
                  </a:lnTo>
                  <a:lnTo>
                    <a:pt x="165" y="124"/>
                  </a:lnTo>
                  <a:lnTo>
                    <a:pt x="150" y="97"/>
                  </a:lnTo>
                  <a:lnTo>
                    <a:pt x="130" y="75"/>
                  </a:lnTo>
                  <a:lnTo>
                    <a:pt x="109" y="56"/>
                  </a:lnTo>
                  <a:lnTo>
                    <a:pt x="83" y="39"/>
                  </a:lnTo>
                  <a:lnTo>
                    <a:pt x="55" y="26"/>
                  </a:lnTo>
                  <a:lnTo>
                    <a:pt x="26" y="16"/>
                  </a:lnTo>
                  <a:lnTo>
                    <a:pt x="0" y="11"/>
                  </a:lnTo>
                  <a:lnTo>
                    <a:pt x="12" y="2"/>
                  </a:lnTo>
                  <a:lnTo>
                    <a:pt x="26"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90" name="Freeform 461">
              <a:extLst>
                <a:ext uri="{FF2B5EF4-FFF2-40B4-BE49-F238E27FC236}">
                  <a16:creationId xmlns:a16="http://schemas.microsoft.com/office/drawing/2014/main" id="{DED6C4E8-2790-4E24-BF39-C90991EB27B0}"/>
                </a:ext>
              </a:extLst>
            </p:cNvPr>
            <p:cNvSpPr>
              <a:spLocks/>
            </p:cNvSpPr>
            <p:nvPr/>
          </p:nvSpPr>
          <p:spPr bwMode="gray">
            <a:xfrm>
              <a:off x="1331378" y="1612670"/>
              <a:ext cx="89793" cy="65812"/>
            </a:xfrm>
            <a:custGeom>
              <a:avLst/>
              <a:gdLst>
                <a:gd name="T0" fmla="*/ 0 w 161"/>
                <a:gd name="T1" fmla="*/ 0 h 118"/>
                <a:gd name="T2" fmla="*/ 29 w 161"/>
                <a:gd name="T3" fmla="*/ 10 h 118"/>
                <a:gd name="T4" fmla="*/ 57 w 161"/>
                <a:gd name="T5" fmla="*/ 23 h 118"/>
                <a:gd name="T6" fmla="*/ 83 w 161"/>
                <a:gd name="T7" fmla="*/ 40 h 118"/>
                <a:gd name="T8" fmla="*/ 104 w 161"/>
                <a:gd name="T9" fmla="*/ 59 h 118"/>
                <a:gd name="T10" fmla="*/ 124 w 161"/>
                <a:gd name="T11" fmla="*/ 81 h 118"/>
                <a:gd name="T12" fmla="*/ 139 w 161"/>
                <a:gd name="T13" fmla="*/ 108 h 118"/>
                <a:gd name="T14" fmla="*/ 161 w 161"/>
                <a:gd name="T15" fmla="*/ 97 h 118"/>
                <a:gd name="T16" fmla="*/ 161 w 161"/>
                <a:gd name="T17" fmla="*/ 100 h 118"/>
                <a:gd name="T18" fmla="*/ 161 w 161"/>
                <a:gd name="T19" fmla="*/ 104 h 118"/>
                <a:gd name="T20" fmla="*/ 160 w 161"/>
                <a:gd name="T21" fmla="*/ 108 h 118"/>
                <a:gd name="T22" fmla="*/ 138 w 161"/>
                <a:gd name="T23" fmla="*/ 118 h 118"/>
                <a:gd name="T24" fmla="*/ 118 w 161"/>
                <a:gd name="T25" fmla="*/ 86 h 118"/>
                <a:gd name="T26" fmla="*/ 95 w 161"/>
                <a:gd name="T27" fmla="*/ 57 h 118"/>
                <a:gd name="T28" fmla="*/ 67 w 161"/>
                <a:gd name="T29" fmla="*/ 33 h 118"/>
                <a:gd name="T30" fmla="*/ 35 w 161"/>
                <a:gd name="T31" fmla="*/ 13 h 118"/>
                <a:gd name="T32" fmla="*/ 0 w 161"/>
                <a:gd name="T3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1" h="118">
                  <a:moveTo>
                    <a:pt x="0" y="0"/>
                  </a:moveTo>
                  <a:lnTo>
                    <a:pt x="29" y="10"/>
                  </a:lnTo>
                  <a:lnTo>
                    <a:pt x="57" y="23"/>
                  </a:lnTo>
                  <a:lnTo>
                    <a:pt x="83" y="40"/>
                  </a:lnTo>
                  <a:lnTo>
                    <a:pt x="104" y="59"/>
                  </a:lnTo>
                  <a:lnTo>
                    <a:pt x="124" y="81"/>
                  </a:lnTo>
                  <a:lnTo>
                    <a:pt x="139" y="108"/>
                  </a:lnTo>
                  <a:lnTo>
                    <a:pt x="161" y="97"/>
                  </a:lnTo>
                  <a:lnTo>
                    <a:pt x="161" y="100"/>
                  </a:lnTo>
                  <a:lnTo>
                    <a:pt x="161" y="104"/>
                  </a:lnTo>
                  <a:lnTo>
                    <a:pt x="160" y="108"/>
                  </a:lnTo>
                  <a:lnTo>
                    <a:pt x="138" y="118"/>
                  </a:lnTo>
                  <a:lnTo>
                    <a:pt x="118" y="86"/>
                  </a:lnTo>
                  <a:lnTo>
                    <a:pt x="95" y="57"/>
                  </a:lnTo>
                  <a:lnTo>
                    <a:pt x="67" y="33"/>
                  </a:lnTo>
                  <a:lnTo>
                    <a:pt x="35" y="13"/>
                  </a:lnTo>
                  <a:lnTo>
                    <a:pt x="0"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91" name="Freeform 462">
              <a:extLst>
                <a:ext uri="{FF2B5EF4-FFF2-40B4-BE49-F238E27FC236}">
                  <a16:creationId xmlns:a16="http://schemas.microsoft.com/office/drawing/2014/main" id="{1CCC5460-D207-4E54-B96B-7BEA50ECC37F}"/>
                </a:ext>
              </a:extLst>
            </p:cNvPr>
            <p:cNvSpPr>
              <a:spLocks/>
            </p:cNvSpPr>
            <p:nvPr/>
          </p:nvSpPr>
          <p:spPr bwMode="gray">
            <a:xfrm>
              <a:off x="1339744" y="1676250"/>
              <a:ext cx="50753" cy="58003"/>
            </a:xfrm>
            <a:custGeom>
              <a:avLst/>
              <a:gdLst>
                <a:gd name="T0" fmla="*/ 37 w 91"/>
                <a:gd name="T1" fmla="*/ 0 h 104"/>
                <a:gd name="T2" fmla="*/ 51 w 91"/>
                <a:gd name="T3" fmla="*/ 3 h 104"/>
                <a:gd name="T4" fmla="*/ 55 w 91"/>
                <a:gd name="T5" fmla="*/ 5 h 104"/>
                <a:gd name="T6" fmla="*/ 59 w 91"/>
                <a:gd name="T7" fmla="*/ 9 h 104"/>
                <a:gd name="T8" fmla="*/ 62 w 91"/>
                <a:gd name="T9" fmla="*/ 13 h 104"/>
                <a:gd name="T10" fmla="*/ 65 w 91"/>
                <a:gd name="T11" fmla="*/ 18 h 104"/>
                <a:gd name="T12" fmla="*/ 68 w 91"/>
                <a:gd name="T13" fmla="*/ 22 h 104"/>
                <a:gd name="T14" fmla="*/ 70 w 91"/>
                <a:gd name="T15" fmla="*/ 28 h 104"/>
                <a:gd name="T16" fmla="*/ 74 w 91"/>
                <a:gd name="T17" fmla="*/ 36 h 104"/>
                <a:gd name="T18" fmla="*/ 79 w 91"/>
                <a:gd name="T19" fmla="*/ 46 h 104"/>
                <a:gd name="T20" fmla="*/ 83 w 91"/>
                <a:gd name="T21" fmla="*/ 59 h 104"/>
                <a:gd name="T22" fmla="*/ 87 w 91"/>
                <a:gd name="T23" fmla="*/ 71 h 104"/>
                <a:gd name="T24" fmla="*/ 89 w 91"/>
                <a:gd name="T25" fmla="*/ 82 h 104"/>
                <a:gd name="T26" fmla="*/ 91 w 91"/>
                <a:gd name="T27" fmla="*/ 92 h 104"/>
                <a:gd name="T28" fmla="*/ 88 w 91"/>
                <a:gd name="T29" fmla="*/ 100 h 104"/>
                <a:gd name="T30" fmla="*/ 82 w 91"/>
                <a:gd name="T31" fmla="*/ 104 h 104"/>
                <a:gd name="T32" fmla="*/ 73 w 91"/>
                <a:gd name="T33" fmla="*/ 103 h 104"/>
                <a:gd name="T34" fmla="*/ 64 w 91"/>
                <a:gd name="T35" fmla="*/ 96 h 104"/>
                <a:gd name="T36" fmla="*/ 56 w 91"/>
                <a:gd name="T37" fmla="*/ 87 h 104"/>
                <a:gd name="T38" fmla="*/ 51 w 91"/>
                <a:gd name="T39" fmla="*/ 79 h 104"/>
                <a:gd name="T40" fmla="*/ 30 w 91"/>
                <a:gd name="T41" fmla="*/ 59 h 104"/>
                <a:gd name="T42" fmla="*/ 9 w 91"/>
                <a:gd name="T43" fmla="*/ 38 h 104"/>
                <a:gd name="T44" fmla="*/ 6 w 91"/>
                <a:gd name="T45" fmla="*/ 36 h 104"/>
                <a:gd name="T46" fmla="*/ 3 w 91"/>
                <a:gd name="T47" fmla="*/ 33 h 104"/>
                <a:gd name="T48" fmla="*/ 1 w 91"/>
                <a:gd name="T49" fmla="*/ 31 h 104"/>
                <a:gd name="T50" fmla="*/ 0 w 91"/>
                <a:gd name="T51" fmla="*/ 22 h 104"/>
                <a:gd name="T52" fmla="*/ 3 w 91"/>
                <a:gd name="T53" fmla="*/ 14 h 104"/>
                <a:gd name="T54" fmla="*/ 11 w 91"/>
                <a:gd name="T55" fmla="*/ 9 h 104"/>
                <a:gd name="T56" fmla="*/ 24 w 91"/>
                <a:gd name="T57" fmla="*/ 3 h 104"/>
                <a:gd name="T58" fmla="*/ 37 w 91"/>
                <a:gd name="T5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1" h="104">
                  <a:moveTo>
                    <a:pt x="37" y="0"/>
                  </a:moveTo>
                  <a:lnTo>
                    <a:pt x="51" y="3"/>
                  </a:lnTo>
                  <a:lnTo>
                    <a:pt x="55" y="5"/>
                  </a:lnTo>
                  <a:lnTo>
                    <a:pt x="59" y="9"/>
                  </a:lnTo>
                  <a:lnTo>
                    <a:pt x="62" y="13"/>
                  </a:lnTo>
                  <a:lnTo>
                    <a:pt x="65" y="18"/>
                  </a:lnTo>
                  <a:lnTo>
                    <a:pt x="68" y="22"/>
                  </a:lnTo>
                  <a:lnTo>
                    <a:pt x="70" y="28"/>
                  </a:lnTo>
                  <a:lnTo>
                    <a:pt x="74" y="36"/>
                  </a:lnTo>
                  <a:lnTo>
                    <a:pt x="79" y="46"/>
                  </a:lnTo>
                  <a:lnTo>
                    <a:pt x="83" y="59"/>
                  </a:lnTo>
                  <a:lnTo>
                    <a:pt x="87" y="71"/>
                  </a:lnTo>
                  <a:lnTo>
                    <a:pt x="89" y="82"/>
                  </a:lnTo>
                  <a:lnTo>
                    <a:pt x="91" y="92"/>
                  </a:lnTo>
                  <a:lnTo>
                    <a:pt x="88" y="100"/>
                  </a:lnTo>
                  <a:lnTo>
                    <a:pt x="82" y="104"/>
                  </a:lnTo>
                  <a:lnTo>
                    <a:pt x="73" y="103"/>
                  </a:lnTo>
                  <a:lnTo>
                    <a:pt x="64" y="96"/>
                  </a:lnTo>
                  <a:lnTo>
                    <a:pt x="56" y="87"/>
                  </a:lnTo>
                  <a:lnTo>
                    <a:pt x="51" y="79"/>
                  </a:lnTo>
                  <a:lnTo>
                    <a:pt x="30" y="59"/>
                  </a:lnTo>
                  <a:lnTo>
                    <a:pt x="9" y="38"/>
                  </a:lnTo>
                  <a:lnTo>
                    <a:pt x="6" y="36"/>
                  </a:lnTo>
                  <a:lnTo>
                    <a:pt x="3" y="33"/>
                  </a:lnTo>
                  <a:lnTo>
                    <a:pt x="1" y="31"/>
                  </a:lnTo>
                  <a:lnTo>
                    <a:pt x="0" y="22"/>
                  </a:lnTo>
                  <a:lnTo>
                    <a:pt x="3" y="14"/>
                  </a:lnTo>
                  <a:lnTo>
                    <a:pt x="11" y="9"/>
                  </a:lnTo>
                  <a:lnTo>
                    <a:pt x="24" y="3"/>
                  </a:lnTo>
                  <a:lnTo>
                    <a:pt x="37"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92" name="Freeform 463">
              <a:extLst>
                <a:ext uri="{FF2B5EF4-FFF2-40B4-BE49-F238E27FC236}">
                  <a16:creationId xmlns:a16="http://schemas.microsoft.com/office/drawing/2014/main" id="{077F7CD5-1E03-4FB3-9E09-3B419AE0845A}"/>
                </a:ext>
              </a:extLst>
            </p:cNvPr>
            <p:cNvSpPr>
              <a:spLocks/>
            </p:cNvSpPr>
            <p:nvPr/>
          </p:nvSpPr>
          <p:spPr bwMode="gray">
            <a:xfrm>
              <a:off x="1324687" y="1701905"/>
              <a:ext cx="44617" cy="37925"/>
            </a:xfrm>
            <a:custGeom>
              <a:avLst/>
              <a:gdLst>
                <a:gd name="T0" fmla="*/ 12 w 80"/>
                <a:gd name="T1" fmla="*/ 0 h 68"/>
                <a:gd name="T2" fmla="*/ 20 w 80"/>
                <a:gd name="T3" fmla="*/ 3 h 68"/>
                <a:gd name="T4" fmla="*/ 27 w 80"/>
                <a:gd name="T5" fmla="*/ 8 h 68"/>
                <a:gd name="T6" fmla="*/ 57 w 80"/>
                <a:gd name="T7" fmla="*/ 36 h 68"/>
                <a:gd name="T8" fmla="*/ 62 w 80"/>
                <a:gd name="T9" fmla="*/ 40 h 68"/>
                <a:gd name="T10" fmla="*/ 69 w 80"/>
                <a:gd name="T11" fmla="*/ 46 h 68"/>
                <a:gd name="T12" fmla="*/ 75 w 80"/>
                <a:gd name="T13" fmla="*/ 53 h 68"/>
                <a:gd name="T14" fmla="*/ 79 w 80"/>
                <a:gd name="T15" fmla="*/ 59 h 68"/>
                <a:gd name="T16" fmla="*/ 80 w 80"/>
                <a:gd name="T17" fmla="*/ 64 h 68"/>
                <a:gd name="T18" fmla="*/ 77 w 80"/>
                <a:gd name="T19" fmla="*/ 68 h 68"/>
                <a:gd name="T20" fmla="*/ 71 w 80"/>
                <a:gd name="T21" fmla="*/ 66 h 68"/>
                <a:gd name="T22" fmla="*/ 65 w 80"/>
                <a:gd name="T23" fmla="*/ 62 h 68"/>
                <a:gd name="T24" fmla="*/ 60 w 80"/>
                <a:gd name="T25" fmla="*/ 57 h 68"/>
                <a:gd name="T26" fmla="*/ 56 w 80"/>
                <a:gd name="T27" fmla="*/ 53 h 68"/>
                <a:gd name="T28" fmla="*/ 41 w 80"/>
                <a:gd name="T29" fmla="*/ 42 h 68"/>
                <a:gd name="T30" fmla="*/ 24 w 80"/>
                <a:gd name="T31" fmla="*/ 35 h 68"/>
                <a:gd name="T32" fmla="*/ 14 w 80"/>
                <a:gd name="T33" fmla="*/ 30 h 68"/>
                <a:gd name="T34" fmla="*/ 3 w 80"/>
                <a:gd name="T35" fmla="*/ 22 h 68"/>
                <a:gd name="T36" fmla="*/ 0 w 80"/>
                <a:gd name="T37" fmla="*/ 16 h 68"/>
                <a:gd name="T38" fmla="*/ 0 w 80"/>
                <a:gd name="T39" fmla="*/ 8 h 68"/>
                <a:gd name="T40" fmla="*/ 5 w 80"/>
                <a:gd name="T41" fmla="*/ 1 h 68"/>
                <a:gd name="T42" fmla="*/ 12 w 80"/>
                <a:gd name="T4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68">
                  <a:moveTo>
                    <a:pt x="12" y="0"/>
                  </a:moveTo>
                  <a:lnTo>
                    <a:pt x="20" y="3"/>
                  </a:lnTo>
                  <a:lnTo>
                    <a:pt x="27" y="8"/>
                  </a:lnTo>
                  <a:lnTo>
                    <a:pt x="57" y="36"/>
                  </a:lnTo>
                  <a:lnTo>
                    <a:pt x="62" y="40"/>
                  </a:lnTo>
                  <a:lnTo>
                    <a:pt x="69" y="46"/>
                  </a:lnTo>
                  <a:lnTo>
                    <a:pt x="75" y="53"/>
                  </a:lnTo>
                  <a:lnTo>
                    <a:pt x="79" y="59"/>
                  </a:lnTo>
                  <a:lnTo>
                    <a:pt x="80" y="64"/>
                  </a:lnTo>
                  <a:lnTo>
                    <a:pt x="77" y="68"/>
                  </a:lnTo>
                  <a:lnTo>
                    <a:pt x="71" y="66"/>
                  </a:lnTo>
                  <a:lnTo>
                    <a:pt x="65" y="62"/>
                  </a:lnTo>
                  <a:lnTo>
                    <a:pt x="60" y="57"/>
                  </a:lnTo>
                  <a:lnTo>
                    <a:pt x="56" y="53"/>
                  </a:lnTo>
                  <a:lnTo>
                    <a:pt x="41" y="42"/>
                  </a:lnTo>
                  <a:lnTo>
                    <a:pt x="24" y="35"/>
                  </a:lnTo>
                  <a:lnTo>
                    <a:pt x="14" y="30"/>
                  </a:lnTo>
                  <a:lnTo>
                    <a:pt x="3" y="22"/>
                  </a:lnTo>
                  <a:lnTo>
                    <a:pt x="0" y="16"/>
                  </a:lnTo>
                  <a:lnTo>
                    <a:pt x="0" y="8"/>
                  </a:lnTo>
                  <a:lnTo>
                    <a:pt x="5" y="1"/>
                  </a:lnTo>
                  <a:lnTo>
                    <a:pt x="12"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93" name="Freeform 464">
              <a:extLst>
                <a:ext uri="{FF2B5EF4-FFF2-40B4-BE49-F238E27FC236}">
                  <a16:creationId xmlns:a16="http://schemas.microsoft.com/office/drawing/2014/main" id="{BFC2845A-D70E-4425-857F-83A22495D312}"/>
                </a:ext>
              </a:extLst>
            </p:cNvPr>
            <p:cNvSpPr>
              <a:spLocks/>
            </p:cNvSpPr>
            <p:nvPr/>
          </p:nvSpPr>
          <p:spPr bwMode="gray">
            <a:xfrm>
              <a:off x="1405559" y="1715848"/>
              <a:ext cx="44617" cy="41272"/>
            </a:xfrm>
            <a:custGeom>
              <a:avLst/>
              <a:gdLst>
                <a:gd name="T0" fmla="*/ 0 w 80"/>
                <a:gd name="T1" fmla="*/ 0 h 74"/>
                <a:gd name="T2" fmla="*/ 6 w 80"/>
                <a:gd name="T3" fmla="*/ 15 h 74"/>
                <a:gd name="T4" fmla="*/ 15 w 80"/>
                <a:gd name="T5" fmla="*/ 25 h 74"/>
                <a:gd name="T6" fmla="*/ 25 w 80"/>
                <a:gd name="T7" fmla="*/ 30 h 74"/>
                <a:gd name="T8" fmla="*/ 38 w 80"/>
                <a:gd name="T9" fmla="*/ 32 h 74"/>
                <a:gd name="T10" fmla="*/ 50 w 80"/>
                <a:gd name="T11" fmla="*/ 29 h 74"/>
                <a:gd name="T12" fmla="*/ 60 w 80"/>
                <a:gd name="T13" fmla="*/ 24 h 74"/>
                <a:gd name="T14" fmla="*/ 69 w 80"/>
                <a:gd name="T15" fmla="*/ 17 h 74"/>
                <a:gd name="T16" fmla="*/ 75 w 80"/>
                <a:gd name="T17" fmla="*/ 10 h 74"/>
                <a:gd name="T18" fmla="*/ 77 w 80"/>
                <a:gd name="T19" fmla="*/ 2 h 74"/>
                <a:gd name="T20" fmla="*/ 78 w 80"/>
                <a:gd name="T21" fmla="*/ 15 h 74"/>
                <a:gd name="T22" fmla="*/ 79 w 80"/>
                <a:gd name="T23" fmla="*/ 26 h 74"/>
                <a:gd name="T24" fmla="*/ 80 w 80"/>
                <a:gd name="T25" fmla="*/ 34 h 74"/>
                <a:gd name="T26" fmla="*/ 69 w 80"/>
                <a:gd name="T27" fmla="*/ 46 h 74"/>
                <a:gd name="T28" fmla="*/ 53 w 80"/>
                <a:gd name="T29" fmla="*/ 56 h 74"/>
                <a:gd name="T30" fmla="*/ 33 w 80"/>
                <a:gd name="T31" fmla="*/ 66 h 74"/>
                <a:gd name="T32" fmla="*/ 11 w 80"/>
                <a:gd name="T33" fmla="*/ 73 h 74"/>
                <a:gd name="T34" fmla="*/ 7 w 80"/>
                <a:gd name="T35" fmla="*/ 74 h 74"/>
                <a:gd name="T36" fmla="*/ 7 w 80"/>
                <a:gd name="T37" fmla="*/ 64 h 74"/>
                <a:gd name="T38" fmla="*/ 5 w 80"/>
                <a:gd name="T39" fmla="*/ 47 h 74"/>
                <a:gd name="T40" fmla="*/ 3 w 80"/>
                <a:gd name="T41" fmla="*/ 30 h 74"/>
                <a:gd name="T42" fmla="*/ 1 w 80"/>
                <a:gd name="T43" fmla="*/ 12 h 74"/>
                <a:gd name="T44" fmla="*/ 0 w 80"/>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74">
                  <a:moveTo>
                    <a:pt x="0" y="0"/>
                  </a:moveTo>
                  <a:lnTo>
                    <a:pt x="6" y="15"/>
                  </a:lnTo>
                  <a:lnTo>
                    <a:pt x="15" y="25"/>
                  </a:lnTo>
                  <a:lnTo>
                    <a:pt x="25" y="30"/>
                  </a:lnTo>
                  <a:lnTo>
                    <a:pt x="38" y="32"/>
                  </a:lnTo>
                  <a:lnTo>
                    <a:pt x="50" y="29"/>
                  </a:lnTo>
                  <a:lnTo>
                    <a:pt x="60" y="24"/>
                  </a:lnTo>
                  <a:lnTo>
                    <a:pt x="69" y="17"/>
                  </a:lnTo>
                  <a:lnTo>
                    <a:pt x="75" y="10"/>
                  </a:lnTo>
                  <a:lnTo>
                    <a:pt x="77" y="2"/>
                  </a:lnTo>
                  <a:lnTo>
                    <a:pt x="78" y="15"/>
                  </a:lnTo>
                  <a:lnTo>
                    <a:pt x="79" y="26"/>
                  </a:lnTo>
                  <a:lnTo>
                    <a:pt x="80" y="34"/>
                  </a:lnTo>
                  <a:lnTo>
                    <a:pt x="69" y="46"/>
                  </a:lnTo>
                  <a:lnTo>
                    <a:pt x="53" y="56"/>
                  </a:lnTo>
                  <a:lnTo>
                    <a:pt x="33" y="66"/>
                  </a:lnTo>
                  <a:lnTo>
                    <a:pt x="11" y="73"/>
                  </a:lnTo>
                  <a:lnTo>
                    <a:pt x="7" y="74"/>
                  </a:lnTo>
                  <a:lnTo>
                    <a:pt x="7" y="64"/>
                  </a:lnTo>
                  <a:lnTo>
                    <a:pt x="5" y="47"/>
                  </a:lnTo>
                  <a:lnTo>
                    <a:pt x="3" y="30"/>
                  </a:lnTo>
                  <a:lnTo>
                    <a:pt x="1" y="12"/>
                  </a:lnTo>
                  <a:lnTo>
                    <a:pt x="0" y="0"/>
                  </a:lnTo>
                  <a:close/>
                </a:path>
              </a:pathLst>
            </a:custGeom>
            <a:solidFill>
              <a:srgbClr val="009DE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94" name="Oval 379">
              <a:extLst>
                <a:ext uri="{FF2B5EF4-FFF2-40B4-BE49-F238E27FC236}">
                  <a16:creationId xmlns:a16="http://schemas.microsoft.com/office/drawing/2014/main" id="{39C36F1E-4DCC-4D85-99DF-20ADE01809E7}"/>
                </a:ext>
              </a:extLst>
            </p:cNvPr>
            <p:cNvSpPr/>
            <p:nvPr>
              <p:custDataLst>
                <p:tags r:id="rId4"/>
              </p:custDataLst>
            </p:nvPr>
          </p:nvSpPr>
          <p:spPr bwMode="gray">
            <a:xfrm rot="16448678" flipH="1">
              <a:off x="1638992" y="1879597"/>
              <a:ext cx="153469" cy="60714"/>
            </a:xfrm>
            <a:custGeom>
              <a:avLst/>
              <a:gdLst/>
              <a:ahLst/>
              <a:cxnLst/>
              <a:rect l="l" t="t" r="r" b="b"/>
              <a:pathLst>
                <a:path w="1069312" h="440600">
                  <a:moveTo>
                    <a:pt x="919963" y="151577"/>
                  </a:moveTo>
                  <a:cubicBezTo>
                    <a:pt x="882008" y="151577"/>
                    <a:pt x="851239" y="182346"/>
                    <a:pt x="851239" y="220301"/>
                  </a:cubicBezTo>
                  <a:cubicBezTo>
                    <a:pt x="851239" y="258256"/>
                    <a:pt x="882008" y="289025"/>
                    <a:pt x="919963" y="289025"/>
                  </a:cubicBezTo>
                  <a:cubicBezTo>
                    <a:pt x="957918" y="289025"/>
                    <a:pt x="988687" y="258256"/>
                    <a:pt x="988687" y="220301"/>
                  </a:cubicBezTo>
                  <a:cubicBezTo>
                    <a:pt x="988687" y="182346"/>
                    <a:pt x="957918" y="151577"/>
                    <a:pt x="919963" y="151577"/>
                  </a:cubicBezTo>
                  <a:close/>
                  <a:moveTo>
                    <a:pt x="203143" y="0"/>
                  </a:moveTo>
                  <a:cubicBezTo>
                    <a:pt x="284450" y="0"/>
                    <a:pt x="355469" y="44047"/>
                    <a:pt x="390522" y="111398"/>
                  </a:cubicBezTo>
                  <a:lnTo>
                    <a:pt x="1033010" y="111398"/>
                  </a:lnTo>
                  <a:cubicBezTo>
                    <a:pt x="1053059" y="111398"/>
                    <a:pt x="1069312" y="127651"/>
                    <a:pt x="1069312" y="147700"/>
                  </a:cubicBezTo>
                  <a:lnTo>
                    <a:pt x="1069312" y="292902"/>
                  </a:lnTo>
                  <a:cubicBezTo>
                    <a:pt x="1069312" y="312951"/>
                    <a:pt x="1053059" y="329204"/>
                    <a:pt x="1033010" y="329204"/>
                  </a:cubicBezTo>
                  <a:lnTo>
                    <a:pt x="390520" y="329204"/>
                  </a:lnTo>
                  <a:cubicBezTo>
                    <a:pt x="355468" y="396554"/>
                    <a:pt x="284449" y="440600"/>
                    <a:pt x="203143" y="440600"/>
                  </a:cubicBezTo>
                  <a:cubicBezTo>
                    <a:pt x="111708" y="440600"/>
                    <a:pt x="33283" y="384896"/>
                    <a:pt x="1" y="305552"/>
                  </a:cubicBezTo>
                  <a:lnTo>
                    <a:pt x="215493" y="305552"/>
                  </a:lnTo>
                  <a:cubicBezTo>
                    <a:pt x="231188" y="305552"/>
                    <a:pt x="243911" y="292829"/>
                    <a:pt x="243911" y="277134"/>
                  </a:cubicBezTo>
                  <a:lnTo>
                    <a:pt x="243911" y="163468"/>
                  </a:lnTo>
                  <a:cubicBezTo>
                    <a:pt x="243911" y="147773"/>
                    <a:pt x="231188" y="135050"/>
                    <a:pt x="215493" y="135050"/>
                  </a:cubicBezTo>
                  <a:lnTo>
                    <a:pt x="0" y="135050"/>
                  </a:lnTo>
                  <a:cubicBezTo>
                    <a:pt x="33282" y="55705"/>
                    <a:pt x="111707" y="0"/>
                    <a:pt x="203143" y="0"/>
                  </a:cubicBezTo>
                  <a:close/>
                </a:path>
              </a:pathLst>
            </a:custGeom>
            <a:solidFill>
              <a:schemeClr val="tx1">
                <a:lumMod val="65000"/>
                <a:lumOff val="35000"/>
              </a:schemeClr>
            </a:solidFill>
            <a:ln w="9525" cap="flat" cmpd="sng" algn="ctr">
              <a:solidFill>
                <a:schemeClr val="accent1"/>
              </a:solidFill>
              <a:prstDash val="solid"/>
            </a:ln>
            <a:effectLst/>
          </p:spPr>
          <p:txBody>
            <a:bodyPr rtlCol="0" anchor="ctr">
              <a:noAutofit/>
            </a:bodyPr>
            <a:lstStyle/>
            <a:p>
              <a:pPr algn="ctr" defTabSz="914250">
                <a:defRPr/>
              </a:pPr>
              <a:endParaRPr lang="en-US" sz="1333" kern="0" dirty="0">
                <a:solidFill>
                  <a:srgbClr val="000000"/>
                </a:solidFill>
                <a:ea typeface="ＭＳ Ｐゴシック"/>
              </a:endParaRPr>
            </a:p>
          </p:txBody>
        </p:sp>
        <p:sp>
          <p:nvSpPr>
            <p:cNvPr id="295" name="Freeform 580">
              <a:extLst>
                <a:ext uri="{FF2B5EF4-FFF2-40B4-BE49-F238E27FC236}">
                  <a16:creationId xmlns:a16="http://schemas.microsoft.com/office/drawing/2014/main" id="{3C59128D-1642-4478-9654-6D6ACD605A84}"/>
                </a:ext>
              </a:extLst>
            </p:cNvPr>
            <p:cNvSpPr/>
            <p:nvPr/>
          </p:nvSpPr>
          <p:spPr bwMode="gray">
            <a:xfrm>
              <a:off x="1163797" y="2154968"/>
              <a:ext cx="340263" cy="97693"/>
            </a:xfrm>
            <a:custGeom>
              <a:avLst/>
              <a:gdLst>
                <a:gd name="connsiteX0" fmla="*/ 475312 w 515259"/>
                <a:gd name="connsiteY0" fmla="*/ 0 h 97244"/>
                <a:gd name="connsiteX1" fmla="*/ 515259 w 515259"/>
                <a:gd name="connsiteY1" fmla="*/ 82689 h 97244"/>
                <a:gd name="connsiteX2" fmla="*/ 0 w 515259"/>
                <a:gd name="connsiteY2" fmla="*/ 97244 h 97244"/>
                <a:gd name="connsiteX3" fmla="*/ 14937 w 515259"/>
                <a:gd name="connsiteY3" fmla="*/ 21432 h 97244"/>
                <a:gd name="connsiteX0" fmla="*/ 475312 w 515259"/>
                <a:gd name="connsiteY0" fmla="*/ 0 h 97244"/>
                <a:gd name="connsiteX1" fmla="*/ 515259 w 515259"/>
                <a:gd name="connsiteY1" fmla="*/ 82689 h 97244"/>
                <a:gd name="connsiteX2" fmla="*/ 0 w 515259"/>
                <a:gd name="connsiteY2" fmla="*/ 97244 h 97244"/>
                <a:gd name="connsiteX3" fmla="*/ 50655 w 515259"/>
                <a:gd name="connsiteY3" fmla="*/ 28575 h 97244"/>
                <a:gd name="connsiteX4" fmla="*/ 475312 w 515259"/>
                <a:gd name="connsiteY4" fmla="*/ 0 h 97244"/>
                <a:gd name="connsiteX0" fmla="*/ 424657 w 464604"/>
                <a:gd name="connsiteY0" fmla="*/ 0 h 118675"/>
                <a:gd name="connsiteX1" fmla="*/ 464604 w 464604"/>
                <a:gd name="connsiteY1" fmla="*/ 82689 h 118675"/>
                <a:gd name="connsiteX2" fmla="*/ 56502 w 464604"/>
                <a:gd name="connsiteY2" fmla="*/ 118675 h 118675"/>
                <a:gd name="connsiteX3" fmla="*/ 0 w 464604"/>
                <a:gd name="connsiteY3" fmla="*/ 28575 h 118675"/>
                <a:gd name="connsiteX4" fmla="*/ 424657 w 464604"/>
                <a:gd name="connsiteY4" fmla="*/ 0 h 118675"/>
                <a:gd name="connsiteX0" fmla="*/ 391319 w 464604"/>
                <a:gd name="connsiteY0" fmla="*/ 0 h 111531"/>
                <a:gd name="connsiteX1" fmla="*/ 464604 w 464604"/>
                <a:gd name="connsiteY1" fmla="*/ 75545 h 111531"/>
                <a:gd name="connsiteX2" fmla="*/ 56502 w 464604"/>
                <a:gd name="connsiteY2" fmla="*/ 111531 h 111531"/>
                <a:gd name="connsiteX3" fmla="*/ 0 w 464604"/>
                <a:gd name="connsiteY3" fmla="*/ 21431 h 111531"/>
                <a:gd name="connsiteX4" fmla="*/ 391319 w 464604"/>
                <a:gd name="connsiteY4" fmla="*/ 0 h 111531"/>
                <a:gd name="connsiteX0" fmla="*/ 391319 w 391319"/>
                <a:gd name="connsiteY0" fmla="*/ 0 h 111531"/>
                <a:gd name="connsiteX1" fmla="*/ 390785 w 391319"/>
                <a:gd name="connsiteY1" fmla="*/ 89832 h 111531"/>
                <a:gd name="connsiteX2" fmla="*/ 56502 w 391319"/>
                <a:gd name="connsiteY2" fmla="*/ 111531 h 111531"/>
                <a:gd name="connsiteX3" fmla="*/ 0 w 391319"/>
                <a:gd name="connsiteY3" fmla="*/ 21431 h 111531"/>
                <a:gd name="connsiteX4" fmla="*/ 391319 w 391319"/>
                <a:gd name="connsiteY4" fmla="*/ 0 h 111531"/>
                <a:gd name="connsiteX0" fmla="*/ 391319 w 397929"/>
                <a:gd name="connsiteY0" fmla="*/ 0 h 111531"/>
                <a:gd name="connsiteX1" fmla="*/ 397929 w 397929"/>
                <a:gd name="connsiteY1" fmla="*/ 73163 h 111531"/>
                <a:gd name="connsiteX2" fmla="*/ 56502 w 397929"/>
                <a:gd name="connsiteY2" fmla="*/ 111531 h 111531"/>
                <a:gd name="connsiteX3" fmla="*/ 0 w 397929"/>
                <a:gd name="connsiteY3" fmla="*/ 21431 h 111531"/>
                <a:gd name="connsiteX4" fmla="*/ 391319 w 397929"/>
                <a:gd name="connsiteY4" fmla="*/ 0 h 111531"/>
                <a:gd name="connsiteX0" fmla="*/ 391319 w 397929"/>
                <a:gd name="connsiteY0" fmla="*/ 0 h 90100"/>
                <a:gd name="connsiteX1" fmla="*/ 397929 w 397929"/>
                <a:gd name="connsiteY1" fmla="*/ 73163 h 90100"/>
                <a:gd name="connsiteX2" fmla="*/ 46977 w 397929"/>
                <a:gd name="connsiteY2" fmla="*/ 90100 h 90100"/>
                <a:gd name="connsiteX3" fmla="*/ 0 w 397929"/>
                <a:gd name="connsiteY3" fmla="*/ 21431 h 90100"/>
                <a:gd name="connsiteX4" fmla="*/ 391319 w 397929"/>
                <a:gd name="connsiteY4" fmla="*/ 0 h 9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29" h="90100">
                  <a:moveTo>
                    <a:pt x="391319" y="0"/>
                  </a:moveTo>
                  <a:lnTo>
                    <a:pt x="397929" y="73163"/>
                  </a:lnTo>
                  <a:lnTo>
                    <a:pt x="46977" y="90100"/>
                  </a:lnTo>
                  <a:lnTo>
                    <a:pt x="0" y="21431"/>
                  </a:lnTo>
                  <a:lnTo>
                    <a:pt x="391319" y="0"/>
                  </a:lnTo>
                  <a:close/>
                </a:path>
              </a:pathLst>
            </a:custGeom>
            <a:gradFill>
              <a:gsLst>
                <a:gs pos="27000">
                  <a:schemeClr val="bg1">
                    <a:alpha val="0"/>
                  </a:schemeClr>
                </a:gs>
                <a:gs pos="78000">
                  <a:srgbClr val="7D7D7D"/>
                </a:gs>
              </a:gsLst>
              <a:lin ang="5400000" scaled="0"/>
            </a:gra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solidFill>
                  <a:schemeClr val="tx1"/>
                </a:solidFill>
              </a:endParaRPr>
            </a:p>
          </p:txBody>
        </p:sp>
      </p:grpSp>
      <p:grpSp>
        <p:nvGrpSpPr>
          <p:cNvPr id="82" name="Group 81">
            <a:extLst>
              <a:ext uri="{FF2B5EF4-FFF2-40B4-BE49-F238E27FC236}">
                <a16:creationId xmlns:a16="http://schemas.microsoft.com/office/drawing/2014/main" id="{F232CDF2-5813-4F04-81E9-739C16D2173D}"/>
              </a:ext>
            </a:extLst>
          </p:cNvPr>
          <p:cNvGrpSpPr/>
          <p:nvPr/>
        </p:nvGrpSpPr>
        <p:grpSpPr bwMode="gray">
          <a:xfrm>
            <a:off x="3808685" y="3889497"/>
            <a:ext cx="346481" cy="401920"/>
            <a:chOff x="1730684" y="1395413"/>
            <a:chExt cx="688705" cy="848046"/>
          </a:xfrm>
        </p:grpSpPr>
        <p:grpSp>
          <p:nvGrpSpPr>
            <p:cNvPr id="83" name="Group 82">
              <a:extLst>
                <a:ext uri="{FF2B5EF4-FFF2-40B4-BE49-F238E27FC236}">
                  <a16:creationId xmlns:a16="http://schemas.microsoft.com/office/drawing/2014/main" id="{486BC9D6-6407-4249-926D-B0906D7AB206}"/>
                </a:ext>
              </a:extLst>
            </p:cNvPr>
            <p:cNvGrpSpPr/>
            <p:nvPr/>
          </p:nvGrpSpPr>
          <p:grpSpPr bwMode="gray">
            <a:xfrm>
              <a:off x="1802972" y="1395413"/>
              <a:ext cx="606252" cy="811300"/>
              <a:chOff x="1802972" y="1395413"/>
              <a:chExt cx="606252" cy="811300"/>
            </a:xfrm>
          </p:grpSpPr>
          <p:sp>
            <p:nvSpPr>
              <p:cNvPr id="85" name="Freeform 231">
                <a:extLst>
                  <a:ext uri="{FF2B5EF4-FFF2-40B4-BE49-F238E27FC236}">
                    <a16:creationId xmlns:a16="http://schemas.microsoft.com/office/drawing/2014/main" id="{7060A82C-717A-43F1-85B8-80DA6A3B7C3F}"/>
                  </a:ext>
                </a:extLst>
              </p:cNvPr>
              <p:cNvSpPr>
                <a:spLocks/>
              </p:cNvSpPr>
              <p:nvPr/>
            </p:nvSpPr>
            <p:spPr bwMode="gray">
              <a:xfrm>
                <a:off x="2133132" y="1585226"/>
                <a:ext cx="250209" cy="144948"/>
              </a:xfrm>
              <a:custGeom>
                <a:avLst/>
                <a:gdLst>
                  <a:gd name="T0" fmla="*/ 435 w 435"/>
                  <a:gd name="T1" fmla="*/ 3 h 252"/>
                  <a:gd name="T2" fmla="*/ 432 w 435"/>
                  <a:gd name="T3" fmla="*/ 0 h 252"/>
                  <a:gd name="T4" fmla="*/ 413 w 435"/>
                  <a:gd name="T5" fmla="*/ 11 h 252"/>
                  <a:gd name="T6" fmla="*/ 7 w 435"/>
                  <a:gd name="T7" fmla="*/ 245 h 252"/>
                  <a:gd name="T8" fmla="*/ 0 w 435"/>
                  <a:gd name="T9" fmla="*/ 250 h 252"/>
                  <a:gd name="T10" fmla="*/ 3 w 435"/>
                  <a:gd name="T11" fmla="*/ 252 h 252"/>
                  <a:gd name="T12" fmla="*/ 435 w 435"/>
                  <a:gd name="T13" fmla="*/ 3 h 252"/>
                </a:gdLst>
                <a:ahLst/>
                <a:cxnLst>
                  <a:cxn ang="0">
                    <a:pos x="T0" y="T1"/>
                  </a:cxn>
                  <a:cxn ang="0">
                    <a:pos x="T2" y="T3"/>
                  </a:cxn>
                  <a:cxn ang="0">
                    <a:pos x="T4" y="T5"/>
                  </a:cxn>
                  <a:cxn ang="0">
                    <a:pos x="T6" y="T7"/>
                  </a:cxn>
                  <a:cxn ang="0">
                    <a:pos x="T8" y="T9"/>
                  </a:cxn>
                  <a:cxn ang="0">
                    <a:pos x="T10" y="T11"/>
                  </a:cxn>
                  <a:cxn ang="0">
                    <a:pos x="T12" y="T13"/>
                  </a:cxn>
                </a:cxnLst>
                <a:rect l="0" t="0" r="r" b="b"/>
                <a:pathLst>
                  <a:path w="435" h="252">
                    <a:moveTo>
                      <a:pt x="435" y="3"/>
                    </a:moveTo>
                    <a:lnTo>
                      <a:pt x="432" y="0"/>
                    </a:lnTo>
                    <a:lnTo>
                      <a:pt x="413" y="11"/>
                    </a:lnTo>
                    <a:lnTo>
                      <a:pt x="7" y="245"/>
                    </a:lnTo>
                    <a:lnTo>
                      <a:pt x="0" y="250"/>
                    </a:lnTo>
                    <a:lnTo>
                      <a:pt x="3" y="252"/>
                    </a:lnTo>
                    <a:lnTo>
                      <a:pt x="435" y="3"/>
                    </a:lnTo>
                    <a:close/>
                  </a:path>
                </a:pathLst>
              </a:custGeom>
              <a:solidFill>
                <a:srgbClr val="BBBBB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86" name="Freeform 232">
                <a:extLst>
                  <a:ext uri="{FF2B5EF4-FFF2-40B4-BE49-F238E27FC236}">
                    <a16:creationId xmlns:a16="http://schemas.microsoft.com/office/drawing/2014/main" id="{E690A6EA-EC5C-4F37-ABFC-44C2286A66D4}"/>
                  </a:ext>
                </a:extLst>
              </p:cNvPr>
              <p:cNvSpPr>
                <a:spLocks/>
              </p:cNvSpPr>
              <p:nvPr/>
            </p:nvSpPr>
            <p:spPr bwMode="gray">
              <a:xfrm>
                <a:off x="1845536" y="1561068"/>
                <a:ext cx="291622" cy="167956"/>
              </a:xfrm>
              <a:custGeom>
                <a:avLst/>
                <a:gdLst>
                  <a:gd name="T0" fmla="*/ 500 w 507"/>
                  <a:gd name="T1" fmla="*/ 292 h 292"/>
                  <a:gd name="T2" fmla="*/ 507 w 507"/>
                  <a:gd name="T3" fmla="*/ 287 h 292"/>
                  <a:gd name="T4" fmla="*/ 9 w 507"/>
                  <a:gd name="T5" fmla="*/ 0 h 292"/>
                  <a:gd name="T6" fmla="*/ 0 w 507"/>
                  <a:gd name="T7" fmla="*/ 5 h 292"/>
                  <a:gd name="T8" fmla="*/ 500 w 507"/>
                  <a:gd name="T9" fmla="*/ 292 h 292"/>
                </a:gdLst>
                <a:ahLst/>
                <a:cxnLst>
                  <a:cxn ang="0">
                    <a:pos x="T0" y="T1"/>
                  </a:cxn>
                  <a:cxn ang="0">
                    <a:pos x="T2" y="T3"/>
                  </a:cxn>
                  <a:cxn ang="0">
                    <a:pos x="T4" y="T5"/>
                  </a:cxn>
                  <a:cxn ang="0">
                    <a:pos x="T6" y="T7"/>
                  </a:cxn>
                  <a:cxn ang="0">
                    <a:pos x="T8" y="T9"/>
                  </a:cxn>
                </a:cxnLst>
                <a:rect l="0" t="0" r="r" b="b"/>
                <a:pathLst>
                  <a:path w="507" h="292">
                    <a:moveTo>
                      <a:pt x="500" y="292"/>
                    </a:moveTo>
                    <a:lnTo>
                      <a:pt x="507" y="287"/>
                    </a:lnTo>
                    <a:lnTo>
                      <a:pt x="9" y="0"/>
                    </a:lnTo>
                    <a:lnTo>
                      <a:pt x="0" y="5"/>
                    </a:lnTo>
                    <a:lnTo>
                      <a:pt x="500" y="292"/>
                    </a:lnTo>
                    <a:close/>
                  </a:path>
                </a:pathLst>
              </a:custGeom>
              <a:solidFill>
                <a:srgbClr val="EAEAE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87" name="Freeform 233">
                <a:extLst>
                  <a:ext uri="{FF2B5EF4-FFF2-40B4-BE49-F238E27FC236}">
                    <a16:creationId xmlns:a16="http://schemas.microsoft.com/office/drawing/2014/main" id="{BA0BBA41-2453-481E-AC83-4A66B91B08E5}"/>
                  </a:ext>
                </a:extLst>
              </p:cNvPr>
              <p:cNvSpPr>
                <a:spLocks/>
              </p:cNvSpPr>
              <p:nvPr/>
            </p:nvSpPr>
            <p:spPr bwMode="gray">
              <a:xfrm>
                <a:off x="2133132" y="1729024"/>
                <a:ext cx="1726" cy="2876"/>
              </a:xfrm>
              <a:custGeom>
                <a:avLst/>
                <a:gdLst>
                  <a:gd name="T0" fmla="*/ 0 w 3"/>
                  <a:gd name="T1" fmla="*/ 2 h 5"/>
                  <a:gd name="T2" fmla="*/ 3 w 3"/>
                  <a:gd name="T3" fmla="*/ 5 h 5"/>
                  <a:gd name="T4" fmla="*/ 3 w 3"/>
                  <a:gd name="T5" fmla="*/ 2 h 5"/>
                  <a:gd name="T6" fmla="*/ 0 w 3"/>
                  <a:gd name="T7" fmla="*/ 0 h 5"/>
                  <a:gd name="T8" fmla="*/ 0 w 3"/>
                  <a:gd name="T9" fmla="*/ 2 h 5"/>
                </a:gdLst>
                <a:ahLst/>
                <a:cxnLst>
                  <a:cxn ang="0">
                    <a:pos x="T0" y="T1"/>
                  </a:cxn>
                  <a:cxn ang="0">
                    <a:pos x="T2" y="T3"/>
                  </a:cxn>
                  <a:cxn ang="0">
                    <a:pos x="T4" y="T5"/>
                  </a:cxn>
                  <a:cxn ang="0">
                    <a:pos x="T6" y="T7"/>
                  </a:cxn>
                  <a:cxn ang="0">
                    <a:pos x="T8" y="T9"/>
                  </a:cxn>
                </a:cxnLst>
                <a:rect l="0" t="0" r="r" b="b"/>
                <a:pathLst>
                  <a:path w="3" h="5">
                    <a:moveTo>
                      <a:pt x="0" y="2"/>
                    </a:moveTo>
                    <a:lnTo>
                      <a:pt x="3" y="5"/>
                    </a:lnTo>
                    <a:lnTo>
                      <a:pt x="3" y="2"/>
                    </a:lnTo>
                    <a:lnTo>
                      <a:pt x="0" y="0"/>
                    </a:lnTo>
                    <a:lnTo>
                      <a:pt x="0" y="2"/>
                    </a:lnTo>
                    <a:close/>
                  </a:path>
                </a:pathLst>
              </a:custGeom>
              <a:solidFill>
                <a:srgbClr val="999999"/>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88" name="Freeform 234">
                <a:extLst>
                  <a:ext uri="{FF2B5EF4-FFF2-40B4-BE49-F238E27FC236}">
                    <a16:creationId xmlns:a16="http://schemas.microsoft.com/office/drawing/2014/main" id="{D4677B1E-9002-4451-BB81-2EC7160232ED}"/>
                  </a:ext>
                </a:extLst>
              </p:cNvPr>
              <p:cNvSpPr>
                <a:spLocks/>
              </p:cNvSpPr>
              <p:nvPr/>
            </p:nvSpPr>
            <p:spPr bwMode="gray">
              <a:xfrm>
                <a:off x="2134857" y="1730174"/>
                <a:ext cx="25884" cy="16105"/>
              </a:xfrm>
              <a:custGeom>
                <a:avLst/>
                <a:gdLst>
                  <a:gd name="T0" fmla="*/ 0 w 45"/>
                  <a:gd name="T1" fmla="*/ 0 h 28"/>
                  <a:gd name="T2" fmla="*/ 0 w 45"/>
                  <a:gd name="T3" fmla="*/ 3 h 28"/>
                  <a:gd name="T4" fmla="*/ 45 w 45"/>
                  <a:gd name="T5" fmla="*/ 28 h 28"/>
                  <a:gd name="T6" fmla="*/ 45 w 45"/>
                  <a:gd name="T7" fmla="*/ 25 h 28"/>
                  <a:gd name="T8" fmla="*/ 0 w 45"/>
                  <a:gd name="T9" fmla="*/ 0 h 28"/>
                </a:gdLst>
                <a:ahLst/>
                <a:cxnLst>
                  <a:cxn ang="0">
                    <a:pos x="T0" y="T1"/>
                  </a:cxn>
                  <a:cxn ang="0">
                    <a:pos x="T2" y="T3"/>
                  </a:cxn>
                  <a:cxn ang="0">
                    <a:pos x="T4" y="T5"/>
                  </a:cxn>
                  <a:cxn ang="0">
                    <a:pos x="T6" y="T7"/>
                  </a:cxn>
                  <a:cxn ang="0">
                    <a:pos x="T8" y="T9"/>
                  </a:cxn>
                </a:cxnLst>
                <a:rect l="0" t="0" r="r" b="b"/>
                <a:pathLst>
                  <a:path w="45" h="28">
                    <a:moveTo>
                      <a:pt x="0" y="0"/>
                    </a:moveTo>
                    <a:lnTo>
                      <a:pt x="0" y="3"/>
                    </a:lnTo>
                    <a:lnTo>
                      <a:pt x="45" y="28"/>
                    </a:lnTo>
                    <a:lnTo>
                      <a:pt x="45" y="25"/>
                    </a:lnTo>
                    <a:lnTo>
                      <a:pt x="0" y="0"/>
                    </a:lnTo>
                    <a:close/>
                  </a:path>
                </a:pathLst>
              </a:custGeom>
              <a:solidFill>
                <a:srgbClr val="BBBBB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89" name="Freeform 362">
                <a:extLst>
                  <a:ext uri="{FF2B5EF4-FFF2-40B4-BE49-F238E27FC236}">
                    <a16:creationId xmlns:a16="http://schemas.microsoft.com/office/drawing/2014/main" id="{1DBD799E-293D-4EC6-8BC6-15BDA51421DD}"/>
                  </a:ext>
                </a:extLst>
              </p:cNvPr>
              <p:cNvSpPr>
                <a:spLocks/>
              </p:cNvSpPr>
              <p:nvPr/>
            </p:nvSpPr>
            <p:spPr bwMode="gray">
              <a:xfrm>
                <a:off x="2160741" y="1601332"/>
                <a:ext cx="248483" cy="598411"/>
              </a:xfrm>
              <a:custGeom>
                <a:avLst/>
                <a:gdLst>
                  <a:gd name="connsiteX0" fmla="*/ 248483 w 248483"/>
                  <a:gd name="connsiteY0" fmla="*/ 0 h 598411"/>
                  <a:gd name="connsiteX1" fmla="*/ 248483 w 248483"/>
                  <a:gd name="connsiteY1" fmla="*/ 593539 h 598411"/>
                  <a:gd name="connsiteX2" fmla="*/ 0 w 248483"/>
                  <a:gd name="connsiteY2" fmla="*/ 598411 h 598411"/>
                  <a:gd name="connsiteX3" fmla="*/ 0 w 248483"/>
                  <a:gd name="connsiteY3" fmla="*/ 143223 h 598411"/>
                </a:gdLst>
                <a:ahLst/>
                <a:cxnLst>
                  <a:cxn ang="0">
                    <a:pos x="connsiteX0" y="connsiteY0"/>
                  </a:cxn>
                  <a:cxn ang="0">
                    <a:pos x="connsiteX1" y="connsiteY1"/>
                  </a:cxn>
                  <a:cxn ang="0">
                    <a:pos x="connsiteX2" y="connsiteY2"/>
                  </a:cxn>
                  <a:cxn ang="0">
                    <a:pos x="connsiteX3" y="connsiteY3"/>
                  </a:cxn>
                </a:cxnLst>
                <a:rect l="l" t="t" r="r" b="b"/>
                <a:pathLst>
                  <a:path w="248483" h="598411">
                    <a:moveTo>
                      <a:pt x="248483" y="0"/>
                    </a:moveTo>
                    <a:lnTo>
                      <a:pt x="248483" y="593539"/>
                    </a:lnTo>
                    <a:lnTo>
                      <a:pt x="0" y="598411"/>
                    </a:lnTo>
                    <a:lnTo>
                      <a:pt x="0" y="143223"/>
                    </a:lnTo>
                    <a:close/>
                  </a:path>
                </a:pathLst>
              </a:custGeom>
              <a:solidFill>
                <a:srgbClr val="555555"/>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90" name="Freeform 236">
                <a:extLst>
                  <a:ext uri="{FF2B5EF4-FFF2-40B4-BE49-F238E27FC236}">
                    <a16:creationId xmlns:a16="http://schemas.microsoft.com/office/drawing/2014/main" id="{F75CDD4C-C6EC-4439-A920-9F5BEF1AFCEF}"/>
                  </a:ext>
                </a:extLst>
              </p:cNvPr>
              <p:cNvSpPr>
                <a:spLocks/>
              </p:cNvSpPr>
              <p:nvPr/>
            </p:nvSpPr>
            <p:spPr bwMode="gray">
              <a:xfrm>
                <a:off x="2134857" y="1586952"/>
                <a:ext cx="274367" cy="157602"/>
              </a:xfrm>
              <a:custGeom>
                <a:avLst/>
                <a:gdLst>
                  <a:gd name="T0" fmla="*/ 45 w 477"/>
                  <a:gd name="T1" fmla="*/ 274 h 274"/>
                  <a:gd name="T2" fmla="*/ 45 w 477"/>
                  <a:gd name="T3" fmla="*/ 274 h 274"/>
                  <a:gd name="T4" fmla="*/ 477 w 477"/>
                  <a:gd name="T5" fmla="*/ 25 h 274"/>
                  <a:gd name="T6" fmla="*/ 432 w 477"/>
                  <a:gd name="T7" fmla="*/ 0 h 274"/>
                  <a:gd name="T8" fmla="*/ 0 w 477"/>
                  <a:gd name="T9" fmla="*/ 249 h 274"/>
                  <a:gd name="T10" fmla="*/ 45 w 477"/>
                  <a:gd name="T11" fmla="*/ 274 h 274"/>
                </a:gdLst>
                <a:ahLst/>
                <a:cxnLst>
                  <a:cxn ang="0">
                    <a:pos x="T0" y="T1"/>
                  </a:cxn>
                  <a:cxn ang="0">
                    <a:pos x="T2" y="T3"/>
                  </a:cxn>
                  <a:cxn ang="0">
                    <a:pos x="T4" y="T5"/>
                  </a:cxn>
                  <a:cxn ang="0">
                    <a:pos x="T6" y="T7"/>
                  </a:cxn>
                  <a:cxn ang="0">
                    <a:pos x="T8" y="T9"/>
                  </a:cxn>
                  <a:cxn ang="0">
                    <a:pos x="T10" y="T11"/>
                  </a:cxn>
                </a:cxnLst>
                <a:rect l="0" t="0" r="r" b="b"/>
                <a:pathLst>
                  <a:path w="477" h="274">
                    <a:moveTo>
                      <a:pt x="45" y="274"/>
                    </a:moveTo>
                    <a:lnTo>
                      <a:pt x="45" y="274"/>
                    </a:lnTo>
                    <a:lnTo>
                      <a:pt x="477" y="25"/>
                    </a:lnTo>
                    <a:lnTo>
                      <a:pt x="432" y="0"/>
                    </a:lnTo>
                    <a:lnTo>
                      <a:pt x="0" y="249"/>
                    </a:lnTo>
                    <a:lnTo>
                      <a:pt x="45" y="274"/>
                    </a:lnTo>
                    <a:close/>
                  </a:path>
                </a:pathLst>
              </a:custGeom>
              <a:solidFill>
                <a:srgbClr val="999999"/>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91" name="Freeform 237">
                <a:extLst>
                  <a:ext uri="{FF2B5EF4-FFF2-40B4-BE49-F238E27FC236}">
                    <a16:creationId xmlns:a16="http://schemas.microsoft.com/office/drawing/2014/main" id="{60B64B0D-0A96-4422-9590-00BD4B9A4B82}"/>
                  </a:ext>
                </a:extLst>
              </p:cNvPr>
              <p:cNvSpPr>
                <a:spLocks/>
              </p:cNvSpPr>
              <p:nvPr/>
            </p:nvSpPr>
            <p:spPr bwMode="gray">
              <a:xfrm>
                <a:off x="1850713" y="1425898"/>
                <a:ext cx="519973" cy="300250"/>
              </a:xfrm>
              <a:custGeom>
                <a:avLst/>
                <a:gdLst>
                  <a:gd name="T0" fmla="*/ 498 w 904"/>
                  <a:gd name="T1" fmla="*/ 522 h 522"/>
                  <a:gd name="T2" fmla="*/ 904 w 904"/>
                  <a:gd name="T3" fmla="*/ 288 h 522"/>
                  <a:gd name="T4" fmla="*/ 403 w 904"/>
                  <a:gd name="T5" fmla="*/ 0 h 522"/>
                  <a:gd name="T6" fmla="*/ 403 w 904"/>
                  <a:gd name="T7" fmla="*/ 2 h 522"/>
                  <a:gd name="T8" fmla="*/ 0 w 904"/>
                  <a:gd name="T9" fmla="*/ 235 h 522"/>
                  <a:gd name="T10" fmla="*/ 498 w 904"/>
                  <a:gd name="T11" fmla="*/ 522 h 522"/>
                </a:gdLst>
                <a:ahLst/>
                <a:cxnLst>
                  <a:cxn ang="0">
                    <a:pos x="T0" y="T1"/>
                  </a:cxn>
                  <a:cxn ang="0">
                    <a:pos x="T2" y="T3"/>
                  </a:cxn>
                  <a:cxn ang="0">
                    <a:pos x="T4" y="T5"/>
                  </a:cxn>
                  <a:cxn ang="0">
                    <a:pos x="T6" y="T7"/>
                  </a:cxn>
                  <a:cxn ang="0">
                    <a:pos x="T8" y="T9"/>
                  </a:cxn>
                  <a:cxn ang="0">
                    <a:pos x="T10" y="T11"/>
                  </a:cxn>
                </a:cxnLst>
                <a:rect l="0" t="0" r="r" b="b"/>
                <a:pathLst>
                  <a:path w="904" h="522">
                    <a:moveTo>
                      <a:pt x="498" y="522"/>
                    </a:moveTo>
                    <a:lnTo>
                      <a:pt x="904" y="288"/>
                    </a:lnTo>
                    <a:lnTo>
                      <a:pt x="403" y="0"/>
                    </a:lnTo>
                    <a:lnTo>
                      <a:pt x="403" y="2"/>
                    </a:lnTo>
                    <a:lnTo>
                      <a:pt x="0" y="235"/>
                    </a:lnTo>
                    <a:lnTo>
                      <a:pt x="498" y="522"/>
                    </a:lnTo>
                    <a:close/>
                  </a:path>
                </a:pathLst>
              </a:custGeom>
              <a:solidFill>
                <a:srgbClr val="DDDDDD"/>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92" name="Freeform 238">
                <a:extLst>
                  <a:ext uri="{FF2B5EF4-FFF2-40B4-BE49-F238E27FC236}">
                    <a16:creationId xmlns:a16="http://schemas.microsoft.com/office/drawing/2014/main" id="{CDF0BFC8-EF33-4B5D-A892-36A5F6D27988}"/>
                  </a:ext>
                </a:extLst>
              </p:cNvPr>
              <p:cNvSpPr>
                <a:spLocks/>
              </p:cNvSpPr>
              <p:nvPr/>
            </p:nvSpPr>
            <p:spPr bwMode="gray">
              <a:xfrm>
                <a:off x="1802972" y="1395413"/>
                <a:ext cx="251359" cy="144948"/>
              </a:xfrm>
              <a:custGeom>
                <a:avLst/>
                <a:gdLst>
                  <a:gd name="T0" fmla="*/ 437 w 437"/>
                  <a:gd name="T1" fmla="*/ 3 h 252"/>
                  <a:gd name="T2" fmla="*/ 432 w 437"/>
                  <a:gd name="T3" fmla="*/ 0 h 252"/>
                  <a:gd name="T4" fmla="*/ 0 w 437"/>
                  <a:gd name="T5" fmla="*/ 250 h 252"/>
                  <a:gd name="T6" fmla="*/ 4 w 437"/>
                  <a:gd name="T7" fmla="*/ 252 h 252"/>
                  <a:gd name="T8" fmla="*/ 437 w 437"/>
                  <a:gd name="T9" fmla="*/ 3 h 252"/>
                </a:gdLst>
                <a:ahLst/>
                <a:cxnLst>
                  <a:cxn ang="0">
                    <a:pos x="T0" y="T1"/>
                  </a:cxn>
                  <a:cxn ang="0">
                    <a:pos x="T2" y="T3"/>
                  </a:cxn>
                  <a:cxn ang="0">
                    <a:pos x="T4" y="T5"/>
                  </a:cxn>
                  <a:cxn ang="0">
                    <a:pos x="T6" y="T7"/>
                  </a:cxn>
                  <a:cxn ang="0">
                    <a:pos x="T8" y="T9"/>
                  </a:cxn>
                </a:cxnLst>
                <a:rect l="0" t="0" r="r" b="b"/>
                <a:pathLst>
                  <a:path w="437" h="252">
                    <a:moveTo>
                      <a:pt x="437" y="3"/>
                    </a:moveTo>
                    <a:lnTo>
                      <a:pt x="432" y="0"/>
                    </a:lnTo>
                    <a:lnTo>
                      <a:pt x="0" y="250"/>
                    </a:lnTo>
                    <a:lnTo>
                      <a:pt x="4" y="252"/>
                    </a:lnTo>
                    <a:lnTo>
                      <a:pt x="437" y="3"/>
                    </a:lnTo>
                    <a:close/>
                  </a:path>
                </a:pathLst>
              </a:custGeom>
              <a:solidFill>
                <a:srgbClr val="BBBBB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93" name="Freeform 239">
                <a:extLst>
                  <a:ext uri="{FF2B5EF4-FFF2-40B4-BE49-F238E27FC236}">
                    <a16:creationId xmlns:a16="http://schemas.microsoft.com/office/drawing/2014/main" id="{73BD780D-EA48-4FC9-8E28-E6A452675121}"/>
                  </a:ext>
                </a:extLst>
              </p:cNvPr>
              <p:cNvSpPr>
                <a:spLocks/>
              </p:cNvSpPr>
              <p:nvPr/>
            </p:nvSpPr>
            <p:spPr bwMode="gray">
              <a:xfrm>
                <a:off x="1846111" y="1424748"/>
                <a:ext cx="236404" cy="136321"/>
              </a:xfrm>
              <a:custGeom>
                <a:avLst/>
                <a:gdLst>
                  <a:gd name="T0" fmla="*/ 411 w 411"/>
                  <a:gd name="T1" fmla="*/ 4 h 237"/>
                  <a:gd name="T2" fmla="*/ 411 w 411"/>
                  <a:gd name="T3" fmla="*/ 2 h 237"/>
                  <a:gd name="T4" fmla="*/ 405 w 411"/>
                  <a:gd name="T5" fmla="*/ 0 h 237"/>
                  <a:gd name="T6" fmla="*/ 0 w 411"/>
                  <a:gd name="T7" fmla="*/ 232 h 237"/>
                  <a:gd name="T8" fmla="*/ 8 w 411"/>
                  <a:gd name="T9" fmla="*/ 237 h 237"/>
                  <a:gd name="T10" fmla="*/ 411 w 411"/>
                  <a:gd name="T11" fmla="*/ 4 h 237"/>
                </a:gdLst>
                <a:ahLst/>
                <a:cxnLst>
                  <a:cxn ang="0">
                    <a:pos x="T0" y="T1"/>
                  </a:cxn>
                  <a:cxn ang="0">
                    <a:pos x="T2" y="T3"/>
                  </a:cxn>
                  <a:cxn ang="0">
                    <a:pos x="T4" y="T5"/>
                  </a:cxn>
                  <a:cxn ang="0">
                    <a:pos x="T6" y="T7"/>
                  </a:cxn>
                  <a:cxn ang="0">
                    <a:pos x="T8" y="T9"/>
                  </a:cxn>
                  <a:cxn ang="0">
                    <a:pos x="T10" y="T11"/>
                  </a:cxn>
                </a:cxnLst>
                <a:rect l="0" t="0" r="r" b="b"/>
                <a:pathLst>
                  <a:path w="411" h="237">
                    <a:moveTo>
                      <a:pt x="411" y="4"/>
                    </a:moveTo>
                    <a:lnTo>
                      <a:pt x="411" y="2"/>
                    </a:lnTo>
                    <a:lnTo>
                      <a:pt x="405" y="0"/>
                    </a:lnTo>
                    <a:lnTo>
                      <a:pt x="0" y="232"/>
                    </a:lnTo>
                    <a:lnTo>
                      <a:pt x="8" y="237"/>
                    </a:lnTo>
                    <a:lnTo>
                      <a:pt x="411" y="4"/>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94" name="Freeform 240">
                <a:extLst>
                  <a:ext uri="{FF2B5EF4-FFF2-40B4-BE49-F238E27FC236}">
                    <a16:creationId xmlns:a16="http://schemas.microsoft.com/office/drawing/2014/main" id="{34F07AAA-971F-4D5F-BEF0-B79DE268C3B1}"/>
                  </a:ext>
                </a:extLst>
              </p:cNvPr>
              <p:cNvSpPr>
                <a:spLocks/>
              </p:cNvSpPr>
              <p:nvPr/>
            </p:nvSpPr>
            <p:spPr bwMode="gray">
              <a:xfrm>
                <a:off x="1830581" y="1411518"/>
                <a:ext cx="248483" cy="149550"/>
              </a:xfrm>
              <a:custGeom>
                <a:avLst/>
                <a:gdLst>
                  <a:gd name="T0" fmla="*/ 432 w 432"/>
                  <a:gd name="T1" fmla="*/ 23 h 260"/>
                  <a:gd name="T2" fmla="*/ 432 w 432"/>
                  <a:gd name="T3" fmla="*/ 0 h 260"/>
                  <a:gd name="T4" fmla="*/ 1 w 432"/>
                  <a:gd name="T5" fmla="*/ 249 h 260"/>
                  <a:gd name="T6" fmla="*/ 0 w 432"/>
                  <a:gd name="T7" fmla="*/ 249 h 260"/>
                  <a:gd name="T8" fmla="*/ 20 w 432"/>
                  <a:gd name="T9" fmla="*/ 260 h 260"/>
                  <a:gd name="T10" fmla="*/ 27 w 432"/>
                  <a:gd name="T11" fmla="*/ 255 h 260"/>
                  <a:gd name="T12" fmla="*/ 432 w 432"/>
                  <a:gd name="T13" fmla="*/ 23 h 260"/>
                </a:gdLst>
                <a:ahLst/>
                <a:cxnLst>
                  <a:cxn ang="0">
                    <a:pos x="T0" y="T1"/>
                  </a:cxn>
                  <a:cxn ang="0">
                    <a:pos x="T2" y="T3"/>
                  </a:cxn>
                  <a:cxn ang="0">
                    <a:pos x="T4" y="T5"/>
                  </a:cxn>
                  <a:cxn ang="0">
                    <a:pos x="T6" y="T7"/>
                  </a:cxn>
                  <a:cxn ang="0">
                    <a:pos x="T8" y="T9"/>
                  </a:cxn>
                  <a:cxn ang="0">
                    <a:pos x="T10" y="T11"/>
                  </a:cxn>
                  <a:cxn ang="0">
                    <a:pos x="T12" y="T13"/>
                  </a:cxn>
                </a:cxnLst>
                <a:rect l="0" t="0" r="r" b="b"/>
                <a:pathLst>
                  <a:path w="432" h="260">
                    <a:moveTo>
                      <a:pt x="432" y="23"/>
                    </a:moveTo>
                    <a:lnTo>
                      <a:pt x="432" y="0"/>
                    </a:lnTo>
                    <a:lnTo>
                      <a:pt x="1" y="249"/>
                    </a:lnTo>
                    <a:lnTo>
                      <a:pt x="0" y="249"/>
                    </a:lnTo>
                    <a:lnTo>
                      <a:pt x="20" y="260"/>
                    </a:lnTo>
                    <a:lnTo>
                      <a:pt x="27" y="255"/>
                    </a:lnTo>
                    <a:lnTo>
                      <a:pt x="432" y="23"/>
                    </a:lnTo>
                    <a:close/>
                  </a:path>
                </a:pathLst>
              </a:custGeom>
              <a:solidFill>
                <a:srgbClr val="848484"/>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95" name="Freeform 241">
                <a:extLst>
                  <a:ext uri="{FF2B5EF4-FFF2-40B4-BE49-F238E27FC236}">
                    <a16:creationId xmlns:a16="http://schemas.microsoft.com/office/drawing/2014/main" id="{A44E9129-CBDB-44B8-9016-9A879B3F5850}"/>
                  </a:ext>
                </a:extLst>
              </p:cNvPr>
              <p:cNvSpPr>
                <a:spLocks/>
              </p:cNvSpPr>
              <p:nvPr/>
            </p:nvSpPr>
            <p:spPr bwMode="gray">
              <a:xfrm>
                <a:off x="1805273" y="1397139"/>
                <a:ext cx="273791" cy="157602"/>
              </a:xfrm>
              <a:custGeom>
                <a:avLst/>
                <a:gdLst>
                  <a:gd name="T0" fmla="*/ 476 w 476"/>
                  <a:gd name="T1" fmla="*/ 25 h 274"/>
                  <a:gd name="T2" fmla="*/ 433 w 476"/>
                  <a:gd name="T3" fmla="*/ 0 h 274"/>
                  <a:gd name="T4" fmla="*/ 0 w 476"/>
                  <a:gd name="T5" fmla="*/ 249 h 274"/>
                  <a:gd name="T6" fmla="*/ 44 w 476"/>
                  <a:gd name="T7" fmla="*/ 274 h 274"/>
                  <a:gd name="T8" fmla="*/ 45 w 476"/>
                  <a:gd name="T9" fmla="*/ 274 h 274"/>
                  <a:gd name="T10" fmla="*/ 476 w 476"/>
                  <a:gd name="T11" fmla="*/ 25 h 274"/>
                </a:gdLst>
                <a:ahLst/>
                <a:cxnLst>
                  <a:cxn ang="0">
                    <a:pos x="T0" y="T1"/>
                  </a:cxn>
                  <a:cxn ang="0">
                    <a:pos x="T2" y="T3"/>
                  </a:cxn>
                  <a:cxn ang="0">
                    <a:pos x="T4" y="T5"/>
                  </a:cxn>
                  <a:cxn ang="0">
                    <a:pos x="T6" y="T7"/>
                  </a:cxn>
                  <a:cxn ang="0">
                    <a:pos x="T8" y="T9"/>
                  </a:cxn>
                  <a:cxn ang="0">
                    <a:pos x="T10" y="T11"/>
                  </a:cxn>
                </a:cxnLst>
                <a:rect l="0" t="0" r="r" b="b"/>
                <a:pathLst>
                  <a:path w="476" h="274">
                    <a:moveTo>
                      <a:pt x="476" y="25"/>
                    </a:moveTo>
                    <a:lnTo>
                      <a:pt x="433" y="0"/>
                    </a:lnTo>
                    <a:lnTo>
                      <a:pt x="0" y="249"/>
                    </a:lnTo>
                    <a:lnTo>
                      <a:pt x="44" y="274"/>
                    </a:lnTo>
                    <a:lnTo>
                      <a:pt x="45" y="274"/>
                    </a:lnTo>
                    <a:lnTo>
                      <a:pt x="476" y="25"/>
                    </a:lnTo>
                    <a:close/>
                  </a:path>
                </a:pathLst>
              </a:custGeom>
              <a:solidFill>
                <a:srgbClr val="999999"/>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96" name="Freeform 242">
                <a:extLst>
                  <a:ext uri="{FF2B5EF4-FFF2-40B4-BE49-F238E27FC236}">
                    <a16:creationId xmlns:a16="http://schemas.microsoft.com/office/drawing/2014/main" id="{6EEB6370-AA3E-4E18-98E0-25F196FF4EEF}"/>
                  </a:ext>
                </a:extLst>
              </p:cNvPr>
              <p:cNvSpPr>
                <a:spLocks/>
              </p:cNvSpPr>
              <p:nvPr/>
            </p:nvSpPr>
            <p:spPr bwMode="gray">
              <a:xfrm>
                <a:off x="1805273" y="1540361"/>
                <a:ext cx="25308" cy="16105"/>
              </a:xfrm>
              <a:custGeom>
                <a:avLst/>
                <a:gdLst>
                  <a:gd name="T0" fmla="*/ 44 w 44"/>
                  <a:gd name="T1" fmla="*/ 28 h 28"/>
                  <a:gd name="T2" fmla="*/ 44 w 44"/>
                  <a:gd name="T3" fmla="*/ 25 h 28"/>
                  <a:gd name="T4" fmla="*/ 0 w 44"/>
                  <a:gd name="T5" fmla="*/ 0 h 28"/>
                  <a:gd name="T6" fmla="*/ 0 w 44"/>
                  <a:gd name="T7" fmla="*/ 3 h 28"/>
                  <a:gd name="T8" fmla="*/ 44 w 44"/>
                  <a:gd name="T9" fmla="*/ 28 h 28"/>
                </a:gdLst>
                <a:ahLst/>
                <a:cxnLst>
                  <a:cxn ang="0">
                    <a:pos x="T0" y="T1"/>
                  </a:cxn>
                  <a:cxn ang="0">
                    <a:pos x="T2" y="T3"/>
                  </a:cxn>
                  <a:cxn ang="0">
                    <a:pos x="T4" y="T5"/>
                  </a:cxn>
                  <a:cxn ang="0">
                    <a:pos x="T6" y="T7"/>
                  </a:cxn>
                  <a:cxn ang="0">
                    <a:pos x="T8" y="T9"/>
                  </a:cxn>
                </a:cxnLst>
                <a:rect l="0" t="0" r="r" b="b"/>
                <a:pathLst>
                  <a:path w="44" h="28">
                    <a:moveTo>
                      <a:pt x="44" y="28"/>
                    </a:moveTo>
                    <a:lnTo>
                      <a:pt x="44" y="25"/>
                    </a:lnTo>
                    <a:lnTo>
                      <a:pt x="0" y="0"/>
                    </a:lnTo>
                    <a:lnTo>
                      <a:pt x="0" y="3"/>
                    </a:lnTo>
                    <a:lnTo>
                      <a:pt x="44" y="28"/>
                    </a:lnTo>
                    <a:close/>
                  </a:path>
                </a:pathLst>
              </a:custGeom>
              <a:solidFill>
                <a:srgbClr val="BBBBB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97" name="Freeform 243">
                <a:extLst>
                  <a:ext uri="{FF2B5EF4-FFF2-40B4-BE49-F238E27FC236}">
                    <a16:creationId xmlns:a16="http://schemas.microsoft.com/office/drawing/2014/main" id="{90E1C784-2154-4265-9946-F2289E67B162}"/>
                  </a:ext>
                </a:extLst>
              </p:cNvPr>
              <p:cNvSpPr>
                <a:spLocks/>
              </p:cNvSpPr>
              <p:nvPr/>
            </p:nvSpPr>
            <p:spPr bwMode="gray">
              <a:xfrm>
                <a:off x="1842085" y="1558192"/>
                <a:ext cx="8628" cy="5752"/>
              </a:xfrm>
              <a:custGeom>
                <a:avLst/>
                <a:gdLst>
                  <a:gd name="T0" fmla="*/ 15 w 15"/>
                  <a:gd name="T1" fmla="*/ 5 h 10"/>
                  <a:gd name="T2" fmla="*/ 7 w 15"/>
                  <a:gd name="T3" fmla="*/ 0 h 10"/>
                  <a:gd name="T4" fmla="*/ 0 w 15"/>
                  <a:gd name="T5" fmla="*/ 5 h 10"/>
                  <a:gd name="T6" fmla="*/ 6 w 15"/>
                  <a:gd name="T7" fmla="*/ 10 h 10"/>
                  <a:gd name="T8" fmla="*/ 15 w 15"/>
                  <a:gd name="T9" fmla="*/ 5 h 10"/>
                </a:gdLst>
                <a:ahLst/>
                <a:cxnLst>
                  <a:cxn ang="0">
                    <a:pos x="T0" y="T1"/>
                  </a:cxn>
                  <a:cxn ang="0">
                    <a:pos x="T2" y="T3"/>
                  </a:cxn>
                  <a:cxn ang="0">
                    <a:pos x="T4" y="T5"/>
                  </a:cxn>
                  <a:cxn ang="0">
                    <a:pos x="T6" y="T7"/>
                  </a:cxn>
                  <a:cxn ang="0">
                    <a:pos x="T8" y="T9"/>
                  </a:cxn>
                </a:cxnLst>
                <a:rect l="0" t="0" r="r" b="b"/>
                <a:pathLst>
                  <a:path w="15" h="10">
                    <a:moveTo>
                      <a:pt x="15" y="5"/>
                    </a:moveTo>
                    <a:lnTo>
                      <a:pt x="7" y="0"/>
                    </a:lnTo>
                    <a:lnTo>
                      <a:pt x="0" y="5"/>
                    </a:lnTo>
                    <a:lnTo>
                      <a:pt x="6" y="10"/>
                    </a:lnTo>
                    <a:lnTo>
                      <a:pt x="15" y="5"/>
                    </a:lnTo>
                    <a:close/>
                  </a:path>
                </a:pathLst>
              </a:custGeom>
              <a:solidFill>
                <a:srgbClr val="D9D9D9"/>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98" name="Freeform 244">
                <a:extLst>
                  <a:ext uri="{FF2B5EF4-FFF2-40B4-BE49-F238E27FC236}">
                    <a16:creationId xmlns:a16="http://schemas.microsoft.com/office/drawing/2014/main" id="{6E793CAA-431C-48E9-817F-1C86C8CF6BE3}"/>
                  </a:ext>
                </a:extLst>
              </p:cNvPr>
              <p:cNvSpPr>
                <a:spLocks/>
              </p:cNvSpPr>
              <p:nvPr/>
            </p:nvSpPr>
            <p:spPr bwMode="gray">
              <a:xfrm>
                <a:off x="1802972" y="1539211"/>
                <a:ext cx="2301" cy="2876"/>
              </a:xfrm>
              <a:custGeom>
                <a:avLst/>
                <a:gdLst>
                  <a:gd name="T0" fmla="*/ 4 w 4"/>
                  <a:gd name="T1" fmla="*/ 5 h 5"/>
                  <a:gd name="T2" fmla="*/ 4 w 4"/>
                  <a:gd name="T3" fmla="*/ 2 h 5"/>
                  <a:gd name="T4" fmla="*/ 0 w 4"/>
                  <a:gd name="T5" fmla="*/ 0 h 5"/>
                  <a:gd name="T6" fmla="*/ 0 w 4"/>
                  <a:gd name="T7" fmla="*/ 2 h 5"/>
                  <a:gd name="T8" fmla="*/ 4 w 4"/>
                  <a:gd name="T9" fmla="*/ 5 h 5"/>
                </a:gdLst>
                <a:ahLst/>
                <a:cxnLst>
                  <a:cxn ang="0">
                    <a:pos x="T0" y="T1"/>
                  </a:cxn>
                  <a:cxn ang="0">
                    <a:pos x="T2" y="T3"/>
                  </a:cxn>
                  <a:cxn ang="0">
                    <a:pos x="T4" y="T5"/>
                  </a:cxn>
                  <a:cxn ang="0">
                    <a:pos x="T6" y="T7"/>
                  </a:cxn>
                  <a:cxn ang="0">
                    <a:pos x="T8" y="T9"/>
                  </a:cxn>
                </a:cxnLst>
                <a:rect l="0" t="0" r="r" b="b"/>
                <a:pathLst>
                  <a:path w="4" h="5">
                    <a:moveTo>
                      <a:pt x="4" y="5"/>
                    </a:moveTo>
                    <a:lnTo>
                      <a:pt x="4" y="2"/>
                    </a:lnTo>
                    <a:lnTo>
                      <a:pt x="0" y="0"/>
                    </a:lnTo>
                    <a:lnTo>
                      <a:pt x="0" y="2"/>
                    </a:lnTo>
                    <a:lnTo>
                      <a:pt x="4" y="5"/>
                    </a:lnTo>
                    <a:close/>
                  </a:path>
                </a:pathLst>
              </a:custGeom>
              <a:solidFill>
                <a:srgbClr val="999999"/>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99" name="Freeform 246">
                <a:extLst>
                  <a:ext uri="{FF2B5EF4-FFF2-40B4-BE49-F238E27FC236}">
                    <a16:creationId xmlns:a16="http://schemas.microsoft.com/office/drawing/2014/main" id="{4801E03E-73FB-4DB9-9AA5-7162B6C870D3}"/>
                  </a:ext>
                </a:extLst>
              </p:cNvPr>
              <p:cNvSpPr>
                <a:spLocks/>
              </p:cNvSpPr>
              <p:nvPr/>
            </p:nvSpPr>
            <p:spPr bwMode="gray">
              <a:xfrm>
                <a:off x="1841510" y="1933792"/>
                <a:ext cx="2876" cy="6902"/>
              </a:xfrm>
              <a:custGeom>
                <a:avLst/>
                <a:gdLst>
                  <a:gd name="T0" fmla="*/ 0 w 5"/>
                  <a:gd name="T1" fmla="*/ 0 h 12"/>
                  <a:gd name="T2" fmla="*/ 0 w 5"/>
                  <a:gd name="T3" fmla="*/ 10 h 12"/>
                  <a:gd name="T4" fmla="*/ 5 w 5"/>
                  <a:gd name="T5" fmla="*/ 12 h 12"/>
                  <a:gd name="T6" fmla="*/ 5 w 5"/>
                  <a:gd name="T7" fmla="*/ 3 h 12"/>
                  <a:gd name="T8" fmla="*/ 0 w 5"/>
                  <a:gd name="T9" fmla="*/ 0 h 12"/>
                </a:gdLst>
                <a:ahLst/>
                <a:cxnLst>
                  <a:cxn ang="0">
                    <a:pos x="T0" y="T1"/>
                  </a:cxn>
                  <a:cxn ang="0">
                    <a:pos x="T2" y="T3"/>
                  </a:cxn>
                  <a:cxn ang="0">
                    <a:pos x="T4" y="T5"/>
                  </a:cxn>
                  <a:cxn ang="0">
                    <a:pos x="T6" y="T7"/>
                  </a:cxn>
                  <a:cxn ang="0">
                    <a:pos x="T8" y="T9"/>
                  </a:cxn>
                </a:cxnLst>
                <a:rect l="0" t="0" r="r" b="b"/>
                <a:pathLst>
                  <a:path w="5" h="12">
                    <a:moveTo>
                      <a:pt x="0" y="0"/>
                    </a:moveTo>
                    <a:lnTo>
                      <a:pt x="0" y="10"/>
                    </a:lnTo>
                    <a:lnTo>
                      <a:pt x="5" y="12"/>
                    </a:lnTo>
                    <a:lnTo>
                      <a:pt x="5" y="3"/>
                    </a:lnTo>
                    <a:lnTo>
                      <a:pt x="0" y="0"/>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00" name="Freeform 247">
                <a:extLst>
                  <a:ext uri="{FF2B5EF4-FFF2-40B4-BE49-F238E27FC236}">
                    <a16:creationId xmlns:a16="http://schemas.microsoft.com/office/drawing/2014/main" id="{7B36E985-B890-45AB-9F6E-5A0AD6778B52}"/>
                  </a:ext>
                </a:extLst>
              </p:cNvPr>
              <p:cNvSpPr>
                <a:spLocks/>
              </p:cNvSpPr>
              <p:nvPr/>
            </p:nvSpPr>
            <p:spPr bwMode="gray">
              <a:xfrm>
                <a:off x="1841510" y="1911935"/>
                <a:ext cx="2876" cy="23583"/>
              </a:xfrm>
              <a:custGeom>
                <a:avLst/>
                <a:gdLst>
                  <a:gd name="T0" fmla="*/ 5 w 5"/>
                  <a:gd name="T1" fmla="*/ 2 h 41"/>
                  <a:gd name="T2" fmla="*/ 2 w 5"/>
                  <a:gd name="T3" fmla="*/ 1 h 41"/>
                  <a:gd name="T4" fmla="*/ 0 w 5"/>
                  <a:gd name="T5" fmla="*/ 0 h 41"/>
                  <a:gd name="T6" fmla="*/ 0 w 5"/>
                  <a:gd name="T7" fmla="*/ 38 h 41"/>
                  <a:gd name="T8" fmla="*/ 5 w 5"/>
                  <a:gd name="T9" fmla="*/ 41 h 41"/>
                  <a:gd name="T10" fmla="*/ 5 w 5"/>
                  <a:gd name="T11" fmla="*/ 2 h 41"/>
                </a:gdLst>
                <a:ahLst/>
                <a:cxnLst>
                  <a:cxn ang="0">
                    <a:pos x="T0" y="T1"/>
                  </a:cxn>
                  <a:cxn ang="0">
                    <a:pos x="T2" y="T3"/>
                  </a:cxn>
                  <a:cxn ang="0">
                    <a:pos x="T4" y="T5"/>
                  </a:cxn>
                  <a:cxn ang="0">
                    <a:pos x="T6" y="T7"/>
                  </a:cxn>
                  <a:cxn ang="0">
                    <a:pos x="T8" y="T9"/>
                  </a:cxn>
                  <a:cxn ang="0">
                    <a:pos x="T10" y="T11"/>
                  </a:cxn>
                </a:cxnLst>
                <a:rect l="0" t="0" r="r" b="b"/>
                <a:pathLst>
                  <a:path w="5" h="41">
                    <a:moveTo>
                      <a:pt x="5" y="2"/>
                    </a:moveTo>
                    <a:lnTo>
                      <a:pt x="2" y="1"/>
                    </a:lnTo>
                    <a:lnTo>
                      <a:pt x="0" y="0"/>
                    </a:lnTo>
                    <a:lnTo>
                      <a:pt x="0" y="38"/>
                    </a:lnTo>
                    <a:lnTo>
                      <a:pt x="5" y="41"/>
                    </a:lnTo>
                    <a:lnTo>
                      <a:pt x="5" y="2"/>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01" name="Freeform 248">
                <a:extLst>
                  <a:ext uri="{FF2B5EF4-FFF2-40B4-BE49-F238E27FC236}">
                    <a16:creationId xmlns:a16="http://schemas.microsoft.com/office/drawing/2014/main" id="{DEA3F1AD-D92F-464D-97F0-468846E4CFBB}"/>
                  </a:ext>
                </a:extLst>
              </p:cNvPr>
              <p:cNvSpPr>
                <a:spLocks/>
              </p:cNvSpPr>
              <p:nvPr/>
            </p:nvSpPr>
            <p:spPr bwMode="gray">
              <a:xfrm>
                <a:off x="1844386" y="1913085"/>
                <a:ext cx="288746" cy="188663"/>
              </a:xfrm>
              <a:custGeom>
                <a:avLst/>
                <a:gdLst>
                  <a:gd name="T0" fmla="*/ 0 w 502"/>
                  <a:gd name="T1" fmla="*/ 0 h 328"/>
                  <a:gd name="T2" fmla="*/ 0 w 502"/>
                  <a:gd name="T3" fmla="*/ 39 h 328"/>
                  <a:gd name="T4" fmla="*/ 502 w 502"/>
                  <a:gd name="T5" fmla="*/ 328 h 328"/>
                  <a:gd name="T6" fmla="*/ 502 w 502"/>
                  <a:gd name="T7" fmla="*/ 289 h 328"/>
                  <a:gd name="T8" fmla="*/ 3 w 502"/>
                  <a:gd name="T9" fmla="*/ 3 h 328"/>
                  <a:gd name="T10" fmla="*/ 0 w 502"/>
                  <a:gd name="T11" fmla="*/ 0 h 328"/>
                </a:gdLst>
                <a:ahLst/>
                <a:cxnLst>
                  <a:cxn ang="0">
                    <a:pos x="T0" y="T1"/>
                  </a:cxn>
                  <a:cxn ang="0">
                    <a:pos x="T2" y="T3"/>
                  </a:cxn>
                  <a:cxn ang="0">
                    <a:pos x="T4" y="T5"/>
                  </a:cxn>
                  <a:cxn ang="0">
                    <a:pos x="T6" y="T7"/>
                  </a:cxn>
                  <a:cxn ang="0">
                    <a:pos x="T8" y="T9"/>
                  </a:cxn>
                  <a:cxn ang="0">
                    <a:pos x="T10" y="T11"/>
                  </a:cxn>
                </a:cxnLst>
                <a:rect l="0" t="0" r="r" b="b"/>
                <a:pathLst>
                  <a:path w="502" h="328">
                    <a:moveTo>
                      <a:pt x="0" y="0"/>
                    </a:moveTo>
                    <a:lnTo>
                      <a:pt x="0" y="39"/>
                    </a:lnTo>
                    <a:lnTo>
                      <a:pt x="502" y="328"/>
                    </a:lnTo>
                    <a:lnTo>
                      <a:pt x="502" y="289"/>
                    </a:lnTo>
                    <a:lnTo>
                      <a:pt x="3" y="3"/>
                    </a:lnTo>
                    <a:lnTo>
                      <a:pt x="0" y="0"/>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02" name="Freeform 249">
                <a:extLst>
                  <a:ext uri="{FF2B5EF4-FFF2-40B4-BE49-F238E27FC236}">
                    <a16:creationId xmlns:a16="http://schemas.microsoft.com/office/drawing/2014/main" id="{4A97507F-E5CA-4305-A6AC-5303E2BFDD57}"/>
                  </a:ext>
                </a:extLst>
              </p:cNvPr>
              <p:cNvSpPr>
                <a:spLocks/>
              </p:cNvSpPr>
              <p:nvPr/>
            </p:nvSpPr>
            <p:spPr bwMode="gray">
              <a:xfrm>
                <a:off x="1844386" y="1935518"/>
                <a:ext cx="288746" cy="171407"/>
              </a:xfrm>
              <a:custGeom>
                <a:avLst/>
                <a:gdLst>
                  <a:gd name="T0" fmla="*/ 0 w 502"/>
                  <a:gd name="T1" fmla="*/ 0 h 298"/>
                  <a:gd name="T2" fmla="*/ 0 w 502"/>
                  <a:gd name="T3" fmla="*/ 9 h 298"/>
                  <a:gd name="T4" fmla="*/ 502 w 502"/>
                  <a:gd name="T5" fmla="*/ 298 h 298"/>
                  <a:gd name="T6" fmla="*/ 502 w 502"/>
                  <a:gd name="T7" fmla="*/ 289 h 298"/>
                  <a:gd name="T8" fmla="*/ 0 w 502"/>
                  <a:gd name="T9" fmla="*/ 0 h 298"/>
                </a:gdLst>
                <a:ahLst/>
                <a:cxnLst>
                  <a:cxn ang="0">
                    <a:pos x="T0" y="T1"/>
                  </a:cxn>
                  <a:cxn ang="0">
                    <a:pos x="T2" y="T3"/>
                  </a:cxn>
                  <a:cxn ang="0">
                    <a:pos x="T4" y="T5"/>
                  </a:cxn>
                  <a:cxn ang="0">
                    <a:pos x="T6" y="T7"/>
                  </a:cxn>
                  <a:cxn ang="0">
                    <a:pos x="T8" y="T9"/>
                  </a:cxn>
                </a:cxnLst>
                <a:rect l="0" t="0" r="r" b="b"/>
                <a:pathLst>
                  <a:path w="502" h="298">
                    <a:moveTo>
                      <a:pt x="0" y="0"/>
                    </a:moveTo>
                    <a:lnTo>
                      <a:pt x="0" y="9"/>
                    </a:lnTo>
                    <a:lnTo>
                      <a:pt x="502" y="298"/>
                    </a:lnTo>
                    <a:lnTo>
                      <a:pt x="502" y="289"/>
                    </a:lnTo>
                    <a:lnTo>
                      <a:pt x="0" y="0"/>
                    </a:lnTo>
                    <a:close/>
                  </a:path>
                </a:pathLst>
              </a:custGeom>
              <a:solidFill>
                <a:srgbClr val="EEEEE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03" name="Freeform 376">
                <a:extLst>
                  <a:ext uri="{FF2B5EF4-FFF2-40B4-BE49-F238E27FC236}">
                    <a16:creationId xmlns:a16="http://schemas.microsoft.com/office/drawing/2014/main" id="{B28C3075-960F-4666-AD97-282A5AB4B589}"/>
                  </a:ext>
                </a:extLst>
              </p:cNvPr>
              <p:cNvSpPr>
                <a:spLocks/>
              </p:cNvSpPr>
              <p:nvPr/>
            </p:nvSpPr>
            <p:spPr bwMode="gray">
              <a:xfrm>
                <a:off x="1805273" y="1542087"/>
                <a:ext cx="25308" cy="664626"/>
              </a:xfrm>
              <a:custGeom>
                <a:avLst/>
                <a:gdLst>
                  <a:gd name="connsiteX0" fmla="*/ 0 w 25308"/>
                  <a:gd name="connsiteY0" fmla="*/ 0 h 664626"/>
                  <a:gd name="connsiteX1" fmla="*/ 25308 w 25308"/>
                  <a:gd name="connsiteY1" fmla="*/ 14380 h 664626"/>
                  <a:gd name="connsiteX2" fmla="*/ 25308 w 25308"/>
                  <a:gd name="connsiteY2" fmla="*/ 664130 h 664626"/>
                  <a:gd name="connsiteX3" fmla="*/ 0 w 25308"/>
                  <a:gd name="connsiteY3" fmla="*/ 664626 h 664626"/>
                </a:gdLst>
                <a:ahLst/>
                <a:cxnLst>
                  <a:cxn ang="0">
                    <a:pos x="connsiteX0" y="connsiteY0"/>
                  </a:cxn>
                  <a:cxn ang="0">
                    <a:pos x="connsiteX1" y="connsiteY1"/>
                  </a:cxn>
                  <a:cxn ang="0">
                    <a:pos x="connsiteX2" y="connsiteY2"/>
                  </a:cxn>
                  <a:cxn ang="0">
                    <a:pos x="connsiteX3" y="connsiteY3"/>
                  </a:cxn>
                </a:cxnLst>
                <a:rect l="l" t="t" r="r" b="b"/>
                <a:pathLst>
                  <a:path w="25308" h="664626">
                    <a:moveTo>
                      <a:pt x="0" y="0"/>
                    </a:moveTo>
                    <a:lnTo>
                      <a:pt x="25308" y="14380"/>
                    </a:lnTo>
                    <a:lnTo>
                      <a:pt x="25308" y="664130"/>
                    </a:lnTo>
                    <a:lnTo>
                      <a:pt x="0" y="664626"/>
                    </a:lnTo>
                    <a:close/>
                  </a:path>
                </a:pathLst>
              </a:custGeom>
              <a:solidFill>
                <a:srgbClr val="666666"/>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04" name="Freeform 377">
                <a:extLst>
                  <a:ext uri="{FF2B5EF4-FFF2-40B4-BE49-F238E27FC236}">
                    <a16:creationId xmlns:a16="http://schemas.microsoft.com/office/drawing/2014/main" id="{7DC1B62A-0820-4D04-A2CB-FA751B25705D}"/>
                  </a:ext>
                </a:extLst>
              </p:cNvPr>
              <p:cNvSpPr>
                <a:spLocks/>
              </p:cNvSpPr>
              <p:nvPr/>
            </p:nvSpPr>
            <p:spPr bwMode="gray">
              <a:xfrm>
                <a:off x="1920311" y="2001665"/>
                <a:ext cx="41414" cy="202792"/>
              </a:xfrm>
              <a:custGeom>
                <a:avLst/>
                <a:gdLst>
                  <a:gd name="connsiteX0" fmla="*/ 0 w 41414"/>
                  <a:gd name="connsiteY0" fmla="*/ 0 h 202792"/>
                  <a:gd name="connsiteX1" fmla="*/ 41414 w 41414"/>
                  <a:gd name="connsiteY1" fmla="*/ 24158 h 202792"/>
                  <a:gd name="connsiteX2" fmla="*/ 20707 w 41414"/>
                  <a:gd name="connsiteY2" fmla="*/ 36237 h 202792"/>
                  <a:gd name="connsiteX3" fmla="*/ 20707 w 41414"/>
                  <a:gd name="connsiteY3" fmla="*/ 202386 h 202792"/>
                  <a:gd name="connsiteX4" fmla="*/ 0 w 41414"/>
                  <a:gd name="connsiteY4" fmla="*/ 202792 h 202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4" h="202792">
                    <a:moveTo>
                      <a:pt x="0" y="0"/>
                    </a:moveTo>
                    <a:lnTo>
                      <a:pt x="41414" y="24158"/>
                    </a:lnTo>
                    <a:lnTo>
                      <a:pt x="20707" y="36237"/>
                    </a:lnTo>
                    <a:lnTo>
                      <a:pt x="20707" y="202386"/>
                    </a:lnTo>
                    <a:lnTo>
                      <a:pt x="0" y="202792"/>
                    </a:lnTo>
                    <a:close/>
                  </a:path>
                </a:pathLst>
              </a:custGeom>
              <a:solidFill>
                <a:srgbClr val="262626"/>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05" name="Freeform 378">
                <a:extLst>
                  <a:ext uri="{FF2B5EF4-FFF2-40B4-BE49-F238E27FC236}">
                    <a16:creationId xmlns:a16="http://schemas.microsoft.com/office/drawing/2014/main" id="{B7E5FB30-7792-4E2E-A739-457F25B10462}"/>
                  </a:ext>
                </a:extLst>
              </p:cNvPr>
              <p:cNvSpPr>
                <a:spLocks/>
              </p:cNvSpPr>
              <p:nvPr/>
            </p:nvSpPr>
            <p:spPr bwMode="gray">
              <a:xfrm>
                <a:off x="1941018" y="2025823"/>
                <a:ext cx="110437" cy="178228"/>
              </a:xfrm>
              <a:custGeom>
                <a:avLst/>
                <a:gdLst>
                  <a:gd name="connsiteX0" fmla="*/ 20707 w 110437"/>
                  <a:gd name="connsiteY0" fmla="*/ 0 h 178228"/>
                  <a:gd name="connsiteX1" fmla="*/ 110437 w 110437"/>
                  <a:gd name="connsiteY1" fmla="*/ 51767 h 178228"/>
                  <a:gd name="connsiteX2" fmla="*/ 110437 w 110437"/>
                  <a:gd name="connsiteY2" fmla="*/ 176063 h 178228"/>
                  <a:gd name="connsiteX3" fmla="*/ 0 w 110437"/>
                  <a:gd name="connsiteY3" fmla="*/ 178228 h 178228"/>
                  <a:gd name="connsiteX4" fmla="*/ 0 w 110437"/>
                  <a:gd name="connsiteY4" fmla="*/ 12079 h 178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437" h="178228">
                    <a:moveTo>
                      <a:pt x="20707" y="0"/>
                    </a:moveTo>
                    <a:lnTo>
                      <a:pt x="110437" y="51767"/>
                    </a:lnTo>
                    <a:lnTo>
                      <a:pt x="110437" y="176063"/>
                    </a:lnTo>
                    <a:lnTo>
                      <a:pt x="0" y="178228"/>
                    </a:lnTo>
                    <a:lnTo>
                      <a:pt x="0" y="12079"/>
                    </a:lnTo>
                    <a:close/>
                  </a:path>
                </a:pathLst>
              </a:custGeom>
              <a:solidFill>
                <a:srgbClr val="333333"/>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06" name="Freeform 256">
                <a:extLst>
                  <a:ext uri="{FF2B5EF4-FFF2-40B4-BE49-F238E27FC236}">
                    <a16:creationId xmlns:a16="http://schemas.microsoft.com/office/drawing/2014/main" id="{6C286F57-38A4-4DB3-AF0F-EC168F2A6FFA}"/>
                  </a:ext>
                </a:extLst>
              </p:cNvPr>
              <p:cNvSpPr>
                <a:spLocks/>
              </p:cNvSpPr>
              <p:nvPr/>
            </p:nvSpPr>
            <p:spPr bwMode="gray">
              <a:xfrm>
                <a:off x="1844961" y="1563944"/>
                <a:ext cx="288171" cy="169682"/>
              </a:xfrm>
              <a:custGeom>
                <a:avLst/>
                <a:gdLst>
                  <a:gd name="T0" fmla="*/ 501 w 501"/>
                  <a:gd name="T1" fmla="*/ 295 h 295"/>
                  <a:gd name="T2" fmla="*/ 501 w 501"/>
                  <a:gd name="T3" fmla="*/ 287 h 295"/>
                  <a:gd name="T4" fmla="*/ 1 w 501"/>
                  <a:gd name="T5" fmla="*/ 0 h 295"/>
                  <a:gd name="T6" fmla="*/ 0 w 501"/>
                  <a:gd name="T7" fmla="*/ 0 h 295"/>
                  <a:gd name="T8" fmla="*/ 0 w 501"/>
                  <a:gd name="T9" fmla="*/ 7 h 295"/>
                  <a:gd name="T10" fmla="*/ 501 w 501"/>
                  <a:gd name="T11" fmla="*/ 295 h 295"/>
                </a:gdLst>
                <a:ahLst/>
                <a:cxnLst>
                  <a:cxn ang="0">
                    <a:pos x="T0" y="T1"/>
                  </a:cxn>
                  <a:cxn ang="0">
                    <a:pos x="T2" y="T3"/>
                  </a:cxn>
                  <a:cxn ang="0">
                    <a:pos x="T4" y="T5"/>
                  </a:cxn>
                  <a:cxn ang="0">
                    <a:pos x="T6" y="T7"/>
                  </a:cxn>
                  <a:cxn ang="0">
                    <a:pos x="T8" y="T9"/>
                  </a:cxn>
                  <a:cxn ang="0">
                    <a:pos x="T10" y="T11"/>
                  </a:cxn>
                </a:cxnLst>
                <a:rect l="0" t="0" r="r" b="b"/>
                <a:pathLst>
                  <a:path w="501" h="295">
                    <a:moveTo>
                      <a:pt x="501" y="295"/>
                    </a:moveTo>
                    <a:lnTo>
                      <a:pt x="501" y="287"/>
                    </a:lnTo>
                    <a:lnTo>
                      <a:pt x="1" y="0"/>
                    </a:lnTo>
                    <a:lnTo>
                      <a:pt x="0" y="0"/>
                    </a:lnTo>
                    <a:lnTo>
                      <a:pt x="0" y="7"/>
                    </a:lnTo>
                    <a:lnTo>
                      <a:pt x="501" y="295"/>
                    </a:lnTo>
                    <a:close/>
                  </a:path>
                </a:pathLst>
              </a:custGeom>
              <a:solidFill>
                <a:srgbClr val="D9D9D9"/>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07" name="Freeform 380">
                <a:extLst>
                  <a:ext uri="{FF2B5EF4-FFF2-40B4-BE49-F238E27FC236}">
                    <a16:creationId xmlns:a16="http://schemas.microsoft.com/office/drawing/2014/main" id="{DDF28EA1-5F0B-4C4A-9BB1-B62BD0A6C190}"/>
                  </a:ext>
                </a:extLst>
              </p:cNvPr>
              <p:cNvSpPr>
                <a:spLocks/>
              </p:cNvSpPr>
              <p:nvPr/>
            </p:nvSpPr>
            <p:spPr bwMode="gray">
              <a:xfrm>
                <a:off x="1830581" y="1554741"/>
                <a:ext cx="11504" cy="651476"/>
              </a:xfrm>
              <a:custGeom>
                <a:avLst/>
                <a:gdLst>
                  <a:gd name="connsiteX0" fmla="*/ 0 w 11504"/>
                  <a:gd name="connsiteY0" fmla="*/ 0 h 651476"/>
                  <a:gd name="connsiteX1" fmla="*/ 11504 w 11504"/>
                  <a:gd name="connsiteY1" fmla="*/ 6327 h 651476"/>
                  <a:gd name="connsiteX2" fmla="*/ 10929 w 11504"/>
                  <a:gd name="connsiteY2" fmla="*/ 6327 h 651476"/>
                  <a:gd name="connsiteX3" fmla="*/ 10929 w 11504"/>
                  <a:gd name="connsiteY3" fmla="*/ 651262 h 651476"/>
                  <a:gd name="connsiteX4" fmla="*/ 0 w 11504"/>
                  <a:gd name="connsiteY4" fmla="*/ 651476 h 651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4" h="651476">
                    <a:moveTo>
                      <a:pt x="0" y="0"/>
                    </a:moveTo>
                    <a:lnTo>
                      <a:pt x="11504" y="6327"/>
                    </a:lnTo>
                    <a:lnTo>
                      <a:pt x="10929" y="6327"/>
                    </a:lnTo>
                    <a:lnTo>
                      <a:pt x="10929" y="651262"/>
                    </a:lnTo>
                    <a:lnTo>
                      <a:pt x="0" y="651476"/>
                    </a:lnTo>
                    <a:close/>
                  </a:path>
                </a:pathLst>
              </a:custGeom>
              <a:solidFill>
                <a:srgbClr val="555555"/>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08" name="Freeform 258">
                <a:extLst>
                  <a:ext uri="{FF2B5EF4-FFF2-40B4-BE49-F238E27FC236}">
                    <a16:creationId xmlns:a16="http://schemas.microsoft.com/office/drawing/2014/main" id="{978E13CE-2E49-4E44-8AF8-F66A89F701E3}"/>
                  </a:ext>
                </a:extLst>
              </p:cNvPr>
              <p:cNvSpPr>
                <a:spLocks/>
              </p:cNvSpPr>
              <p:nvPr/>
            </p:nvSpPr>
            <p:spPr bwMode="gray">
              <a:xfrm>
                <a:off x="1841510" y="1561068"/>
                <a:ext cx="291622" cy="231802"/>
              </a:xfrm>
              <a:custGeom>
                <a:avLst/>
                <a:gdLst>
                  <a:gd name="T0" fmla="*/ 507 w 507"/>
                  <a:gd name="T1" fmla="*/ 403 h 403"/>
                  <a:gd name="T2" fmla="*/ 507 w 507"/>
                  <a:gd name="T3" fmla="*/ 300 h 403"/>
                  <a:gd name="T4" fmla="*/ 6 w 507"/>
                  <a:gd name="T5" fmla="*/ 12 h 403"/>
                  <a:gd name="T6" fmla="*/ 6 w 507"/>
                  <a:gd name="T7" fmla="*/ 5 h 403"/>
                  <a:gd name="T8" fmla="*/ 7 w 507"/>
                  <a:gd name="T9" fmla="*/ 5 h 403"/>
                  <a:gd name="T10" fmla="*/ 1 w 507"/>
                  <a:gd name="T11" fmla="*/ 0 h 403"/>
                  <a:gd name="T12" fmla="*/ 0 w 507"/>
                  <a:gd name="T13" fmla="*/ 0 h 403"/>
                  <a:gd name="T14" fmla="*/ 0 w 507"/>
                  <a:gd name="T15" fmla="*/ 112 h 403"/>
                  <a:gd name="T16" fmla="*/ 1 w 507"/>
                  <a:gd name="T17" fmla="*/ 112 h 403"/>
                  <a:gd name="T18" fmla="*/ 2 w 507"/>
                  <a:gd name="T19" fmla="*/ 113 h 403"/>
                  <a:gd name="T20" fmla="*/ 10 w 507"/>
                  <a:gd name="T21" fmla="*/ 117 h 403"/>
                  <a:gd name="T22" fmla="*/ 114 w 507"/>
                  <a:gd name="T23" fmla="*/ 178 h 403"/>
                  <a:gd name="T24" fmla="*/ 126 w 507"/>
                  <a:gd name="T25" fmla="*/ 184 h 403"/>
                  <a:gd name="T26" fmla="*/ 507 w 507"/>
                  <a:gd name="T27" fmla="*/ 40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7" h="403">
                    <a:moveTo>
                      <a:pt x="507" y="403"/>
                    </a:moveTo>
                    <a:lnTo>
                      <a:pt x="507" y="300"/>
                    </a:lnTo>
                    <a:lnTo>
                      <a:pt x="6" y="12"/>
                    </a:lnTo>
                    <a:lnTo>
                      <a:pt x="6" y="5"/>
                    </a:lnTo>
                    <a:lnTo>
                      <a:pt x="7" y="5"/>
                    </a:lnTo>
                    <a:lnTo>
                      <a:pt x="1" y="0"/>
                    </a:lnTo>
                    <a:lnTo>
                      <a:pt x="0" y="0"/>
                    </a:lnTo>
                    <a:lnTo>
                      <a:pt x="0" y="112"/>
                    </a:lnTo>
                    <a:lnTo>
                      <a:pt x="1" y="112"/>
                    </a:lnTo>
                    <a:lnTo>
                      <a:pt x="2" y="113"/>
                    </a:lnTo>
                    <a:lnTo>
                      <a:pt x="10" y="117"/>
                    </a:lnTo>
                    <a:lnTo>
                      <a:pt x="114" y="178"/>
                    </a:lnTo>
                    <a:lnTo>
                      <a:pt x="126" y="184"/>
                    </a:lnTo>
                    <a:lnTo>
                      <a:pt x="507" y="403"/>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09" name="Freeform 259">
                <a:extLst>
                  <a:ext uri="{FF2B5EF4-FFF2-40B4-BE49-F238E27FC236}">
                    <a16:creationId xmlns:a16="http://schemas.microsoft.com/office/drawing/2014/main" id="{0F622B4E-CDEE-4E60-8247-122A962489D2}"/>
                  </a:ext>
                </a:extLst>
              </p:cNvPr>
              <p:cNvSpPr>
                <a:spLocks/>
              </p:cNvSpPr>
              <p:nvPr/>
            </p:nvSpPr>
            <p:spPr bwMode="gray">
              <a:xfrm>
                <a:off x="1907082" y="1663452"/>
                <a:ext cx="226050" cy="320957"/>
              </a:xfrm>
              <a:custGeom>
                <a:avLst/>
                <a:gdLst>
                  <a:gd name="T0" fmla="*/ 393 w 393"/>
                  <a:gd name="T1" fmla="*/ 558 h 558"/>
                  <a:gd name="T2" fmla="*/ 393 w 393"/>
                  <a:gd name="T3" fmla="*/ 225 h 558"/>
                  <a:gd name="T4" fmla="*/ 12 w 393"/>
                  <a:gd name="T5" fmla="*/ 6 h 558"/>
                  <a:gd name="T6" fmla="*/ 0 w 393"/>
                  <a:gd name="T7" fmla="*/ 0 h 558"/>
                  <a:gd name="T8" fmla="*/ 0 w 393"/>
                  <a:gd name="T9" fmla="*/ 331 h 558"/>
                  <a:gd name="T10" fmla="*/ 393 w 393"/>
                  <a:gd name="T11" fmla="*/ 558 h 558"/>
                </a:gdLst>
                <a:ahLst/>
                <a:cxnLst>
                  <a:cxn ang="0">
                    <a:pos x="T0" y="T1"/>
                  </a:cxn>
                  <a:cxn ang="0">
                    <a:pos x="T2" y="T3"/>
                  </a:cxn>
                  <a:cxn ang="0">
                    <a:pos x="T4" y="T5"/>
                  </a:cxn>
                  <a:cxn ang="0">
                    <a:pos x="T6" y="T7"/>
                  </a:cxn>
                  <a:cxn ang="0">
                    <a:pos x="T8" y="T9"/>
                  </a:cxn>
                  <a:cxn ang="0">
                    <a:pos x="T10" y="T11"/>
                  </a:cxn>
                </a:cxnLst>
                <a:rect l="0" t="0" r="r" b="b"/>
                <a:pathLst>
                  <a:path w="393" h="558">
                    <a:moveTo>
                      <a:pt x="393" y="558"/>
                    </a:moveTo>
                    <a:lnTo>
                      <a:pt x="393" y="225"/>
                    </a:lnTo>
                    <a:lnTo>
                      <a:pt x="12" y="6"/>
                    </a:lnTo>
                    <a:lnTo>
                      <a:pt x="0" y="0"/>
                    </a:lnTo>
                    <a:lnTo>
                      <a:pt x="0" y="331"/>
                    </a:lnTo>
                    <a:lnTo>
                      <a:pt x="393" y="558"/>
                    </a:lnTo>
                    <a:close/>
                  </a:path>
                </a:pathLst>
              </a:custGeom>
              <a:solidFill>
                <a:srgbClr val="333333"/>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10" name="Freeform 260">
                <a:extLst>
                  <a:ext uri="{FF2B5EF4-FFF2-40B4-BE49-F238E27FC236}">
                    <a16:creationId xmlns:a16="http://schemas.microsoft.com/office/drawing/2014/main" id="{991E8F1B-E5DD-405C-854E-3C4FA5ECF18F}"/>
                  </a:ext>
                </a:extLst>
              </p:cNvPr>
              <p:cNvSpPr>
                <a:spLocks/>
              </p:cNvSpPr>
              <p:nvPr/>
            </p:nvSpPr>
            <p:spPr bwMode="gray">
              <a:xfrm>
                <a:off x="1841510" y="1853841"/>
                <a:ext cx="291622" cy="225475"/>
              </a:xfrm>
              <a:custGeom>
                <a:avLst/>
                <a:gdLst>
                  <a:gd name="T0" fmla="*/ 0 w 507"/>
                  <a:gd name="T1" fmla="*/ 101 h 392"/>
                  <a:gd name="T2" fmla="*/ 2 w 507"/>
                  <a:gd name="T3" fmla="*/ 102 h 392"/>
                  <a:gd name="T4" fmla="*/ 8 w 507"/>
                  <a:gd name="T5" fmla="*/ 106 h 392"/>
                  <a:gd name="T6" fmla="*/ 507 w 507"/>
                  <a:gd name="T7" fmla="*/ 392 h 392"/>
                  <a:gd name="T8" fmla="*/ 507 w 507"/>
                  <a:gd name="T9" fmla="*/ 227 h 392"/>
                  <a:gd name="T10" fmla="*/ 114 w 507"/>
                  <a:gd name="T11" fmla="*/ 0 h 392"/>
                  <a:gd name="T12" fmla="*/ 0 w 507"/>
                  <a:gd name="T13" fmla="*/ 66 h 392"/>
                  <a:gd name="T14" fmla="*/ 0 w 507"/>
                  <a:gd name="T15" fmla="*/ 101 h 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392">
                    <a:moveTo>
                      <a:pt x="0" y="101"/>
                    </a:moveTo>
                    <a:lnTo>
                      <a:pt x="2" y="102"/>
                    </a:lnTo>
                    <a:lnTo>
                      <a:pt x="8" y="106"/>
                    </a:lnTo>
                    <a:lnTo>
                      <a:pt x="507" y="392"/>
                    </a:lnTo>
                    <a:lnTo>
                      <a:pt x="507" y="227"/>
                    </a:lnTo>
                    <a:lnTo>
                      <a:pt x="114" y="0"/>
                    </a:lnTo>
                    <a:lnTo>
                      <a:pt x="0" y="66"/>
                    </a:lnTo>
                    <a:lnTo>
                      <a:pt x="0" y="101"/>
                    </a:lnTo>
                    <a:close/>
                  </a:path>
                </a:pathLst>
              </a:custGeom>
              <a:solidFill>
                <a:srgbClr val="4D4D4D"/>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11" name="Freeform 261">
                <a:extLst>
                  <a:ext uri="{FF2B5EF4-FFF2-40B4-BE49-F238E27FC236}">
                    <a16:creationId xmlns:a16="http://schemas.microsoft.com/office/drawing/2014/main" id="{8EBC2B32-A6C9-4FF2-8A03-37A8C7FEFA5E}"/>
                  </a:ext>
                </a:extLst>
              </p:cNvPr>
              <p:cNvSpPr>
                <a:spLocks/>
              </p:cNvSpPr>
              <p:nvPr/>
            </p:nvSpPr>
            <p:spPr bwMode="gray">
              <a:xfrm>
                <a:off x="1841510" y="1625490"/>
                <a:ext cx="65572" cy="266314"/>
              </a:xfrm>
              <a:custGeom>
                <a:avLst/>
                <a:gdLst>
                  <a:gd name="T0" fmla="*/ 10 w 114"/>
                  <a:gd name="T1" fmla="*/ 5 h 463"/>
                  <a:gd name="T2" fmla="*/ 2 w 114"/>
                  <a:gd name="T3" fmla="*/ 1 h 463"/>
                  <a:gd name="T4" fmla="*/ 1 w 114"/>
                  <a:gd name="T5" fmla="*/ 0 h 463"/>
                  <a:gd name="T6" fmla="*/ 0 w 114"/>
                  <a:gd name="T7" fmla="*/ 0 h 463"/>
                  <a:gd name="T8" fmla="*/ 0 w 114"/>
                  <a:gd name="T9" fmla="*/ 463 h 463"/>
                  <a:gd name="T10" fmla="*/ 114 w 114"/>
                  <a:gd name="T11" fmla="*/ 397 h 463"/>
                  <a:gd name="T12" fmla="*/ 114 w 114"/>
                  <a:gd name="T13" fmla="*/ 123 h 463"/>
                  <a:gd name="T14" fmla="*/ 110 w 114"/>
                  <a:gd name="T15" fmla="*/ 120 h 463"/>
                  <a:gd name="T16" fmla="*/ 110 w 114"/>
                  <a:gd name="T17" fmla="*/ 65 h 463"/>
                  <a:gd name="T18" fmla="*/ 10 w 114"/>
                  <a:gd name="T19" fmla="*/ 5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463">
                    <a:moveTo>
                      <a:pt x="10" y="5"/>
                    </a:moveTo>
                    <a:lnTo>
                      <a:pt x="2" y="1"/>
                    </a:lnTo>
                    <a:lnTo>
                      <a:pt x="1" y="0"/>
                    </a:lnTo>
                    <a:lnTo>
                      <a:pt x="0" y="0"/>
                    </a:lnTo>
                    <a:lnTo>
                      <a:pt x="0" y="463"/>
                    </a:lnTo>
                    <a:lnTo>
                      <a:pt x="114" y="397"/>
                    </a:lnTo>
                    <a:lnTo>
                      <a:pt x="114" y="123"/>
                    </a:lnTo>
                    <a:lnTo>
                      <a:pt x="110" y="120"/>
                    </a:lnTo>
                    <a:lnTo>
                      <a:pt x="110" y="65"/>
                    </a:lnTo>
                    <a:lnTo>
                      <a:pt x="10" y="5"/>
                    </a:lnTo>
                    <a:close/>
                  </a:path>
                </a:pathLst>
              </a:custGeom>
              <a:solidFill>
                <a:srgbClr val="262626"/>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12" name="Freeform 262">
                <a:extLst>
                  <a:ext uri="{FF2B5EF4-FFF2-40B4-BE49-F238E27FC236}">
                    <a16:creationId xmlns:a16="http://schemas.microsoft.com/office/drawing/2014/main" id="{2A9AB741-BE4D-4845-8960-0B3540C03388}"/>
                  </a:ext>
                </a:extLst>
              </p:cNvPr>
              <p:cNvSpPr>
                <a:spLocks/>
              </p:cNvSpPr>
              <p:nvPr/>
            </p:nvSpPr>
            <p:spPr bwMode="gray">
              <a:xfrm>
                <a:off x="1841510" y="1625490"/>
                <a:ext cx="65572" cy="266314"/>
              </a:xfrm>
              <a:custGeom>
                <a:avLst/>
                <a:gdLst>
                  <a:gd name="T0" fmla="*/ 10 w 114"/>
                  <a:gd name="T1" fmla="*/ 5 h 463"/>
                  <a:gd name="T2" fmla="*/ 2 w 114"/>
                  <a:gd name="T3" fmla="*/ 1 h 463"/>
                  <a:gd name="T4" fmla="*/ 1 w 114"/>
                  <a:gd name="T5" fmla="*/ 0 h 463"/>
                  <a:gd name="T6" fmla="*/ 0 w 114"/>
                  <a:gd name="T7" fmla="*/ 0 h 463"/>
                  <a:gd name="T8" fmla="*/ 0 w 114"/>
                  <a:gd name="T9" fmla="*/ 463 h 463"/>
                  <a:gd name="T10" fmla="*/ 114 w 114"/>
                  <a:gd name="T11" fmla="*/ 397 h 463"/>
                  <a:gd name="T12" fmla="*/ 114 w 114"/>
                  <a:gd name="T13" fmla="*/ 123 h 463"/>
                  <a:gd name="T14" fmla="*/ 110 w 114"/>
                  <a:gd name="T15" fmla="*/ 120 h 463"/>
                  <a:gd name="T16" fmla="*/ 110 w 114"/>
                  <a:gd name="T17" fmla="*/ 395 h 463"/>
                  <a:gd name="T18" fmla="*/ 10 w 114"/>
                  <a:gd name="T19" fmla="*/ 453 h 463"/>
                  <a:gd name="T20" fmla="*/ 10 w 114"/>
                  <a:gd name="T21" fmla="*/ 5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463">
                    <a:moveTo>
                      <a:pt x="10" y="5"/>
                    </a:moveTo>
                    <a:lnTo>
                      <a:pt x="2" y="1"/>
                    </a:lnTo>
                    <a:lnTo>
                      <a:pt x="1" y="0"/>
                    </a:lnTo>
                    <a:lnTo>
                      <a:pt x="0" y="0"/>
                    </a:lnTo>
                    <a:lnTo>
                      <a:pt x="0" y="463"/>
                    </a:lnTo>
                    <a:lnTo>
                      <a:pt x="114" y="397"/>
                    </a:lnTo>
                    <a:lnTo>
                      <a:pt x="114" y="123"/>
                    </a:lnTo>
                    <a:lnTo>
                      <a:pt x="110" y="120"/>
                    </a:lnTo>
                    <a:lnTo>
                      <a:pt x="110" y="395"/>
                    </a:lnTo>
                    <a:lnTo>
                      <a:pt x="10" y="453"/>
                    </a:lnTo>
                    <a:lnTo>
                      <a:pt x="10" y="5"/>
                    </a:lnTo>
                    <a:close/>
                  </a:path>
                </a:pathLst>
              </a:custGeom>
              <a:solidFill>
                <a:srgbClr val="1A1A1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13" name="Freeform 263">
                <a:extLst>
                  <a:ext uri="{FF2B5EF4-FFF2-40B4-BE49-F238E27FC236}">
                    <a16:creationId xmlns:a16="http://schemas.microsoft.com/office/drawing/2014/main" id="{CEA4F27F-8FE8-4BF2-9EAA-C48D59486074}"/>
                  </a:ext>
                </a:extLst>
              </p:cNvPr>
              <p:cNvSpPr>
                <a:spLocks/>
              </p:cNvSpPr>
              <p:nvPr/>
            </p:nvSpPr>
            <p:spPr bwMode="gray">
              <a:xfrm>
                <a:off x="1907082" y="1663452"/>
                <a:ext cx="226050" cy="163354"/>
              </a:xfrm>
              <a:custGeom>
                <a:avLst/>
                <a:gdLst>
                  <a:gd name="T0" fmla="*/ 393 w 393"/>
                  <a:gd name="T1" fmla="*/ 284 h 284"/>
                  <a:gd name="T2" fmla="*/ 393 w 393"/>
                  <a:gd name="T3" fmla="*/ 225 h 284"/>
                  <a:gd name="T4" fmla="*/ 12 w 393"/>
                  <a:gd name="T5" fmla="*/ 6 h 284"/>
                  <a:gd name="T6" fmla="*/ 0 w 393"/>
                  <a:gd name="T7" fmla="*/ 0 h 284"/>
                  <a:gd name="T8" fmla="*/ 0 w 393"/>
                  <a:gd name="T9" fmla="*/ 57 h 284"/>
                  <a:gd name="T10" fmla="*/ 393 w 393"/>
                  <a:gd name="T11" fmla="*/ 284 h 284"/>
                </a:gdLst>
                <a:ahLst/>
                <a:cxnLst>
                  <a:cxn ang="0">
                    <a:pos x="T0" y="T1"/>
                  </a:cxn>
                  <a:cxn ang="0">
                    <a:pos x="T2" y="T3"/>
                  </a:cxn>
                  <a:cxn ang="0">
                    <a:pos x="T4" y="T5"/>
                  </a:cxn>
                  <a:cxn ang="0">
                    <a:pos x="T6" y="T7"/>
                  </a:cxn>
                  <a:cxn ang="0">
                    <a:pos x="T8" y="T9"/>
                  </a:cxn>
                  <a:cxn ang="0">
                    <a:pos x="T10" y="T11"/>
                  </a:cxn>
                </a:cxnLst>
                <a:rect l="0" t="0" r="r" b="b"/>
                <a:pathLst>
                  <a:path w="393" h="284">
                    <a:moveTo>
                      <a:pt x="393" y="284"/>
                    </a:moveTo>
                    <a:lnTo>
                      <a:pt x="393" y="225"/>
                    </a:lnTo>
                    <a:lnTo>
                      <a:pt x="12" y="6"/>
                    </a:lnTo>
                    <a:lnTo>
                      <a:pt x="0" y="0"/>
                    </a:lnTo>
                    <a:lnTo>
                      <a:pt x="0" y="57"/>
                    </a:lnTo>
                    <a:lnTo>
                      <a:pt x="393" y="284"/>
                    </a:lnTo>
                    <a:close/>
                  </a:path>
                </a:pathLst>
              </a:custGeom>
              <a:solidFill>
                <a:srgbClr val="2B2B2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14" name="Freeform 264">
                <a:extLst>
                  <a:ext uri="{FF2B5EF4-FFF2-40B4-BE49-F238E27FC236}">
                    <a16:creationId xmlns:a16="http://schemas.microsoft.com/office/drawing/2014/main" id="{75BFBA8D-1C69-4767-93C2-E2C42E91738A}"/>
                  </a:ext>
                </a:extLst>
              </p:cNvPr>
              <p:cNvSpPr>
                <a:spLocks/>
              </p:cNvSpPr>
              <p:nvPr/>
            </p:nvSpPr>
            <p:spPr bwMode="gray">
              <a:xfrm>
                <a:off x="1847262" y="1628366"/>
                <a:ext cx="59820" cy="67873"/>
              </a:xfrm>
              <a:custGeom>
                <a:avLst/>
                <a:gdLst>
                  <a:gd name="T0" fmla="*/ 104 w 104"/>
                  <a:gd name="T1" fmla="*/ 61 h 118"/>
                  <a:gd name="T2" fmla="*/ 0 w 104"/>
                  <a:gd name="T3" fmla="*/ 0 h 118"/>
                  <a:gd name="T4" fmla="*/ 104 w 104"/>
                  <a:gd name="T5" fmla="*/ 118 h 118"/>
                  <a:gd name="T6" fmla="*/ 104 w 104"/>
                  <a:gd name="T7" fmla="*/ 61 h 118"/>
                </a:gdLst>
                <a:ahLst/>
                <a:cxnLst>
                  <a:cxn ang="0">
                    <a:pos x="T0" y="T1"/>
                  </a:cxn>
                  <a:cxn ang="0">
                    <a:pos x="T2" y="T3"/>
                  </a:cxn>
                  <a:cxn ang="0">
                    <a:pos x="T4" y="T5"/>
                  </a:cxn>
                  <a:cxn ang="0">
                    <a:pos x="T6" y="T7"/>
                  </a:cxn>
                </a:cxnLst>
                <a:rect l="0" t="0" r="r" b="b"/>
                <a:pathLst>
                  <a:path w="104" h="118">
                    <a:moveTo>
                      <a:pt x="104" y="61"/>
                    </a:moveTo>
                    <a:lnTo>
                      <a:pt x="0" y="0"/>
                    </a:lnTo>
                    <a:lnTo>
                      <a:pt x="104" y="118"/>
                    </a:lnTo>
                    <a:lnTo>
                      <a:pt x="104" y="61"/>
                    </a:lnTo>
                    <a:close/>
                  </a:path>
                </a:pathLst>
              </a:custGeom>
              <a:solidFill>
                <a:srgbClr val="1E1E1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15" name="Freeform 265">
                <a:extLst>
                  <a:ext uri="{FF2B5EF4-FFF2-40B4-BE49-F238E27FC236}">
                    <a16:creationId xmlns:a16="http://schemas.microsoft.com/office/drawing/2014/main" id="{1C66E9F2-D661-4CE0-B6F6-5D3254EF90F8}"/>
                  </a:ext>
                </a:extLst>
              </p:cNvPr>
              <p:cNvSpPr>
                <a:spLocks/>
              </p:cNvSpPr>
              <p:nvPr/>
            </p:nvSpPr>
            <p:spPr bwMode="gray">
              <a:xfrm>
                <a:off x="1841510" y="1853841"/>
                <a:ext cx="291622" cy="225475"/>
              </a:xfrm>
              <a:custGeom>
                <a:avLst/>
                <a:gdLst>
                  <a:gd name="T0" fmla="*/ 385 w 507"/>
                  <a:gd name="T1" fmla="*/ 228 h 392"/>
                  <a:gd name="T2" fmla="*/ 406 w 507"/>
                  <a:gd name="T3" fmla="*/ 224 h 392"/>
                  <a:gd name="T4" fmla="*/ 429 w 507"/>
                  <a:gd name="T5" fmla="*/ 233 h 392"/>
                  <a:gd name="T6" fmla="*/ 493 w 507"/>
                  <a:gd name="T7" fmla="*/ 224 h 392"/>
                  <a:gd name="T8" fmla="*/ 507 w 507"/>
                  <a:gd name="T9" fmla="*/ 233 h 392"/>
                  <a:gd name="T10" fmla="*/ 507 w 507"/>
                  <a:gd name="T11" fmla="*/ 227 h 392"/>
                  <a:gd name="T12" fmla="*/ 114 w 507"/>
                  <a:gd name="T13" fmla="*/ 0 h 392"/>
                  <a:gd name="T14" fmla="*/ 0 w 507"/>
                  <a:gd name="T15" fmla="*/ 66 h 392"/>
                  <a:gd name="T16" fmla="*/ 0 w 507"/>
                  <a:gd name="T17" fmla="*/ 101 h 392"/>
                  <a:gd name="T18" fmla="*/ 507 w 507"/>
                  <a:gd name="T19" fmla="*/ 392 h 392"/>
                  <a:gd name="T20" fmla="*/ 507 w 507"/>
                  <a:gd name="T21" fmla="*/ 379 h 392"/>
                  <a:gd name="T22" fmla="*/ 10 w 507"/>
                  <a:gd name="T23" fmla="*/ 94 h 392"/>
                  <a:gd name="T24" fmla="*/ 2 w 507"/>
                  <a:gd name="T25" fmla="*/ 90 h 392"/>
                  <a:gd name="T26" fmla="*/ 2 w 507"/>
                  <a:gd name="T27" fmla="*/ 85 h 392"/>
                  <a:gd name="T28" fmla="*/ 10 w 507"/>
                  <a:gd name="T29" fmla="*/ 89 h 392"/>
                  <a:gd name="T30" fmla="*/ 10 w 507"/>
                  <a:gd name="T31" fmla="*/ 66 h 392"/>
                  <a:gd name="T32" fmla="*/ 114 w 507"/>
                  <a:gd name="T33" fmla="*/ 6 h 392"/>
                  <a:gd name="T34" fmla="*/ 206 w 507"/>
                  <a:gd name="T35" fmla="*/ 59 h 392"/>
                  <a:gd name="T36" fmla="*/ 170 w 507"/>
                  <a:gd name="T37" fmla="*/ 91 h 392"/>
                  <a:gd name="T38" fmla="*/ 186 w 507"/>
                  <a:gd name="T39" fmla="*/ 109 h 392"/>
                  <a:gd name="T40" fmla="*/ 232 w 507"/>
                  <a:gd name="T41" fmla="*/ 136 h 392"/>
                  <a:gd name="T42" fmla="*/ 257 w 507"/>
                  <a:gd name="T43" fmla="*/ 130 h 392"/>
                  <a:gd name="T44" fmla="*/ 331 w 507"/>
                  <a:gd name="T45" fmla="*/ 173 h 392"/>
                  <a:gd name="T46" fmla="*/ 318 w 507"/>
                  <a:gd name="T47" fmla="*/ 181 h 392"/>
                  <a:gd name="T48" fmla="*/ 320 w 507"/>
                  <a:gd name="T49" fmla="*/ 193 h 392"/>
                  <a:gd name="T50" fmla="*/ 385 w 507"/>
                  <a:gd name="T51" fmla="*/ 228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7" h="392">
                    <a:moveTo>
                      <a:pt x="385" y="228"/>
                    </a:moveTo>
                    <a:lnTo>
                      <a:pt x="406" y="224"/>
                    </a:lnTo>
                    <a:lnTo>
                      <a:pt x="429" y="233"/>
                    </a:lnTo>
                    <a:lnTo>
                      <a:pt x="493" y="224"/>
                    </a:lnTo>
                    <a:lnTo>
                      <a:pt x="507" y="233"/>
                    </a:lnTo>
                    <a:lnTo>
                      <a:pt x="507" y="227"/>
                    </a:lnTo>
                    <a:lnTo>
                      <a:pt x="114" y="0"/>
                    </a:lnTo>
                    <a:lnTo>
                      <a:pt x="0" y="66"/>
                    </a:lnTo>
                    <a:lnTo>
                      <a:pt x="0" y="101"/>
                    </a:lnTo>
                    <a:lnTo>
                      <a:pt x="507" y="392"/>
                    </a:lnTo>
                    <a:lnTo>
                      <a:pt x="507" y="379"/>
                    </a:lnTo>
                    <a:lnTo>
                      <a:pt x="10" y="94"/>
                    </a:lnTo>
                    <a:lnTo>
                      <a:pt x="2" y="90"/>
                    </a:lnTo>
                    <a:lnTo>
                      <a:pt x="2" y="85"/>
                    </a:lnTo>
                    <a:lnTo>
                      <a:pt x="10" y="89"/>
                    </a:lnTo>
                    <a:lnTo>
                      <a:pt x="10" y="66"/>
                    </a:lnTo>
                    <a:lnTo>
                      <a:pt x="114" y="6"/>
                    </a:lnTo>
                    <a:lnTo>
                      <a:pt x="206" y="59"/>
                    </a:lnTo>
                    <a:lnTo>
                      <a:pt x="170" y="91"/>
                    </a:lnTo>
                    <a:lnTo>
                      <a:pt x="186" y="109"/>
                    </a:lnTo>
                    <a:lnTo>
                      <a:pt x="232" y="136"/>
                    </a:lnTo>
                    <a:lnTo>
                      <a:pt x="257" y="130"/>
                    </a:lnTo>
                    <a:lnTo>
                      <a:pt x="331" y="173"/>
                    </a:lnTo>
                    <a:lnTo>
                      <a:pt x="318" y="181"/>
                    </a:lnTo>
                    <a:lnTo>
                      <a:pt x="320" y="193"/>
                    </a:lnTo>
                    <a:lnTo>
                      <a:pt x="385" y="228"/>
                    </a:lnTo>
                    <a:close/>
                  </a:path>
                </a:pathLst>
              </a:custGeom>
              <a:solidFill>
                <a:srgbClr val="40404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16" name="Freeform 266">
                <a:extLst>
                  <a:ext uri="{FF2B5EF4-FFF2-40B4-BE49-F238E27FC236}">
                    <a16:creationId xmlns:a16="http://schemas.microsoft.com/office/drawing/2014/main" id="{7AC95A4B-6578-47D3-ADA0-77FE3035E3B4}"/>
                  </a:ext>
                </a:extLst>
              </p:cNvPr>
              <p:cNvSpPr>
                <a:spLocks/>
              </p:cNvSpPr>
              <p:nvPr/>
            </p:nvSpPr>
            <p:spPr bwMode="gray">
              <a:xfrm>
                <a:off x="1847262" y="1905033"/>
                <a:ext cx="285870" cy="166806"/>
              </a:xfrm>
              <a:custGeom>
                <a:avLst/>
                <a:gdLst>
                  <a:gd name="T0" fmla="*/ 497 w 497"/>
                  <a:gd name="T1" fmla="*/ 290 h 290"/>
                  <a:gd name="T2" fmla="*/ 497 w 497"/>
                  <a:gd name="T3" fmla="*/ 285 h 290"/>
                  <a:gd name="T4" fmla="*/ 0 w 497"/>
                  <a:gd name="T5" fmla="*/ 0 h 290"/>
                  <a:gd name="T6" fmla="*/ 0 w 497"/>
                  <a:gd name="T7" fmla="*/ 5 h 290"/>
                  <a:gd name="T8" fmla="*/ 497 w 497"/>
                  <a:gd name="T9" fmla="*/ 290 h 290"/>
                </a:gdLst>
                <a:ahLst/>
                <a:cxnLst>
                  <a:cxn ang="0">
                    <a:pos x="T0" y="T1"/>
                  </a:cxn>
                  <a:cxn ang="0">
                    <a:pos x="T2" y="T3"/>
                  </a:cxn>
                  <a:cxn ang="0">
                    <a:pos x="T4" y="T5"/>
                  </a:cxn>
                  <a:cxn ang="0">
                    <a:pos x="T6" y="T7"/>
                  </a:cxn>
                  <a:cxn ang="0">
                    <a:pos x="T8" y="T9"/>
                  </a:cxn>
                </a:cxnLst>
                <a:rect l="0" t="0" r="r" b="b"/>
                <a:pathLst>
                  <a:path w="497" h="290">
                    <a:moveTo>
                      <a:pt x="497" y="290"/>
                    </a:moveTo>
                    <a:lnTo>
                      <a:pt x="497" y="285"/>
                    </a:lnTo>
                    <a:lnTo>
                      <a:pt x="0" y="0"/>
                    </a:lnTo>
                    <a:lnTo>
                      <a:pt x="0" y="5"/>
                    </a:lnTo>
                    <a:lnTo>
                      <a:pt x="497" y="290"/>
                    </a:lnTo>
                    <a:close/>
                  </a:path>
                </a:pathLst>
              </a:custGeom>
              <a:solidFill>
                <a:srgbClr val="6F6F6F"/>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17" name="Freeform 267">
                <a:extLst>
                  <a:ext uri="{FF2B5EF4-FFF2-40B4-BE49-F238E27FC236}">
                    <a16:creationId xmlns:a16="http://schemas.microsoft.com/office/drawing/2014/main" id="{7FD36DD5-665D-4D7B-8471-47922CD55739}"/>
                  </a:ext>
                </a:extLst>
              </p:cNvPr>
              <p:cNvSpPr>
                <a:spLocks/>
              </p:cNvSpPr>
              <p:nvPr/>
            </p:nvSpPr>
            <p:spPr bwMode="gray">
              <a:xfrm>
                <a:off x="1842660" y="1902732"/>
                <a:ext cx="4602" cy="5177"/>
              </a:xfrm>
              <a:custGeom>
                <a:avLst/>
                <a:gdLst>
                  <a:gd name="T0" fmla="*/ 8 w 8"/>
                  <a:gd name="T1" fmla="*/ 4 h 9"/>
                  <a:gd name="T2" fmla="*/ 0 w 8"/>
                  <a:gd name="T3" fmla="*/ 0 h 9"/>
                  <a:gd name="T4" fmla="*/ 0 w 8"/>
                  <a:gd name="T5" fmla="*/ 5 h 9"/>
                  <a:gd name="T6" fmla="*/ 8 w 8"/>
                  <a:gd name="T7" fmla="*/ 9 h 9"/>
                  <a:gd name="T8" fmla="*/ 8 w 8"/>
                  <a:gd name="T9" fmla="*/ 4 h 9"/>
                </a:gdLst>
                <a:ahLst/>
                <a:cxnLst>
                  <a:cxn ang="0">
                    <a:pos x="T0" y="T1"/>
                  </a:cxn>
                  <a:cxn ang="0">
                    <a:pos x="T2" y="T3"/>
                  </a:cxn>
                  <a:cxn ang="0">
                    <a:pos x="T4" y="T5"/>
                  </a:cxn>
                  <a:cxn ang="0">
                    <a:pos x="T6" y="T7"/>
                  </a:cxn>
                  <a:cxn ang="0">
                    <a:pos x="T8" y="T9"/>
                  </a:cxn>
                </a:cxnLst>
                <a:rect l="0" t="0" r="r" b="b"/>
                <a:pathLst>
                  <a:path w="8" h="9">
                    <a:moveTo>
                      <a:pt x="8" y="4"/>
                    </a:moveTo>
                    <a:lnTo>
                      <a:pt x="0" y="0"/>
                    </a:lnTo>
                    <a:lnTo>
                      <a:pt x="0" y="5"/>
                    </a:lnTo>
                    <a:lnTo>
                      <a:pt x="8" y="9"/>
                    </a:lnTo>
                    <a:lnTo>
                      <a:pt x="8" y="4"/>
                    </a:lnTo>
                    <a:close/>
                  </a:path>
                </a:pathLst>
              </a:custGeom>
              <a:solidFill>
                <a:srgbClr val="4D4D4D"/>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18" name="Freeform 268">
                <a:extLst>
                  <a:ext uri="{FF2B5EF4-FFF2-40B4-BE49-F238E27FC236}">
                    <a16:creationId xmlns:a16="http://schemas.microsoft.com/office/drawing/2014/main" id="{E1A03836-2330-4F1B-BFCE-0364555294D3}"/>
                  </a:ext>
                </a:extLst>
              </p:cNvPr>
              <p:cNvSpPr>
                <a:spLocks/>
              </p:cNvSpPr>
              <p:nvPr/>
            </p:nvSpPr>
            <p:spPr bwMode="gray">
              <a:xfrm>
                <a:off x="1890401" y="1913661"/>
                <a:ext cx="55218" cy="20707"/>
              </a:xfrm>
              <a:custGeom>
                <a:avLst/>
                <a:gdLst>
                  <a:gd name="T0" fmla="*/ 96 w 96"/>
                  <a:gd name="T1" fmla="*/ 34 h 36"/>
                  <a:gd name="T2" fmla="*/ 66 w 96"/>
                  <a:gd name="T3" fmla="*/ 17 h 36"/>
                  <a:gd name="T4" fmla="*/ 7 w 96"/>
                  <a:gd name="T5" fmla="*/ 0 h 36"/>
                  <a:gd name="T6" fmla="*/ 0 w 96"/>
                  <a:gd name="T7" fmla="*/ 12 h 36"/>
                  <a:gd name="T8" fmla="*/ 9 w 96"/>
                  <a:gd name="T9" fmla="*/ 12 h 36"/>
                  <a:gd name="T10" fmla="*/ 49 w 96"/>
                  <a:gd name="T11" fmla="*/ 36 h 36"/>
                  <a:gd name="T12" fmla="*/ 96 w 96"/>
                  <a:gd name="T13" fmla="*/ 34 h 36"/>
                </a:gdLst>
                <a:ahLst/>
                <a:cxnLst>
                  <a:cxn ang="0">
                    <a:pos x="T0" y="T1"/>
                  </a:cxn>
                  <a:cxn ang="0">
                    <a:pos x="T2" y="T3"/>
                  </a:cxn>
                  <a:cxn ang="0">
                    <a:pos x="T4" y="T5"/>
                  </a:cxn>
                  <a:cxn ang="0">
                    <a:pos x="T6" y="T7"/>
                  </a:cxn>
                  <a:cxn ang="0">
                    <a:pos x="T8" y="T9"/>
                  </a:cxn>
                  <a:cxn ang="0">
                    <a:pos x="T10" y="T11"/>
                  </a:cxn>
                  <a:cxn ang="0">
                    <a:pos x="T12" y="T13"/>
                  </a:cxn>
                </a:cxnLst>
                <a:rect l="0" t="0" r="r" b="b"/>
                <a:pathLst>
                  <a:path w="96" h="36">
                    <a:moveTo>
                      <a:pt x="96" y="34"/>
                    </a:moveTo>
                    <a:lnTo>
                      <a:pt x="66" y="17"/>
                    </a:lnTo>
                    <a:lnTo>
                      <a:pt x="7" y="0"/>
                    </a:lnTo>
                    <a:lnTo>
                      <a:pt x="0" y="12"/>
                    </a:lnTo>
                    <a:lnTo>
                      <a:pt x="9" y="12"/>
                    </a:lnTo>
                    <a:lnTo>
                      <a:pt x="49" y="36"/>
                    </a:lnTo>
                    <a:lnTo>
                      <a:pt x="96" y="34"/>
                    </a:lnTo>
                    <a:close/>
                  </a:path>
                </a:pathLst>
              </a:custGeom>
              <a:solidFill>
                <a:srgbClr val="40404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19" name="Freeform 269">
                <a:extLst>
                  <a:ext uri="{FF2B5EF4-FFF2-40B4-BE49-F238E27FC236}">
                    <a16:creationId xmlns:a16="http://schemas.microsoft.com/office/drawing/2014/main" id="{8C60C190-4D2C-4563-9A6D-56C757AC2F45}"/>
                  </a:ext>
                </a:extLst>
              </p:cNvPr>
              <p:cNvSpPr>
                <a:spLocks noEditPoints="1"/>
              </p:cNvSpPr>
              <p:nvPr/>
            </p:nvSpPr>
            <p:spPr bwMode="gray">
              <a:xfrm>
                <a:off x="1939292" y="1768137"/>
                <a:ext cx="160479" cy="212246"/>
              </a:xfrm>
              <a:custGeom>
                <a:avLst/>
                <a:gdLst>
                  <a:gd name="T0" fmla="*/ 0 w 279"/>
                  <a:gd name="T1" fmla="*/ 186 h 369"/>
                  <a:gd name="T2" fmla="*/ 0 w 279"/>
                  <a:gd name="T3" fmla="*/ 241 h 369"/>
                  <a:gd name="T4" fmla="*/ 14 w 279"/>
                  <a:gd name="T5" fmla="*/ 249 h 369"/>
                  <a:gd name="T6" fmla="*/ 14 w 279"/>
                  <a:gd name="T7" fmla="*/ 249 h 369"/>
                  <a:gd name="T8" fmla="*/ 17 w 279"/>
                  <a:gd name="T9" fmla="*/ 246 h 369"/>
                  <a:gd name="T10" fmla="*/ 34 w 279"/>
                  <a:gd name="T11" fmla="*/ 256 h 369"/>
                  <a:gd name="T12" fmla="*/ 34 w 279"/>
                  <a:gd name="T13" fmla="*/ 261 h 369"/>
                  <a:gd name="T14" fmla="*/ 59 w 279"/>
                  <a:gd name="T15" fmla="*/ 275 h 369"/>
                  <a:gd name="T16" fmla="*/ 80 w 279"/>
                  <a:gd name="T17" fmla="*/ 264 h 369"/>
                  <a:gd name="T18" fmla="*/ 154 w 279"/>
                  <a:gd name="T19" fmla="*/ 306 h 369"/>
                  <a:gd name="T20" fmla="*/ 154 w 279"/>
                  <a:gd name="T21" fmla="*/ 329 h 369"/>
                  <a:gd name="T22" fmla="*/ 213 w 279"/>
                  <a:gd name="T23" fmla="*/ 364 h 369"/>
                  <a:gd name="T24" fmla="*/ 233 w 279"/>
                  <a:gd name="T25" fmla="*/ 352 h 369"/>
                  <a:gd name="T26" fmla="*/ 260 w 279"/>
                  <a:gd name="T27" fmla="*/ 369 h 369"/>
                  <a:gd name="T28" fmla="*/ 279 w 279"/>
                  <a:gd name="T29" fmla="*/ 358 h 369"/>
                  <a:gd name="T30" fmla="*/ 279 w 279"/>
                  <a:gd name="T31" fmla="*/ 137 h 369"/>
                  <a:gd name="T32" fmla="*/ 41 w 279"/>
                  <a:gd name="T33" fmla="*/ 0 h 369"/>
                  <a:gd name="T34" fmla="*/ 23 w 279"/>
                  <a:gd name="T35" fmla="*/ 11 h 369"/>
                  <a:gd name="T36" fmla="*/ 23 w 279"/>
                  <a:gd name="T37" fmla="*/ 173 h 369"/>
                  <a:gd name="T38" fmla="*/ 0 w 279"/>
                  <a:gd name="T39" fmla="*/ 186 h 369"/>
                  <a:gd name="T40" fmla="*/ 59 w 279"/>
                  <a:gd name="T41" fmla="*/ 235 h 369"/>
                  <a:gd name="T42" fmla="*/ 60 w 279"/>
                  <a:gd name="T43" fmla="*/ 235 h 369"/>
                  <a:gd name="T44" fmla="*/ 59 w 279"/>
                  <a:gd name="T45" fmla="*/ 235 h 369"/>
                  <a:gd name="T46" fmla="*/ 200 w 279"/>
                  <a:gd name="T47" fmla="*/ 336 h 369"/>
                  <a:gd name="T48" fmla="*/ 200 w 279"/>
                  <a:gd name="T49" fmla="*/ 335 h 369"/>
                  <a:gd name="T50" fmla="*/ 200 w 279"/>
                  <a:gd name="T51" fmla="*/ 336 h 369"/>
                  <a:gd name="T52" fmla="*/ 200 w 279"/>
                  <a:gd name="T53" fmla="*/ 336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9" h="369">
                    <a:moveTo>
                      <a:pt x="0" y="186"/>
                    </a:moveTo>
                    <a:lnTo>
                      <a:pt x="0" y="241"/>
                    </a:lnTo>
                    <a:lnTo>
                      <a:pt x="14" y="249"/>
                    </a:lnTo>
                    <a:lnTo>
                      <a:pt x="14" y="249"/>
                    </a:lnTo>
                    <a:lnTo>
                      <a:pt x="17" y="246"/>
                    </a:lnTo>
                    <a:lnTo>
                      <a:pt x="34" y="256"/>
                    </a:lnTo>
                    <a:lnTo>
                      <a:pt x="34" y="261"/>
                    </a:lnTo>
                    <a:lnTo>
                      <a:pt x="59" y="275"/>
                    </a:lnTo>
                    <a:lnTo>
                      <a:pt x="80" y="264"/>
                    </a:lnTo>
                    <a:lnTo>
                      <a:pt x="154" y="306"/>
                    </a:lnTo>
                    <a:lnTo>
                      <a:pt x="154" y="329"/>
                    </a:lnTo>
                    <a:lnTo>
                      <a:pt x="213" y="364"/>
                    </a:lnTo>
                    <a:lnTo>
                      <a:pt x="233" y="352"/>
                    </a:lnTo>
                    <a:lnTo>
                      <a:pt x="260" y="369"/>
                    </a:lnTo>
                    <a:lnTo>
                      <a:pt x="279" y="358"/>
                    </a:lnTo>
                    <a:lnTo>
                      <a:pt x="279" y="137"/>
                    </a:lnTo>
                    <a:lnTo>
                      <a:pt x="41" y="0"/>
                    </a:lnTo>
                    <a:lnTo>
                      <a:pt x="23" y="11"/>
                    </a:lnTo>
                    <a:lnTo>
                      <a:pt x="23" y="173"/>
                    </a:lnTo>
                    <a:lnTo>
                      <a:pt x="0" y="186"/>
                    </a:lnTo>
                    <a:close/>
                    <a:moveTo>
                      <a:pt x="59" y="235"/>
                    </a:moveTo>
                    <a:lnTo>
                      <a:pt x="60" y="235"/>
                    </a:lnTo>
                    <a:lnTo>
                      <a:pt x="59" y="235"/>
                    </a:lnTo>
                    <a:close/>
                    <a:moveTo>
                      <a:pt x="200" y="336"/>
                    </a:moveTo>
                    <a:lnTo>
                      <a:pt x="200" y="335"/>
                    </a:lnTo>
                    <a:lnTo>
                      <a:pt x="200" y="336"/>
                    </a:lnTo>
                    <a:lnTo>
                      <a:pt x="200" y="336"/>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20" name="Freeform 270">
                <a:extLst>
                  <a:ext uri="{FF2B5EF4-FFF2-40B4-BE49-F238E27FC236}">
                    <a16:creationId xmlns:a16="http://schemas.microsoft.com/office/drawing/2014/main" id="{E8648AC6-CD62-4ADE-A065-DDCCEF5F9C7C}"/>
                  </a:ext>
                </a:extLst>
              </p:cNvPr>
              <p:cNvSpPr>
                <a:spLocks/>
              </p:cNvSpPr>
              <p:nvPr/>
            </p:nvSpPr>
            <p:spPr bwMode="gray">
              <a:xfrm>
                <a:off x="2088842" y="1860168"/>
                <a:ext cx="10929" cy="120215"/>
              </a:xfrm>
              <a:custGeom>
                <a:avLst/>
                <a:gdLst>
                  <a:gd name="T0" fmla="*/ 19 w 19"/>
                  <a:gd name="T1" fmla="*/ 0 h 209"/>
                  <a:gd name="T2" fmla="*/ 0 w 19"/>
                  <a:gd name="T3" fmla="*/ 11 h 209"/>
                  <a:gd name="T4" fmla="*/ 0 w 19"/>
                  <a:gd name="T5" fmla="*/ 103 h 209"/>
                  <a:gd name="T6" fmla="*/ 13 w 19"/>
                  <a:gd name="T7" fmla="*/ 96 h 209"/>
                  <a:gd name="T8" fmla="*/ 13 w 19"/>
                  <a:gd name="T9" fmla="*/ 110 h 209"/>
                  <a:gd name="T10" fmla="*/ 0 w 19"/>
                  <a:gd name="T11" fmla="*/ 117 h 209"/>
                  <a:gd name="T12" fmla="*/ 0 w 19"/>
                  <a:gd name="T13" fmla="*/ 209 h 209"/>
                  <a:gd name="T14" fmla="*/ 19 w 19"/>
                  <a:gd name="T15" fmla="*/ 198 h 209"/>
                  <a:gd name="T16" fmla="*/ 19 w 19"/>
                  <a:gd name="T1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09">
                    <a:moveTo>
                      <a:pt x="19" y="0"/>
                    </a:moveTo>
                    <a:lnTo>
                      <a:pt x="0" y="11"/>
                    </a:lnTo>
                    <a:lnTo>
                      <a:pt x="0" y="103"/>
                    </a:lnTo>
                    <a:lnTo>
                      <a:pt x="13" y="96"/>
                    </a:lnTo>
                    <a:lnTo>
                      <a:pt x="13" y="110"/>
                    </a:lnTo>
                    <a:lnTo>
                      <a:pt x="0" y="117"/>
                    </a:lnTo>
                    <a:lnTo>
                      <a:pt x="0" y="209"/>
                    </a:lnTo>
                    <a:lnTo>
                      <a:pt x="19" y="198"/>
                    </a:lnTo>
                    <a:lnTo>
                      <a:pt x="19" y="0"/>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21" name="Freeform 271">
                <a:extLst>
                  <a:ext uri="{FF2B5EF4-FFF2-40B4-BE49-F238E27FC236}">
                    <a16:creationId xmlns:a16="http://schemas.microsoft.com/office/drawing/2014/main" id="{DF48EA29-8EDC-4519-BB4B-FA7511134022}"/>
                  </a:ext>
                </a:extLst>
              </p:cNvPr>
              <p:cNvSpPr>
                <a:spLocks/>
              </p:cNvSpPr>
              <p:nvPr/>
            </p:nvSpPr>
            <p:spPr bwMode="gray">
              <a:xfrm>
                <a:off x="1952522" y="1768137"/>
                <a:ext cx="147249" cy="159328"/>
              </a:xfrm>
              <a:custGeom>
                <a:avLst/>
                <a:gdLst>
                  <a:gd name="T0" fmla="*/ 237 w 256"/>
                  <a:gd name="T1" fmla="*/ 171 h 277"/>
                  <a:gd name="T2" fmla="*/ 256 w 256"/>
                  <a:gd name="T3" fmla="*/ 160 h 277"/>
                  <a:gd name="T4" fmla="*/ 256 w 256"/>
                  <a:gd name="T5" fmla="*/ 137 h 277"/>
                  <a:gd name="T6" fmla="*/ 18 w 256"/>
                  <a:gd name="T7" fmla="*/ 0 h 277"/>
                  <a:gd name="T8" fmla="*/ 0 w 256"/>
                  <a:gd name="T9" fmla="*/ 11 h 277"/>
                  <a:gd name="T10" fmla="*/ 0 w 256"/>
                  <a:gd name="T11" fmla="*/ 137 h 277"/>
                  <a:gd name="T12" fmla="*/ 237 w 256"/>
                  <a:gd name="T13" fmla="*/ 274 h 277"/>
                  <a:gd name="T14" fmla="*/ 237 w 256"/>
                  <a:gd name="T15" fmla="*/ 277 h 277"/>
                  <a:gd name="T16" fmla="*/ 250 w 256"/>
                  <a:gd name="T17" fmla="*/ 270 h 277"/>
                  <a:gd name="T18" fmla="*/ 250 w 256"/>
                  <a:gd name="T19" fmla="*/ 256 h 277"/>
                  <a:gd name="T20" fmla="*/ 237 w 256"/>
                  <a:gd name="T21" fmla="*/ 263 h 277"/>
                  <a:gd name="T22" fmla="*/ 237 w 256"/>
                  <a:gd name="T23" fmla="*/ 17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6" h="277">
                    <a:moveTo>
                      <a:pt x="237" y="171"/>
                    </a:moveTo>
                    <a:lnTo>
                      <a:pt x="256" y="160"/>
                    </a:lnTo>
                    <a:lnTo>
                      <a:pt x="256" y="137"/>
                    </a:lnTo>
                    <a:lnTo>
                      <a:pt x="18" y="0"/>
                    </a:lnTo>
                    <a:lnTo>
                      <a:pt x="0" y="11"/>
                    </a:lnTo>
                    <a:lnTo>
                      <a:pt x="0" y="137"/>
                    </a:lnTo>
                    <a:lnTo>
                      <a:pt x="237" y="274"/>
                    </a:lnTo>
                    <a:lnTo>
                      <a:pt x="237" y="277"/>
                    </a:lnTo>
                    <a:lnTo>
                      <a:pt x="250" y="270"/>
                    </a:lnTo>
                    <a:lnTo>
                      <a:pt x="250" y="256"/>
                    </a:lnTo>
                    <a:lnTo>
                      <a:pt x="237" y="263"/>
                    </a:lnTo>
                    <a:lnTo>
                      <a:pt x="237" y="171"/>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22" name="Freeform 272">
                <a:extLst>
                  <a:ext uri="{FF2B5EF4-FFF2-40B4-BE49-F238E27FC236}">
                    <a16:creationId xmlns:a16="http://schemas.microsoft.com/office/drawing/2014/main" id="{68E86848-1476-4147-BBDE-663CF56D368F}"/>
                  </a:ext>
                </a:extLst>
              </p:cNvPr>
              <p:cNvSpPr>
                <a:spLocks noEditPoints="1"/>
              </p:cNvSpPr>
              <p:nvPr/>
            </p:nvSpPr>
            <p:spPr bwMode="gray">
              <a:xfrm>
                <a:off x="1952522" y="1849239"/>
                <a:ext cx="136321" cy="131144"/>
              </a:xfrm>
              <a:custGeom>
                <a:avLst/>
                <a:gdLst>
                  <a:gd name="T0" fmla="*/ 0 w 237"/>
                  <a:gd name="T1" fmla="*/ 0 h 228"/>
                  <a:gd name="T2" fmla="*/ 0 w 237"/>
                  <a:gd name="T3" fmla="*/ 32 h 228"/>
                  <a:gd name="T4" fmla="*/ 12 w 237"/>
                  <a:gd name="T5" fmla="*/ 25 h 228"/>
                  <a:gd name="T6" fmla="*/ 71 w 237"/>
                  <a:gd name="T7" fmla="*/ 60 h 228"/>
                  <a:gd name="T8" fmla="*/ 71 w 237"/>
                  <a:gd name="T9" fmla="*/ 88 h 228"/>
                  <a:gd name="T10" fmla="*/ 82 w 237"/>
                  <a:gd name="T11" fmla="*/ 81 h 228"/>
                  <a:gd name="T12" fmla="*/ 91 w 237"/>
                  <a:gd name="T13" fmla="*/ 87 h 228"/>
                  <a:gd name="T14" fmla="*/ 91 w 237"/>
                  <a:gd name="T15" fmla="*/ 96 h 228"/>
                  <a:gd name="T16" fmla="*/ 71 w 237"/>
                  <a:gd name="T17" fmla="*/ 106 h 228"/>
                  <a:gd name="T18" fmla="*/ 71 w 237"/>
                  <a:gd name="T19" fmla="*/ 114 h 228"/>
                  <a:gd name="T20" fmla="*/ 57 w 237"/>
                  <a:gd name="T21" fmla="*/ 123 h 228"/>
                  <a:gd name="T22" fmla="*/ 131 w 237"/>
                  <a:gd name="T23" fmla="*/ 165 h 228"/>
                  <a:gd name="T24" fmla="*/ 131 w 237"/>
                  <a:gd name="T25" fmla="*/ 188 h 228"/>
                  <a:gd name="T26" fmla="*/ 190 w 237"/>
                  <a:gd name="T27" fmla="*/ 223 h 228"/>
                  <a:gd name="T28" fmla="*/ 190 w 237"/>
                  <a:gd name="T29" fmla="*/ 202 h 228"/>
                  <a:gd name="T30" fmla="*/ 203 w 237"/>
                  <a:gd name="T31" fmla="*/ 194 h 228"/>
                  <a:gd name="T32" fmla="*/ 203 w 237"/>
                  <a:gd name="T33" fmla="*/ 174 h 228"/>
                  <a:gd name="T34" fmla="*/ 190 w 237"/>
                  <a:gd name="T35" fmla="*/ 181 h 228"/>
                  <a:gd name="T36" fmla="*/ 190 w 237"/>
                  <a:gd name="T37" fmla="*/ 168 h 228"/>
                  <a:gd name="T38" fmla="*/ 190 w 237"/>
                  <a:gd name="T39" fmla="*/ 168 h 228"/>
                  <a:gd name="T40" fmla="*/ 131 w 237"/>
                  <a:gd name="T41" fmla="*/ 134 h 228"/>
                  <a:gd name="T42" fmla="*/ 131 w 237"/>
                  <a:gd name="T43" fmla="*/ 146 h 228"/>
                  <a:gd name="T44" fmla="*/ 118 w 237"/>
                  <a:gd name="T45" fmla="*/ 153 h 228"/>
                  <a:gd name="T46" fmla="*/ 118 w 237"/>
                  <a:gd name="T47" fmla="*/ 145 h 228"/>
                  <a:gd name="T48" fmla="*/ 108 w 237"/>
                  <a:gd name="T49" fmla="*/ 140 h 228"/>
                  <a:gd name="T50" fmla="*/ 136 w 237"/>
                  <a:gd name="T51" fmla="*/ 124 h 228"/>
                  <a:gd name="T52" fmla="*/ 141 w 237"/>
                  <a:gd name="T53" fmla="*/ 127 h 228"/>
                  <a:gd name="T54" fmla="*/ 165 w 237"/>
                  <a:gd name="T55" fmla="*/ 114 h 228"/>
                  <a:gd name="T56" fmla="*/ 225 w 237"/>
                  <a:gd name="T57" fmla="*/ 147 h 228"/>
                  <a:gd name="T58" fmla="*/ 225 w 237"/>
                  <a:gd name="T59" fmla="*/ 202 h 228"/>
                  <a:gd name="T60" fmla="*/ 210 w 237"/>
                  <a:gd name="T61" fmla="*/ 211 h 228"/>
                  <a:gd name="T62" fmla="*/ 237 w 237"/>
                  <a:gd name="T63" fmla="*/ 228 h 228"/>
                  <a:gd name="T64" fmla="*/ 237 w 237"/>
                  <a:gd name="T65" fmla="*/ 136 h 228"/>
                  <a:gd name="T66" fmla="*/ 0 w 237"/>
                  <a:gd name="T67" fmla="*/ 0 h 228"/>
                  <a:gd name="T68" fmla="*/ 91 w 237"/>
                  <a:gd name="T69" fmla="*/ 134 h 228"/>
                  <a:gd name="T70" fmla="*/ 91 w 237"/>
                  <a:gd name="T71" fmla="*/ 126 h 228"/>
                  <a:gd name="T72" fmla="*/ 83 w 237"/>
                  <a:gd name="T73" fmla="*/ 121 h 228"/>
                  <a:gd name="T74" fmla="*/ 109 w 237"/>
                  <a:gd name="T75" fmla="*/ 105 h 228"/>
                  <a:gd name="T76" fmla="*/ 119 w 237"/>
                  <a:gd name="T77" fmla="*/ 110 h 228"/>
                  <a:gd name="T78" fmla="*/ 119 w 237"/>
                  <a:gd name="T79" fmla="*/ 118 h 228"/>
                  <a:gd name="T80" fmla="*/ 91 w 237"/>
                  <a:gd name="T81" fmla="*/ 134 h 228"/>
                  <a:gd name="T82" fmla="*/ 184 w 237"/>
                  <a:gd name="T83" fmla="*/ 178 h 228"/>
                  <a:gd name="T84" fmla="*/ 184 w 237"/>
                  <a:gd name="T85" fmla="*/ 190 h 228"/>
                  <a:gd name="T86" fmla="*/ 177 w 237"/>
                  <a:gd name="T87" fmla="*/ 195 h 228"/>
                  <a:gd name="T88" fmla="*/ 177 w 237"/>
                  <a:gd name="T89" fmla="*/ 195 h 228"/>
                  <a:gd name="T90" fmla="*/ 177 w 237"/>
                  <a:gd name="T91" fmla="*/ 174 h 228"/>
                  <a:gd name="T92" fmla="*/ 184 w 237"/>
                  <a:gd name="T93" fmla="*/ 17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7" h="228">
                    <a:moveTo>
                      <a:pt x="0" y="0"/>
                    </a:moveTo>
                    <a:lnTo>
                      <a:pt x="0" y="32"/>
                    </a:lnTo>
                    <a:lnTo>
                      <a:pt x="12" y="25"/>
                    </a:lnTo>
                    <a:lnTo>
                      <a:pt x="71" y="60"/>
                    </a:lnTo>
                    <a:lnTo>
                      <a:pt x="71" y="88"/>
                    </a:lnTo>
                    <a:lnTo>
                      <a:pt x="82" y="81"/>
                    </a:lnTo>
                    <a:lnTo>
                      <a:pt x="91" y="87"/>
                    </a:lnTo>
                    <a:lnTo>
                      <a:pt x="91" y="96"/>
                    </a:lnTo>
                    <a:lnTo>
                      <a:pt x="71" y="106"/>
                    </a:lnTo>
                    <a:lnTo>
                      <a:pt x="71" y="114"/>
                    </a:lnTo>
                    <a:lnTo>
                      <a:pt x="57" y="123"/>
                    </a:lnTo>
                    <a:lnTo>
                      <a:pt x="131" y="165"/>
                    </a:lnTo>
                    <a:lnTo>
                      <a:pt x="131" y="188"/>
                    </a:lnTo>
                    <a:lnTo>
                      <a:pt x="190" y="223"/>
                    </a:lnTo>
                    <a:lnTo>
                      <a:pt x="190" y="202"/>
                    </a:lnTo>
                    <a:lnTo>
                      <a:pt x="203" y="194"/>
                    </a:lnTo>
                    <a:lnTo>
                      <a:pt x="203" y="174"/>
                    </a:lnTo>
                    <a:lnTo>
                      <a:pt x="190" y="181"/>
                    </a:lnTo>
                    <a:lnTo>
                      <a:pt x="190" y="168"/>
                    </a:lnTo>
                    <a:lnTo>
                      <a:pt x="190" y="168"/>
                    </a:lnTo>
                    <a:lnTo>
                      <a:pt x="131" y="134"/>
                    </a:lnTo>
                    <a:lnTo>
                      <a:pt x="131" y="146"/>
                    </a:lnTo>
                    <a:lnTo>
                      <a:pt x="118" y="153"/>
                    </a:lnTo>
                    <a:lnTo>
                      <a:pt x="118" y="145"/>
                    </a:lnTo>
                    <a:lnTo>
                      <a:pt x="108" y="140"/>
                    </a:lnTo>
                    <a:lnTo>
                      <a:pt x="136" y="124"/>
                    </a:lnTo>
                    <a:lnTo>
                      <a:pt x="141" y="127"/>
                    </a:lnTo>
                    <a:lnTo>
                      <a:pt x="165" y="114"/>
                    </a:lnTo>
                    <a:lnTo>
                      <a:pt x="225" y="147"/>
                    </a:lnTo>
                    <a:lnTo>
                      <a:pt x="225" y="202"/>
                    </a:lnTo>
                    <a:lnTo>
                      <a:pt x="210" y="211"/>
                    </a:lnTo>
                    <a:lnTo>
                      <a:pt x="237" y="228"/>
                    </a:lnTo>
                    <a:lnTo>
                      <a:pt x="237" y="136"/>
                    </a:lnTo>
                    <a:lnTo>
                      <a:pt x="0" y="0"/>
                    </a:lnTo>
                    <a:close/>
                    <a:moveTo>
                      <a:pt x="91" y="134"/>
                    </a:moveTo>
                    <a:lnTo>
                      <a:pt x="91" y="126"/>
                    </a:lnTo>
                    <a:lnTo>
                      <a:pt x="83" y="121"/>
                    </a:lnTo>
                    <a:lnTo>
                      <a:pt x="109" y="105"/>
                    </a:lnTo>
                    <a:lnTo>
                      <a:pt x="119" y="110"/>
                    </a:lnTo>
                    <a:lnTo>
                      <a:pt x="119" y="118"/>
                    </a:lnTo>
                    <a:lnTo>
                      <a:pt x="91" y="134"/>
                    </a:lnTo>
                    <a:close/>
                    <a:moveTo>
                      <a:pt x="184" y="178"/>
                    </a:moveTo>
                    <a:lnTo>
                      <a:pt x="184" y="190"/>
                    </a:lnTo>
                    <a:lnTo>
                      <a:pt x="177" y="195"/>
                    </a:lnTo>
                    <a:lnTo>
                      <a:pt x="177" y="195"/>
                    </a:lnTo>
                    <a:lnTo>
                      <a:pt x="177" y="174"/>
                    </a:lnTo>
                    <a:lnTo>
                      <a:pt x="184" y="178"/>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23" name="Freeform 273">
                <a:extLst>
                  <a:ext uri="{FF2B5EF4-FFF2-40B4-BE49-F238E27FC236}">
                    <a16:creationId xmlns:a16="http://schemas.microsoft.com/office/drawing/2014/main" id="{97D3A930-7FA4-4E94-B7A4-16E40F786660}"/>
                  </a:ext>
                </a:extLst>
              </p:cNvPr>
              <p:cNvSpPr>
                <a:spLocks/>
              </p:cNvSpPr>
              <p:nvPr/>
            </p:nvSpPr>
            <p:spPr bwMode="gray">
              <a:xfrm>
                <a:off x="2004864" y="1912510"/>
                <a:ext cx="16105" cy="13805"/>
              </a:xfrm>
              <a:custGeom>
                <a:avLst/>
                <a:gdLst>
                  <a:gd name="T0" fmla="*/ 0 w 28"/>
                  <a:gd name="T1" fmla="*/ 16 h 24"/>
                  <a:gd name="T2" fmla="*/ 0 w 28"/>
                  <a:gd name="T3" fmla="*/ 24 h 24"/>
                  <a:gd name="T4" fmla="*/ 28 w 28"/>
                  <a:gd name="T5" fmla="*/ 8 h 24"/>
                  <a:gd name="T6" fmla="*/ 28 w 28"/>
                  <a:gd name="T7" fmla="*/ 0 h 24"/>
                  <a:gd name="T8" fmla="*/ 0 w 28"/>
                  <a:gd name="T9" fmla="*/ 16 h 24"/>
                </a:gdLst>
                <a:ahLst/>
                <a:cxnLst>
                  <a:cxn ang="0">
                    <a:pos x="T0" y="T1"/>
                  </a:cxn>
                  <a:cxn ang="0">
                    <a:pos x="T2" y="T3"/>
                  </a:cxn>
                  <a:cxn ang="0">
                    <a:pos x="T4" y="T5"/>
                  </a:cxn>
                  <a:cxn ang="0">
                    <a:pos x="T6" y="T7"/>
                  </a:cxn>
                  <a:cxn ang="0">
                    <a:pos x="T8" y="T9"/>
                  </a:cxn>
                </a:cxnLst>
                <a:rect l="0" t="0" r="r" b="b"/>
                <a:pathLst>
                  <a:path w="28" h="24">
                    <a:moveTo>
                      <a:pt x="0" y="16"/>
                    </a:moveTo>
                    <a:lnTo>
                      <a:pt x="0" y="24"/>
                    </a:lnTo>
                    <a:lnTo>
                      <a:pt x="28" y="8"/>
                    </a:lnTo>
                    <a:lnTo>
                      <a:pt x="28" y="0"/>
                    </a:lnTo>
                    <a:lnTo>
                      <a:pt x="0" y="16"/>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24" name="Freeform 274">
                <a:extLst>
                  <a:ext uri="{FF2B5EF4-FFF2-40B4-BE49-F238E27FC236}">
                    <a16:creationId xmlns:a16="http://schemas.microsoft.com/office/drawing/2014/main" id="{BD06B1D4-852C-4DD0-BA30-46651B0E1CB1}"/>
                  </a:ext>
                </a:extLst>
              </p:cNvPr>
              <p:cNvSpPr>
                <a:spLocks/>
              </p:cNvSpPr>
              <p:nvPr/>
            </p:nvSpPr>
            <p:spPr bwMode="gray">
              <a:xfrm>
                <a:off x="2000263" y="1909634"/>
                <a:ext cx="20707" cy="12079"/>
              </a:xfrm>
              <a:custGeom>
                <a:avLst/>
                <a:gdLst>
                  <a:gd name="T0" fmla="*/ 26 w 36"/>
                  <a:gd name="T1" fmla="*/ 0 h 21"/>
                  <a:gd name="T2" fmla="*/ 0 w 36"/>
                  <a:gd name="T3" fmla="*/ 16 h 21"/>
                  <a:gd name="T4" fmla="*/ 8 w 36"/>
                  <a:gd name="T5" fmla="*/ 21 h 21"/>
                  <a:gd name="T6" fmla="*/ 36 w 36"/>
                  <a:gd name="T7" fmla="*/ 5 h 21"/>
                  <a:gd name="T8" fmla="*/ 26 w 36"/>
                  <a:gd name="T9" fmla="*/ 0 h 21"/>
                </a:gdLst>
                <a:ahLst/>
                <a:cxnLst>
                  <a:cxn ang="0">
                    <a:pos x="T0" y="T1"/>
                  </a:cxn>
                  <a:cxn ang="0">
                    <a:pos x="T2" y="T3"/>
                  </a:cxn>
                  <a:cxn ang="0">
                    <a:pos x="T4" y="T5"/>
                  </a:cxn>
                  <a:cxn ang="0">
                    <a:pos x="T6" y="T7"/>
                  </a:cxn>
                  <a:cxn ang="0">
                    <a:pos x="T8" y="T9"/>
                  </a:cxn>
                </a:cxnLst>
                <a:rect l="0" t="0" r="r" b="b"/>
                <a:pathLst>
                  <a:path w="36" h="21">
                    <a:moveTo>
                      <a:pt x="26" y="0"/>
                    </a:moveTo>
                    <a:lnTo>
                      <a:pt x="0" y="16"/>
                    </a:lnTo>
                    <a:lnTo>
                      <a:pt x="8" y="21"/>
                    </a:lnTo>
                    <a:lnTo>
                      <a:pt x="36" y="5"/>
                    </a:lnTo>
                    <a:lnTo>
                      <a:pt x="26" y="0"/>
                    </a:lnTo>
                    <a:close/>
                  </a:path>
                </a:pathLst>
              </a:custGeom>
              <a:solidFill>
                <a:srgbClr val="EAEAE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25" name="Freeform 275">
                <a:extLst>
                  <a:ext uri="{FF2B5EF4-FFF2-40B4-BE49-F238E27FC236}">
                    <a16:creationId xmlns:a16="http://schemas.microsoft.com/office/drawing/2014/main" id="{C7FCE16B-0774-4719-9240-275DFA9A863B}"/>
                  </a:ext>
                </a:extLst>
              </p:cNvPr>
              <p:cNvSpPr>
                <a:spLocks/>
              </p:cNvSpPr>
              <p:nvPr/>
            </p:nvSpPr>
            <p:spPr bwMode="gray">
              <a:xfrm>
                <a:off x="2054331" y="1949323"/>
                <a:ext cx="4027" cy="12079"/>
              </a:xfrm>
              <a:custGeom>
                <a:avLst/>
                <a:gdLst>
                  <a:gd name="T0" fmla="*/ 7 w 7"/>
                  <a:gd name="T1" fmla="*/ 16 h 21"/>
                  <a:gd name="T2" fmla="*/ 7 w 7"/>
                  <a:gd name="T3" fmla="*/ 4 h 21"/>
                  <a:gd name="T4" fmla="*/ 0 w 7"/>
                  <a:gd name="T5" fmla="*/ 0 h 21"/>
                  <a:gd name="T6" fmla="*/ 0 w 7"/>
                  <a:gd name="T7" fmla="*/ 20 h 21"/>
                  <a:gd name="T8" fmla="*/ 0 w 7"/>
                  <a:gd name="T9" fmla="*/ 21 h 21"/>
                  <a:gd name="T10" fmla="*/ 7 w 7"/>
                  <a:gd name="T11" fmla="*/ 16 h 21"/>
                </a:gdLst>
                <a:ahLst/>
                <a:cxnLst>
                  <a:cxn ang="0">
                    <a:pos x="T0" y="T1"/>
                  </a:cxn>
                  <a:cxn ang="0">
                    <a:pos x="T2" y="T3"/>
                  </a:cxn>
                  <a:cxn ang="0">
                    <a:pos x="T4" y="T5"/>
                  </a:cxn>
                  <a:cxn ang="0">
                    <a:pos x="T6" y="T7"/>
                  </a:cxn>
                  <a:cxn ang="0">
                    <a:pos x="T8" y="T9"/>
                  </a:cxn>
                  <a:cxn ang="0">
                    <a:pos x="T10" y="T11"/>
                  </a:cxn>
                </a:cxnLst>
                <a:rect l="0" t="0" r="r" b="b"/>
                <a:pathLst>
                  <a:path w="7" h="21">
                    <a:moveTo>
                      <a:pt x="7" y="16"/>
                    </a:moveTo>
                    <a:lnTo>
                      <a:pt x="7" y="4"/>
                    </a:lnTo>
                    <a:lnTo>
                      <a:pt x="0" y="0"/>
                    </a:lnTo>
                    <a:lnTo>
                      <a:pt x="0" y="20"/>
                    </a:lnTo>
                    <a:lnTo>
                      <a:pt x="0" y="21"/>
                    </a:lnTo>
                    <a:lnTo>
                      <a:pt x="7" y="16"/>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26" name="Freeform 276">
                <a:extLst>
                  <a:ext uri="{FF2B5EF4-FFF2-40B4-BE49-F238E27FC236}">
                    <a16:creationId xmlns:a16="http://schemas.microsoft.com/office/drawing/2014/main" id="{ACE8492B-F4BA-4699-8C91-89FF891F6108}"/>
                  </a:ext>
                </a:extLst>
              </p:cNvPr>
              <p:cNvSpPr>
                <a:spLocks/>
              </p:cNvSpPr>
              <p:nvPr/>
            </p:nvSpPr>
            <p:spPr bwMode="gray">
              <a:xfrm>
                <a:off x="1952522" y="1846938"/>
                <a:ext cx="136321" cy="80527"/>
              </a:xfrm>
              <a:custGeom>
                <a:avLst/>
                <a:gdLst>
                  <a:gd name="T0" fmla="*/ 0 w 237"/>
                  <a:gd name="T1" fmla="*/ 0 h 140"/>
                  <a:gd name="T2" fmla="*/ 0 w 237"/>
                  <a:gd name="T3" fmla="*/ 4 h 140"/>
                  <a:gd name="T4" fmla="*/ 237 w 237"/>
                  <a:gd name="T5" fmla="*/ 140 h 140"/>
                  <a:gd name="T6" fmla="*/ 237 w 237"/>
                  <a:gd name="T7" fmla="*/ 137 h 140"/>
                  <a:gd name="T8" fmla="*/ 0 w 237"/>
                  <a:gd name="T9" fmla="*/ 0 h 140"/>
                </a:gdLst>
                <a:ahLst/>
                <a:cxnLst>
                  <a:cxn ang="0">
                    <a:pos x="T0" y="T1"/>
                  </a:cxn>
                  <a:cxn ang="0">
                    <a:pos x="T2" y="T3"/>
                  </a:cxn>
                  <a:cxn ang="0">
                    <a:pos x="T4" y="T5"/>
                  </a:cxn>
                  <a:cxn ang="0">
                    <a:pos x="T6" y="T7"/>
                  </a:cxn>
                  <a:cxn ang="0">
                    <a:pos x="T8" y="T9"/>
                  </a:cxn>
                </a:cxnLst>
                <a:rect l="0" t="0" r="r" b="b"/>
                <a:pathLst>
                  <a:path w="237" h="140">
                    <a:moveTo>
                      <a:pt x="0" y="0"/>
                    </a:moveTo>
                    <a:lnTo>
                      <a:pt x="0" y="4"/>
                    </a:lnTo>
                    <a:lnTo>
                      <a:pt x="237" y="140"/>
                    </a:lnTo>
                    <a:lnTo>
                      <a:pt x="237" y="137"/>
                    </a:lnTo>
                    <a:lnTo>
                      <a:pt x="0" y="0"/>
                    </a:lnTo>
                    <a:close/>
                  </a:path>
                </a:pathLst>
              </a:custGeom>
              <a:solidFill>
                <a:srgbClr val="EAEAE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27" name="Freeform 277">
                <a:extLst>
                  <a:ext uri="{FF2B5EF4-FFF2-40B4-BE49-F238E27FC236}">
                    <a16:creationId xmlns:a16="http://schemas.microsoft.com/office/drawing/2014/main" id="{1ED70081-B615-4D74-8C17-B4BA63DD82A5}"/>
                  </a:ext>
                </a:extLst>
              </p:cNvPr>
              <p:cNvSpPr>
                <a:spLocks noEditPoints="1"/>
              </p:cNvSpPr>
              <p:nvPr/>
            </p:nvSpPr>
            <p:spPr bwMode="gray">
              <a:xfrm>
                <a:off x="1939292" y="1863619"/>
                <a:ext cx="54068" cy="31060"/>
              </a:xfrm>
              <a:custGeom>
                <a:avLst/>
                <a:gdLst>
                  <a:gd name="T0" fmla="*/ 35 w 94"/>
                  <a:gd name="T1" fmla="*/ 0 h 54"/>
                  <a:gd name="T2" fmla="*/ 23 w 94"/>
                  <a:gd name="T3" fmla="*/ 7 h 54"/>
                  <a:gd name="T4" fmla="*/ 0 w 94"/>
                  <a:gd name="T5" fmla="*/ 20 h 54"/>
                  <a:gd name="T6" fmla="*/ 59 w 94"/>
                  <a:gd name="T7" fmla="*/ 54 h 54"/>
                  <a:gd name="T8" fmla="*/ 59 w 94"/>
                  <a:gd name="T9" fmla="*/ 54 h 54"/>
                  <a:gd name="T10" fmla="*/ 94 w 94"/>
                  <a:gd name="T11" fmla="*/ 35 h 54"/>
                  <a:gd name="T12" fmla="*/ 35 w 94"/>
                  <a:gd name="T13" fmla="*/ 0 h 54"/>
                  <a:gd name="T14" fmla="*/ 18 w 94"/>
                  <a:gd name="T15" fmla="*/ 17 h 54"/>
                  <a:gd name="T16" fmla="*/ 35 w 94"/>
                  <a:gd name="T17" fmla="*/ 7 h 54"/>
                  <a:gd name="T18" fmla="*/ 65 w 94"/>
                  <a:gd name="T19" fmla="*/ 24 h 54"/>
                  <a:gd name="T20" fmla="*/ 47 w 94"/>
                  <a:gd name="T21" fmla="*/ 35 h 54"/>
                  <a:gd name="T22" fmla="*/ 47 w 94"/>
                  <a:gd name="T23" fmla="*/ 33 h 54"/>
                  <a:gd name="T24" fmla="*/ 24 w 94"/>
                  <a:gd name="T25" fmla="*/ 21 h 54"/>
                  <a:gd name="T26" fmla="*/ 18 w 94"/>
                  <a:gd name="T27" fmla="*/ 1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54">
                    <a:moveTo>
                      <a:pt x="35" y="0"/>
                    </a:moveTo>
                    <a:lnTo>
                      <a:pt x="23" y="7"/>
                    </a:lnTo>
                    <a:lnTo>
                      <a:pt x="0" y="20"/>
                    </a:lnTo>
                    <a:lnTo>
                      <a:pt x="59" y="54"/>
                    </a:lnTo>
                    <a:lnTo>
                      <a:pt x="59" y="54"/>
                    </a:lnTo>
                    <a:lnTo>
                      <a:pt x="94" y="35"/>
                    </a:lnTo>
                    <a:lnTo>
                      <a:pt x="35" y="0"/>
                    </a:lnTo>
                    <a:close/>
                    <a:moveTo>
                      <a:pt x="18" y="17"/>
                    </a:moveTo>
                    <a:lnTo>
                      <a:pt x="35" y="7"/>
                    </a:lnTo>
                    <a:lnTo>
                      <a:pt x="65" y="24"/>
                    </a:lnTo>
                    <a:lnTo>
                      <a:pt x="47" y="35"/>
                    </a:lnTo>
                    <a:lnTo>
                      <a:pt x="47" y="33"/>
                    </a:lnTo>
                    <a:lnTo>
                      <a:pt x="24" y="21"/>
                    </a:lnTo>
                    <a:lnTo>
                      <a:pt x="18" y="17"/>
                    </a:lnTo>
                    <a:close/>
                  </a:path>
                </a:pathLst>
              </a:custGeom>
              <a:solidFill>
                <a:srgbClr val="EAEAE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28" name="Freeform 278">
                <a:extLst>
                  <a:ext uri="{FF2B5EF4-FFF2-40B4-BE49-F238E27FC236}">
                    <a16:creationId xmlns:a16="http://schemas.microsoft.com/office/drawing/2014/main" id="{56EAAA8E-EFBF-49DD-AECF-3CCF88E8A378}"/>
                  </a:ext>
                </a:extLst>
              </p:cNvPr>
              <p:cNvSpPr>
                <a:spLocks/>
              </p:cNvSpPr>
              <p:nvPr/>
            </p:nvSpPr>
            <p:spPr bwMode="gray">
              <a:xfrm>
                <a:off x="1953097" y="1867645"/>
                <a:ext cx="23583" cy="16105"/>
              </a:xfrm>
              <a:custGeom>
                <a:avLst/>
                <a:gdLst>
                  <a:gd name="T0" fmla="*/ 11 w 41"/>
                  <a:gd name="T1" fmla="*/ 0 h 28"/>
                  <a:gd name="T2" fmla="*/ 11 w 41"/>
                  <a:gd name="T3" fmla="*/ 8 h 28"/>
                  <a:gd name="T4" fmla="*/ 0 w 41"/>
                  <a:gd name="T5" fmla="*/ 14 h 28"/>
                  <a:gd name="T6" fmla="*/ 23 w 41"/>
                  <a:gd name="T7" fmla="*/ 26 h 28"/>
                  <a:gd name="T8" fmla="*/ 23 w 41"/>
                  <a:gd name="T9" fmla="*/ 28 h 28"/>
                  <a:gd name="T10" fmla="*/ 41 w 41"/>
                  <a:gd name="T11" fmla="*/ 17 h 28"/>
                  <a:gd name="T12" fmla="*/ 11 w 4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41" h="28">
                    <a:moveTo>
                      <a:pt x="11" y="0"/>
                    </a:moveTo>
                    <a:lnTo>
                      <a:pt x="11" y="8"/>
                    </a:lnTo>
                    <a:lnTo>
                      <a:pt x="0" y="14"/>
                    </a:lnTo>
                    <a:lnTo>
                      <a:pt x="23" y="26"/>
                    </a:lnTo>
                    <a:lnTo>
                      <a:pt x="23" y="28"/>
                    </a:lnTo>
                    <a:lnTo>
                      <a:pt x="41" y="17"/>
                    </a:lnTo>
                    <a:lnTo>
                      <a:pt x="11" y="0"/>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29" name="Freeform 279">
                <a:extLst>
                  <a:ext uri="{FF2B5EF4-FFF2-40B4-BE49-F238E27FC236}">
                    <a16:creationId xmlns:a16="http://schemas.microsoft.com/office/drawing/2014/main" id="{44FDA882-12DF-4F20-BFD1-6D5BE19C8066}"/>
                  </a:ext>
                </a:extLst>
              </p:cNvPr>
              <p:cNvSpPr>
                <a:spLocks/>
              </p:cNvSpPr>
              <p:nvPr/>
            </p:nvSpPr>
            <p:spPr bwMode="gray">
              <a:xfrm>
                <a:off x="1949646" y="1867645"/>
                <a:ext cx="9778" cy="8053"/>
              </a:xfrm>
              <a:custGeom>
                <a:avLst/>
                <a:gdLst>
                  <a:gd name="T0" fmla="*/ 17 w 17"/>
                  <a:gd name="T1" fmla="*/ 8 h 14"/>
                  <a:gd name="T2" fmla="*/ 17 w 17"/>
                  <a:gd name="T3" fmla="*/ 0 h 14"/>
                  <a:gd name="T4" fmla="*/ 0 w 17"/>
                  <a:gd name="T5" fmla="*/ 10 h 14"/>
                  <a:gd name="T6" fmla="*/ 6 w 17"/>
                  <a:gd name="T7" fmla="*/ 14 h 14"/>
                  <a:gd name="T8" fmla="*/ 17 w 17"/>
                  <a:gd name="T9" fmla="*/ 8 h 14"/>
                </a:gdLst>
                <a:ahLst/>
                <a:cxnLst>
                  <a:cxn ang="0">
                    <a:pos x="T0" y="T1"/>
                  </a:cxn>
                  <a:cxn ang="0">
                    <a:pos x="T2" y="T3"/>
                  </a:cxn>
                  <a:cxn ang="0">
                    <a:pos x="T4" y="T5"/>
                  </a:cxn>
                  <a:cxn ang="0">
                    <a:pos x="T6" y="T7"/>
                  </a:cxn>
                  <a:cxn ang="0">
                    <a:pos x="T8" y="T9"/>
                  </a:cxn>
                </a:cxnLst>
                <a:rect l="0" t="0" r="r" b="b"/>
                <a:pathLst>
                  <a:path w="17" h="14">
                    <a:moveTo>
                      <a:pt x="17" y="8"/>
                    </a:moveTo>
                    <a:lnTo>
                      <a:pt x="17" y="0"/>
                    </a:lnTo>
                    <a:lnTo>
                      <a:pt x="0" y="10"/>
                    </a:lnTo>
                    <a:lnTo>
                      <a:pt x="6" y="14"/>
                    </a:lnTo>
                    <a:lnTo>
                      <a:pt x="17" y="8"/>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30" name="Freeform 280">
                <a:extLst>
                  <a:ext uri="{FF2B5EF4-FFF2-40B4-BE49-F238E27FC236}">
                    <a16:creationId xmlns:a16="http://schemas.microsoft.com/office/drawing/2014/main" id="{DE2D1469-ADA8-4236-8E02-F91A19D26812}"/>
                  </a:ext>
                </a:extLst>
              </p:cNvPr>
              <p:cNvSpPr>
                <a:spLocks noEditPoints="1"/>
              </p:cNvSpPr>
              <p:nvPr/>
            </p:nvSpPr>
            <p:spPr bwMode="gray">
              <a:xfrm>
                <a:off x="1939292" y="1875123"/>
                <a:ext cx="42564" cy="51192"/>
              </a:xfrm>
              <a:custGeom>
                <a:avLst/>
                <a:gdLst>
                  <a:gd name="T0" fmla="*/ 14 w 74"/>
                  <a:gd name="T1" fmla="*/ 52 h 89"/>
                  <a:gd name="T2" fmla="*/ 17 w 74"/>
                  <a:gd name="T3" fmla="*/ 53 h 89"/>
                  <a:gd name="T4" fmla="*/ 17 w 74"/>
                  <a:gd name="T5" fmla="*/ 60 h 89"/>
                  <a:gd name="T6" fmla="*/ 34 w 74"/>
                  <a:gd name="T7" fmla="*/ 70 h 89"/>
                  <a:gd name="T8" fmla="*/ 34 w 74"/>
                  <a:gd name="T9" fmla="*/ 75 h 89"/>
                  <a:gd name="T10" fmla="*/ 59 w 74"/>
                  <a:gd name="T11" fmla="*/ 89 h 89"/>
                  <a:gd name="T12" fmla="*/ 59 w 74"/>
                  <a:gd name="T13" fmla="*/ 59 h 89"/>
                  <a:gd name="T14" fmla="*/ 74 w 74"/>
                  <a:gd name="T15" fmla="*/ 51 h 89"/>
                  <a:gd name="T16" fmla="*/ 74 w 74"/>
                  <a:gd name="T17" fmla="*/ 30 h 89"/>
                  <a:gd name="T18" fmla="*/ 59 w 74"/>
                  <a:gd name="T19" fmla="*/ 37 h 89"/>
                  <a:gd name="T20" fmla="*/ 59 w 74"/>
                  <a:gd name="T21" fmla="*/ 34 h 89"/>
                  <a:gd name="T22" fmla="*/ 59 w 74"/>
                  <a:gd name="T23" fmla="*/ 34 h 89"/>
                  <a:gd name="T24" fmla="*/ 0 w 74"/>
                  <a:gd name="T25" fmla="*/ 0 h 89"/>
                  <a:gd name="T26" fmla="*/ 0 w 74"/>
                  <a:gd name="T27" fmla="*/ 55 h 89"/>
                  <a:gd name="T28" fmla="*/ 14 w 74"/>
                  <a:gd name="T29" fmla="*/ 63 h 89"/>
                  <a:gd name="T30" fmla="*/ 14 w 74"/>
                  <a:gd name="T31" fmla="*/ 52 h 89"/>
                  <a:gd name="T32" fmla="*/ 46 w 74"/>
                  <a:gd name="T33" fmla="*/ 51 h 89"/>
                  <a:gd name="T34" fmla="*/ 46 w 74"/>
                  <a:gd name="T35" fmla="*/ 30 h 89"/>
                  <a:gd name="T36" fmla="*/ 54 w 74"/>
                  <a:gd name="T37" fmla="*/ 35 h 89"/>
                  <a:gd name="T38" fmla="*/ 54 w 74"/>
                  <a:gd name="T39" fmla="*/ 47 h 89"/>
                  <a:gd name="T40" fmla="*/ 46 w 74"/>
                  <a:gd name="T41" fmla="*/ 51 h 89"/>
                  <a:gd name="T42" fmla="*/ 59 w 74"/>
                  <a:gd name="T43" fmla="*/ 49 h 89"/>
                  <a:gd name="T44" fmla="*/ 60 w 74"/>
                  <a:gd name="T45" fmla="*/ 49 h 89"/>
                  <a:gd name="T46" fmla="*/ 59 w 74"/>
                  <a:gd name="T47" fmla="*/ 4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4" h="89">
                    <a:moveTo>
                      <a:pt x="14" y="52"/>
                    </a:moveTo>
                    <a:lnTo>
                      <a:pt x="17" y="53"/>
                    </a:lnTo>
                    <a:lnTo>
                      <a:pt x="17" y="60"/>
                    </a:lnTo>
                    <a:lnTo>
                      <a:pt x="34" y="70"/>
                    </a:lnTo>
                    <a:lnTo>
                      <a:pt x="34" y="75"/>
                    </a:lnTo>
                    <a:lnTo>
                      <a:pt x="59" y="89"/>
                    </a:lnTo>
                    <a:lnTo>
                      <a:pt x="59" y="59"/>
                    </a:lnTo>
                    <a:lnTo>
                      <a:pt x="74" y="51"/>
                    </a:lnTo>
                    <a:lnTo>
                      <a:pt x="74" y="30"/>
                    </a:lnTo>
                    <a:lnTo>
                      <a:pt x="59" y="37"/>
                    </a:lnTo>
                    <a:lnTo>
                      <a:pt x="59" y="34"/>
                    </a:lnTo>
                    <a:lnTo>
                      <a:pt x="59" y="34"/>
                    </a:lnTo>
                    <a:lnTo>
                      <a:pt x="0" y="0"/>
                    </a:lnTo>
                    <a:lnTo>
                      <a:pt x="0" y="55"/>
                    </a:lnTo>
                    <a:lnTo>
                      <a:pt x="14" y="63"/>
                    </a:lnTo>
                    <a:lnTo>
                      <a:pt x="14" y="52"/>
                    </a:lnTo>
                    <a:close/>
                    <a:moveTo>
                      <a:pt x="46" y="51"/>
                    </a:moveTo>
                    <a:lnTo>
                      <a:pt x="46" y="30"/>
                    </a:lnTo>
                    <a:lnTo>
                      <a:pt x="54" y="35"/>
                    </a:lnTo>
                    <a:lnTo>
                      <a:pt x="54" y="47"/>
                    </a:lnTo>
                    <a:lnTo>
                      <a:pt x="46" y="51"/>
                    </a:lnTo>
                    <a:close/>
                    <a:moveTo>
                      <a:pt x="59" y="49"/>
                    </a:moveTo>
                    <a:lnTo>
                      <a:pt x="60" y="49"/>
                    </a:lnTo>
                    <a:lnTo>
                      <a:pt x="59" y="49"/>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31" name="Freeform 281">
                <a:extLst>
                  <a:ext uri="{FF2B5EF4-FFF2-40B4-BE49-F238E27FC236}">
                    <a16:creationId xmlns:a16="http://schemas.microsoft.com/office/drawing/2014/main" id="{F01857E5-6612-4133-841B-9A0242122FEA}"/>
                  </a:ext>
                </a:extLst>
              </p:cNvPr>
              <p:cNvSpPr>
                <a:spLocks/>
              </p:cNvSpPr>
              <p:nvPr/>
            </p:nvSpPr>
            <p:spPr bwMode="gray">
              <a:xfrm>
                <a:off x="1965751" y="1892378"/>
                <a:ext cx="4602" cy="12079"/>
              </a:xfrm>
              <a:custGeom>
                <a:avLst/>
                <a:gdLst>
                  <a:gd name="T0" fmla="*/ 0 w 8"/>
                  <a:gd name="T1" fmla="*/ 21 h 21"/>
                  <a:gd name="T2" fmla="*/ 0 w 8"/>
                  <a:gd name="T3" fmla="*/ 21 h 21"/>
                  <a:gd name="T4" fmla="*/ 8 w 8"/>
                  <a:gd name="T5" fmla="*/ 17 h 21"/>
                  <a:gd name="T6" fmla="*/ 8 w 8"/>
                  <a:gd name="T7" fmla="*/ 5 h 21"/>
                  <a:gd name="T8" fmla="*/ 0 w 8"/>
                  <a:gd name="T9" fmla="*/ 0 h 21"/>
                  <a:gd name="T10" fmla="*/ 0 w 8"/>
                  <a:gd name="T11" fmla="*/ 21 h 21"/>
                </a:gdLst>
                <a:ahLst/>
                <a:cxnLst>
                  <a:cxn ang="0">
                    <a:pos x="T0" y="T1"/>
                  </a:cxn>
                  <a:cxn ang="0">
                    <a:pos x="T2" y="T3"/>
                  </a:cxn>
                  <a:cxn ang="0">
                    <a:pos x="T4" y="T5"/>
                  </a:cxn>
                  <a:cxn ang="0">
                    <a:pos x="T6" y="T7"/>
                  </a:cxn>
                  <a:cxn ang="0">
                    <a:pos x="T8" y="T9"/>
                  </a:cxn>
                  <a:cxn ang="0">
                    <a:pos x="T10" y="T11"/>
                  </a:cxn>
                </a:cxnLst>
                <a:rect l="0" t="0" r="r" b="b"/>
                <a:pathLst>
                  <a:path w="8" h="21">
                    <a:moveTo>
                      <a:pt x="0" y="21"/>
                    </a:moveTo>
                    <a:lnTo>
                      <a:pt x="0" y="21"/>
                    </a:lnTo>
                    <a:lnTo>
                      <a:pt x="8" y="17"/>
                    </a:lnTo>
                    <a:lnTo>
                      <a:pt x="8" y="5"/>
                    </a:lnTo>
                    <a:lnTo>
                      <a:pt x="0" y="0"/>
                    </a:lnTo>
                    <a:lnTo>
                      <a:pt x="0" y="21"/>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32" name="Freeform 282">
                <a:extLst>
                  <a:ext uri="{FF2B5EF4-FFF2-40B4-BE49-F238E27FC236}">
                    <a16:creationId xmlns:a16="http://schemas.microsoft.com/office/drawing/2014/main" id="{2F3E3D63-FA6D-45AF-9CF3-A37243166CD9}"/>
                  </a:ext>
                </a:extLst>
              </p:cNvPr>
              <p:cNvSpPr>
                <a:spLocks/>
              </p:cNvSpPr>
              <p:nvPr/>
            </p:nvSpPr>
            <p:spPr bwMode="gray">
              <a:xfrm>
                <a:off x="1947345" y="1905033"/>
                <a:ext cx="1726" cy="6327"/>
              </a:xfrm>
              <a:custGeom>
                <a:avLst/>
                <a:gdLst>
                  <a:gd name="T0" fmla="*/ 3 w 3"/>
                  <a:gd name="T1" fmla="*/ 1 h 11"/>
                  <a:gd name="T2" fmla="*/ 0 w 3"/>
                  <a:gd name="T3" fmla="*/ 0 h 11"/>
                  <a:gd name="T4" fmla="*/ 0 w 3"/>
                  <a:gd name="T5" fmla="*/ 11 h 11"/>
                  <a:gd name="T6" fmla="*/ 0 w 3"/>
                  <a:gd name="T7" fmla="*/ 11 h 11"/>
                  <a:gd name="T8" fmla="*/ 3 w 3"/>
                  <a:gd name="T9" fmla="*/ 8 h 11"/>
                  <a:gd name="T10" fmla="*/ 3 w 3"/>
                  <a:gd name="T11" fmla="*/ 1 h 11"/>
                </a:gdLst>
                <a:ahLst/>
                <a:cxnLst>
                  <a:cxn ang="0">
                    <a:pos x="T0" y="T1"/>
                  </a:cxn>
                  <a:cxn ang="0">
                    <a:pos x="T2" y="T3"/>
                  </a:cxn>
                  <a:cxn ang="0">
                    <a:pos x="T4" y="T5"/>
                  </a:cxn>
                  <a:cxn ang="0">
                    <a:pos x="T6" y="T7"/>
                  </a:cxn>
                  <a:cxn ang="0">
                    <a:pos x="T8" y="T9"/>
                  </a:cxn>
                  <a:cxn ang="0">
                    <a:pos x="T10" y="T11"/>
                  </a:cxn>
                </a:cxnLst>
                <a:rect l="0" t="0" r="r" b="b"/>
                <a:pathLst>
                  <a:path w="3" h="11">
                    <a:moveTo>
                      <a:pt x="3" y="1"/>
                    </a:moveTo>
                    <a:lnTo>
                      <a:pt x="0" y="0"/>
                    </a:lnTo>
                    <a:lnTo>
                      <a:pt x="0" y="11"/>
                    </a:lnTo>
                    <a:lnTo>
                      <a:pt x="0" y="11"/>
                    </a:lnTo>
                    <a:lnTo>
                      <a:pt x="3" y="8"/>
                    </a:lnTo>
                    <a:lnTo>
                      <a:pt x="3" y="1"/>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33" name="Freeform 283">
                <a:extLst>
                  <a:ext uri="{FF2B5EF4-FFF2-40B4-BE49-F238E27FC236}">
                    <a16:creationId xmlns:a16="http://schemas.microsoft.com/office/drawing/2014/main" id="{2FEE6D52-D5CE-44DA-8D31-CD80BCFBE65A}"/>
                  </a:ext>
                </a:extLst>
              </p:cNvPr>
              <p:cNvSpPr>
                <a:spLocks/>
              </p:cNvSpPr>
              <p:nvPr/>
            </p:nvSpPr>
            <p:spPr bwMode="gray">
              <a:xfrm>
                <a:off x="1973229" y="1883751"/>
                <a:ext cx="31636" cy="42564"/>
              </a:xfrm>
              <a:custGeom>
                <a:avLst/>
                <a:gdLst>
                  <a:gd name="T0" fmla="*/ 0 w 55"/>
                  <a:gd name="T1" fmla="*/ 19 h 74"/>
                  <a:gd name="T2" fmla="*/ 0 w 55"/>
                  <a:gd name="T3" fmla="*/ 22 h 74"/>
                  <a:gd name="T4" fmla="*/ 15 w 55"/>
                  <a:gd name="T5" fmla="*/ 15 h 74"/>
                  <a:gd name="T6" fmla="*/ 15 w 55"/>
                  <a:gd name="T7" fmla="*/ 36 h 74"/>
                  <a:gd name="T8" fmla="*/ 0 w 55"/>
                  <a:gd name="T9" fmla="*/ 44 h 74"/>
                  <a:gd name="T10" fmla="*/ 0 w 55"/>
                  <a:gd name="T11" fmla="*/ 74 h 74"/>
                  <a:gd name="T12" fmla="*/ 21 w 55"/>
                  <a:gd name="T13" fmla="*/ 63 h 74"/>
                  <a:gd name="T14" fmla="*/ 35 w 55"/>
                  <a:gd name="T15" fmla="*/ 54 h 74"/>
                  <a:gd name="T16" fmla="*/ 35 w 55"/>
                  <a:gd name="T17" fmla="*/ 46 h 74"/>
                  <a:gd name="T18" fmla="*/ 55 w 55"/>
                  <a:gd name="T19" fmla="*/ 36 h 74"/>
                  <a:gd name="T20" fmla="*/ 55 w 55"/>
                  <a:gd name="T21" fmla="*/ 27 h 74"/>
                  <a:gd name="T22" fmla="*/ 28 w 55"/>
                  <a:gd name="T23" fmla="*/ 43 h 74"/>
                  <a:gd name="T24" fmla="*/ 28 w 55"/>
                  <a:gd name="T25" fmla="*/ 50 h 74"/>
                  <a:gd name="T26" fmla="*/ 19 w 55"/>
                  <a:gd name="T27" fmla="*/ 45 h 74"/>
                  <a:gd name="T28" fmla="*/ 19 w 55"/>
                  <a:gd name="T29" fmla="*/ 37 h 74"/>
                  <a:gd name="T30" fmla="*/ 35 w 55"/>
                  <a:gd name="T31" fmla="*/ 28 h 74"/>
                  <a:gd name="T32" fmla="*/ 35 w 55"/>
                  <a:gd name="T33" fmla="*/ 0 h 74"/>
                  <a:gd name="T34" fmla="*/ 0 w 55"/>
                  <a:gd name="T35" fmla="*/ 1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74">
                    <a:moveTo>
                      <a:pt x="0" y="19"/>
                    </a:moveTo>
                    <a:lnTo>
                      <a:pt x="0" y="22"/>
                    </a:lnTo>
                    <a:lnTo>
                      <a:pt x="15" y="15"/>
                    </a:lnTo>
                    <a:lnTo>
                      <a:pt x="15" y="36"/>
                    </a:lnTo>
                    <a:lnTo>
                      <a:pt x="0" y="44"/>
                    </a:lnTo>
                    <a:lnTo>
                      <a:pt x="0" y="74"/>
                    </a:lnTo>
                    <a:lnTo>
                      <a:pt x="21" y="63"/>
                    </a:lnTo>
                    <a:lnTo>
                      <a:pt x="35" y="54"/>
                    </a:lnTo>
                    <a:lnTo>
                      <a:pt x="35" y="46"/>
                    </a:lnTo>
                    <a:lnTo>
                      <a:pt x="55" y="36"/>
                    </a:lnTo>
                    <a:lnTo>
                      <a:pt x="55" y="27"/>
                    </a:lnTo>
                    <a:lnTo>
                      <a:pt x="28" y="43"/>
                    </a:lnTo>
                    <a:lnTo>
                      <a:pt x="28" y="50"/>
                    </a:lnTo>
                    <a:lnTo>
                      <a:pt x="19" y="45"/>
                    </a:lnTo>
                    <a:lnTo>
                      <a:pt x="19" y="37"/>
                    </a:lnTo>
                    <a:lnTo>
                      <a:pt x="35" y="28"/>
                    </a:lnTo>
                    <a:lnTo>
                      <a:pt x="35" y="0"/>
                    </a:lnTo>
                    <a:lnTo>
                      <a:pt x="0" y="19"/>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34" name="Freeform 284">
                <a:extLst>
                  <a:ext uri="{FF2B5EF4-FFF2-40B4-BE49-F238E27FC236}">
                    <a16:creationId xmlns:a16="http://schemas.microsoft.com/office/drawing/2014/main" id="{A9737E83-5C6F-4005-855E-DD74CCCF1186}"/>
                  </a:ext>
                </a:extLst>
              </p:cNvPr>
              <p:cNvSpPr>
                <a:spLocks/>
              </p:cNvSpPr>
              <p:nvPr/>
            </p:nvSpPr>
            <p:spPr bwMode="gray">
              <a:xfrm>
                <a:off x="1984157" y="1895830"/>
                <a:ext cx="20707" cy="12654"/>
              </a:xfrm>
              <a:custGeom>
                <a:avLst/>
                <a:gdLst>
                  <a:gd name="T0" fmla="*/ 36 w 36"/>
                  <a:gd name="T1" fmla="*/ 6 h 22"/>
                  <a:gd name="T2" fmla="*/ 27 w 36"/>
                  <a:gd name="T3" fmla="*/ 0 h 22"/>
                  <a:gd name="T4" fmla="*/ 16 w 36"/>
                  <a:gd name="T5" fmla="*/ 7 h 22"/>
                  <a:gd name="T6" fmla="*/ 0 w 36"/>
                  <a:gd name="T7" fmla="*/ 16 h 22"/>
                  <a:gd name="T8" fmla="*/ 9 w 36"/>
                  <a:gd name="T9" fmla="*/ 22 h 22"/>
                  <a:gd name="T10" fmla="*/ 36 w 36"/>
                  <a:gd name="T11" fmla="*/ 6 h 22"/>
                </a:gdLst>
                <a:ahLst/>
                <a:cxnLst>
                  <a:cxn ang="0">
                    <a:pos x="T0" y="T1"/>
                  </a:cxn>
                  <a:cxn ang="0">
                    <a:pos x="T2" y="T3"/>
                  </a:cxn>
                  <a:cxn ang="0">
                    <a:pos x="T4" y="T5"/>
                  </a:cxn>
                  <a:cxn ang="0">
                    <a:pos x="T6" y="T7"/>
                  </a:cxn>
                  <a:cxn ang="0">
                    <a:pos x="T8" y="T9"/>
                  </a:cxn>
                  <a:cxn ang="0">
                    <a:pos x="T10" y="T11"/>
                  </a:cxn>
                </a:cxnLst>
                <a:rect l="0" t="0" r="r" b="b"/>
                <a:pathLst>
                  <a:path w="36" h="22">
                    <a:moveTo>
                      <a:pt x="36" y="6"/>
                    </a:moveTo>
                    <a:lnTo>
                      <a:pt x="27" y="0"/>
                    </a:lnTo>
                    <a:lnTo>
                      <a:pt x="16" y="7"/>
                    </a:lnTo>
                    <a:lnTo>
                      <a:pt x="0" y="16"/>
                    </a:lnTo>
                    <a:lnTo>
                      <a:pt x="9" y="22"/>
                    </a:lnTo>
                    <a:lnTo>
                      <a:pt x="36" y="6"/>
                    </a:lnTo>
                    <a:close/>
                  </a:path>
                </a:pathLst>
              </a:custGeom>
              <a:solidFill>
                <a:srgbClr val="EAEAE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35" name="Freeform 285">
                <a:extLst>
                  <a:ext uri="{FF2B5EF4-FFF2-40B4-BE49-F238E27FC236}">
                    <a16:creationId xmlns:a16="http://schemas.microsoft.com/office/drawing/2014/main" id="{4441AE9A-4040-47CE-885B-34C9FCF1998B}"/>
                  </a:ext>
                </a:extLst>
              </p:cNvPr>
              <p:cNvSpPr>
                <a:spLocks/>
              </p:cNvSpPr>
              <p:nvPr/>
            </p:nvSpPr>
            <p:spPr bwMode="gray">
              <a:xfrm>
                <a:off x="1984157" y="1905033"/>
                <a:ext cx="5177" cy="7478"/>
              </a:xfrm>
              <a:custGeom>
                <a:avLst/>
                <a:gdLst>
                  <a:gd name="T0" fmla="*/ 9 w 9"/>
                  <a:gd name="T1" fmla="*/ 6 h 13"/>
                  <a:gd name="T2" fmla="*/ 0 w 9"/>
                  <a:gd name="T3" fmla="*/ 0 h 13"/>
                  <a:gd name="T4" fmla="*/ 0 w 9"/>
                  <a:gd name="T5" fmla="*/ 8 h 13"/>
                  <a:gd name="T6" fmla="*/ 9 w 9"/>
                  <a:gd name="T7" fmla="*/ 13 h 13"/>
                  <a:gd name="T8" fmla="*/ 9 w 9"/>
                  <a:gd name="T9" fmla="*/ 6 h 13"/>
                </a:gdLst>
                <a:ahLst/>
                <a:cxnLst>
                  <a:cxn ang="0">
                    <a:pos x="T0" y="T1"/>
                  </a:cxn>
                  <a:cxn ang="0">
                    <a:pos x="T2" y="T3"/>
                  </a:cxn>
                  <a:cxn ang="0">
                    <a:pos x="T4" y="T5"/>
                  </a:cxn>
                  <a:cxn ang="0">
                    <a:pos x="T6" y="T7"/>
                  </a:cxn>
                  <a:cxn ang="0">
                    <a:pos x="T8" y="T9"/>
                  </a:cxn>
                </a:cxnLst>
                <a:rect l="0" t="0" r="r" b="b"/>
                <a:pathLst>
                  <a:path w="9" h="13">
                    <a:moveTo>
                      <a:pt x="9" y="6"/>
                    </a:moveTo>
                    <a:lnTo>
                      <a:pt x="0" y="0"/>
                    </a:lnTo>
                    <a:lnTo>
                      <a:pt x="0" y="8"/>
                    </a:lnTo>
                    <a:lnTo>
                      <a:pt x="9" y="13"/>
                    </a:lnTo>
                    <a:lnTo>
                      <a:pt x="9" y="6"/>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36" name="Freeform 286">
                <a:extLst>
                  <a:ext uri="{FF2B5EF4-FFF2-40B4-BE49-F238E27FC236}">
                    <a16:creationId xmlns:a16="http://schemas.microsoft.com/office/drawing/2014/main" id="{354F73E7-37AC-4B93-9155-045E5C205151}"/>
                  </a:ext>
                </a:extLst>
              </p:cNvPr>
              <p:cNvSpPr>
                <a:spLocks/>
              </p:cNvSpPr>
              <p:nvPr/>
            </p:nvSpPr>
            <p:spPr bwMode="gray">
              <a:xfrm>
                <a:off x="2061808" y="1933792"/>
                <a:ext cx="20132" cy="43715"/>
              </a:xfrm>
              <a:custGeom>
                <a:avLst/>
                <a:gdLst>
                  <a:gd name="T0" fmla="*/ 20 w 35"/>
                  <a:gd name="T1" fmla="*/ 64 h 76"/>
                  <a:gd name="T2" fmla="*/ 35 w 35"/>
                  <a:gd name="T3" fmla="*/ 55 h 76"/>
                  <a:gd name="T4" fmla="*/ 35 w 35"/>
                  <a:gd name="T5" fmla="*/ 0 h 76"/>
                  <a:gd name="T6" fmla="*/ 0 w 35"/>
                  <a:gd name="T7" fmla="*/ 21 h 76"/>
                  <a:gd name="T8" fmla="*/ 0 w 35"/>
                  <a:gd name="T9" fmla="*/ 34 h 76"/>
                  <a:gd name="T10" fmla="*/ 13 w 35"/>
                  <a:gd name="T11" fmla="*/ 27 h 76"/>
                  <a:gd name="T12" fmla="*/ 13 w 35"/>
                  <a:gd name="T13" fmla="*/ 47 h 76"/>
                  <a:gd name="T14" fmla="*/ 0 w 35"/>
                  <a:gd name="T15" fmla="*/ 55 h 76"/>
                  <a:gd name="T16" fmla="*/ 0 w 35"/>
                  <a:gd name="T17" fmla="*/ 76 h 76"/>
                  <a:gd name="T18" fmla="*/ 20 w 35"/>
                  <a:gd name="T19" fmla="*/ 6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76">
                    <a:moveTo>
                      <a:pt x="20" y="64"/>
                    </a:moveTo>
                    <a:lnTo>
                      <a:pt x="35" y="55"/>
                    </a:lnTo>
                    <a:lnTo>
                      <a:pt x="35" y="0"/>
                    </a:lnTo>
                    <a:lnTo>
                      <a:pt x="0" y="21"/>
                    </a:lnTo>
                    <a:lnTo>
                      <a:pt x="0" y="34"/>
                    </a:lnTo>
                    <a:lnTo>
                      <a:pt x="13" y="27"/>
                    </a:lnTo>
                    <a:lnTo>
                      <a:pt x="13" y="47"/>
                    </a:lnTo>
                    <a:lnTo>
                      <a:pt x="0" y="55"/>
                    </a:lnTo>
                    <a:lnTo>
                      <a:pt x="0" y="76"/>
                    </a:lnTo>
                    <a:lnTo>
                      <a:pt x="20" y="64"/>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37" name="Freeform 287">
                <a:extLst>
                  <a:ext uri="{FF2B5EF4-FFF2-40B4-BE49-F238E27FC236}">
                    <a16:creationId xmlns:a16="http://schemas.microsoft.com/office/drawing/2014/main" id="{16699377-914B-48F8-B4E1-02577CE97CEB}"/>
                  </a:ext>
                </a:extLst>
              </p:cNvPr>
              <p:cNvSpPr>
                <a:spLocks/>
              </p:cNvSpPr>
              <p:nvPr/>
            </p:nvSpPr>
            <p:spPr bwMode="gray">
              <a:xfrm>
                <a:off x="2020394" y="1928616"/>
                <a:ext cx="7478" cy="8628"/>
              </a:xfrm>
              <a:custGeom>
                <a:avLst/>
                <a:gdLst>
                  <a:gd name="T0" fmla="*/ 0 w 13"/>
                  <a:gd name="T1" fmla="*/ 7 h 15"/>
                  <a:gd name="T2" fmla="*/ 0 w 13"/>
                  <a:gd name="T3" fmla="*/ 15 h 15"/>
                  <a:gd name="T4" fmla="*/ 13 w 13"/>
                  <a:gd name="T5" fmla="*/ 8 h 15"/>
                  <a:gd name="T6" fmla="*/ 13 w 13"/>
                  <a:gd name="T7" fmla="*/ 0 h 15"/>
                  <a:gd name="T8" fmla="*/ 0 w 13"/>
                  <a:gd name="T9" fmla="*/ 7 h 15"/>
                </a:gdLst>
                <a:ahLst/>
                <a:cxnLst>
                  <a:cxn ang="0">
                    <a:pos x="T0" y="T1"/>
                  </a:cxn>
                  <a:cxn ang="0">
                    <a:pos x="T2" y="T3"/>
                  </a:cxn>
                  <a:cxn ang="0">
                    <a:pos x="T4" y="T5"/>
                  </a:cxn>
                  <a:cxn ang="0">
                    <a:pos x="T6" y="T7"/>
                  </a:cxn>
                  <a:cxn ang="0">
                    <a:pos x="T8" y="T9"/>
                  </a:cxn>
                </a:cxnLst>
                <a:rect l="0" t="0" r="r" b="b"/>
                <a:pathLst>
                  <a:path w="13" h="15">
                    <a:moveTo>
                      <a:pt x="0" y="7"/>
                    </a:moveTo>
                    <a:lnTo>
                      <a:pt x="0" y="15"/>
                    </a:lnTo>
                    <a:lnTo>
                      <a:pt x="13" y="8"/>
                    </a:lnTo>
                    <a:lnTo>
                      <a:pt x="13" y="0"/>
                    </a:lnTo>
                    <a:lnTo>
                      <a:pt x="0" y="7"/>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38" name="Freeform 288">
                <a:extLst>
                  <a:ext uri="{FF2B5EF4-FFF2-40B4-BE49-F238E27FC236}">
                    <a16:creationId xmlns:a16="http://schemas.microsoft.com/office/drawing/2014/main" id="{1E4224A1-4001-49A3-BCFB-C9B23DD68471}"/>
                  </a:ext>
                </a:extLst>
              </p:cNvPr>
              <p:cNvSpPr>
                <a:spLocks/>
              </p:cNvSpPr>
              <p:nvPr/>
            </p:nvSpPr>
            <p:spPr bwMode="gray">
              <a:xfrm>
                <a:off x="2014643" y="1914811"/>
                <a:ext cx="67298" cy="31060"/>
              </a:xfrm>
              <a:custGeom>
                <a:avLst/>
                <a:gdLst>
                  <a:gd name="T0" fmla="*/ 10 w 117"/>
                  <a:gd name="T1" fmla="*/ 31 h 54"/>
                  <a:gd name="T2" fmla="*/ 23 w 117"/>
                  <a:gd name="T3" fmla="*/ 24 h 54"/>
                  <a:gd name="T4" fmla="*/ 23 w 117"/>
                  <a:gd name="T5" fmla="*/ 20 h 54"/>
                  <a:gd name="T6" fmla="*/ 82 w 117"/>
                  <a:gd name="T7" fmla="*/ 54 h 54"/>
                  <a:gd name="T8" fmla="*/ 82 w 117"/>
                  <a:gd name="T9" fmla="*/ 54 h 54"/>
                  <a:gd name="T10" fmla="*/ 117 w 117"/>
                  <a:gd name="T11" fmla="*/ 33 h 54"/>
                  <a:gd name="T12" fmla="*/ 57 w 117"/>
                  <a:gd name="T13" fmla="*/ 0 h 54"/>
                  <a:gd name="T14" fmla="*/ 33 w 117"/>
                  <a:gd name="T15" fmla="*/ 13 h 54"/>
                  <a:gd name="T16" fmla="*/ 28 w 117"/>
                  <a:gd name="T17" fmla="*/ 10 h 54"/>
                  <a:gd name="T18" fmla="*/ 0 w 117"/>
                  <a:gd name="T19" fmla="*/ 26 h 54"/>
                  <a:gd name="T20" fmla="*/ 10 w 117"/>
                  <a:gd name="T21" fmla="*/ 3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54">
                    <a:moveTo>
                      <a:pt x="10" y="31"/>
                    </a:moveTo>
                    <a:lnTo>
                      <a:pt x="23" y="24"/>
                    </a:lnTo>
                    <a:lnTo>
                      <a:pt x="23" y="20"/>
                    </a:lnTo>
                    <a:lnTo>
                      <a:pt x="82" y="54"/>
                    </a:lnTo>
                    <a:lnTo>
                      <a:pt x="82" y="54"/>
                    </a:lnTo>
                    <a:lnTo>
                      <a:pt x="117" y="33"/>
                    </a:lnTo>
                    <a:lnTo>
                      <a:pt x="57" y="0"/>
                    </a:lnTo>
                    <a:lnTo>
                      <a:pt x="33" y="13"/>
                    </a:lnTo>
                    <a:lnTo>
                      <a:pt x="28" y="10"/>
                    </a:lnTo>
                    <a:lnTo>
                      <a:pt x="0" y="26"/>
                    </a:lnTo>
                    <a:lnTo>
                      <a:pt x="10" y="31"/>
                    </a:lnTo>
                    <a:close/>
                  </a:path>
                </a:pathLst>
              </a:custGeom>
              <a:solidFill>
                <a:srgbClr val="EAEAE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39" name="Freeform 289">
                <a:extLst>
                  <a:ext uri="{FF2B5EF4-FFF2-40B4-BE49-F238E27FC236}">
                    <a16:creationId xmlns:a16="http://schemas.microsoft.com/office/drawing/2014/main" id="{E72A1C70-70CD-45FD-A5B1-BAE3CAD9B00D}"/>
                  </a:ext>
                </a:extLst>
              </p:cNvPr>
              <p:cNvSpPr>
                <a:spLocks/>
              </p:cNvSpPr>
              <p:nvPr/>
            </p:nvSpPr>
            <p:spPr bwMode="gray">
              <a:xfrm>
                <a:off x="2088842" y="1846938"/>
                <a:ext cx="10929" cy="19557"/>
              </a:xfrm>
              <a:custGeom>
                <a:avLst/>
                <a:gdLst>
                  <a:gd name="T0" fmla="*/ 0 w 19"/>
                  <a:gd name="T1" fmla="*/ 12 h 34"/>
                  <a:gd name="T2" fmla="*/ 0 w 19"/>
                  <a:gd name="T3" fmla="*/ 34 h 34"/>
                  <a:gd name="T4" fmla="*/ 19 w 19"/>
                  <a:gd name="T5" fmla="*/ 23 h 34"/>
                  <a:gd name="T6" fmla="*/ 19 w 19"/>
                  <a:gd name="T7" fmla="*/ 0 h 34"/>
                  <a:gd name="T8" fmla="*/ 0 w 19"/>
                  <a:gd name="T9" fmla="*/ 11 h 34"/>
                  <a:gd name="T10" fmla="*/ 0 w 19"/>
                  <a:gd name="T11" fmla="*/ 12 h 34"/>
                </a:gdLst>
                <a:ahLst/>
                <a:cxnLst>
                  <a:cxn ang="0">
                    <a:pos x="T0" y="T1"/>
                  </a:cxn>
                  <a:cxn ang="0">
                    <a:pos x="T2" y="T3"/>
                  </a:cxn>
                  <a:cxn ang="0">
                    <a:pos x="T4" y="T5"/>
                  </a:cxn>
                  <a:cxn ang="0">
                    <a:pos x="T6" y="T7"/>
                  </a:cxn>
                  <a:cxn ang="0">
                    <a:pos x="T8" y="T9"/>
                  </a:cxn>
                  <a:cxn ang="0">
                    <a:pos x="T10" y="T11"/>
                  </a:cxn>
                </a:cxnLst>
                <a:rect l="0" t="0" r="r" b="b"/>
                <a:pathLst>
                  <a:path w="19" h="34">
                    <a:moveTo>
                      <a:pt x="0" y="12"/>
                    </a:moveTo>
                    <a:lnTo>
                      <a:pt x="0" y="34"/>
                    </a:lnTo>
                    <a:lnTo>
                      <a:pt x="19" y="23"/>
                    </a:lnTo>
                    <a:lnTo>
                      <a:pt x="19" y="0"/>
                    </a:lnTo>
                    <a:lnTo>
                      <a:pt x="0" y="11"/>
                    </a:lnTo>
                    <a:lnTo>
                      <a:pt x="0" y="12"/>
                    </a:lnTo>
                    <a:close/>
                  </a:path>
                </a:pathLst>
              </a:custGeom>
              <a:solidFill>
                <a:srgbClr val="FE9A03"/>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40" name="Freeform 290">
                <a:extLst>
                  <a:ext uri="{FF2B5EF4-FFF2-40B4-BE49-F238E27FC236}">
                    <a16:creationId xmlns:a16="http://schemas.microsoft.com/office/drawing/2014/main" id="{D098A894-3129-40BA-8096-33D80A64AE61}"/>
                  </a:ext>
                </a:extLst>
              </p:cNvPr>
              <p:cNvSpPr>
                <a:spLocks/>
              </p:cNvSpPr>
              <p:nvPr/>
            </p:nvSpPr>
            <p:spPr bwMode="gray">
              <a:xfrm>
                <a:off x="1952522" y="1775039"/>
                <a:ext cx="136321" cy="91456"/>
              </a:xfrm>
              <a:custGeom>
                <a:avLst/>
                <a:gdLst>
                  <a:gd name="T0" fmla="*/ 237 w 237"/>
                  <a:gd name="T1" fmla="*/ 159 h 159"/>
                  <a:gd name="T2" fmla="*/ 237 w 237"/>
                  <a:gd name="T3" fmla="*/ 137 h 159"/>
                  <a:gd name="T4" fmla="*/ 0 w 237"/>
                  <a:gd name="T5" fmla="*/ 0 h 159"/>
                  <a:gd name="T6" fmla="*/ 0 w 237"/>
                  <a:gd name="T7" fmla="*/ 22 h 159"/>
                  <a:gd name="T8" fmla="*/ 237 w 237"/>
                  <a:gd name="T9" fmla="*/ 159 h 159"/>
                </a:gdLst>
                <a:ahLst/>
                <a:cxnLst>
                  <a:cxn ang="0">
                    <a:pos x="T0" y="T1"/>
                  </a:cxn>
                  <a:cxn ang="0">
                    <a:pos x="T2" y="T3"/>
                  </a:cxn>
                  <a:cxn ang="0">
                    <a:pos x="T4" y="T5"/>
                  </a:cxn>
                  <a:cxn ang="0">
                    <a:pos x="T6" y="T7"/>
                  </a:cxn>
                  <a:cxn ang="0">
                    <a:pos x="T8" y="T9"/>
                  </a:cxn>
                </a:cxnLst>
                <a:rect l="0" t="0" r="r" b="b"/>
                <a:pathLst>
                  <a:path w="237" h="159">
                    <a:moveTo>
                      <a:pt x="237" y="159"/>
                    </a:moveTo>
                    <a:lnTo>
                      <a:pt x="237" y="137"/>
                    </a:lnTo>
                    <a:lnTo>
                      <a:pt x="0" y="0"/>
                    </a:lnTo>
                    <a:lnTo>
                      <a:pt x="0" y="22"/>
                    </a:lnTo>
                    <a:lnTo>
                      <a:pt x="237" y="159"/>
                    </a:lnTo>
                    <a:close/>
                  </a:path>
                </a:pathLst>
              </a:custGeom>
              <a:solidFill>
                <a:srgbClr val="FFA737"/>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41" name="Freeform 291">
                <a:extLst>
                  <a:ext uri="{FF2B5EF4-FFF2-40B4-BE49-F238E27FC236}">
                    <a16:creationId xmlns:a16="http://schemas.microsoft.com/office/drawing/2014/main" id="{3CF46945-A5E1-49DB-A69A-FA39D867A09C}"/>
                  </a:ext>
                </a:extLst>
              </p:cNvPr>
              <p:cNvSpPr>
                <a:spLocks/>
              </p:cNvSpPr>
              <p:nvPr/>
            </p:nvSpPr>
            <p:spPr bwMode="gray">
              <a:xfrm>
                <a:off x="1952522" y="1768137"/>
                <a:ext cx="147249" cy="85704"/>
              </a:xfrm>
              <a:custGeom>
                <a:avLst/>
                <a:gdLst>
                  <a:gd name="T0" fmla="*/ 237 w 256"/>
                  <a:gd name="T1" fmla="*/ 149 h 149"/>
                  <a:gd name="T2" fmla="*/ 237 w 256"/>
                  <a:gd name="T3" fmla="*/ 148 h 149"/>
                  <a:gd name="T4" fmla="*/ 256 w 256"/>
                  <a:gd name="T5" fmla="*/ 137 h 149"/>
                  <a:gd name="T6" fmla="*/ 18 w 256"/>
                  <a:gd name="T7" fmla="*/ 0 h 149"/>
                  <a:gd name="T8" fmla="*/ 0 w 256"/>
                  <a:gd name="T9" fmla="*/ 11 h 149"/>
                  <a:gd name="T10" fmla="*/ 0 w 256"/>
                  <a:gd name="T11" fmla="*/ 12 h 149"/>
                  <a:gd name="T12" fmla="*/ 237 w 256"/>
                  <a:gd name="T13" fmla="*/ 149 h 149"/>
                </a:gdLst>
                <a:ahLst/>
                <a:cxnLst>
                  <a:cxn ang="0">
                    <a:pos x="T0" y="T1"/>
                  </a:cxn>
                  <a:cxn ang="0">
                    <a:pos x="T2" y="T3"/>
                  </a:cxn>
                  <a:cxn ang="0">
                    <a:pos x="T4" y="T5"/>
                  </a:cxn>
                  <a:cxn ang="0">
                    <a:pos x="T6" y="T7"/>
                  </a:cxn>
                  <a:cxn ang="0">
                    <a:pos x="T8" y="T9"/>
                  </a:cxn>
                  <a:cxn ang="0">
                    <a:pos x="T10" y="T11"/>
                  </a:cxn>
                  <a:cxn ang="0">
                    <a:pos x="T12" y="T13"/>
                  </a:cxn>
                </a:cxnLst>
                <a:rect l="0" t="0" r="r" b="b"/>
                <a:pathLst>
                  <a:path w="256" h="149">
                    <a:moveTo>
                      <a:pt x="237" y="149"/>
                    </a:moveTo>
                    <a:lnTo>
                      <a:pt x="237" y="148"/>
                    </a:lnTo>
                    <a:lnTo>
                      <a:pt x="256" y="137"/>
                    </a:lnTo>
                    <a:lnTo>
                      <a:pt x="18" y="0"/>
                    </a:lnTo>
                    <a:lnTo>
                      <a:pt x="0" y="11"/>
                    </a:lnTo>
                    <a:lnTo>
                      <a:pt x="0" y="12"/>
                    </a:lnTo>
                    <a:lnTo>
                      <a:pt x="237" y="149"/>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42" name="Freeform 292">
                <a:extLst>
                  <a:ext uri="{FF2B5EF4-FFF2-40B4-BE49-F238E27FC236}">
                    <a16:creationId xmlns:a16="http://schemas.microsoft.com/office/drawing/2014/main" id="{75335A88-18A5-495C-B097-9596A139EC18}"/>
                  </a:ext>
                </a:extLst>
              </p:cNvPr>
              <p:cNvSpPr>
                <a:spLocks/>
              </p:cNvSpPr>
              <p:nvPr/>
            </p:nvSpPr>
            <p:spPr bwMode="gray">
              <a:xfrm>
                <a:off x="1952522" y="1840611"/>
                <a:ext cx="141497" cy="85128"/>
              </a:xfrm>
              <a:custGeom>
                <a:avLst/>
                <a:gdLst>
                  <a:gd name="T0" fmla="*/ 0 w 246"/>
                  <a:gd name="T1" fmla="*/ 0 h 148"/>
                  <a:gd name="T2" fmla="*/ 0 w 246"/>
                  <a:gd name="T3" fmla="*/ 11 h 148"/>
                  <a:gd name="T4" fmla="*/ 237 w 246"/>
                  <a:gd name="T5" fmla="*/ 148 h 148"/>
                  <a:gd name="T6" fmla="*/ 246 w 246"/>
                  <a:gd name="T7" fmla="*/ 142 h 148"/>
                  <a:gd name="T8" fmla="*/ 246 w 246"/>
                  <a:gd name="T9" fmla="*/ 131 h 148"/>
                  <a:gd name="T10" fmla="*/ 237 w 246"/>
                  <a:gd name="T11" fmla="*/ 137 h 148"/>
                  <a:gd name="T12" fmla="*/ 0 w 246"/>
                  <a:gd name="T13" fmla="*/ 0 h 148"/>
                </a:gdLst>
                <a:ahLst/>
                <a:cxnLst>
                  <a:cxn ang="0">
                    <a:pos x="T0" y="T1"/>
                  </a:cxn>
                  <a:cxn ang="0">
                    <a:pos x="T2" y="T3"/>
                  </a:cxn>
                  <a:cxn ang="0">
                    <a:pos x="T4" y="T5"/>
                  </a:cxn>
                  <a:cxn ang="0">
                    <a:pos x="T6" y="T7"/>
                  </a:cxn>
                  <a:cxn ang="0">
                    <a:pos x="T8" y="T9"/>
                  </a:cxn>
                  <a:cxn ang="0">
                    <a:pos x="T10" y="T11"/>
                  </a:cxn>
                  <a:cxn ang="0">
                    <a:pos x="T12" y="T13"/>
                  </a:cxn>
                </a:cxnLst>
                <a:rect l="0" t="0" r="r" b="b"/>
                <a:pathLst>
                  <a:path w="246" h="148">
                    <a:moveTo>
                      <a:pt x="0" y="0"/>
                    </a:moveTo>
                    <a:lnTo>
                      <a:pt x="0" y="11"/>
                    </a:lnTo>
                    <a:lnTo>
                      <a:pt x="237" y="148"/>
                    </a:lnTo>
                    <a:lnTo>
                      <a:pt x="246" y="142"/>
                    </a:lnTo>
                    <a:lnTo>
                      <a:pt x="246" y="131"/>
                    </a:lnTo>
                    <a:lnTo>
                      <a:pt x="237" y="137"/>
                    </a:lnTo>
                    <a:lnTo>
                      <a:pt x="0" y="0"/>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43" name="Freeform 293">
                <a:extLst>
                  <a:ext uri="{FF2B5EF4-FFF2-40B4-BE49-F238E27FC236}">
                    <a16:creationId xmlns:a16="http://schemas.microsoft.com/office/drawing/2014/main" id="{45E9AEFB-15FB-416B-AEB5-86E1200637E6}"/>
                  </a:ext>
                </a:extLst>
              </p:cNvPr>
              <p:cNvSpPr>
                <a:spLocks/>
              </p:cNvSpPr>
              <p:nvPr/>
            </p:nvSpPr>
            <p:spPr bwMode="gray">
              <a:xfrm>
                <a:off x="1953097" y="1872247"/>
                <a:ext cx="19557" cy="11504"/>
              </a:xfrm>
              <a:custGeom>
                <a:avLst/>
                <a:gdLst>
                  <a:gd name="T0" fmla="*/ 11 w 34"/>
                  <a:gd name="T1" fmla="*/ 0 h 20"/>
                  <a:gd name="T2" fmla="*/ 0 w 34"/>
                  <a:gd name="T3" fmla="*/ 6 h 20"/>
                  <a:gd name="T4" fmla="*/ 23 w 34"/>
                  <a:gd name="T5" fmla="*/ 18 h 20"/>
                  <a:gd name="T6" fmla="*/ 23 w 34"/>
                  <a:gd name="T7" fmla="*/ 20 h 20"/>
                  <a:gd name="T8" fmla="*/ 34 w 34"/>
                  <a:gd name="T9" fmla="*/ 14 h 20"/>
                  <a:gd name="T10" fmla="*/ 11 w 34"/>
                  <a:gd name="T11" fmla="*/ 0 h 20"/>
                </a:gdLst>
                <a:ahLst/>
                <a:cxnLst>
                  <a:cxn ang="0">
                    <a:pos x="T0" y="T1"/>
                  </a:cxn>
                  <a:cxn ang="0">
                    <a:pos x="T2" y="T3"/>
                  </a:cxn>
                  <a:cxn ang="0">
                    <a:pos x="T4" y="T5"/>
                  </a:cxn>
                  <a:cxn ang="0">
                    <a:pos x="T6" y="T7"/>
                  </a:cxn>
                  <a:cxn ang="0">
                    <a:pos x="T8" y="T9"/>
                  </a:cxn>
                  <a:cxn ang="0">
                    <a:pos x="T10" y="T11"/>
                  </a:cxn>
                </a:cxnLst>
                <a:rect l="0" t="0" r="r" b="b"/>
                <a:pathLst>
                  <a:path w="34" h="20">
                    <a:moveTo>
                      <a:pt x="11" y="0"/>
                    </a:moveTo>
                    <a:lnTo>
                      <a:pt x="0" y="6"/>
                    </a:lnTo>
                    <a:lnTo>
                      <a:pt x="23" y="18"/>
                    </a:lnTo>
                    <a:lnTo>
                      <a:pt x="23" y="20"/>
                    </a:lnTo>
                    <a:lnTo>
                      <a:pt x="34" y="14"/>
                    </a:lnTo>
                    <a:lnTo>
                      <a:pt x="11" y="0"/>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44" name="Freeform 294">
                <a:extLst>
                  <a:ext uri="{FF2B5EF4-FFF2-40B4-BE49-F238E27FC236}">
                    <a16:creationId xmlns:a16="http://schemas.microsoft.com/office/drawing/2014/main" id="{A6998926-1F73-4030-B055-C5504CFA0D50}"/>
                  </a:ext>
                </a:extLst>
              </p:cNvPr>
              <p:cNvSpPr>
                <a:spLocks/>
              </p:cNvSpPr>
              <p:nvPr/>
            </p:nvSpPr>
            <p:spPr bwMode="gray">
              <a:xfrm>
                <a:off x="1970353" y="1895255"/>
                <a:ext cx="6327" cy="8053"/>
              </a:xfrm>
              <a:custGeom>
                <a:avLst/>
                <a:gdLst>
                  <a:gd name="T0" fmla="*/ 0 w 11"/>
                  <a:gd name="T1" fmla="*/ 12 h 14"/>
                  <a:gd name="T2" fmla="*/ 5 w 11"/>
                  <a:gd name="T3" fmla="*/ 14 h 14"/>
                  <a:gd name="T4" fmla="*/ 6 w 11"/>
                  <a:gd name="T5" fmla="*/ 14 h 14"/>
                  <a:gd name="T6" fmla="*/ 11 w 11"/>
                  <a:gd name="T7" fmla="*/ 12 h 14"/>
                  <a:gd name="T8" fmla="*/ 11 w 11"/>
                  <a:gd name="T9" fmla="*/ 0 h 14"/>
                  <a:gd name="T10" fmla="*/ 5 w 11"/>
                  <a:gd name="T11" fmla="*/ 2 h 14"/>
                  <a:gd name="T12" fmla="*/ 0 w 11"/>
                  <a:gd name="T13" fmla="*/ 0 h 14"/>
                  <a:gd name="T14" fmla="*/ 0 w 11"/>
                  <a:gd name="T15" fmla="*/ 12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0" y="12"/>
                    </a:moveTo>
                    <a:lnTo>
                      <a:pt x="5" y="14"/>
                    </a:lnTo>
                    <a:lnTo>
                      <a:pt x="6" y="14"/>
                    </a:lnTo>
                    <a:lnTo>
                      <a:pt x="11" y="12"/>
                    </a:lnTo>
                    <a:lnTo>
                      <a:pt x="11" y="0"/>
                    </a:lnTo>
                    <a:lnTo>
                      <a:pt x="5" y="2"/>
                    </a:lnTo>
                    <a:lnTo>
                      <a:pt x="0" y="0"/>
                    </a:lnTo>
                    <a:lnTo>
                      <a:pt x="0" y="12"/>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45" name="Freeform 295">
                <a:extLst>
                  <a:ext uri="{FF2B5EF4-FFF2-40B4-BE49-F238E27FC236}">
                    <a16:creationId xmlns:a16="http://schemas.microsoft.com/office/drawing/2014/main" id="{5B55ABBA-C55A-4BEF-BD48-16F75386FE0B}"/>
                  </a:ext>
                </a:extLst>
              </p:cNvPr>
              <p:cNvSpPr>
                <a:spLocks/>
              </p:cNvSpPr>
              <p:nvPr/>
            </p:nvSpPr>
            <p:spPr bwMode="gray">
              <a:xfrm>
                <a:off x="1949071" y="1905608"/>
                <a:ext cx="9778" cy="9778"/>
              </a:xfrm>
              <a:custGeom>
                <a:avLst/>
                <a:gdLst>
                  <a:gd name="T0" fmla="*/ 0 w 17"/>
                  <a:gd name="T1" fmla="*/ 7 h 17"/>
                  <a:gd name="T2" fmla="*/ 17 w 17"/>
                  <a:gd name="T3" fmla="*/ 17 h 17"/>
                  <a:gd name="T4" fmla="*/ 17 w 17"/>
                  <a:gd name="T5" fmla="*/ 11 h 17"/>
                  <a:gd name="T6" fmla="*/ 0 w 17"/>
                  <a:gd name="T7" fmla="*/ 0 h 17"/>
                  <a:gd name="T8" fmla="*/ 0 w 17"/>
                  <a:gd name="T9" fmla="*/ 7 h 17"/>
                </a:gdLst>
                <a:ahLst/>
                <a:cxnLst>
                  <a:cxn ang="0">
                    <a:pos x="T0" y="T1"/>
                  </a:cxn>
                  <a:cxn ang="0">
                    <a:pos x="T2" y="T3"/>
                  </a:cxn>
                  <a:cxn ang="0">
                    <a:pos x="T4" y="T5"/>
                  </a:cxn>
                  <a:cxn ang="0">
                    <a:pos x="T6" y="T7"/>
                  </a:cxn>
                  <a:cxn ang="0">
                    <a:pos x="T8" y="T9"/>
                  </a:cxn>
                </a:cxnLst>
                <a:rect l="0" t="0" r="r" b="b"/>
                <a:pathLst>
                  <a:path w="17" h="17">
                    <a:moveTo>
                      <a:pt x="0" y="7"/>
                    </a:moveTo>
                    <a:lnTo>
                      <a:pt x="17" y="17"/>
                    </a:lnTo>
                    <a:lnTo>
                      <a:pt x="17" y="11"/>
                    </a:lnTo>
                    <a:lnTo>
                      <a:pt x="0" y="0"/>
                    </a:lnTo>
                    <a:lnTo>
                      <a:pt x="0" y="7"/>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46" name="Freeform 296">
                <a:extLst>
                  <a:ext uri="{FF2B5EF4-FFF2-40B4-BE49-F238E27FC236}">
                    <a16:creationId xmlns:a16="http://schemas.microsoft.com/office/drawing/2014/main" id="{E8E9660C-4B30-4F76-8992-6C8228B6A17A}"/>
                  </a:ext>
                </a:extLst>
              </p:cNvPr>
              <p:cNvSpPr>
                <a:spLocks/>
              </p:cNvSpPr>
              <p:nvPr/>
            </p:nvSpPr>
            <p:spPr bwMode="gray">
              <a:xfrm>
                <a:off x="2058357" y="1951623"/>
                <a:ext cx="6902" cy="9203"/>
              </a:xfrm>
              <a:custGeom>
                <a:avLst/>
                <a:gdLst>
                  <a:gd name="T0" fmla="*/ 6 w 12"/>
                  <a:gd name="T1" fmla="*/ 16 h 16"/>
                  <a:gd name="T2" fmla="*/ 12 w 12"/>
                  <a:gd name="T3" fmla="*/ 12 h 16"/>
                  <a:gd name="T4" fmla="*/ 12 w 12"/>
                  <a:gd name="T5" fmla="*/ 0 h 16"/>
                  <a:gd name="T6" fmla="*/ 6 w 12"/>
                  <a:gd name="T7" fmla="*/ 3 h 16"/>
                  <a:gd name="T8" fmla="*/ 0 w 12"/>
                  <a:gd name="T9" fmla="*/ 0 h 16"/>
                  <a:gd name="T10" fmla="*/ 0 w 12"/>
                  <a:gd name="T11" fmla="*/ 12 h 16"/>
                  <a:gd name="T12" fmla="*/ 6 w 12"/>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2" h="16">
                    <a:moveTo>
                      <a:pt x="6" y="16"/>
                    </a:moveTo>
                    <a:lnTo>
                      <a:pt x="12" y="12"/>
                    </a:lnTo>
                    <a:lnTo>
                      <a:pt x="12" y="0"/>
                    </a:lnTo>
                    <a:lnTo>
                      <a:pt x="6" y="3"/>
                    </a:lnTo>
                    <a:lnTo>
                      <a:pt x="0" y="0"/>
                    </a:lnTo>
                    <a:lnTo>
                      <a:pt x="0" y="12"/>
                    </a:lnTo>
                    <a:lnTo>
                      <a:pt x="6" y="16"/>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47" name="Freeform 297">
                <a:extLst>
                  <a:ext uri="{FF2B5EF4-FFF2-40B4-BE49-F238E27FC236}">
                    <a16:creationId xmlns:a16="http://schemas.microsoft.com/office/drawing/2014/main" id="{A3AD8E78-6B66-40DD-B850-1B5A7A0C804F}"/>
                  </a:ext>
                </a:extLst>
              </p:cNvPr>
              <p:cNvSpPr>
                <a:spLocks/>
              </p:cNvSpPr>
              <p:nvPr/>
            </p:nvSpPr>
            <p:spPr bwMode="gray">
              <a:xfrm>
                <a:off x="1952522" y="1774464"/>
                <a:ext cx="136321" cy="79376"/>
              </a:xfrm>
              <a:custGeom>
                <a:avLst/>
                <a:gdLst>
                  <a:gd name="T0" fmla="*/ 237 w 237"/>
                  <a:gd name="T1" fmla="*/ 138 h 138"/>
                  <a:gd name="T2" fmla="*/ 237 w 237"/>
                  <a:gd name="T3" fmla="*/ 137 h 138"/>
                  <a:gd name="T4" fmla="*/ 0 w 237"/>
                  <a:gd name="T5" fmla="*/ 0 h 138"/>
                  <a:gd name="T6" fmla="*/ 0 w 237"/>
                  <a:gd name="T7" fmla="*/ 1 h 138"/>
                  <a:gd name="T8" fmla="*/ 237 w 237"/>
                  <a:gd name="T9" fmla="*/ 138 h 138"/>
                </a:gdLst>
                <a:ahLst/>
                <a:cxnLst>
                  <a:cxn ang="0">
                    <a:pos x="T0" y="T1"/>
                  </a:cxn>
                  <a:cxn ang="0">
                    <a:pos x="T2" y="T3"/>
                  </a:cxn>
                  <a:cxn ang="0">
                    <a:pos x="T4" y="T5"/>
                  </a:cxn>
                  <a:cxn ang="0">
                    <a:pos x="T6" y="T7"/>
                  </a:cxn>
                  <a:cxn ang="0">
                    <a:pos x="T8" y="T9"/>
                  </a:cxn>
                </a:cxnLst>
                <a:rect l="0" t="0" r="r" b="b"/>
                <a:pathLst>
                  <a:path w="237" h="138">
                    <a:moveTo>
                      <a:pt x="237" y="138"/>
                    </a:moveTo>
                    <a:lnTo>
                      <a:pt x="237" y="137"/>
                    </a:lnTo>
                    <a:lnTo>
                      <a:pt x="0" y="0"/>
                    </a:lnTo>
                    <a:lnTo>
                      <a:pt x="0" y="1"/>
                    </a:lnTo>
                    <a:lnTo>
                      <a:pt x="237" y="138"/>
                    </a:lnTo>
                    <a:close/>
                  </a:path>
                </a:pathLst>
              </a:custGeom>
              <a:solidFill>
                <a:srgbClr val="FEE7B4"/>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48" name="Freeform 298">
                <a:extLst>
                  <a:ext uri="{FF2B5EF4-FFF2-40B4-BE49-F238E27FC236}">
                    <a16:creationId xmlns:a16="http://schemas.microsoft.com/office/drawing/2014/main" id="{4E676385-B3BB-436A-A2F8-A747C579BDA1}"/>
                  </a:ext>
                </a:extLst>
              </p:cNvPr>
              <p:cNvSpPr>
                <a:spLocks/>
              </p:cNvSpPr>
              <p:nvPr/>
            </p:nvSpPr>
            <p:spPr bwMode="gray">
              <a:xfrm>
                <a:off x="1952522" y="1768137"/>
                <a:ext cx="147249" cy="85128"/>
              </a:xfrm>
              <a:custGeom>
                <a:avLst/>
                <a:gdLst>
                  <a:gd name="T0" fmla="*/ 237 w 256"/>
                  <a:gd name="T1" fmla="*/ 148 h 148"/>
                  <a:gd name="T2" fmla="*/ 256 w 256"/>
                  <a:gd name="T3" fmla="*/ 137 h 148"/>
                  <a:gd name="T4" fmla="*/ 18 w 256"/>
                  <a:gd name="T5" fmla="*/ 0 h 148"/>
                  <a:gd name="T6" fmla="*/ 0 w 256"/>
                  <a:gd name="T7" fmla="*/ 11 h 148"/>
                  <a:gd name="T8" fmla="*/ 237 w 256"/>
                  <a:gd name="T9" fmla="*/ 148 h 148"/>
                </a:gdLst>
                <a:ahLst/>
                <a:cxnLst>
                  <a:cxn ang="0">
                    <a:pos x="T0" y="T1"/>
                  </a:cxn>
                  <a:cxn ang="0">
                    <a:pos x="T2" y="T3"/>
                  </a:cxn>
                  <a:cxn ang="0">
                    <a:pos x="T4" y="T5"/>
                  </a:cxn>
                  <a:cxn ang="0">
                    <a:pos x="T6" y="T7"/>
                  </a:cxn>
                  <a:cxn ang="0">
                    <a:pos x="T8" y="T9"/>
                  </a:cxn>
                </a:cxnLst>
                <a:rect l="0" t="0" r="r" b="b"/>
                <a:pathLst>
                  <a:path w="256" h="148">
                    <a:moveTo>
                      <a:pt x="237" y="148"/>
                    </a:moveTo>
                    <a:lnTo>
                      <a:pt x="256" y="137"/>
                    </a:lnTo>
                    <a:lnTo>
                      <a:pt x="18" y="0"/>
                    </a:lnTo>
                    <a:lnTo>
                      <a:pt x="0" y="11"/>
                    </a:lnTo>
                    <a:lnTo>
                      <a:pt x="237" y="148"/>
                    </a:lnTo>
                    <a:close/>
                  </a:path>
                </a:pathLst>
              </a:custGeom>
              <a:solidFill>
                <a:srgbClr val="FFDB73"/>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49" name="Freeform 299">
                <a:extLst>
                  <a:ext uri="{FF2B5EF4-FFF2-40B4-BE49-F238E27FC236}">
                    <a16:creationId xmlns:a16="http://schemas.microsoft.com/office/drawing/2014/main" id="{FEFBBF23-244A-4A04-8FAE-6983E47AFD39}"/>
                  </a:ext>
                </a:extLst>
              </p:cNvPr>
              <p:cNvSpPr>
                <a:spLocks/>
              </p:cNvSpPr>
              <p:nvPr/>
            </p:nvSpPr>
            <p:spPr bwMode="gray">
              <a:xfrm>
                <a:off x="1952522" y="1840611"/>
                <a:ext cx="141497" cy="79952"/>
              </a:xfrm>
              <a:custGeom>
                <a:avLst/>
                <a:gdLst>
                  <a:gd name="T0" fmla="*/ 0 w 246"/>
                  <a:gd name="T1" fmla="*/ 0 h 139"/>
                  <a:gd name="T2" fmla="*/ 0 w 246"/>
                  <a:gd name="T3" fmla="*/ 3 h 139"/>
                  <a:gd name="T4" fmla="*/ 237 w 246"/>
                  <a:gd name="T5" fmla="*/ 139 h 139"/>
                  <a:gd name="T6" fmla="*/ 246 w 246"/>
                  <a:gd name="T7" fmla="*/ 133 h 139"/>
                  <a:gd name="T8" fmla="*/ 246 w 246"/>
                  <a:gd name="T9" fmla="*/ 131 h 139"/>
                  <a:gd name="T10" fmla="*/ 237 w 246"/>
                  <a:gd name="T11" fmla="*/ 137 h 139"/>
                  <a:gd name="T12" fmla="*/ 0 w 246"/>
                  <a:gd name="T13" fmla="*/ 0 h 139"/>
                </a:gdLst>
                <a:ahLst/>
                <a:cxnLst>
                  <a:cxn ang="0">
                    <a:pos x="T0" y="T1"/>
                  </a:cxn>
                  <a:cxn ang="0">
                    <a:pos x="T2" y="T3"/>
                  </a:cxn>
                  <a:cxn ang="0">
                    <a:pos x="T4" y="T5"/>
                  </a:cxn>
                  <a:cxn ang="0">
                    <a:pos x="T6" y="T7"/>
                  </a:cxn>
                  <a:cxn ang="0">
                    <a:pos x="T8" y="T9"/>
                  </a:cxn>
                  <a:cxn ang="0">
                    <a:pos x="T10" y="T11"/>
                  </a:cxn>
                  <a:cxn ang="0">
                    <a:pos x="T12" y="T13"/>
                  </a:cxn>
                </a:cxnLst>
                <a:rect l="0" t="0" r="r" b="b"/>
                <a:pathLst>
                  <a:path w="246" h="139">
                    <a:moveTo>
                      <a:pt x="0" y="0"/>
                    </a:moveTo>
                    <a:lnTo>
                      <a:pt x="0" y="3"/>
                    </a:lnTo>
                    <a:lnTo>
                      <a:pt x="237" y="139"/>
                    </a:lnTo>
                    <a:lnTo>
                      <a:pt x="246" y="133"/>
                    </a:lnTo>
                    <a:lnTo>
                      <a:pt x="246" y="131"/>
                    </a:lnTo>
                    <a:lnTo>
                      <a:pt x="237" y="137"/>
                    </a:lnTo>
                    <a:lnTo>
                      <a:pt x="0" y="0"/>
                    </a:lnTo>
                    <a:close/>
                  </a:path>
                </a:pathLst>
              </a:custGeom>
              <a:solidFill>
                <a:srgbClr val="F75A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50" name="Freeform 300">
                <a:extLst>
                  <a:ext uri="{FF2B5EF4-FFF2-40B4-BE49-F238E27FC236}">
                    <a16:creationId xmlns:a16="http://schemas.microsoft.com/office/drawing/2014/main" id="{14CEC716-0BDE-455A-AF0B-9AB945C9FDB3}"/>
                  </a:ext>
                </a:extLst>
              </p:cNvPr>
              <p:cNvSpPr>
                <a:spLocks/>
              </p:cNvSpPr>
              <p:nvPr/>
            </p:nvSpPr>
            <p:spPr bwMode="gray">
              <a:xfrm>
                <a:off x="2088842" y="1917112"/>
                <a:ext cx="5177" cy="8628"/>
              </a:xfrm>
              <a:custGeom>
                <a:avLst/>
                <a:gdLst>
                  <a:gd name="T0" fmla="*/ 0 w 9"/>
                  <a:gd name="T1" fmla="*/ 6 h 15"/>
                  <a:gd name="T2" fmla="*/ 0 w 9"/>
                  <a:gd name="T3" fmla="*/ 15 h 15"/>
                  <a:gd name="T4" fmla="*/ 9 w 9"/>
                  <a:gd name="T5" fmla="*/ 9 h 15"/>
                  <a:gd name="T6" fmla="*/ 9 w 9"/>
                  <a:gd name="T7" fmla="*/ 0 h 15"/>
                  <a:gd name="T8" fmla="*/ 0 w 9"/>
                  <a:gd name="T9" fmla="*/ 6 h 15"/>
                </a:gdLst>
                <a:ahLst/>
                <a:cxnLst>
                  <a:cxn ang="0">
                    <a:pos x="T0" y="T1"/>
                  </a:cxn>
                  <a:cxn ang="0">
                    <a:pos x="T2" y="T3"/>
                  </a:cxn>
                  <a:cxn ang="0">
                    <a:pos x="T4" y="T5"/>
                  </a:cxn>
                  <a:cxn ang="0">
                    <a:pos x="T6" y="T7"/>
                  </a:cxn>
                  <a:cxn ang="0">
                    <a:pos x="T8" y="T9"/>
                  </a:cxn>
                </a:cxnLst>
                <a:rect l="0" t="0" r="r" b="b"/>
                <a:pathLst>
                  <a:path w="9" h="15">
                    <a:moveTo>
                      <a:pt x="0" y="6"/>
                    </a:moveTo>
                    <a:lnTo>
                      <a:pt x="0" y="15"/>
                    </a:lnTo>
                    <a:lnTo>
                      <a:pt x="9" y="9"/>
                    </a:lnTo>
                    <a:lnTo>
                      <a:pt x="9" y="0"/>
                    </a:lnTo>
                    <a:lnTo>
                      <a:pt x="0" y="6"/>
                    </a:lnTo>
                    <a:close/>
                  </a:path>
                </a:pathLst>
              </a:custGeom>
              <a:solidFill>
                <a:srgbClr val="FD6B0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51" name="Freeform 301">
                <a:extLst>
                  <a:ext uri="{FF2B5EF4-FFF2-40B4-BE49-F238E27FC236}">
                    <a16:creationId xmlns:a16="http://schemas.microsoft.com/office/drawing/2014/main" id="{97FAA5B0-CC66-4B17-B6C2-2C6B08045F86}"/>
                  </a:ext>
                </a:extLst>
              </p:cNvPr>
              <p:cNvSpPr>
                <a:spLocks/>
              </p:cNvSpPr>
              <p:nvPr/>
            </p:nvSpPr>
            <p:spPr bwMode="gray">
              <a:xfrm>
                <a:off x="1859341" y="1685885"/>
                <a:ext cx="142073" cy="173708"/>
              </a:xfrm>
              <a:custGeom>
                <a:avLst/>
                <a:gdLst>
                  <a:gd name="T0" fmla="*/ 48 w 247"/>
                  <a:gd name="T1" fmla="*/ 16 h 302"/>
                  <a:gd name="T2" fmla="*/ 43 w 247"/>
                  <a:gd name="T3" fmla="*/ 18 h 302"/>
                  <a:gd name="T4" fmla="*/ 37 w 247"/>
                  <a:gd name="T5" fmla="*/ 21 h 302"/>
                  <a:gd name="T6" fmla="*/ 22 w 247"/>
                  <a:gd name="T7" fmla="*/ 33 h 302"/>
                  <a:gd name="T8" fmla="*/ 11 w 247"/>
                  <a:gd name="T9" fmla="*/ 48 h 302"/>
                  <a:gd name="T10" fmla="*/ 4 w 247"/>
                  <a:gd name="T11" fmla="*/ 69 h 302"/>
                  <a:gd name="T12" fmla="*/ 0 w 247"/>
                  <a:gd name="T13" fmla="*/ 94 h 302"/>
                  <a:gd name="T14" fmla="*/ 3 w 247"/>
                  <a:gd name="T15" fmla="*/ 130 h 302"/>
                  <a:gd name="T16" fmla="*/ 12 w 247"/>
                  <a:gd name="T17" fmla="*/ 166 h 302"/>
                  <a:gd name="T18" fmla="*/ 29 w 247"/>
                  <a:gd name="T19" fmla="*/ 204 h 302"/>
                  <a:gd name="T20" fmla="*/ 46 w 247"/>
                  <a:gd name="T21" fmla="*/ 231 h 302"/>
                  <a:gd name="T22" fmla="*/ 65 w 247"/>
                  <a:gd name="T23" fmla="*/ 254 h 302"/>
                  <a:gd name="T24" fmla="*/ 85 w 247"/>
                  <a:gd name="T25" fmla="*/ 272 h 302"/>
                  <a:gd name="T26" fmla="*/ 108 w 247"/>
                  <a:gd name="T27" fmla="*/ 287 h 302"/>
                  <a:gd name="T28" fmla="*/ 131 w 247"/>
                  <a:gd name="T29" fmla="*/ 297 h 302"/>
                  <a:gd name="T30" fmla="*/ 151 w 247"/>
                  <a:gd name="T31" fmla="*/ 302 h 302"/>
                  <a:gd name="T32" fmla="*/ 172 w 247"/>
                  <a:gd name="T33" fmla="*/ 300 h 302"/>
                  <a:gd name="T34" fmla="*/ 190 w 247"/>
                  <a:gd name="T35" fmla="*/ 294 h 302"/>
                  <a:gd name="T36" fmla="*/ 195 w 247"/>
                  <a:gd name="T37" fmla="*/ 291 h 302"/>
                  <a:gd name="T38" fmla="*/ 201 w 247"/>
                  <a:gd name="T39" fmla="*/ 287 h 302"/>
                  <a:gd name="T40" fmla="*/ 205 w 247"/>
                  <a:gd name="T41" fmla="*/ 285 h 302"/>
                  <a:gd name="T42" fmla="*/ 210 w 247"/>
                  <a:gd name="T43" fmla="*/ 282 h 302"/>
                  <a:gd name="T44" fmla="*/ 225 w 247"/>
                  <a:gd name="T45" fmla="*/ 270 h 302"/>
                  <a:gd name="T46" fmla="*/ 237 w 247"/>
                  <a:gd name="T47" fmla="*/ 256 h 302"/>
                  <a:gd name="T48" fmla="*/ 244 w 247"/>
                  <a:gd name="T49" fmla="*/ 237 h 302"/>
                  <a:gd name="T50" fmla="*/ 246 w 247"/>
                  <a:gd name="T51" fmla="*/ 224 h 302"/>
                  <a:gd name="T52" fmla="*/ 247 w 247"/>
                  <a:gd name="T53" fmla="*/ 209 h 302"/>
                  <a:gd name="T54" fmla="*/ 245 w 247"/>
                  <a:gd name="T55" fmla="*/ 173 h 302"/>
                  <a:gd name="T56" fmla="*/ 235 w 247"/>
                  <a:gd name="T57" fmla="*/ 136 h 302"/>
                  <a:gd name="T58" fmla="*/ 219 w 247"/>
                  <a:gd name="T59" fmla="*/ 99 h 302"/>
                  <a:gd name="T60" fmla="*/ 202 w 247"/>
                  <a:gd name="T61" fmla="*/ 72 h 302"/>
                  <a:gd name="T62" fmla="*/ 184 w 247"/>
                  <a:gd name="T63" fmla="*/ 50 h 302"/>
                  <a:gd name="T64" fmla="*/ 162 w 247"/>
                  <a:gd name="T65" fmla="*/ 30 h 302"/>
                  <a:gd name="T66" fmla="*/ 141 w 247"/>
                  <a:gd name="T67" fmla="*/ 16 h 302"/>
                  <a:gd name="T68" fmla="*/ 118 w 247"/>
                  <a:gd name="T69" fmla="*/ 5 h 302"/>
                  <a:gd name="T70" fmla="*/ 96 w 247"/>
                  <a:gd name="T71" fmla="*/ 0 h 302"/>
                  <a:gd name="T72" fmla="*/ 77 w 247"/>
                  <a:gd name="T73" fmla="*/ 2 h 302"/>
                  <a:gd name="T74" fmla="*/ 59 w 247"/>
                  <a:gd name="T75" fmla="*/ 9 h 302"/>
                  <a:gd name="T76" fmla="*/ 53 w 247"/>
                  <a:gd name="T77" fmla="*/ 12 h 302"/>
                  <a:gd name="T78" fmla="*/ 48 w 247"/>
                  <a:gd name="T79" fmla="*/ 1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7" h="302">
                    <a:moveTo>
                      <a:pt x="48" y="16"/>
                    </a:moveTo>
                    <a:lnTo>
                      <a:pt x="43" y="18"/>
                    </a:lnTo>
                    <a:lnTo>
                      <a:pt x="37" y="21"/>
                    </a:lnTo>
                    <a:lnTo>
                      <a:pt x="22" y="33"/>
                    </a:lnTo>
                    <a:lnTo>
                      <a:pt x="11" y="48"/>
                    </a:lnTo>
                    <a:lnTo>
                      <a:pt x="4" y="69"/>
                    </a:lnTo>
                    <a:lnTo>
                      <a:pt x="0" y="94"/>
                    </a:lnTo>
                    <a:lnTo>
                      <a:pt x="3" y="130"/>
                    </a:lnTo>
                    <a:lnTo>
                      <a:pt x="12" y="166"/>
                    </a:lnTo>
                    <a:lnTo>
                      <a:pt x="29" y="204"/>
                    </a:lnTo>
                    <a:lnTo>
                      <a:pt x="46" y="231"/>
                    </a:lnTo>
                    <a:lnTo>
                      <a:pt x="65" y="254"/>
                    </a:lnTo>
                    <a:lnTo>
                      <a:pt x="85" y="272"/>
                    </a:lnTo>
                    <a:lnTo>
                      <a:pt x="108" y="287"/>
                    </a:lnTo>
                    <a:lnTo>
                      <a:pt x="131" y="297"/>
                    </a:lnTo>
                    <a:lnTo>
                      <a:pt x="151" y="302"/>
                    </a:lnTo>
                    <a:lnTo>
                      <a:pt x="172" y="300"/>
                    </a:lnTo>
                    <a:lnTo>
                      <a:pt x="190" y="294"/>
                    </a:lnTo>
                    <a:lnTo>
                      <a:pt x="195" y="291"/>
                    </a:lnTo>
                    <a:lnTo>
                      <a:pt x="201" y="287"/>
                    </a:lnTo>
                    <a:lnTo>
                      <a:pt x="205" y="285"/>
                    </a:lnTo>
                    <a:lnTo>
                      <a:pt x="210" y="282"/>
                    </a:lnTo>
                    <a:lnTo>
                      <a:pt x="225" y="270"/>
                    </a:lnTo>
                    <a:lnTo>
                      <a:pt x="237" y="256"/>
                    </a:lnTo>
                    <a:lnTo>
                      <a:pt x="244" y="237"/>
                    </a:lnTo>
                    <a:lnTo>
                      <a:pt x="246" y="224"/>
                    </a:lnTo>
                    <a:lnTo>
                      <a:pt x="247" y="209"/>
                    </a:lnTo>
                    <a:lnTo>
                      <a:pt x="245" y="173"/>
                    </a:lnTo>
                    <a:lnTo>
                      <a:pt x="235" y="136"/>
                    </a:lnTo>
                    <a:lnTo>
                      <a:pt x="219" y="99"/>
                    </a:lnTo>
                    <a:lnTo>
                      <a:pt x="202" y="72"/>
                    </a:lnTo>
                    <a:lnTo>
                      <a:pt x="184" y="50"/>
                    </a:lnTo>
                    <a:lnTo>
                      <a:pt x="162" y="30"/>
                    </a:lnTo>
                    <a:lnTo>
                      <a:pt x="141" y="16"/>
                    </a:lnTo>
                    <a:lnTo>
                      <a:pt x="118" y="5"/>
                    </a:lnTo>
                    <a:lnTo>
                      <a:pt x="96" y="0"/>
                    </a:lnTo>
                    <a:lnTo>
                      <a:pt x="77" y="2"/>
                    </a:lnTo>
                    <a:lnTo>
                      <a:pt x="59" y="9"/>
                    </a:lnTo>
                    <a:lnTo>
                      <a:pt x="53" y="12"/>
                    </a:lnTo>
                    <a:lnTo>
                      <a:pt x="48" y="16"/>
                    </a:lnTo>
                    <a:close/>
                  </a:path>
                </a:pathLst>
              </a:custGeom>
              <a:solidFill>
                <a:srgbClr val="FFEDE6"/>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52" name="Freeform 302">
                <a:extLst>
                  <a:ext uri="{FF2B5EF4-FFF2-40B4-BE49-F238E27FC236}">
                    <a16:creationId xmlns:a16="http://schemas.microsoft.com/office/drawing/2014/main" id="{B181DC46-9DE7-4975-88B2-7032FCF42AEE}"/>
                  </a:ext>
                </a:extLst>
              </p:cNvPr>
              <p:cNvSpPr>
                <a:spLocks/>
              </p:cNvSpPr>
              <p:nvPr/>
            </p:nvSpPr>
            <p:spPr bwMode="gray">
              <a:xfrm>
                <a:off x="1875446" y="1709468"/>
                <a:ext cx="32211" cy="47166"/>
              </a:xfrm>
              <a:custGeom>
                <a:avLst/>
                <a:gdLst>
                  <a:gd name="T0" fmla="*/ 45 w 56"/>
                  <a:gd name="T1" fmla="*/ 82 h 82"/>
                  <a:gd name="T2" fmla="*/ 56 w 56"/>
                  <a:gd name="T3" fmla="*/ 75 h 82"/>
                  <a:gd name="T4" fmla="*/ 11 w 56"/>
                  <a:gd name="T5" fmla="*/ 0 h 82"/>
                  <a:gd name="T6" fmla="*/ 0 w 56"/>
                  <a:gd name="T7" fmla="*/ 9 h 82"/>
                  <a:gd name="T8" fmla="*/ 45 w 56"/>
                  <a:gd name="T9" fmla="*/ 82 h 82"/>
                </a:gdLst>
                <a:ahLst/>
                <a:cxnLst>
                  <a:cxn ang="0">
                    <a:pos x="T0" y="T1"/>
                  </a:cxn>
                  <a:cxn ang="0">
                    <a:pos x="T2" y="T3"/>
                  </a:cxn>
                  <a:cxn ang="0">
                    <a:pos x="T4" y="T5"/>
                  </a:cxn>
                  <a:cxn ang="0">
                    <a:pos x="T6" y="T7"/>
                  </a:cxn>
                  <a:cxn ang="0">
                    <a:pos x="T8" y="T9"/>
                  </a:cxn>
                </a:cxnLst>
                <a:rect l="0" t="0" r="r" b="b"/>
                <a:pathLst>
                  <a:path w="56" h="82">
                    <a:moveTo>
                      <a:pt x="45" y="82"/>
                    </a:moveTo>
                    <a:lnTo>
                      <a:pt x="56" y="75"/>
                    </a:lnTo>
                    <a:lnTo>
                      <a:pt x="11" y="0"/>
                    </a:lnTo>
                    <a:lnTo>
                      <a:pt x="0" y="9"/>
                    </a:lnTo>
                    <a:lnTo>
                      <a:pt x="45" y="82"/>
                    </a:lnTo>
                    <a:close/>
                  </a:path>
                </a:pathLst>
              </a:custGeom>
              <a:solidFill>
                <a:srgbClr val="C7875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53" name="Freeform 303">
                <a:extLst>
                  <a:ext uri="{FF2B5EF4-FFF2-40B4-BE49-F238E27FC236}">
                    <a16:creationId xmlns:a16="http://schemas.microsoft.com/office/drawing/2014/main" id="{302CCC1D-6B9A-4A11-8EE2-D7DC5238022E}"/>
                  </a:ext>
                </a:extLst>
              </p:cNvPr>
              <p:cNvSpPr>
                <a:spLocks noEditPoints="1"/>
              </p:cNvSpPr>
              <p:nvPr/>
            </p:nvSpPr>
            <p:spPr bwMode="gray">
              <a:xfrm>
                <a:off x="1875446" y="1709468"/>
                <a:ext cx="32211" cy="47166"/>
              </a:xfrm>
              <a:custGeom>
                <a:avLst/>
                <a:gdLst>
                  <a:gd name="T0" fmla="*/ 45 w 56"/>
                  <a:gd name="T1" fmla="*/ 82 h 82"/>
                  <a:gd name="T2" fmla="*/ 56 w 56"/>
                  <a:gd name="T3" fmla="*/ 75 h 82"/>
                  <a:gd name="T4" fmla="*/ 11 w 56"/>
                  <a:gd name="T5" fmla="*/ 0 h 82"/>
                  <a:gd name="T6" fmla="*/ 0 w 56"/>
                  <a:gd name="T7" fmla="*/ 9 h 82"/>
                  <a:gd name="T8" fmla="*/ 45 w 56"/>
                  <a:gd name="T9" fmla="*/ 82 h 82"/>
                  <a:gd name="T10" fmla="*/ 53 w 56"/>
                  <a:gd name="T11" fmla="*/ 73 h 82"/>
                  <a:gd name="T12" fmla="*/ 47 w 56"/>
                  <a:gd name="T13" fmla="*/ 77 h 82"/>
                  <a:gd name="T14" fmla="*/ 5 w 56"/>
                  <a:gd name="T15" fmla="*/ 10 h 82"/>
                  <a:gd name="T16" fmla="*/ 9 w 56"/>
                  <a:gd name="T17" fmla="*/ 5 h 82"/>
                  <a:gd name="T18" fmla="*/ 53 w 56"/>
                  <a:gd name="T19" fmla="*/ 7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82">
                    <a:moveTo>
                      <a:pt x="45" y="82"/>
                    </a:moveTo>
                    <a:lnTo>
                      <a:pt x="56" y="75"/>
                    </a:lnTo>
                    <a:lnTo>
                      <a:pt x="11" y="0"/>
                    </a:lnTo>
                    <a:lnTo>
                      <a:pt x="0" y="9"/>
                    </a:lnTo>
                    <a:lnTo>
                      <a:pt x="45" y="82"/>
                    </a:lnTo>
                    <a:close/>
                    <a:moveTo>
                      <a:pt x="53" y="73"/>
                    </a:moveTo>
                    <a:lnTo>
                      <a:pt x="47" y="77"/>
                    </a:lnTo>
                    <a:lnTo>
                      <a:pt x="5" y="10"/>
                    </a:lnTo>
                    <a:lnTo>
                      <a:pt x="9" y="5"/>
                    </a:lnTo>
                    <a:lnTo>
                      <a:pt x="53" y="73"/>
                    </a:lnTo>
                    <a:close/>
                  </a:path>
                </a:pathLst>
              </a:custGeom>
              <a:solidFill>
                <a:srgbClr val="915833"/>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54" name="Freeform 304">
                <a:extLst>
                  <a:ext uri="{FF2B5EF4-FFF2-40B4-BE49-F238E27FC236}">
                    <a16:creationId xmlns:a16="http://schemas.microsoft.com/office/drawing/2014/main" id="{A82754CB-65EB-428E-AC17-B489D53FAEE5}"/>
                  </a:ext>
                </a:extLst>
              </p:cNvPr>
              <p:cNvSpPr>
                <a:spLocks noEditPoints="1"/>
              </p:cNvSpPr>
              <p:nvPr/>
            </p:nvSpPr>
            <p:spPr bwMode="gray">
              <a:xfrm>
                <a:off x="1902480" y="1758359"/>
                <a:ext cx="32211" cy="41414"/>
              </a:xfrm>
              <a:custGeom>
                <a:avLst/>
                <a:gdLst>
                  <a:gd name="T0" fmla="*/ 12 w 56"/>
                  <a:gd name="T1" fmla="*/ 0 h 72"/>
                  <a:gd name="T2" fmla="*/ 9 w 56"/>
                  <a:gd name="T3" fmla="*/ 2 h 72"/>
                  <a:gd name="T4" fmla="*/ 6 w 56"/>
                  <a:gd name="T5" fmla="*/ 5 h 72"/>
                  <a:gd name="T6" fmla="*/ 2 w 56"/>
                  <a:gd name="T7" fmla="*/ 9 h 72"/>
                  <a:gd name="T8" fmla="*/ 1 w 56"/>
                  <a:gd name="T9" fmla="*/ 14 h 72"/>
                  <a:gd name="T10" fmla="*/ 0 w 56"/>
                  <a:gd name="T11" fmla="*/ 20 h 72"/>
                  <a:gd name="T12" fmla="*/ 2 w 56"/>
                  <a:gd name="T13" fmla="*/ 34 h 72"/>
                  <a:gd name="T14" fmla="*/ 7 w 56"/>
                  <a:gd name="T15" fmla="*/ 47 h 72"/>
                  <a:gd name="T16" fmla="*/ 16 w 56"/>
                  <a:gd name="T17" fmla="*/ 60 h 72"/>
                  <a:gd name="T18" fmla="*/ 27 w 56"/>
                  <a:gd name="T19" fmla="*/ 69 h 72"/>
                  <a:gd name="T20" fmla="*/ 38 w 56"/>
                  <a:gd name="T21" fmla="*/ 72 h 72"/>
                  <a:gd name="T22" fmla="*/ 48 w 56"/>
                  <a:gd name="T23" fmla="*/ 70 h 72"/>
                  <a:gd name="T24" fmla="*/ 49 w 56"/>
                  <a:gd name="T25" fmla="*/ 69 h 72"/>
                  <a:gd name="T26" fmla="*/ 50 w 56"/>
                  <a:gd name="T27" fmla="*/ 69 h 72"/>
                  <a:gd name="T28" fmla="*/ 52 w 56"/>
                  <a:gd name="T29" fmla="*/ 65 h 72"/>
                  <a:gd name="T30" fmla="*/ 55 w 56"/>
                  <a:gd name="T31" fmla="*/ 62 h 72"/>
                  <a:gd name="T32" fmla="*/ 56 w 56"/>
                  <a:gd name="T33" fmla="*/ 57 h 72"/>
                  <a:gd name="T34" fmla="*/ 56 w 56"/>
                  <a:gd name="T35" fmla="*/ 52 h 72"/>
                  <a:gd name="T36" fmla="*/ 55 w 56"/>
                  <a:gd name="T37" fmla="*/ 39 h 72"/>
                  <a:gd name="T38" fmla="*/ 49 w 56"/>
                  <a:gd name="T39" fmla="*/ 24 h 72"/>
                  <a:gd name="T40" fmla="*/ 40 w 56"/>
                  <a:gd name="T41" fmla="*/ 12 h 72"/>
                  <a:gd name="T42" fmla="*/ 30 w 56"/>
                  <a:gd name="T43" fmla="*/ 4 h 72"/>
                  <a:gd name="T44" fmla="*/ 25 w 56"/>
                  <a:gd name="T45" fmla="*/ 2 h 72"/>
                  <a:gd name="T46" fmla="*/ 20 w 56"/>
                  <a:gd name="T47" fmla="*/ 0 h 72"/>
                  <a:gd name="T48" fmla="*/ 15 w 56"/>
                  <a:gd name="T49" fmla="*/ 0 h 72"/>
                  <a:gd name="T50" fmla="*/ 12 w 56"/>
                  <a:gd name="T51" fmla="*/ 0 h 72"/>
                  <a:gd name="T52" fmla="*/ 10 w 56"/>
                  <a:gd name="T53" fmla="*/ 4 h 72"/>
                  <a:gd name="T54" fmla="*/ 13 w 56"/>
                  <a:gd name="T55" fmla="*/ 3 h 72"/>
                  <a:gd name="T56" fmla="*/ 18 w 56"/>
                  <a:gd name="T57" fmla="*/ 2 h 72"/>
                  <a:gd name="T58" fmla="*/ 24 w 56"/>
                  <a:gd name="T59" fmla="*/ 3 h 72"/>
                  <a:gd name="T60" fmla="*/ 30 w 56"/>
                  <a:gd name="T61" fmla="*/ 5 h 72"/>
                  <a:gd name="T62" fmla="*/ 39 w 56"/>
                  <a:gd name="T63" fmla="*/ 14 h 72"/>
                  <a:gd name="T64" fmla="*/ 49 w 56"/>
                  <a:gd name="T65" fmla="*/ 24 h 72"/>
                  <a:gd name="T66" fmla="*/ 54 w 56"/>
                  <a:gd name="T67" fmla="*/ 38 h 72"/>
                  <a:gd name="T68" fmla="*/ 55 w 56"/>
                  <a:gd name="T69" fmla="*/ 51 h 72"/>
                  <a:gd name="T70" fmla="*/ 55 w 56"/>
                  <a:gd name="T71" fmla="*/ 56 h 72"/>
                  <a:gd name="T72" fmla="*/ 54 w 56"/>
                  <a:gd name="T73" fmla="*/ 60 h 72"/>
                  <a:gd name="T74" fmla="*/ 51 w 56"/>
                  <a:gd name="T75" fmla="*/ 64 h 72"/>
                  <a:gd name="T76" fmla="*/ 49 w 56"/>
                  <a:gd name="T77" fmla="*/ 66 h 72"/>
                  <a:gd name="T78" fmla="*/ 46 w 56"/>
                  <a:gd name="T79" fmla="*/ 69 h 72"/>
                  <a:gd name="T80" fmla="*/ 37 w 56"/>
                  <a:gd name="T81" fmla="*/ 70 h 72"/>
                  <a:gd name="T82" fmla="*/ 27 w 56"/>
                  <a:gd name="T83" fmla="*/ 66 h 72"/>
                  <a:gd name="T84" fmla="*/ 16 w 56"/>
                  <a:gd name="T85" fmla="*/ 59 h 72"/>
                  <a:gd name="T86" fmla="*/ 8 w 56"/>
                  <a:gd name="T87" fmla="*/ 47 h 72"/>
                  <a:gd name="T88" fmla="*/ 3 w 56"/>
                  <a:gd name="T89" fmla="*/ 34 h 72"/>
                  <a:gd name="T90" fmla="*/ 1 w 56"/>
                  <a:gd name="T91" fmla="*/ 21 h 72"/>
                  <a:gd name="T92" fmla="*/ 2 w 56"/>
                  <a:gd name="T93" fmla="*/ 15 h 72"/>
                  <a:gd name="T94" fmla="*/ 4 w 56"/>
                  <a:gd name="T95" fmla="*/ 10 h 72"/>
                  <a:gd name="T96" fmla="*/ 7 w 56"/>
                  <a:gd name="T97" fmla="*/ 6 h 72"/>
                  <a:gd name="T98" fmla="*/ 10 w 56"/>
                  <a:gd name="T99" fmla="*/ 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 h="72">
                    <a:moveTo>
                      <a:pt x="12" y="0"/>
                    </a:moveTo>
                    <a:lnTo>
                      <a:pt x="9" y="2"/>
                    </a:lnTo>
                    <a:lnTo>
                      <a:pt x="6" y="5"/>
                    </a:lnTo>
                    <a:lnTo>
                      <a:pt x="2" y="9"/>
                    </a:lnTo>
                    <a:lnTo>
                      <a:pt x="1" y="14"/>
                    </a:lnTo>
                    <a:lnTo>
                      <a:pt x="0" y="20"/>
                    </a:lnTo>
                    <a:lnTo>
                      <a:pt x="2" y="34"/>
                    </a:lnTo>
                    <a:lnTo>
                      <a:pt x="7" y="47"/>
                    </a:lnTo>
                    <a:lnTo>
                      <a:pt x="16" y="60"/>
                    </a:lnTo>
                    <a:lnTo>
                      <a:pt x="27" y="69"/>
                    </a:lnTo>
                    <a:lnTo>
                      <a:pt x="38" y="72"/>
                    </a:lnTo>
                    <a:lnTo>
                      <a:pt x="48" y="70"/>
                    </a:lnTo>
                    <a:lnTo>
                      <a:pt x="49" y="69"/>
                    </a:lnTo>
                    <a:lnTo>
                      <a:pt x="50" y="69"/>
                    </a:lnTo>
                    <a:lnTo>
                      <a:pt x="52" y="65"/>
                    </a:lnTo>
                    <a:lnTo>
                      <a:pt x="55" y="62"/>
                    </a:lnTo>
                    <a:lnTo>
                      <a:pt x="56" y="57"/>
                    </a:lnTo>
                    <a:lnTo>
                      <a:pt x="56" y="52"/>
                    </a:lnTo>
                    <a:lnTo>
                      <a:pt x="55" y="39"/>
                    </a:lnTo>
                    <a:lnTo>
                      <a:pt x="49" y="24"/>
                    </a:lnTo>
                    <a:lnTo>
                      <a:pt x="40" y="12"/>
                    </a:lnTo>
                    <a:lnTo>
                      <a:pt x="30" y="4"/>
                    </a:lnTo>
                    <a:lnTo>
                      <a:pt x="25" y="2"/>
                    </a:lnTo>
                    <a:lnTo>
                      <a:pt x="20" y="0"/>
                    </a:lnTo>
                    <a:lnTo>
                      <a:pt x="15" y="0"/>
                    </a:lnTo>
                    <a:lnTo>
                      <a:pt x="12" y="0"/>
                    </a:lnTo>
                    <a:close/>
                    <a:moveTo>
                      <a:pt x="10" y="4"/>
                    </a:moveTo>
                    <a:lnTo>
                      <a:pt x="13" y="3"/>
                    </a:lnTo>
                    <a:lnTo>
                      <a:pt x="18" y="2"/>
                    </a:lnTo>
                    <a:lnTo>
                      <a:pt x="24" y="3"/>
                    </a:lnTo>
                    <a:lnTo>
                      <a:pt x="30" y="5"/>
                    </a:lnTo>
                    <a:lnTo>
                      <a:pt x="39" y="14"/>
                    </a:lnTo>
                    <a:lnTo>
                      <a:pt x="49" y="24"/>
                    </a:lnTo>
                    <a:lnTo>
                      <a:pt x="54" y="38"/>
                    </a:lnTo>
                    <a:lnTo>
                      <a:pt x="55" y="51"/>
                    </a:lnTo>
                    <a:lnTo>
                      <a:pt x="55" y="56"/>
                    </a:lnTo>
                    <a:lnTo>
                      <a:pt x="54" y="60"/>
                    </a:lnTo>
                    <a:lnTo>
                      <a:pt x="51" y="64"/>
                    </a:lnTo>
                    <a:lnTo>
                      <a:pt x="49" y="66"/>
                    </a:lnTo>
                    <a:lnTo>
                      <a:pt x="46" y="69"/>
                    </a:lnTo>
                    <a:lnTo>
                      <a:pt x="37" y="70"/>
                    </a:lnTo>
                    <a:lnTo>
                      <a:pt x="27" y="66"/>
                    </a:lnTo>
                    <a:lnTo>
                      <a:pt x="16" y="59"/>
                    </a:lnTo>
                    <a:lnTo>
                      <a:pt x="8" y="47"/>
                    </a:lnTo>
                    <a:lnTo>
                      <a:pt x="3" y="34"/>
                    </a:lnTo>
                    <a:lnTo>
                      <a:pt x="1" y="21"/>
                    </a:lnTo>
                    <a:lnTo>
                      <a:pt x="2" y="15"/>
                    </a:lnTo>
                    <a:lnTo>
                      <a:pt x="4" y="10"/>
                    </a:lnTo>
                    <a:lnTo>
                      <a:pt x="7" y="6"/>
                    </a:lnTo>
                    <a:lnTo>
                      <a:pt x="10" y="4"/>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55" name="Freeform 305">
                <a:extLst>
                  <a:ext uri="{FF2B5EF4-FFF2-40B4-BE49-F238E27FC236}">
                    <a16:creationId xmlns:a16="http://schemas.microsoft.com/office/drawing/2014/main" id="{84DD26F7-530D-45F1-9ADD-AEA272FB3ACF}"/>
                  </a:ext>
                </a:extLst>
              </p:cNvPr>
              <p:cNvSpPr>
                <a:spLocks noEditPoints="1"/>
              </p:cNvSpPr>
              <p:nvPr/>
            </p:nvSpPr>
            <p:spPr bwMode="gray">
              <a:xfrm>
                <a:off x="1903055" y="1759509"/>
                <a:ext cx="31060" cy="39113"/>
              </a:xfrm>
              <a:custGeom>
                <a:avLst/>
                <a:gdLst>
                  <a:gd name="T0" fmla="*/ 12 w 54"/>
                  <a:gd name="T1" fmla="*/ 1 h 68"/>
                  <a:gd name="T2" fmla="*/ 9 w 54"/>
                  <a:gd name="T3" fmla="*/ 2 h 68"/>
                  <a:gd name="T4" fmla="*/ 6 w 54"/>
                  <a:gd name="T5" fmla="*/ 4 h 68"/>
                  <a:gd name="T6" fmla="*/ 3 w 54"/>
                  <a:gd name="T7" fmla="*/ 8 h 68"/>
                  <a:gd name="T8" fmla="*/ 1 w 54"/>
                  <a:gd name="T9" fmla="*/ 13 h 68"/>
                  <a:gd name="T10" fmla="*/ 0 w 54"/>
                  <a:gd name="T11" fmla="*/ 19 h 68"/>
                  <a:gd name="T12" fmla="*/ 2 w 54"/>
                  <a:gd name="T13" fmla="*/ 32 h 68"/>
                  <a:gd name="T14" fmla="*/ 7 w 54"/>
                  <a:gd name="T15" fmla="*/ 45 h 68"/>
                  <a:gd name="T16" fmla="*/ 15 w 54"/>
                  <a:gd name="T17" fmla="*/ 57 h 68"/>
                  <a:gd name="T18" fmla="*/ 26 w 54"/>
                  <a:gd name="T19" fmla="*/ 64 h 68"/>
                  <a:gd name="T20" fmla="*/ 36 w 54"/>
                  <a:gd name="T21" fmla="*/ 68 h 68"/>
                  <a:gd name="T22" fmla="*/ 45 w 54"/>
                  <a:gd name="T23" fmla="*/ 67 h 68"/>
                  <a:gd name="T24" fmla="*/ 48 w 54"/>
                  <a:gd name="T25" fmla="*/ 64 h 68"/>
                  <a:gd name="T26" fmla="*/ 50 w 54"/>
                  <a:gd name="T27" fmla="*/ 62 h 68"/>
                  <a:gd name="T28" fmla="*/ 53 w 54"/>
                  <a:gd name="T29" fmla="*/ 58 h 68"/>
                  <a:gd name="T30" fmla="*/ 54 w 54"/>
                  <a:gd name="T31" fmla="*/ 54 h 68"/>
                  <a:gd name="T32" fmla="*/ 54 w 54"/>
                  <a:gd name="T33" fmla="*/ 49 h 68"/>
                  <a:gd name="T34" fmla="*/ 53 w 54"/>
                  <a:gd name="T35" fmla="*/ 36 h 68"/>
                  <a:gd name="T36" fmla="*/ 48 w 54"/>
                  <a:gd name="T37" fmla="*/ 22 h 68"/>
                  <a:gd name="T38" fmla="*/ 38 w 54"/>
                  <a:gd name="T39" fmla="*/ 12 h 68"/>
                  <a:gd name="T40" fmla="*/ 29 w 54"/>
                  <a:gd name="T41" fmla="*/ 3 h 68"/>
                  <a:gd name="T42" fmla="*/ 23 w 54"/>
                  <a:gd name="T43" fmla="*/ 1 h 68"/>
                  <a:gd name="T44" fmla="*/ 17 w 54"/>
                  <a:gd name="T45" fmla="*/ 0 h 68"/>
                  <a:gd name="T46" fmla="*/ 12 w 54"/>
                  <a:gd name="T47" fmla="*/ 1 h 68"/>
                  <a:gd name="T48" fmla="*/ 11 w 54"/>
                  <a:gd name="T49" fmla="*/ 4 h 68"/>
                  <a:gd name="T50" fmla="*/ 12 w 54"/>
                  <a:gd name="T51" fmla="*/ 4 h 68"/>
                  <a:gd name="T52" fmla="*/ 13 w 54"/>
                  <a:gd name="T53" fmla="*/ 4 h 68"/>
                  <a:gd name="T54" fmla="*/ 18 w 54"/>
                  <a:gd name="T55" fmla="*/ 3 h 68"/>
                  <a:gd name="T56" fmla="*/ 23 w 54"/>
                  <a:gd name="T57" fmla="*/ 4 h 68"/>
                  <a:gd name="T58" fmla="*/ 27 w 54"/>
                  <a:gd name="T59" fmla="*/ 7 h 68"/>
                  <a:gd name="T60" fmla="*/ 35 w 54"/>
                  <a:gd name="T61" fmla="*/ 10 h 68"/>
                  <a:gd name="T62" fmla="*/ 41 w 54"/>
                  <a:gd name="T63" fmla="*/ 16 h 68"/>
                  <a:gd name="T64" fmla="*/ 45 w 54"/>
                  <a:gd name="T65" fmla="*/ 25 h 68"/>
                  <a:gd name="T66" fmla="*/ 50 w 54"/>
                  <a:gd name="T67" fmla="*/ 36 h 68"/>
                  <a:gd name="T68" fmla="*/ 50 w 54"/>
                  <a:gd name="T69" fmla="*/ 48 h 68"/>
                  <a:gd name="T70" fmla="*/ 50 w 54"/>
                  <a:gd name="T71" fmla="*/ 54 h 68"/>
                  <a:gd name="T72" fmla="*/ 48 w 54"/>
                  <a:gd name="T73" fmla="*/ 58 h 68"/>
                  <a:gd name="T74" fmla="*/ 45 w 54"/>
                  <a:gd name="T75" fmla="*/ 62 h 68"/>
                  <a:gd name="T76" fmla="*/ 43 w 54"/>
                  <a:gd name="T77" fmla="*/ 63 h 68"/>
                  <a:gd name="T78" fmla="*/ 39 w 54"/>
                  <a:gd name="T79" fmla="*/ 66 h 68"/>
                  <a:gd name="T80" fmla="*/ 35 w 54"/>
                  <a:gd name="T81" fmla="*/ 66 h 68"/>
                  <a:gd name="T82" fmla="*/ 30 w 54"/>
                  <a:gd name="T83" fmla="*/ 64 h 68"/>
                  <a:gd name="T84" fmla="*/ 25 w 54"/>
                  <a:gd name="T85" fmla="*/ 62 h 68"/>
                  <a:gd name="T86" fmla="*/ 20 w 54"/>
                  <a:gd name="T87" fmla="*/ 58 h 68"/>
                  <a:gd name="T88" fmla="*/ 17 w 54"/>
                  <a:gd name="T89" fmla="*/ 55 h 68"/>
                  <a:gd name="T90" fmla="*/ 12 w 54"/>
                  <a:gd name="T91" fmla="*/ 50 h 68"/>
                  <a:gd name="T92" fmla="*/ 8 w 54"/>
                  <a:gd name="T93" fmla="*/ 44 h 68"/>
                  <a:gd name="T94" fmla="*/ 3 w 54"/>
                  <a:gd name="T95" fmla="*/ 32 h 68"/>
                  <a:gd name="T96" fmla="*/ 2 w 54"/>
                  <a:gd name="T97" fmla="*/ 21 h 68"/>
                  <a:gd name="T98" fmla="*/ 3 w 54"/>
                  <a:gd name="T99" fmla="*/ 15 h 68"/>
                  <a:gd name="T100" fmla="*/ 5 w 54"/>
                  <a:gd name="T101" fmla="*/ 10 h 68"/>
                  <a:gd name="T102" fmla="*/ 7 w 54"/>
                  <a:gd name="T103" fmla="*/ 8 h 68"/>
                  <a:gd name="T104" fmla="*/ 11 w 54"/>
                  <a:gd name="T105" fmla="*/ 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 h="68">
                    <a:moveTo>
                      <a:pt x="12" y="1"/>
                    </a:moveTo>
                    <a:lnTo>
                      <a:pt x="9" y="2"/>
                    </a:lnTo>
                    <a:lnTo>
                      <a:pt x="6" y="4"/>
                    </a:lnTo>
                    <a:lnTo>
                      <a:pt x="3" y="8"/>
                    </a:lnTo>
                    <a:lnTo>
                      <a:pt x="1" y="13"/>
                    </a:lnTo>
                    <a:lnTo>
                      <a:pt x="0" y="19"/>
                    </a:lnTo>
                    <a:lnTo>
                      <a:pt x="2" y="32"/>
                    </a:lnTo>
                    <a:lnTo>
                      <a:pt x="7" y="45"/>
                    </a:lnTo>
                    <a:lnTo>
                      <a:pt x="15" y="57"/>
                    </a:lnTo>
                    <a:lnTo>
                      <a:pt x="26" y="64"/>
                    </a:lnTo>
                    <a:lnTo>
                      <a:pt x="36" y="68"/>
                    </a:lnTo>
                    <a:lnTo>
                      <a:pt x="45" y="67"/>
                    </a:lnTo>
                    <a:lnTo>
                      <a:pt x="48" y="64"/>
                    </a:lnTo>
                    <a:lnTo>
                      <a:pt x="50" y="62"/>
                    </a:lnTo>
                    <a:lnTo>
                      <a:pt x="53" y="58"/>
                    </a:lnTo>
                    <a:lnTo>
                      <a:pt x="54" y="54"/>
                    </a:lnTo>
                    <a:lnTo>
                      <a:pt x="54" y="49"/>
                    </a:lnTo>
                    <a:lnTo>
                      <a:pt x="53" y="36"/>
                    </a:lnTo>
                    <a:lnTo>
                      <a:pt x="48" y="22"/>
                    </a:lnTo>
                    <a:lnTo>
                      <a:pt x="38" y="12"/>
                    </a:lnTo>
                    <a:lnTo>
                      <a:pt x="29" y="3"/>
                    </a:lnTo>
                    <a:lnTo>
                      <a:pt x="23" y="1"/>
                    </a:lnTo>
                    <a:lnTo>
                      <a:pt x="17" y="0"/>
                    </a:lnTo>
                    <a:lnTo>
                      <a:pt x="12" y="1"/>
                    </a:lnTo>
                    <a:close/>
                    <a:moveTo>
                      <a:pt x="11" y="4"/>
                    </a:moveTo>
                    <a:lnTo>
                      <a:pt x="12" y="4"/>
                    </a:lnTo>
                    <a:lnTo>
                      <a:pt x="13" y="4"/>
                    </a:lnTo>
                    <a:lnTo>
                      <a:pt x="18" y="3"/>
                    </a:lnTo>
                    <a:lnTo>
                      <a:pt x="23" y="4"/>
                    </a:lnTo>
                    <a:lnTo>
                      <a:pt x="27" y="7"/>
                    </a:lnTo>
                    <a:lnTo>
                      <a:pt x="35" y="10"/>
                    </a:lnTo>
                    <a:lnTo>
                      <a:pt x="41" y="16"/>
                    </a:lnTo>
                    <a:lnTo>
                      <a:pt x="45" y="25"/>
                    </a:lnTo>
                    <a:lnTo>
                      <a:pt x="50" y="36"/>
                    </a:lnTo>
                    <a:lnTo>
                      <a:pt x="50" y="48"/>
                    </a:lnTo>
                    <a:lnTo>
                      <a:pt x="50" y="54"/>
                    </a:lnTo>
                    <a:lnTo>
                      <a:pt x="48" y="58"/>
                    </a:lnTo>
                    <a:lnTo>
                      <a:pt x="45" y="62"/>
                    </a:lnTo>
                    <a:lnTo>
                      <a:pt x="43" y="63"/>
                    </a:lnTo>
                    <a:lnTo>
                      <a:pt x="39" y="66"/>
                    </a:lnTo>
                    <a:lnTo>
                      <a:pt x="35" y="66"/>
                    </a:lnTo>
                    <a:lnTo>
                      <a:pt x="30" y="64"/>
                    </a:lnTo>
                    <a:lnTo>
                      <a:pt x="25" y="62"/>
                    </a:lnTo>
                    <a:lnTo>
                      <a:pt x="20" y="58"/>
                    </a:lnTo>
                    <a:lnTo>
                      <a:pt x="17" y="55"/>
                    </a:lnTo>
                    <a:lnTo>
                      <a:pt x="12" y="50"/>
                    </a:lnTo>
                    <a:lnTo>
                      <a:pt x="8" y="44"/>
                    </a:lnTo>
                    <a:lnTo>
                      <a:pt x="3" y="32"/>
                    </a:lnTo>
                    <a:lnTo>
                      <a:pt x="2" y="21"/>
                    </a:lnTo>
                    <a:lnTo>
                      <a:pt x="3" y="15"/>
                    </a:lnTo>
                    <a:lnTo>
                      <a:pt x="5" y="10"/>
                    </a:lnTo>
                    <a:lnTo>
                      <a:pt x="7" y="8"/>
                    </a:lnTo>
                    <a:lnTo>
                      <a:pt x="11" y="4"/>
                    </a:lnTo>
                    <a:close/>
                  </a:path>
                </a:pathLst>
              </a:custGeom>
              <a:solidFill>
                <a:srgbClr val="8C8C8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56" name="Freeform 306">
                <a:extLst>
                  <a:ext uri="{FF2B5EF4-FFF2-40B4-BE49-F238E27FC236}">
                    <a16:creationId xmlns:a16="http://schemas.microsoft.com/office/drawing/2014/main" id="{8E2C768D-2ACB-4B85-A43F-9CBC929BDCCB}"/>
                  </a:ext>
                </a:extLst>
              </p:cNvPr>
              <p:cNvSpPr>
                <a:spLocks/>
              </p:cNvSpPr>
              <p:nvPr/>
            </p:nvSpPr>
            <p:spPr bwMode="gray">
              <a:xfrm>
                <a:off x="1904206" y="1761235"/>
                <a:ext cx="27609" cy="36237"/>
              </a:xfrm>
              <a:custGeom>
                <a:avLst/>
                <a:gdLst>
                  <a:gd name="T0" fmla="*/ 11 w 48"/>
                  <a:gd name="T1" fmla="*/ 1 h 63"/>
                  <a:gd name="T2" fmla="*/ 10 w 48"/>
                  <a:gd name="T3" fmla="*/ 1 h 63"/>
                  <a:gd name="T4" fmla="*/ 9 w 48"/>
                  <a:gd name="T5" fmla="*/ 1 h 63"/>
                  <a:gd name="T6" fmla="*/ 5 w 48"/>
                  <a:gd name="T7" fmla="*/ 5 h 63"/>
                  <a:gd name="T8" fmla="*/ 3 w 48"/>
                  <a:gd name="T9" fmla="*/ 7 h 63"/>
                  <a:gd name="T10" fmla="*/ 1 w 48"/>
                  <a:gd name="T11" fmla="*/ 12 h 63"/>
                  <a:gd name="T12" fmla="*/ 0 w 48"/>
                  <a:gd name="T13" fmla="*/ 18 h 63"/>
                  <a:gd name="T14" fmla="*/ 1 w 48"/>
                  <a:gd name="T15" fmla="*/ 29 h 63"/>
                  <a:gd name="T16" fmla="*/ 6 w 48"/>
                  <a:gd name="T17" fmla="*/ 41 h 63"/>
                  <a:gd name="T18" fmla="*/ 10 w 48"/>
                  <a:gd name="T19" fmla="*/ 47 h 63"/>
                  <a:gd name="T20" fmla="*/ 15 w 48"/>
                  <a:gd name="T21" fmla="*/ 52 h 63"/>
                  <a:gd name="T22" fmla="*/ 18 w 48"/>
                  <a:gd name="T23" fmla="*/ 55 h 63"/>
                  <a:gd name="T24" fmla="*/ 23 w 48"/>
                  <a:gd name="T25" fmla="*/ 59 h 63"/>
                  <a:gd name="T26" fmla="*/ 28 w 48"/>
                  <a:gd name="T27" fmla="*/ 61 h 63"/>
                  <a:gd name="T28" fmla="*/ 33 w 48"/>
                  <a:gd name="T29" fmla="*/ 63 h 63"/>
                  <a:gd name="T30" fmla="*/ 37 w 48"/>
                  <a:gd name="T31" fmla="*/ 63 h 63"/>
                  <a:gd name="T32" fmla="*/ 41 w 48"/>
                  <a:gd name="T33" fmla="*/ 60 h 63"/>
                  <a:gd name="T34" fmla="*/ 43 w 48"/>
                  <a:gd name="T35" fmla="*/ 59 h 63"/>
                  <a:gd name="T36" fmla="*/ 46 w 48"/>
                  <a:gd name="T37" fmla="*/ 55 h 63"/>
                  <a:gd name="T38" fmla="*/ 48 w 48"/>
                  <a:gd name="T39" fmla="*/ 51 h 63"/>
                  <a:gd name="T40" fmla="*/ 48 w 48"/>
                  <a:gd name="T41" fmla="*/ 45 h 63"/>
                  <a:gd name="T42" fmla="*/ 48 w 48"/>
                  <a:gd name="T43" fmla="*/ 33 h 63"/>
                  <a:gd name="T44" fmla="*/ 43 w 48"/>
                  <a:gd name="T45" fmla="*/ 22 h 63"/>
                  <a:gd name="T46" fmla="*/ 39 w 48"/>
                  <a:gd name="T47" fmla="*/ 13 h 63"/>
                  <a:gd name="T48" fmla="*/ 33 w 48"/>
                  <a:gd name="T49" fmla="*/ 7 h 63"/>
                  <a:gd name="T50" fmla="*/ 25 w 48"/>
                  <a:gd name="T51" fmla="*/ 4 h 63"/>
                  <a:gd name="T52" fmla="*/ 21 w 48"/>
                  <a:gd name="T53" fmla="*/ 1 h 63"/>
                  <a:gd name="T54" fmla="*/ 16 w 48"/>
                  <a:gd name="T55" fmla="*/ 0 h 63"/>
                  <a:gd name="T56" fmla="*/ 11 w 48"/>
                  <a:gd name="T57"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63">
                    <a:moveTo>
                      <a:pt x="11" y="1"/>
                    </a:moveTo>
                    <a:lnTo>
                      <a:pt x="10" y="1"/>
                    </a:lnTo>
                    <a:lnTo>
                      <a:pt x="9" y="1"/>
                    </a:lnTo>
                    <a:lnTo>
                      <a:pt x="5" y="5"/>
                    </a:lnTo>
                    <a:lnTo>
                      <a:pt x="3" y="7"/>
                    </a:lnTo>
                    <a:lnTo>
                      <a:pt x="1" y="12"/>
                    </a:lnTo>
                    <a:lnTo>
                      <a:pt x="0" y="18"/>
                    </a:lnTo>
                    <a:lnTo>
                      <a:pt x="1" y="29"/>
                    </a:lnTo>
                    <a:lnTo>
                      <a:pt x="6" y="41"/>
                    </a:lnTo>
                    <a:lnTo>
                      <a:pt x="10" y="47"/>
                    </a:lnTo>
                    <a:lnTo>
                      <a:pt x="15" y="52"/>
                    </a:lnTo>
                    <a:lnTo>
                      <a:pt x="18" y="55"/>
                    </a:lnTo>
                    <a:lnTo>
                      <a:pt x="23" y="59"/>
                    </a:lnTo>
                    <a:lnTo>
                      <a:pt x="28" y="61"/>
                    </a:lnTo>
                    <a:lnTo>
                      <a:pt x="33" y="63"/>
                    </a:lnTo>
                    <a:lnTo>
                      <a:pt x="37" y="63"/>
                    </a:lnTo>
                    <a:lnTo>
                      <a:pt x="41" y="60"/>
                    </a:lnTo>
                    <a:lnTo>
                      <a:pt x="43" y="59"/>
                    </a:lnTo>
                    <a:lnTo>
                      <a:pt x="46" y="55"/>
                    </a:lnTo>
                    <a:lnTo>
                      <a:pt x="48" y="51"/>
                    </a:lnTo>
                    <a:lnTo>
                      <a:pt x="48" y="45"/>
                    </a:lnTo>
                    <a:lnTo>
                      <a:pt x="48" y="33"/>
                    </a:lnTo>
                    <a:lnTo>
                      <a:pt x="43" y="22"/>
                    </a:lnTo>
                    <a:lnTo>
                      <a:pt x="39" y="13"/>
                    </a:lnTo>
                    <a:lnTo>
                      <a:pt x="33" y="7"/>
                    </a:lnTo>
                    <a:lnTo>
                      <a:pt x="25" y="4"/>
                    </a:lnTo>
                    <a:lnTo>
                      <a:pt x="21" y="1"/>
                    </a:lnTo>
                    <a:lnTo>
                      <a:pt x="16" y="0"/>
                    </a:lnTo>
                    <a:lnTo>
                      <a:pt x="11" y="1"/>
                    </a:lnTo>
                    <a:close/>
                  </a:path>
                </a:pathLst>
              </a:custGeom>
              <a:solidFill>
                <a:srgbClr val="B7B7B7"/>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57" name="Freeform 307">
                <a:extLst>
                  <a:ext uri="{FF2B5EF4-FFF2-40B4-BE49-F238E27FC236}">
                    <a16:creationId xmlns:a16="http://schemas.microsoft.com/office/drawing/2014/main" id="{3D26E0B8-C086-43A2-8514-96424B85DBBF}"/>
                  </a:ext>
                </a:extLst>
              </p:cNvPr>
              <p:cNvSpPr>
                <a:spLocks/>
              </p:cNvSpPr>
              <p:nvPr/>
            </p:nvSpPr>
            <p:spPr bwMode="gray">
              <a:xfrm>
                <a:off x="1909382" y="1756633"/>
                <a:ext cx="28760" cy="41414"/>
              </a:xfrm>
              <a:custGeom>
                <a:avLst/>
                <a:gdLst>
                  <a:gd name="T0" fmla="*/ 2 w 50"/>
                  <a:gd name="T1" fmla="*/ 2 h 72"/>
                  <a:gd name="T2" fmla="*/ 0 w 50"/>
                  <a:gd name="T3" fmla="*/ 3 h 72"/>
                  <a:gd name="T4" fmla="*/ 3 w 50"/>
                  <a:gd name="T5" fmla="*/ 3 h 72"/>
                  <a:gd name="T6" fmla="*/ 8 w 50"/>
                  <a:gd name="T7" fmla="*/ 3 h 72"/>
                  <a:gd name="T8" fmla="*/ 13 w 50"/>
                  <a:gd name="T9" fmla="*/ 5 h 72"/>
                  <a:gd name="T10" fmla="*/ 18 w 50"/>
                  <a:gd name="T11" fmla="*/ 7 h 72"/>
                  <a:gd name="T12" fmla="*/ 28 w 50"/>
                  <a:gd name="T13" fmla="*/ 15 h 72"/>
                  <a:gd name="T14" fmla="*/ 37 w 50"/>
                  <a:gd name="T15" fmla="*/ 27 h 72"/>
                  <a:gd name="T16" fmla="*/ 43 w 50"/>
                  <a:gd name="T17" fmla="*/ 42 h 72"/>
                  <a:gd name="T18" fmla="*/ 44 w 50"/>
                  <a:gd name="T19" fmla="*/ 55 h 72"/>
                  <a:gd name="T20" fmla="*/ 44 w 50"/>
                  <a:gd name="T21" fmla="*/ 60 h 72"/>
                  <a:gd name="T22" fmla="*/ 43 w 50"/>
                  <a:gd name="T23" fmla="*/ 65 h 72"/>
                  <a:gd name="T24" fmla="*/ 40 w 50"/>
                  <a:gd name="T25" fmla="*/ 68 h 72"/>
                  <a:gd name="T26" fmla="*/ 38 w 50"/>
                  <a:gd name="T27" fmla="*/ 72 h 72"/>
                  <a:gd name="T28" fmla="*/ 39 w 50"/>
                  <a:gd name="T29" fmla="*/ 71 h 72"/>
                  <a:gd name="T30" fmla="*/ 44 w 50"/>
                  <a:gd name="T31" fmla="*/ 67 h 72"/>
                  <a:gd name="T32" fmla="*/ 48 w 50"/>
                  <a:gd name="T33" fmla="*/ 63 h 72"/>
                  <a:gd name="T34" fmla="*/ 49 w 50"/>
                  <a:gd name="T35" fmla="*/ 59 h 72"/>
                  <a:gd name="T36" fmla="*/ 50 w 50"/>
                  <a:gd name="T37" fmla="*/ 51 h 72"/>
                  <a:gd name="T38" fmla="*/ 48 w 50"/>
                  <a:gd name="T39" fmla="*/ 38 h 72"/>
                  <a:gd name="T40" fmla="*/ 43 w 50"/>
                  <a:gd name="T41" fmla="*/ 24 h 72"/>
                  <a:gd name="T42" fmla="*/ 33 w 50"/>
                  <a:gd name="T43" fmla="*/ 12 h 72"/>
                  <a:gd name="T44" fmla="*/ 22 w 50"/>
                  <a:gd name="T45" fmla="*/ 3 h 72"/>
                  <a:gd name="T46" fmla="*/ 12 w 50"/>
                  <a:gd name="T47" fmla="*/ 0 h 72"/>
                  <a:gd name="T48" fmla="*/ 2 w 50"/>
                  <a:gd name="T49"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2">
                    <a:moveTo>
                      <a:pt x="2" y="2"/>
                    </a:moveTo>
                    <a:lnTo>
                      <a:pt x="0" y="3"/>
                    </a:lnTo>
                    <a:lnTo>
                      <a:pt x="3" y="3"/>
                    </a:lnTo>
                    <a:lnTo>
                      <a:pt x="8" y="3"/>
                    </a:lnTo>
                    <a:lnTo>
                      <a:pt x="13" y="5"/>
                    </a:lnTo>
                    <a:lnTo>
                      <a:pt x="18" y="7"/>
                    </a:lnTo>
                    <a:lnTo>
                      <a:pt x="28" y="15"/>
                    </a:lnTo>
                    <a:lnTo>
                      <a:pt x="37" y="27"/>
                    </a:lnTo>
                    <a:lnTo>
                      <a:pt x="43" y="42"/>
                    </a:lnTo>
                    <a:lnTo>
                      <a:pt x="44" y="55"/>
                    </a:lnTo>
                    <a:lnTo>
                      <a:pt x="44" y="60"/>
                    </a:lnTo>
                    <a:lnTo>
                      <a:pt x="43" y="65"/>
                    </a:lnTo>
                    <a:lnTo>
                      <a:pt x="40" y="68"/>
                    </a:lnTo>
                    <a:lnTo>
                      <a:pt x="38" y="72"/>
                    </a:lnTo>
                    <a:lnTo>
                      <a:pt x="39" y="71"/>
                    </a:lnTo>
                    <a:lnTo>
                      <a:pt x="44" y="67"/>
                    </a:lnTo>
                    <a:lnTo>
                      <a:pt x="48" y="63"/>
                    </a:lnTo>
                    <a:lnTo>
                      <a:pt x="49" y="59"/>
                    </a:lnTo>
                    <a:lnTo>
                      <a:pt x="50" y="51"/>
                    </a:lnTo>
                    <a:lnTo>
                      <a:pt x="48" y="38"/>
                    </a:lnTo>
                    <a:lnTo>
                      <a:pt x="43" y="24"/>
                    </a:lnTo>
                    <a:lnTo>
                      <a:pt x="33" y="12"/>
                    </a:lnTo>
                    <a:lnTo>
                      <a:pt x="22" y="3"/>
                    </a:lnTo>
                    <a:lnTo>
                      <a:pt x="12" y="0"/>
                    </a:lnTo>
                    <a:lnTo>
                      <a:pt x="2" y="2"/>
                    </a:lnTo>
                    <a:close/>
                  </a:path>
                </a:pathLst>
              </a:custGeom>
              <a:solidFill>
                <a:srgbClr val="8C8C8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58" name="Freeform 308">
                <a:extLst>
                  <a:ext uri="{FF2B5EF4-FFF2-40B4-BE49-F238E27FC236}">
                    <a16:creationId xmlns:a16="http://schemas.microsoft.com/office/drawing/2014/main" id="{79D6451E-40EC-4FC5-8D4E-040354819CD9}"/>
                  </a:ext>
                </a:extLst>
              </p:cNvPr>
              <p:cNvSpPr>
                <a:spLocks/>
              </p:cNvSpPr>
              <p:nvPr/>
            </p:nvSpPr>
            <p:spPr bwMode="gray">
              <a:xfrm>
                <a:off x="1905931" y="1763536"/>
                <a:ext cx="17831" cy="25308"/>
              </a:xfrm>
              <a:custGeom>
                <a:avLst/>
                <a:gdLst>
                  <a:gd name="T0" fmla="*/ 9 w 31"/>
                  <a:gd name="T1" fmla="*/ 0 h 44"/>
                  <a:gd name="T2" fmla="*/ 8 w 31"/>
                  <a:gd name="T3" fmla="*/ 0 h 44"/>
                  <a:gd name="T4" fmla="*/ 7 w 31"/>
                  <a:gd name="T5" fmla="*/ 1 h 44"/>
                  <a:gd name="T6" fmla="*/ 4 w 31"/>
                  <a:gd name="T7" fmla="*/ 3 h 44"/>
                  <a:gd name="T8" fmla="*/ 2 w 31"/>
                  <a:gd name="T9" fmla="*/ 6 h 44"/>
                  <a:gd name="T10" fmla="*/ 1 w 31"/>
                  <a:gd name="T11" fmla="*/ 9 h 44"/>
                  <a:gd name="T12" fmla="*/ 0 w 31"/>
                  <a:gd name="T13" fmla="*/ 14 h 44"/>
                  <a:gd name="T14" fmla="*/ 1 w 31"/>
                  <a:gd name="T15" fmla="*/ 24 h 44"/>
                  <a:gd name="T16" fmla="*/ 6 w 31"/>
                  <a:gd name="T17" fmla="*/ 35 h 44"/>
                  <a:gd name="T18" fmla="*/ 9 w 31"/>
                  <a:gd name="T19" fmla="*/ 39 h 44"/>
                  <a:gd name="T20" fmla="*/ 13 w 31"/>
                  <a:gd name="T21" fmla="*/ 44 h 44"/>
                  <a:gd name="T22" fmla="*/ 12 w 31"/>
                  <a:gd name="T23" fmla="*/ 41 h 44"/>
                  <a:gd name="T24" fmla="*/ 12 w 31"/>
                  <a:gd name="T25" fmla="*/ 37 h 44"/>
                  <a:gd name="T26" fmla="*/ 14 w 31"/>
                  <a:gd name="T27" fmla="*/ 33 h 44"/>
                  <a:gd name="T28" fmla="*/ 16 w 31"/>
                  <a:gd name="T29" fmla="*/ 30 h 44"/>
                  <a:gd name="T30" fmla="*/ 25 w 31"/>
                  <a:gd name="T31" fmla="*/ 19 h 44"/>
                  <a:gd name="T32" fmla="*/ 31 w 31"/>
                  <a:gd name="T33" fmla="*/ 9 h 44"/>
                  <a:gd name="T34" fmla="*/ 26 w 31"/>
                  <a:gd name="T35" fmla="*/ 6 h 44"/>
                  <a:gd name="T36" fmla="*/ 21 w 31"/>
                  <a:gd name="T37" fmla="*/ 2 h 44"/>
                  <a:gd name="T38" fmla="*/ 18 w 31"/>
                  <a:gd name="T39" fmla="*/ 0 h 44"/>
                  <a:gd name="T40" fmla="*/ 13 w 31"/>
                  <a:gd name="T41" fmla="*/ 0 h 44"/>
                  <a:gd name="T42" fmla="*/ 9 w 31"/>
                  <a:gd name="T4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44">
                    <a:moveTo>
                      <a:pt x="9" y="0"/>
                    </a:moveTo>
                    <a:lnTo>
                      <a:pt x="8" y="0"/>
                    </a:lnTo>
                    <a:lnTo>
                      <a:pt x="7" y="1"/>
                    </a:lnTo>
                    <a:lnTo>
                      <a:pt x="4" y="3"/>
                    </a:lnTo>
                    <a:lnTo>
                      <a:pt x="2" y="6"/>
                    </a:lnTo>
                    <a:lnTo>
                      <a:pt x="1" y="9"/>
                    </a:lnTo>
                    <a:lnTo>
                      <a:pt x="0" y="14"/>
                    </a:lnTo>
                    <a:lnTo>
                      <a:pt x="1" y="24"/>
                    </a:lnTo>
                    <a:lnTo>
                      <a:pt x="6" y="35"/>
                    </a:lnTo>
                    <a:lnTo>
                      <a:pt x="9" y="39"/>
                    </a:lnTo>
                    <a:lnTo>
                      <a:pt x="13" y="44"/>
                    </a:lnTo>
                    <a:lnTo>
                      <a:pt x="12" y="41"/>
                    </a:lnTo>
                    <a:lnTo>
                      <a:pt x="12" y="37"/>
                    </a:lnTo>
                    <a:lnTo>
                      <a:pt x="14" y="33"/>
                    </a:lnTo>
                    <a:lnTo>
                      <a:pt x="16" y="30"/>
                    </a:lnTo>
                    <a:lnTo>
                      <a:pt x="25" y="19"/>
                    </a:lnTo>
                    <a:lnTo>
                      <a:pt x="31" y="9"/>
                    </a:lnTo>
                    <a:lnTo>
                      <a:pt x="26" y="6"/>
                    </a:lnTo>
                    <a:lnTo>
                      <a:pt x="21" y="2"/>
                    </a:lnTo>
                    <a:lnTo>
                      <a:pt x="18" y="0"/>
                    </a:lnTo>
                    <a:lnTo>
                      <a:pt x="13" y="0"/>
                    </a:lnTo>
                    <a:lnTo>
                      <a:pt x="9" y="0"/>
                    </a:lnTo>
                    <a:close/>
                  </a:path>
                </a:pathLst>
              </a:custGeom>
              <a:solidFill>
                <a:srgbClr val="C8C8C8"/>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59" name="Freeform 309">
                <a:extLst>
                  <a:ext uri="{FF2B5EF4-FFF2-40B4-BE49-F238E27FC236}">
                    <a16:creationId xmlns:a16="http://schemas.microsoft.com/office/drawing/2014/main" id="{9C120EE2-01DE-4B7C-B030-3DA0A94A8A1A}"/>
                  </a:ext>
                </a:extLst>
              </p:cNvPr>
              <p:cNvSpPr>
                <a:spLocks noEditPoints="1"/>
              </p:cNvSpPr>
              <p:nvPr/>
            </p:nvSpPr>
            <p:spPr bwMode="gray">
              <a:xfrm>
                <a:off x="1859341" y="1692787"/>
                <a:ext cx="130569" cy="166806"/>
              </a:xfrm>
              <a:custGeom>
                <a:avLst/>
                <a:gdLst>
                  <a:gd name="T0" fmla="*/ 43 w 227"/>
                  <a:gd name="T1" fmla="*/ 6 h 290"/>
                  <a:gd name="T2" fmla="*/ 22 w 227"/>
                  <a:gd name="T3" fmla="*/ 21 h 290"/>
                  <a:gd name="T4" fmla="*/ 4 w 227"/>
                  <a:gd name="T5" fmla="*/ 57 h 290"/>
                  <a:gd name="T6" fmla="*/ 3 w 227"/>
                  <a:gd name="T7" fmla="*/ 118 h 290"/>
                  <a:gd name="T8" fmla="*/ 29 w 227"/>
                  <a:gd name="T9" fmla="*/ 192 h 290"/>
                  <a:gd name="T10" fmla="*/ 65 w 227"/>
                  <a:gd name="T11" fmla="*/ 242 h 290"/>
                  <a:gd name="T12" fmla="*/ 108 w 227"/>
                  <a:gd name="T13" fmla="*/ 275 h 290"/>
                  <a:gd name="T14" fmla="*/ 151 w 227"/>
                  <a:gd name="T15" fmla="*/ 290 h 290"/>
                  <a:gd name="T16" fmla="*/ 190 w 227"/>
                  <a:gd name="T17" fmla="*/ 282 h 290"/>
                  <a:gd name="T18" fmla="*/ 201 w 227"/>
                  <a:gd name="T19" fmla="*/ 275 h 290"/>
                  <a:gd name="T20" fmla="*/ 217 w 227"/>
                  <a:gd name="T21" fmla="*/ 252 h 290"/>
                  <a:gd name="T22" fmla="*/ 226 w 227"/>
                  <a:gd name="T23" fmla="*/ 224 h 290"/>
                  <a:gd name="T24" fmla="*/ 225 w 227"/>
                  <a:gd name="T25" fmla="*/ 173 h 290"/>
                  <a:gd name="T26" fmla="*/ 198 w 227"/>
                  <a:gd name="T27" fmla="*/ 99 h 290"/>
                  <a:gd name="T28" fmla="*/ 162 w 227"/>
                  <a:gd name="T29" fmla="*/ 50 h 290"/>
                  <a:gd name="T30" fmla="*/ 119 w 227"/>
                  <a:gd name="T31" fmla="*/ 16 h 290"/>
                  <a:gd name="T32" fmla="*/ 70 w 227"/>
                  <a:gd name="T33" fmla="*/ 0 h 290"/>
                  <a:gd name="T34" fmla="*/ 6 w 227"/>
                  <a:gd name="T35" fmla="*/ 86 h 290"/>
                  <a:gd name="T36" fmla="*/ 16 w 227"/>
                  <a:gd name="T37" fmla="*/ 42 h 290"/>
                  <a:gd name="T38" fmla="*/ 41 w 227"/>
                  <a:gd name="T39" fmla="*/ 16 h 290"/>
                  <a:gd name="T40" fmla="*/ 52 w 227"/>
                  <a:gd name="T41" fmla="*/ 11 h 290"/>
                  <a:gd name="T42" fmla="*/ 95 w 227"/>
                  <a:gd name="T43" fmla="*/ 11 h 290"/>
                  <a:gd name="T44" fmla="*/ 141 w 227"/>
                  <a:gd name="T45" fmla="*/ 36 h 290"/>
                  <a:gd name="T46" fmla="*/ 178 w 227"/>
                  <a:gd name="T47" fmla="*/ 76 h 290"/>
                  <a:gd name="T48" fmla="*/ 210 w 227"/>
                  <a:gd name="T49" fmla="*/ 136 h 290"/>
                  <a:gd name="T50" fmla="*/ 221 w 227"/>
                  <a:gd name="T51" fmla="*/ 206 h 290"/>
                  <a:gd name="T52" fmla="*/ 214 w 227"/>
                  <a:gd name="T53" fmla="*/ 243 h 290"/>
                  <a:gd name="T54" fmla="*/ 196 w 227"/>
                  <a:gd name="T55" fmla="*/ 268 h 290"/>
                  <a:gd name="T56" fmla="*/ 186 w 227"/>
                  <a:gd name="T57" fmla="*/ 275 h 290"/>
                  <a:gd name="T58" fmla="*/ 150 w 227"/>
                  <a:gd name="T59" fmla="*/ 282 h 290"/>
                  <a:gd name="T60" fmla="*/ 108 w 227"/>
                  <a:gd name="T61" fmla="*/ 268 h 290"/>
                  <a:gd name="T62" fmla="*/ 67 w 227"/>
                  <a:gd name="T63" fmla="*/ 237 h 290"/>
                  <a:gd name="T64" fmla="*/ 34 w 227"/>
                  <a:gd name="T65" fmla="*/ 190 h 290"/>
                  <a:gd name="T66" fmla="*/ 9 w 227"/>
                  <a:gd name="T67" fmla="*/ 119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7" h="290">
                    <a:moveTo>
                      <a:pt x="48" y="4"/>
                    </a:moveTo>
                    <a:lnTo>
                      <a:pt x="43" y="6"/>
                    </a:lnTo>
                    <a:lnTo>
                      <a:pt x="37" y="9"/>
                    </a:lnTo>
                    <a:lnTo>
                      <a:pt x="22" y="21"/>
                    </a:lnTo>
                    <a:lnTo>
                      <a:pt x="11" y="36"/>
                    </a:lnTo>
                    <a:lnTo>
                      <a:pt x="4" y="57"/>
                    </a:lnTo>
                    <a:lnTo>
                      <a:pt x="0" y="82"/>
                    </a:lnTo>
                    <a:lnTo>
                      <a:pt x="3" y="118"/>
                    </a:lnTo>
                    <a:lnTo>
                      <a:pt x="12" y="154"/>
                    </a:lnTo>
                    <a:lnTo>
                      <a:pt x="29" y="192"/>
                    </a:lnTo>
                    <a:lnTo>
                      <a:pt x="46" y="219"/>
                    </a:lnTo>
                    <a:lnTo>
                      <a:pt x="65" y="242"/>
                    </a:lnTo>
                    <a:lnTo>
                      <a:pt x="85" y="260"/>
                    </a:lnTo>
                    <a:lnTo>
                      <a:pt x="108" y="275"/>
                    </a:lnTo>
                    <a:lnTo>
                      <a:pt x="131" y="285"/>
                    </a:lnTo>
                    <a:lnTo>
                      <a:pt x="151" y="290"/>
                    </a:lnTo>
                    <a:lnTo>
                      <a:pt x="172" y="288"/>
                    </a:lnTo>
                    <a:lnTo>
                      <a:pt x="190" y="282"/>
                    </a:lnTo>
                    <a:lnTo>
                      <a:pt x="195" y="279"/>
                    </a:lnTo>
                    <a:lnTo>
                      <a:pt x="201" y="275"/>
                    </a:lnTo>
                    <a:lnTo>
                      <a:pt x="210" y="264"/>
                    </a:lnTo>
                    <a:lnTo>
                      <a:pt x="217" y="252"/>
                    </a:lnTo>
                    <a:lnTo>
                      <a:pt x="222" y="237"/>
                    </a:lnTo>
                    <a:lnTo>
                      <a:pt x="226" y="224"/>
                    </a:lnTo>
                    <a:lnTo>
                      <a:pt x="227" y="209"/>
                    </a:lnTo>
                    <a:lnTo>
                      <a:pt x="225" y="173"/>
                    </a:lnTo>
                    <a:lnTo>
                      <a:pt x="215" y="136"/>
                    </a:lnTo>
                    <a:lnTo>
                      <a:pt x="198" y="99"/>
                    </a:lnTo>
                    <a:lnTo>
                      <a:pt x="181" y="72"/>
                    </a:lnTo>
                    <a:lnTo>
                      <a:pt x="162" y="50"/>
                    </a:lnTo>
                    <a:lnTo>
                      <a:pt x="142" y="30"/>
                    </a:lnTo>
                    <a:lnTo>
                      <a:pt x="119" y="16"/>
                    </a:lnTo>
                    <a:lnTo>
                      <a:pt x="94" y="4"/>
                    </a:lnTo>
                    <a:lnTo>
                      <a:pt x="70" y="0"/>
                    </a:lnTo>
                    <a:lnTo>
                      <a:pt x="48" y="4"/>
                    </a:lnTo>
                    <a:close/>
                    <a:moveTo>
                      <a:pt x="6" y="86"/>
                    </a:moveTo>
                    <a:lnTo>
                      <a:pt x="10" y="62"/>
                    </a:lnTo>
                    <a:lnTo>
                      <a:pt x="16" y="42"/>
                    </a:lnTo>
                    <a:lnTo>
                      <a:pt x="27" y="27"/>
                    </a:lnTo>
                    <a:lnTo>
                      <a:pt x="41" y="16"/>
                    </a:lnTo>
                    <a:lnTo>
                      <a:pt x="46" y="14"/>
                    </a:lnTo>
                    <a:lnTo>
                      <a:pt x="52" y="11"/>
                    </a:lnTo>
                    <a:lnTo>
                      <a:pt x="72" y="8"/>
                    </a:lnTo>
                    <a:lnTo>
                      <a:pt x="95" y="11"/>
                    </a:lnTo>
                    <a:lnTo>
                      <a:pt x="119" y="22"/>
                    </a:lnTo>
                    <a:lnTo>
                      <a:pt x="141" y="36"/>
                    </a:lnTo>
                    <a:lnTo>
                      <a:pt x="160" y="54"/>
                    </a:lnTo>
                    <a:lnTo>
                      <a:pt x="178" y="76"/>
                    </a:lnTo>
                    <a:lnTo>
                      <a:pt x="193" y="101"/>
                    </a:lnTo>
                    <a:lnTo>
                      <a:pt x="210" y="136"/>
                    </a:lnTo>
                    <a:lnTo>
                      <a:pt x="219" y="171"/>
                    </a:lnTo>
                    <a:lnTo>
                      <a:pt x="221" y="206"/>
                    </a:lnTo>
                    <a:lnTo>
                      <a:pt x="219" y="226"/>
                    </a:lnTo>
                    <a:lnTo>
                      <a:pt x="214" y="243"/>
                    </a:lnTo>
                    <a:lnTo>
                      <a:pt x="207" y="257"/>
                    </a:lnTo>
                    <a:lnTo>
                      <a:pt x="196" y="268"/>
                    </a:lnTo>
                    <a:lnTo>
                      <a:pt x="191" y="272"/>
                    </a:lnTo>
                    <a:lnTo>
                      <a:pt x="186" y="275"/>
                    </a:lnTo>
                    <a:lnTo>
                      <a:pt x="168" y="281"/>
                    </a:lnTo>
                    <a:lnTo>
                      <a:pt x="150" y="282"/>
                    </a:lnTo>
                    <a:lnTo>
                      <a:pt x="130" y="279"/>
                    </a:lnTo>
                    <a:lnTo>
                      <a:pt x="108" y="268"/>
                    </a:lnTo>
                    <a:lnTo>
                      <a:pt x="87" y="255"/>
                    </a:lnTo>
                    <a:lnTo>
                      <a:pt x="67" y="237"/>
                    </a:lnTo>
                    <a:lnTo>
                      <a:pt x="49" y="215"/>
                    </a:lnTo>
                    <a:lnTo>
                      <a:pt x="34" y="190"/>
                    </a:lnTo>
                    <a:lnTo>
                      <a:pt x="17" y="154"/>
                    </a:lnTo>
                    <a:lnTo>
                      <a:pt x="9" y="119"/>
                    </a:lnTo>
                    <a:lnTo>
                      <a:pt x="6" y="86"/>
                    </a:lnTo>
                    <a:close/>
                  </a:path>
                </a:pathLst>
              </a:custGeom>
              <a:solidFill>
                <a:srgbClr val="FFF9F7"/>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60" name="Freeform 310">
                <a:extLst>
                  <a:ext uri="{FF2B5EF4-FFF2-40B4-BE49-F238E27FC236}">
                    <a16:creationId xmlns:a16="http://schemas.microsoft.com/office/drawing/2014/main" id="{641778EA-B2B8-4D31-BE4B-D41277DFC52A}"/>
                  </a:ext>
                </a:extLst>
              </p:cNvPr>
              <p:cNvSpPr>
                <a:spLocks noEditPoints="1"/>
              </p:cNvSpPr>
              <p:nvPr/>
            </p:nvSpPr>
            <p:spPr bwMode="gray">
              <a:xfrm>
                <a:off x="1862792" y="1697389"/>
                <a:ext cx="123666" cy="157602"/>
              </a:xfrm>
              <a:custGeom>
                <a:avLst/>
                <a:gdLst>
                  <a:gd name="T0" fmla="*/ 21 w 215"/>
                  <a:gd name="T1" fmla="*/ 19 h 274"/>
                  <a:gd name="T2" fmla="*/ 4 w 215"/>
                  <a:gd name="T3" fmla="*/ 54 h 274"/>
                  <a:gd name="T4" fmla="*/ 3 w 215"/>
                  <a:gd name="T5" fmla="*/ 111 h 274"/>
                  <a:gd name="T6" fmla="*/ 28 w 215"/>
                  <a:gd name="T7" fmla="*/ 182 h 274"/>
                  <a:gd name="T8" fmla="*/ 61 w 215"/>
                  <a:gd name="T9" fmla="*/ 229 h 274"/>
                  <a:gd name="T10" fmla="*/ 102 w 215"/>
                  <a:gd name="T11" fmla="*/ 260 h 274"/>
                  <a:gd name="T12" fmla="*/ 144 w 215"/>
                  <a:gd name="T13" fmla="*/ 274 h 274"/>
                  <a:gd name="T14" fmla="*/ 180 w 215"/>
                  <a:gd name="T15" fmla="*/ 267 h 274"/>
                  <a:gd name="T16" fmla="*/ 190 w 215"/>
                  <a:gd name="T17" fmla="*/ 260 h 274"/>
                  <a:gd name="T18" fmla="*/ 208 w 215"/>
                  <a:gd name="T19" fmla="*/ 235 h 274"/>
                  <a:gd name="T20" fmla="*/ 215 w 215"/>
                  <a:gd name="T21" fmla="*/ 198 h 274"/>
                  <a:gd name="T22" fmla="*/ 204 w 215"/>
                  <a:gd name="T23" fmla="*/ 128 h 274"/>
                  <a:gd name="T24" fmla="*/ 172 w 215"/>
                  <a:gd name="T25" fmla="*/ 68 h 274"/>
                  <a:gd name="T26" fmla="*/ 135 w 215"/>
                  <a:gd name="T27" fmla="*/ 28 h 274"/>
                  <a:gd name="T28" fmla="*/ 89 w 215"/>
                  <a:gd name="T29" fmla="*/ 3 h 274"/>
                  <a:gd name="T30" fmla="*/ 46 w 215"/>
                  <a:gd name="T31" fmla="*/ 3 h 274"/>
                  <a:gd name="T32" fmla="*/ 35 w 215"/>
                  <a:gd name="T33" fmla="*/ 8 h 274"/>
                  <a:gd name="T34" fmla="*/ 48 w 215"/>
                  <a:gd name="T35" fmla="*/ 10 h 274"/>
                  <a:gd name="T36" fmla="*/ 90 w 215"/>
                  <a:gd name="T37" fmla="*/ 10 h 274"/>
                  <a:gd name="T38" fmla="*/ 139 w 215"/>
                  <a:gd name="T39" fmla="*/ 39 h 274"/>
                  <a:gd name="T40" fmla="*/ 184 w 215"/>
                  <a:gd name="T41" fmla="*/ 96 h 274"/>
                  <a:gd name="T42" fmla="*/ 208 w 215"/>
                  <a:gd name="T43" fmla="*/ 162 h 274"/>
                  <a:gd name="T44" fmla="*/ 208 w 215"/>
                  <a:gd name="T45" fmla="*/ 213 h 274"/>
                  <a:gd name="T46" fmla="*/ 196 w 215"/>
                  <a:gd name="T47" fmla="*/ 243 h 274"/>
                  <a:gd name="T48" fmla="*/ 181 w 215"/>
                  <a:gd name="T49" fmla="*/ 258 h 274"/>
                  <a:gd name="T50" fmla="*/ 160 w 215"/>
                  <a:gd name="T51" fmla="*/ 267 h 274"/>
                  <a:gd name="T52" fmla="*/ 123 w 215"/>
                  <a:gd name="T53" fmla="*/ 264 h 274"/>
                  <a:gd name="T54" fmla="*/ 76 w 215"/>
                  <a:gd name="T55" fmla="*/ 236 h 274"/>
                  <a:gd name="T56" fmla="*/ 31 w 215"/>
                  <a:gd name="T57" fmla="*/ 180 h 274"/>
                  <a:gd name="T58" fmla="*/ 7 w 215"/>
                  <a:gd name="T59" fmla="*/ 112 h 274"/>
                  <a:gd name="T60" fmla="*/ 9 w 215"/>
                  <a:gd name="T61" fmla="*/ 57 h 274"/>
                  <a:gd name="T62" fmla="*/ 25 w 215"/>
                  <a:gd name="T63" fmla="*/ 25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5" h="274">
                    <a:moveTo>
                      <a:pt x="35" y="8"/>
                    </a:moveTo>
                    <a:lnTo>
                      <a:pt x="21" y="19"/>
                    </a:lnTo>
                    <a:lnTo>
                      <a:pt x="10" y="34"/>
                    </a:lnTo>
                    <a:lnTo>
                      <a:pt x="4" y="54"/>
                    </a:lnTo>
                    <a:lnTo>
                      <a:pt x="0" y="78"/>
                    </a:lnTo>
                    <a:lnTo>
                      <a:pt x="3" y="111"/>
                    </a:lnTo>
                    <a:lnTo>
                      <a:pt x="11" y="146"/>
                    </a:lnTo>
                    <a:lnTo>
                      <a:pt x="28" y="182"/>
                    </a:lnTo>
                    <a:lnTo>
                      <a:pt x="43" y="207"/>
                    </a:lnTo>
                    <a:lnTo>
                      <a:pt x="61" y="229"/>
                    </a:lnTo>
                    <a:lnTo>
                      <a:pt x="81" y="247"/>
                    </a:lnTo>
                    <a:lnTo>
                      <a:pt x="102" y="260"/>
                    </a:lnTo>
                    <a:lnTo>
                      <a:pt x="124" y="271"/>
                    </a:lnTo>
                    <a:lnTo>
                      <a:pt x="144" y="274"/>
                    </a:lnTo>
                    <a:lnTo>
                      <a:pt x="162" y="273"/>
                    </a:lnTo>
                    <a:lnTo>
                      <a:pt x="180" y="267"/>
                    </a:lnTo>
                    <a:lnTo>
                      <a:pt x="185" y="264"/>
                    </a:lnTo>
                    <a:lnTo>
                      <a:pt x="190" y="260"/>
                    </a:lnTo>
                    <a:lnTo>
                      <a:pt x="201" y="249"/>
                    </a:lnTo>
                    <a:lnTo>
                      <a:pt x="208" y="235"/>
                    </a:lnTo>
                    <a:lnTo>
                      <a:pt x="213" y="218"/>
                    </a:lnTo>
                    <a:lnTo>
                      <a:pt x="215" y="198"/>
                    </a:lnTo>
                    <a:lnTo>
                      <a:pt x="213" y="163"/>
                    </a:lnTo>
                    <a:lnTo>
                      <a:pt x="204" y="128"/>
                    </a:lnTo>
                    <a:lnTo>
                      <a:pt x="187" y="93"/>
                    </a:lnTo>
                    <a:lnTo>
                      <a:pt x="172" y="68"/>
                    </a:lnTo>
                    <a:lnTo>
                      <a:pt x="154" y="46"/>
                    </a:lnTo>
                    <a:lnTo>
                      <a:pt x="135" y="28"/>
                    </a:lnTo>
                    <a:lnTo>
                      <a:pt x="113" y="14"/>
                    </a:lnTo>
                    <a:lnTo>
                      <a:pt x="89" y="3"/>
                    </a:lnTo>
                    <a:lnTo>
                      <a:pt x="66" y="0"/>
                    </a:lnTo>
                    <a:lnTo>
                      <a:pt x="46" y="3"/>
                    </a:lnTo>
                    <a:lnTo>
                      <a:pt x="40" y="6"/>
                    </a:lnTo>
                    <a:lnTo>
                      <a:pt x="35" y="8"/>
                    </a:lnTo>
                    <a:close/>
                    <a:moveTo>
                      <a:pt x="39" y="14"/>
                    </a:moveTo>
                    <a:lnTo>
                      <a:pt x="48" y="10"/>
                    </a:lnTo>
                    <a:lnTo>
                      <a:pt x="69" y="7"/>
                    </a:lnTo>
                    <a:lnTo>
                      <a:pt x="90" y="10"/>
                    </a:lnTo>
                    <a:lnTo>
                      <a:pt x="113" y="20"/>
                    </a:lnTo>
                    <a:lnTo>
                      <a:pt x="139" y="39"/>
                    </a:lnTo>
                    <a:lnTo>
                      <a:pt x="163" y="64"/>
                    </a:lnTo>
                    <a:lnTo>
                      <a:pt x="184" y="96"/>
                    </a:lnTo>
                    <a:lnTo>
                      <a:pt x="199" y="129"/>
                    </a:lnTo>
                    <a:lnTo>
                      <a:pt x="208" y="162"/>
                    </a:lnTo>
                    <a:lnTo>
                      <a:pt x="210" y="195"/>
                    </a:lnTo>
                    <a:lnTo>
                      <a:pt x="208" y="213"/>
                    </a:lnTo>
                    <a:lnTo>
                      <a:pt x="203" y="230"/>
                    </a:lnTo>
                    <a:lnTo>
                      <a:pt x="196" y="243"/>
                    </a:lnTo>
                    <a:lnTo>
                      <a:pt x="186" y="254"/>
                    </a:lnTo>
                    <a:lnTo>
                      <a:pt x="181" y="258"/>
                    </a:lnTo>
                    <a:lnTo>
                      <a:pt x="175" y="261"/>
                    </a:lnTo>
                    <a:lnTo>
                      <a:pt x="160" y="267"/>
                    </a:lnTo>
                    <a:lnTo>
                      <a:pt x="142" y="268"/>
                    </a:lnTo>
                    <a:lnTo>
                      <a:pt x="123" y="264"/>
                    </a:lnTo>
                    <a:lnTo>
                      <a:pt x="102" y="254"/>
                    </a:lnTo>
                    <a:lnTo>
                      <a:pt x="76" y="236"/>
                    </a:lnTo>
                    <a:lnTo>
                      <a:pt x="52" y="211"/>
                    </a:lnTo>
                    <a:lnTo>
                      <a:pt x="31" y="180"/>
                    </a:lnTo>
                    <a:lnTo>
                      <a:pt x="16" y="146"/>
                    </a:lnTo>
                    <a:lnTo>
                      <a:pt x="7" y="112"/>
                    </a:lnTo>
                    <a:lnTo>
                      <a:pt x="5" y="80"/>
                    </a:lnTo>
                    <a:lnTo>
                      <a:pt x="9" y="57"/>
                    </a:lnTo>
                    <a:lnTo>
                      <a:pt x="15" y="39"/>
                    </a:lnTo>
                    <a:lnTo>
                      <a:pt x="25" y="25"/>
                    </a:lnTo>
                    <a:lnTo>
                      <a:pt x="39" y="14"/>
                    </a:lnTo>
                    <a:close/>
                  </a:path>
                </a:pathLst>
              </a:custGeom>
              <a:solidFill>
                <a:srgbClr val="F8E1D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61" name="Freeform 311">
                <a:extLst>
                  <a:ext uri="{FF2B5EF4-FFF2-40B4-BE49-F238E27FC236}">
                    <a16:creationId xmlns:a16="http://schemas.microsoft.com/office/drawing/2014/main" id="{260F0083-D692-43C2-90C6-5D4BB7D92419}"/>
                  </a:ext>
                </a:extLst>
              </p:cNvPr>
              <p:cNvSpPr>
                <a:spLocks/>
              </p:cNvSpPr>
              <p:nvPr/>
            </p:nvSpPr>
            <p:spPr bwMode="gray">
              <a:xfrm>
                <a:off x="1886950" y="1685885"/>
                <a:ext cx="114463" cy="165080"/>
              </a:xfrm>
              <a:custGeom>
                <a:avLst/>
                <a:gdLst>
                  <a:gd name="T0" fmla="*/ 11 w 199"/>
                  <a:gd name="T1" fmla="*/ 9 h 287"/>
                  <a:gd name="T2" fmla="*/ 5 w 199"/>
                  <a:gd name="T3" fmla="*/ 12 h 287"/>
                  <a:gd name="T4" fmla="*/ 0 w 199"/>
                  <a:gd name="T5" fmla="*/ 16 h 287"/>
                  <a:gd name="T6" fmla="*/ 22 w 199"/>
                  <a:gd name="T7" fmla="*/ 12 h 287"/>
                  <a:gd name="T8" fmla="*/ 46 w 199"/>
                  <a:gd name="T9" fmla="*/ 16 h 287"/>
                  <a:gd name="T10" fmla="*/ 71 w 199"/>
                  <a:gd name="T11" fmla="*/ 28 h 287"/>
                  <a:gd name="T12" fmla="*/ 94 w 199"/>
                  <a:gd name="T13" fmla="*/ 42 h 287"/>
                  <a:gd name="T14" fmla="*/ 114 w 199"/>
                  <a:gd name="T15" fmla="*/ 62 h 287"/>
                  <a:gd name="T16" fmla="*/ 133 w 199"/>
                  <a:gd name="T17" fmla="*/ 84 h 287"/>
                  <a:gd name="T18" fmla="*/ 150 w 199"/>
                  <a:gd name="T19" fmla="*/ 111 h 287"/>
                  <a:gd name="T20" fmla="*/ 167 w 199"/>
                  <a:gd name="T21" fmla="*/ 148 h 287"/>
                  <a:gd name="T22" fmla="*/ 177 w 199"/>
                  <a:gd name="T23" fmla="*/ 185 h 287"/>
                  <a:gd name="T24" fmla="*/ 179 w 199"/>
                  <a:gd name="T25" fmla="*/ 221 h 287"/>
                  <a:gd name="T26" fmla="*/ 178 w 199"/>
                  <a:gd name="T27" fmla="*/ 236 h 287"/>
                  <a:gd name="T28" fmla="*/ 174 w 199"/>
                  <a:gd name="T29" fmla="*/ 249 h 287"/>
                  <a:gd name="T30" fmla="*/ 169 w 199"/>
                  <a:gd name="T31" fmla="*/ 264 h 287"/>
                  <a:gd name="T32" fmla="*/ 162 w 199"/>
                  <a:gd name="T33" fmla="*/ 276 h 287"/>
                  <a:gd name="T34" fmla="*/ 153 w 199"/>
                  <a:gd name="T35" fmla="*/ 287 h 287"/>
                  <a:gd name="T36" fmla="*/ 157 w 199"/>
                  <a:gd name="T37" fmla="*/ 285 h 287"/>
                  <a:gd name="T38" fmla="*/ 162 w 199"/>
                  <a:gd name="T39" fmla="*/ 282 h 287"/>
                  <a:gd name="T40" fmla="*/ 177 w 199"/>
                  <a:gd name="T41" fmla="*/ 270 h 287"/>
                  <a:gd name="T42" fmla="*/ 189 w 199"/>
                  <a:gd name="T43" fmla="*/ 256 h 287"/>
                  <a:gd name="T44" fmla="*/ 196 w 199"/>
                  <a:gd name="T45" fmla="*/ 237 h 287"/>
                  <a:gd name="T46" fmla="*/ 198 w 199"/>
                  <a:gd name="T47" fmla="*/ 224 h 287"/>
                  <a:gd name="T48" fmla="*/ 199 w 199"/>
                  <a:gd name="T49" fmla="*/ 209 h 287"/>
                  <a:gd name="T50" fmla="*/ 197 w 199"/>
                  <a:gd name="T51" fmla="*/ 173 h 287"/>
                  <a:gd name="T52" fmla="*/ 187 w 199"/>
                  <a:gd name="T53" fmla="*/ 136 h 287"/>
                  <a:gd name="T54" fmla="*/ 171 w 199"/>
                  <a:gd name="T55" fmla="*/ 99 h 287"/>
                  <a:gd name="T56" fmla="*/ 154 w 199"/>
                  <a:gd name="T57" fmla="*/ 72 h 287"/>
                  <a:gd name="T58" fmla="*/ 136 w 199"/>
                  <a:gd name="T59" fmla="*/ 50 h 287"/>
                  <a:gd name="T60" fmla="*/ 114 w 199"/>
                  <a:gd name="T61" fmla="*/ 30 h 287"/>
                  <a:gd name="T62" fmla="*/ 93 w 199"/>
                  <a:gd name="T63" fmla="*/ 16 h 287"/>
                  <a:gd name="T64" fmla="*/ 70 w 199"/>
                  <a:gd name="T65" fmla="*/ 5 h 287"/>
                  <a:gd name="T66" fmla="*/ 48 w 199"/>
                  <a:gd name="T67" fmla="*/ 0 h 287"/>
                  <a:gd name="T68" fmla="*/ 29 w 199"/>
                  <a:gd name="T69" fmla="*/ 2 h 287"/>
                  <a:gd name="T70" fmla="*/ 11 w 199"/>
                  <a:gd name="T71" fmla="*/ 9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9" h="287">
                    <a:moveTo>
                      <a:pt x="11" y="9"/>
                    </a:moveTo>
                    <a:lnTo>
                      <a:pt x="5" y="12"/>
                    </a:lnTo>
                    <a:lnTo>
                      <a:pt x="0" y="16"/>
                    </a:lnTo>
                    <a:lnTo>
                      <a:pt x="22" y="12"/>
                    </a:lnTo>
                    <a:lnTo>
                      <a:pt x="46" y="16"/>
                    </a:lnTo>
                    <a:lnTo>
                      <a:pt x="71" y="28"/>
                    </a:lnTo>
                    <a:lnTo>
                      <a:pt x="94" y="42"/>
                    </a:lnTo>
                    <a:lnTo>
                      <a:pt x="114" y="62"/>
                    </a:lnTo>
                    <a:lnTo>
                      <a:pt x="133" y="84"/>
                    </a:lnTo>
                    <a:lnTo>
                      <a:pt x="150" y="111"/>
                    </a:lnTo>
                    <a:lnTo>
                      <a:pt x="167" y="148"/>
                    </a:lnTo>
                    <a:lnTo>
                      <a:pt x="177" y="185"/>
                    </a:lnTo>
                    <a:lnTo>
                      <a:pt x="179" y="221"/>
                    </a:lnTo>
                    <a:lnTo>
                      <a:pt x="178" y="236"/>
                    </a:lnTo>
                    <a:lnTo>
                      <a:pt x="174" y="249"/>
                    </a:lnTo>
                    <a:lnTo>
                      <a:pt x="169" y="264"/>
                    </a:lnTo>
                    <a:lnTo>
                      <a:pt x="162" y="276"/>
                    </a:lnTo>
                    <a:lnTo>
                      <a:pt x="153" y="287"/>
                    </a:lnTo>
                    <a:lnTo>
                      <a:pt x="157" y="285"/>
                    </a:lnTo>
                    <a:lnTo>
                      <a:pt x="162" y="282"/>
                    </a:lnTo>
                    <a:lnTo>
                      <a:pt x="177" y="270"/>
                    </a:lnTo>
                    <a:lnTo>
                      <a:pt x="189" y="256"/>
                    </a:lnTo>
                    <a:lnTo>
                      <a:pt x="196" y="237"/>
                    </a:lnTo>
                    <a:lnTo>
                      <a:pt x="198" y="224"/>
                    </a:lnTo>
                    <a:lnTo>
                      <a:pt x="199" y="209"/>
                    </a:lnTo>
                    <a:lnTo>
                      <a:pt x="197" y="173"/>
                    </a:lnTo>
                    <a:lnTo>
                      <a:pt x="187" y="136"/>
                    </a:lnTo>
                    <a:lnTo>
                      <a:pt x="171" y="99"/>
                    </a:lnTo>
                    <a:lnTo>
                      <a:pt x="154" y="72"/>
                    </a:lnTo>
                    <a:lnTo>
                      <a:pt x="136" y="50"/>
                    </a:lnTo>
                    <a:lnTo>
                      <a:pt x="114" y="30"/>
                    </a:lnTo>
                    <a:lnTo>
                      <a:pt x="93" y="16"/>
                    </a:lnTo>
                    <a:lnTo>
                      <a:pt x="70" y="5"/>
                    </a:lnTo>
                    <a:lnTo>
                      <a:pt x="48" y="0"/>
                    </a:lnTo>
                    <a:lnTo>
                      <a:pt x="29" y="2"/>
                    </a:lnTo>
                    <a:lnTo>
                      <a:pt x="11" y="9"/>
                    </a:lnTo>
                    <a:close/>
                  </a:path>
                </a:pathLst>
              </a:custGeom>
              <a:solidFill>
                <a:srgbClr val="E49D87"/>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62" name="Freeform 312">
                <a:extLst>
                  <a:ext uri="{FF2B5EF4-FFF2-40B4-BE49-F238E27FC236}">
                    <a16:creationId xmlns:a16="http://schemas.microsoft.com/office/drawing/2014/main" id="{F7821E5A-7CAD-48C0-88F3-A55FE55A133A}"/>
                  </a:ext>
                </a:extLst>
              </p:cNvPr>
              <p:cNvSpPr>
                <a:spLocks/>
              </p:cNvSpPr>
              <p:nvPr/>
            </p:nvSpPr>
            <p:spPr bwMode="gray">
              <a:xfrm>
                <a:off x="1974954" y="1822205"/>
                <a:ext cx="24733" cy="28760"/>
              </a:xfrm>
              <a:custGeom>
                <a:avLst/>
                <a:gdLst>
                  <a:gd name="T0" fmla="*/ 43 w 43"/>
                  <a:gd name="T1" fmla="*/ 0 h 50"/>
                  <a:gd name="T2" fmla="*/ 21 w 43"/>
                  <a:gd name="T3" fmla="*/ 12 h 50"/>
                  <a:gd name="T4" fmla="*/ 16 w 43"/>
                  <a:gd name="T5" fmla="*/ 27 h 50"/>
                  <a:gd name="T6" fmla="*/ 9 w 43"/>
                  <a:gd name="T7" fmla="*/ 39 h 50"/>
                  <a:gd name="T8" fmla="*/ 0 w 43"/>
                  <a:gd name="T9" fmla="*/ 50 h 50"/>
                  <a:gd name="T10" fmla="*/ 4 w 43"/>
                  <a:gd name="T11" fmla="*/ 48 h 50"/>
                  <a:gd name="T12" fmla="*/ 9 w 43"/>
                  <a:gd name="T13" fmla="*/ 45 h 50"/>
                  <a:gd name="T14" fmla="*/ 24 w 43"/>
                  <a:gd name="T15" fmla="*/ 33 h 50"/>
                  <a:gd name="T16" fmla="*/ 36 w 43"/>
                  <a:gd name="T17" fmla="*/ 19 h 50"/>
                  <a:gd name="T18" fmla="*/ 43 w 43"/>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50">
                    <a:moveTo>
                      <a:pt x="43" y="0"/>
                    </a:moveTo>
                    <a:lnTo>
                      <a:pt x="21" y="12"/>
                    </a:lnTo>
                    <a:lnTo>
                      <a:pt x="16" y="27"/>
                    </a:lnTo>
                    <a:lnTo>
                      <a:pt x="9" y="39"/>
                    </a:lnTo>
                    <a:lnTo>
                      <a:pt x="0" y="50"/>
                    </a:lnTo>
                    <a:lnTo>
                      <a:pt x="4" y="48"/>
                    </a:lnTo>
                    <a:lnTo>
                      <a:pt x="9" y="45"/>
                    </a:lnTo>
                    <a:lnTo>
                      <a:pt x="24" y="33"/>
                    </a:lnTo>
                    <a:lnTo>
                      <a:pt x="36" y="19"/>
                    </a:lnTo>
                    <a:lnTo>
                      <a:pt x="43" y="0"/>
                    </a:lnTo>
                    <a:close/>
                  </a:path>
                </a:pathLst>
              </a:custGeom>
              <a:solidFill>
                <a:srgbClr val="DD7D66"/>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63" name="Freeform 313">
                <a:extLst>
                  <a:ext uri="{FF2B5EF4-FFF2-40B4-BE49-F238E27FC236}">
                    <a16:creationId xmlns:a16="http://schemas.microsoft.com/office/drawing/2014/main" id="{005124B7-EC25-459D-82D8-02C7B9846825}"/>
                  </a:ext>
                </a:extLst>
              </p:cNvPr>
              <p:cNvSpPr>
                <a:spLocks/>
              </p:cNvSpPr>
              <p:nvPr/>
            </p:nvSpPr>
            <p:spPr bwMode="gray">
              <a:xfrm>
                <a:off x="2007740" y="1772164"/>
                <a:ext cx="142648" cy="173708"/>
              </a:xfrm>
              <a:custGeom>
                <a:avLst/>
                <a:gdLst>
                  <a:gd name="T0" fmla="*/ 48 w 248"/>
                  <a:gd name="T1" fmla="*/ 16 h 302"/>
                  <a:gd name="T2" fmla="*/ 42 w 248"/>
                  <a:gd name="T3" fmla="*/ 17 h 302"/>
                  <a:gd name="T4" fmla="*/ 38 w 248"/>
                  <a:gd name="T5" fmla="*/ 20 h 302"/>
                  <a:gd name="T6" fmla="*/ 22 w 248"/>
                  <a:gd name="T7" fmla="*/ 32 h 302"/>
                  <a:gd name="T8" fmla="*/ 11 w 248"/>
                  <a:gd name="T9" fmla="*/ 48 h 302"/>
                  <a:gd name="T10" fmla="*/ 4 w 248"/>
                  <a:gd name="T11" fmla="*/ 69 h 302"/>
                  <a:gd name="T12" fmla="*/ 0 w 248"/>
                  <a:gd name="T13" fmla="*/ 93 h 302"/>
                  <a:gd name="T14" fmla="*/ 3 w 248"/>
                  <a:gd name="T15" fmla="*/ 129 h 302"/>
                  <a:gd name="T16" fmla="*/ 12 w 248"/>
                  <a:gd name="T17" fmla="*/ 166 h 302"/>
                  <a:gd name="T18" fmla="*/ 29 w 248"/>
                  <a:gd name="T19" fmla="*/ 203 h 302"/>
                  <a:gd name="T20" fmla="*/ 46 w 248"/>
                  <a:gd name="T21" fmla="*/ 230 h 302"/>
                  <a:gd name="T22" fmla="*/ 65 w 248"/>
                  <a:gd name="T23" fmla="*/ 252 h 302"/>
                  <a:gd name="T24" fmla="*/ 86 w 248"/>
                  <a:gd name="T25" fmla="*/ 272 h 302"/>
                  <a:gd name="T26" fmla="*/ 108 w 248"/>
                  <a:gd name="T27" fmla="*/ 286 h 302"/>
                  <a:gd name="T28" fmla="*/ 131 w 248"/>
                  <a:gd name="T29" fmla="*/ 297 h 302"/>
                  <a:gd name="T30" fmla="*/ 152 w 248"/>
                  <a:gd name="T31" fmla="*/ 302 h 302"/>
                  <a:gd name="T32" fmla="*/ 172 w 248"/>
                  <a:gd name="T33" fmla="*/ 300 h 302"/>
                  <a:gd name="T34" fmla="*/ 190 w 248"/>
                  <a:gd name="T35" fmla="*/ 293 h 302"/>
                  <a:gd name="T36" fmla="*/ 195 w 248"/>
                  <a:gd name="T37" fmla="*/ 290 h 302"/>
                  <a:gd name="T38" fmla="*/ 200 w 248"/>
                  <a:gd name="T39" fmla="*/ 286 h 302"/>
                  <a:gd name="T40" fmla="*/ 206 w 248"/>
                  <a:gd name="T41" fmla="*/ 284 h 302"/>
                  <a:gd name="T42" fmla="*/ 210 w 248"/>
                  <a:gd name="T43" fmla="*/ 281 h 302"/>
                  <a:gd name="T44" fmla="*/ 225 w 248"/>
                  <a:gd name="T45" fmla="*/ 270 h 302"/>
                  <a:gd name="T46" fmla="*/ 236 w 248"/>
                  <a:gd name="T47" fmla="*/ 255 h 302"/>
                  <a:gd name="T48" fmla="*/ 244 w 248"/>
                  <a:gd name="T49" fmla="*/ 237 h 302"/>
                  <a:gd name="T50" fmla="*/ 246 w 248"/>
                  <a:gd name="T51" fmla="*/ 224 h 302"/>
                  <a:gd name="T52" fmla="*/ 248 w 248"/>
                  <a:gd name="T53" fmla="*/ 208 h 302"/>
                  <a:gd name="T54" fmla="*/ 245 w 248"/>
                  <a:gd name="T55" fmla="*/ 172 h 302"/>
                  <a:gd name="T56" fmla="*/ 236 w 248"/>
                  <a:gd name="T57" fmla="*/ 136 h 302"/>
                  <a:gd name="T58" fmla="*/ 219 w 248"/>
                  <a:gd name="T59" fmla="*/ 99 h 302"/>
                  <a:gd name="T60" fmla="*/ 202 w 248"/>
                  <a:gd name="T61" fmla="*/ 71 h 302"/>
                  <a:gd name="T62" fmla="*/ 183 w 248"/>
                  <a:gd name="T63" fmla="*/ 50 h 302"/>
                  <a:gd name="T64" fmla="*/ 162 w 248"/>
                  <a:gd name="T65" fmla="*/ 30 h 302"/>
                  <a:gd name="T66" fmla="*/ 141 w 248"/>
                  <a:gd name="T67" fmla="*/ 15 h 302"/>
                  <a:gd name="T68" fmla="*/ 118 w 248"/>
                  <a:gd name="T69" fmla="*/ 5 h 302"/>
                  <a:gd name="T70" fmla="*/ 96 w 248"/>
                  <a:gd name="T71" fmla="*/ 0 h 302"/>
                  <a:gd name="T72" fmla="*/ 77 w 248"/>
                  <a:gd name="T73" fmla="*/ 2 h 302"/>
                  <a:gd name="T74" fmla="*/ 58 w 248"/>
                  <a:gd name="T75" fmla="*/ 9 h 302"/>
                  <a:gd name="T76" fmla="*/ 53 w 248"/>
                  <a:gd name="T77" fmla="*/ 11 h 302"/>
                  <a:gd name="T78" fmla="*/ 48 w 248"/>
                  <a:gd name="T79" fmla="*/ 1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8" h="302">
                    <a:moveTo>
                      <a:pt x="48" y="16"/>
                    </a:moveTo>
                    <a:lnTo>
                      <a:pt x="42" y="17"/>
                    </a:lnTo>
                    <a:lnTo>
                      <a:pt x="38" y="20"/>
                    </a:lnTo>
                    <a:lnTo>
                      <a:pt x="22" y="32"/>
                    </a:lnTo>
                    <a:lnTo>
                      <a:pt x="11" y="48"/>
                    </a:lnTo>
                    <a:lnTo>
                      <a:pt x="4" y="69"/>
                    </a:lnTo>
                    <a:lnTo>
                      <a:pt x="0" y="93"/>
                    </a:lnTo>
                    <a:lnTo>
                      <a:pt x="3" y="129"/>
                    </a:lnTo>
                    <a:lnTo>
                      <a:pt x="12" y="166"/>
                    </a:lnTo>
                    <a:lnTo>
                      <a:pt x="29" y="203"/>
                    </a:lnTo>
                    <a:lnTo>
                      <a:pt x="46" y="230"/>
                    </a:lnTo>
                    <a:lnTo>
                      <a:pt x="65" y="252"/>
                    </a:lnTo>
                    <a:lnTo>
                      <a:pt x="86" y="272"/>
                    </a:lnTo>
                    <a:lnTo>
                      <a:pt x="108" y="286"/>
                    </a:lnTo>
                    <a:lnTo>
                      <a:pt x="131" y="297"/>
                    </a:lnTo>
                    <a:lnTo>
                      <a:pt x="152" y="302"/>
                    </a:lnTo>
                    <a:lnTo>
                      <a:pt x="172" y="300"/>
                    </a:lnTo>
                    <a:lnTo>
                      <a:pt x="190" y="293"/>
                    </a:lnTo>
                    <a:lnTo>
                      <a:pt x="195" y="290"/>
                    </a:lnTo>
                    <a:lnTo>
                      <a:pt x="200" y="286"/>
                    </a:lnTo>
                    <a:lnTo>
                      <a:pt x="206" y="284"/>
                    </a:lnTo>
                    <a:lnTo>
                      <a:pt x="210" y="281"/>
                    </a:lnTo>
                    <a:lnTo>
                      <a:pt x="225" y="270"/>
                    </a:lnTo>
                    <a:lnTo>
                      <a:pt x="236" y="255"/>
                    </a:lnTo>
                    <a:lnTo>
                      <a:pt x="244" y="237"/>
                    </a:lnTo>
                    <a:lnTo>
                      <a:pt x="246" y="224"/>
                    </a:lnTo>
                    <a:lnTo>
                      <a:pt x="248" y="208"/>
                    </a:lnTo>
                    <a:lnTo>
                      <a:pt x="245" y="172"/>
                    </a:lnTo>
                    <a:lnTo>
                      <a:pt x="236" y="136"/>
                    </a:lnTo>
                    <a:lnTo>
                      <a:pt x="219" y="99"/>
                    </a:lnTo>
                    <a:lnTo>
                      <a:pt x="202" y="71"/>
                    </a:lnTo>
                    <a:lnTo>
                      <a:pt x="183" y="50"/>
                    </a:lnTo>
                    <a:lnTo>
                      <a:pt x="162" y="30"/>
                    </a:lnTo>
                    <a:lnTo>
                      <a:pt x="141" y="15"/>
                    </a:lnTo>
                    <a:lnTo>
                      <a:pt x="118" y="5"/>
                    </a:lnTo>
                    <a:lnTo>
                      <a:pt x="96" y="0"/>
                    </a:lnTo>
                    <a:lnTo>
                      <a:pt x="77" y="2"/>
                    </a:lnTo>
                    <a:lnTo>
                      <a:pt x="58" y="9"/>
                    </a:lnTo>
                    <a:lnTo>
                      <a:pt x="53" y="11"/>
                    </a:lnTo>
                    <a:lnTo>
                      <a:pt x="48" y="16"/>
                    </a:lnTo>
                    <a:close/>
                  </a:path>
                </a:pathLst>
              </a:custGeom>
              <a:solidFill>
                <a:srgbClr val="FFEDE6"/>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64" name="Freeform 314">
                <a:extLst>
                  <a:ext uri="{FF2B5EF4-FFF2-40B4-BE49-F238E27FC236}">
                    <a16:creationId xmlns:a16="http://schemas.microsoft.com/office/drawing/2014/main" id="{142BF51C-59AA-4DB6-827E-B7B4945B35ED}"/>
                  </a:ext>
                </a:extLst>
              </p:cNvPr>
              <p:cNvSpPr>
                <a:spLocks/>
              </p:cNvSpPr>
              <p:nvPr/>
            </p:nvSpPr>
            <p:spPr bwMode="gray">
              <a:xfrm>
                <a:off x="2023846" y="1795746"/>
                <a:ext cx="32211" cy="47166"/>
              </a:xfrm>
              <a:custGeom>
                <a:avLst/>
                <a:gdLst>
                  <a:gd name="T0" fmla="*/ 46 w 56"/>
                  <a:gd name="T1" fmla="*/ 82 h 82"/>
                  <a:gd name="T2" fmla="*/ 56 w 56"/>
                  <a:gd name="T3" fmla="*/ 73 h 82"/>
                  <a:gd name="T4" fmla="*/ 11 w 56"/>
                  <a:gd name="T5" fmla="*/ 0 h 82"/>
                  <a:gd name="T6" fmla="*/ 0 w 56"/>
                  <a:gd name="T7" fmla="*/ 9 h 82"/>
                  <a:gd name="T8" fmla="*/ 46 w 56"/>
                  <a:gd name="T9" fmla="*/ 82 h 82"/>
                </a:gdLst>
                <a:ahLst/>
                <a:cxnLst>
                  <a:cxn ang="0">
                    <a:pos x="T0" y="T1"/>
                  </a:cxn>
                  <a:cxn ang="0">
                    <a:pos x="T2" y="T3"/>
                  </a:cxn>
                  <a:cxn ang="0">
                    <a:pos x="T4" y="T5"/>
                  </a:cxn>
                  <a:cxn ang="0">
                    <a:pos x="T6" y="T7"/>
                  </a:cxn>
                  <a:cxn ang="0">
                    <a:pos x="T8" y="T9"/>
                  </a:cxn>
                </a:cxnLst>
                <a:rect l="0" t="0" r="r" b="b"/>
                <a:pathLst>
                  <a:path w="56" h="82">
                    <a:moveTo>
                      <a:pt x="46" y="82"/>
                    </a:moveTo>
                    <a:lnTo>
                      <a:pt x="56" y="73"/>
                    </a:lnTo>
                    <a:lnTo>
                      <a:pt x="11" y="0"/>
                    </a:lnTo>
                    <a:lnTo>
                      <a:pt x="0" y="9"/>
                    </a:lnTo>
                    <a:lnTo>
                      <a:pt x="46" y="82"/>
                    </a:lnTo>
                    <a:close/>
                  </a:path>
                </a:pathLst>
              </a:custGeom>
              <a:solidFill>
                <a:srgbClr val="C7875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65" name="Freeform 315">
                <a:extLst>
                  <a:ext uri="{FF2B5EF4-FFF2-40B4-BE49-F238E27FC236}">
                    <a16:creationId xmlns:a16="http://schemas.microsoft.com/office/drawing/2014/main" id="{22191041-55EA-47CD-9D04-6D06718D639F}"/>
                  </a:ext>
                </a:extLst>
              </p:cNvPr>
              <p:cNvSpPr>
                <a:spLocks noEditPoints="1"/>
              </p:cNvSpPr>
              <p:nvPr/>
            </p:nvSpPr>
            <p:spPr bwMode="gray">
              <a:xfrm>
                <a:off x="2023846" y="1795746"/>
                <a:ext cx="32211" cy="47166"/>
              </a:xfrm>
              <a:custGeom>
                <a:avLst/>
                <a:gdLst>
                  <a:gd name="T0" fmla="*/ 46 w 56"/>
                  <a:gd name="T1" fmla="*/ 82 h 82"/>
                  <a:gd name="T2" fmla="*/ 56 w 56"/>
                  <a:gd name="T3" fmla="*/ 73 h 82"/>
                  <a:gd name="T4" fmla="*/ 11 w 56"/>
                  <a:gd name="T5" fmla="*/ 0 h 82"/>
                  <a:gd name="T6" fmla="*/ 0 w 56"/>
                  <a:gd name="T7" fmla="*/ 9 h 82"/>
                  <a:gd name="T8" fmla="*/ 46 w 56"/>
                  <a:gd name="T9" fmla="*/ 82 h 82"/>
                  <a:gd name="T10" fmla="*/ 53 w 56"/>
                  <a:gd name="T11" fmla="*/ 72 h 82"/>
                  <a:gd name="T12" fmla="*/ 47 w 56"/>
                  <a:gd name="T13" fmla="*/ 77 h 82"/>
                  <a:gd name="T14" fmla="*/ 5 w 56"/>
                  <a:gd name="T15" fmla="*/ 9 h 82"/>
                  <a:gd name="T16" fmla="*/ 10 w 56"/>
                  <a:gd name="T17" fmla="*/ 5 h 82"/>
                  <a:gd name="T18" fmla="*/ 53 w 56"/>
                  <a:gd name="T19"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82">
                    <a:moveTo>
                      <a:pt x="46" y="82"/>
                    </a:moveTo>
                    <a:lnTo>
                      <a:pt x="56" y="73"/>
                    </a:lnTo>
                    <a:lnTo>
                      <a:pt x="11" y="0"/>
                    </a:lnTo>
                    <a:lnTo>
                      <a:pt x="0" y="9"/>
                    </a:lnTo>
                    <a:lnTo>
                      <a:pt x="46" y="82"/>
                    </a:lnTo>
                    <a:close/>
                    <a:moveTo>
                      <a:pt x="53" y="72"/>
                    </a:moveTo>
                    <a:lnTo>
                      <a:pt x="47" y="77"/>
                    </a:lnTo>
                    <a:lnTo>
                      <a:pt x="5" y="9"/>
                    </a:lnTo>
                    <a:lnTo>
                      <a:pt x="10" y="5"/>
                    </a:lnTo>
                    <a:lnTo>
                      <a:pt x="53" y="72"/>
                    </a:lnTo>
                    <a:close/>
                  </a:path>
                </a:pathLst>
              </a:custGeom>
              <a:solidFill>
                <a:srgbClr val="915833"/>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66" name="Freeform 316">
                <a:extLst>
                  <a:ext uri="{FF2B5EF4-FFF2-40B4-BE49-F238E27FC236}">
                    <a16:creationId xmlns:a16="http://schemas.microsoft.com/office/drawing/2014/main" id="{27C7C7E5-54C7-4C17-A1FA-7944E21E2A07}"/>
                  </a:ext>
                </a:extLst>
              </p:cNvPr>
              <p:cNvSpPr>
                <a:spLocks noEditPoints="1"/>
              </p:cNvSpPr>
              <p:nvPr/>
            </p:nvSpPr>
            <p:spPr bwMode="gray">
              <a:xfrm>
                <a:off x="2050879" y="1844062"/>
                <a:ext cx="32211" cy="41414"/>
              </a:xfrm>
              <a:custGeom>
                <a:avLst/>
                <a:gdLst>
                  <a:gd name="T0" fmla="*/ 12 w 56"/>
                  <a:gd name="T1" fmla="*/ 1 h 72"/>
                  <a:gd name="T2" fmla="*/ 9 w 56"/>
                  <a:gd name="T3" fmla="*/ 3 h 72"/>
                  <a:gd name="T4" fmla="*/ 6 w 56"/>
                  <a:gd name="T5" fmla="*/ 5 h 72"/>
                  <a:gd name="T6" fmla="*/ 2 w 56"/>
                  <a:gd name="T7" fmla="*/ 9 h 72"/>
                  <a:gd name="T8" fmla="*/ 1 w 56"/>
                  <a:gd name="T9" fmla="*/ 15 h 72"/>
                  <a:gd name="T10" fmla="*/ 0 w 56"/>
                  <a:gd name="T11" fmla="*/ 21 h 72"/>
                  <a:gd name="T12" fmla="*/ 1 w 56"/>
                  <a:gd name="T13" fmla="*/ 34 h 72"/>
                  <a:gd name="T14" fmla="*/ 7 w 56"/>
                  <a:gd name="T15" fmla="*/ 48 h 72"/>
                  <a:gd name="T16" fmla="*/ 17 w 56"/>
                  <a:gd name="T17" fmla="*/ 60 h 72"/>
                  <a:gd name="T18" fmla="*/ 26 w 56"/>
                  <a:gd name="T19" fmla="*/ 69 h 72"/>
                  <a:gd name="T20" fmla="*/ 38 w 56"/>
                  <a:gd name="T21" fmla="*/ 72 h 72"/>
                  <a:gd name="T22" fmla="*/ 48 w 56"/>
                  <a:gd name="T23" fmla="*/ 71 h 72"/>
                  <a:gd name="T24" fmla="*/ 50 w 56"/>
                  <a:gd name="T25" fmla="*/ 69 h 72"/>
                  <a:gd name="T26" fmla="*/ 53 w 56"/>
                  <a:gd name="T27" fmla="*/ 66 h 72"/>
                  <a:gd name="T28" fmla="*/ 55 w 56"/>
                  <a:gd name="T29" fmla="*/ 63 h 72"/>
                  <a:gd name="T30" fmla="*/ 56 w 56"/>
                  <a:gd name="T31" fmla="*/ 58 h 72"/>
                  <a:gd name="T32" fmla="*/ 56 w 56"/>
                  <a:gd name="T33" fmla="*/ 52 h 72"/>
                  <a:gd name="T34" fmla="*/ 55 w 56"/>
                  <a:gd name="T35" fmla="*/ 39 h 72"/>
                  <a:gd name="T36" fmla="*/ 49 w 56"/>
                  <a:gd name="T37" fmla="*/ 25 h 72"/>
                  <a:gd name="T38" fmla="*/ 41 w 56"/>
                  <a:gd name="T39" fmla="*/ 12 h 72"/>
                  <a:gd name="T40" fmla="*/ 30 w 56"/>
                  <a:gd name="T41" fmla="*/ 4 h 72"/>
                  <a:gd name="T42" fmla="*/ 24 w 56"/>
                  <a:gd name="T43" fmla="*/ 1 h 72"/>
                  <a:gd name="T44" fmla="*/ 18 w 56"/>
                  <a:gd name="T45" fmla="*/ 0 h 72"/>
                  <a:gd name="T46" fmla="*/ 12 w 56"/>
                  <a:gd name="T47" fmla="*/ 1 h 72"/>
                  <a:gd name="T48" fmla="*/ 11 w 56"/>
                  <a:gd name="T49" fmla="*/ 4 h 72"/>
                  <a:gd name="T50" fmla="*/ 13 w 56"/>
                  <a:gd name="T51" fmla="*/ 3 h 72"/>
                  <a:gd name="T52" fmla="*/ 18 w 56"/>
                  <a:gd name="T53" fmla="*/ 3 h 72"/>
                  <a:gd name="T54" fmla="*/ 24 w 56"/>
                  <a:gd name="T55" fmla="*/ 3 h 72"/>
                  <a:gd name="T56" fmla="*/ 30 w 56"/>
                  <a:gd name="T57" fmla="*/ 6 h 72"/>
                  <a:gd name="T58" fmla="*/ 39 w 56"/>
                  <a:gd name="T59" fmla="*/ 13 h 72"/>
                  <a:gd name="T60" fmla="*/ 48 w 56"/>
                  <a:gd name="T61" fmla="*/ 25 h 72"/>
                  <a:gd name="T62" fmla="*/ 54 w 56"/>
                  <a:gd name="T63" fmla="*/ 39 h 72"/>
                  <a:gd name="T64" fmla="*/ 55 w 56"/>
                  <a:gd name="T65" fmla="*/ 52 h 72"/>
                  <a:gd name="T66" fmla="*/ 55 w 56"/>
                  <a:gd name="T67" fmla="*/ 57 h 72"/>
                  <a:gd name="T68" fmla="*/ 54 w 56"/>
                  <a:gd name="T69" fmla="*/ 60 h 72"/>
                  <a:gd name="T70" fmla="*/ 51 w 56"/>
                  <a:gd name="T71" fmla="*/ 64 h 72"/>
                  <a:gd name="T72" fmla="*/ 49 w 56"/>
                  <a:gd name="T73" fmla="*/ 67 h 72"/>
                  <a:gd name="T74" fmla="*/ 48 w 56"/>
                  <a:gd name="T75" fmla="*/ 69 h 72"/>
                  <a:gd name="T76" fmla="*/ 47 w 56"/>
                  <a:gd name="T77" fmla="*/ 69 h 72"/>
                  <a:gd name="T78" fmla="*/ 37 w 56"/>
                  <a:gd name="T79" fmla="*/ 71 h 72"/>
                  <a:gd name="T80" fmla="*/ 27 w 56"/>
                  <a:gd name="T81" fmla="*/ 67 h 72"/>
                  <a:gd name="T82" fmla="*/ 17 w 56"/>
                  <a:gd name="T83" fmla="*/ 59 h 72"/>
                  <a:gd name="T84" fmla="*/ 8 w 56"/>
                  <a:gd name="T85" fmla="*/ 48 h 72"/>
                  <a:gd name="T86" fmla="*/ 3 w 56"/>
                  <a:gd name="T87" fmla="*/ 34 h 72"/>
                  <a:gd name="T88" fmla="*/ 1 w 56"/>
                  <a:gd name="T89" fmla="*/ 22 h 72"/>
                  <a:gd name="T90" fmla="*/ 2 w 56"/>
                  <a:gd name="T91" fmla="*/ 16 h 72"/>
                  <a:gd name="T92" fmla="*/ 3 w 56"/>
                  <a:gd name="T93" fmla="*/ 11 h 72"/>
                  <a:gd name="T94" fmla="*/ 7 w 56"/>
                  <a:gd name="T95" fmla="*/ 6 h 72"/>
                  <a:gd name="T96" fmla="*/ 11 w 56"/>
                  <a:gd name="T97" fmla="*/ 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 h="72">
                    <a:moveTo>
                      <a:pt x="12" y="1"/>
                    </a:moveTo>
                    <a:lnTo>
                      <a:pt x="9" y="3"/>
                    </a:lnTo>
                    <a:lnTo>
                      <a:pt x="6" y="5"/>
                    </a:lnTo>
                    <a:lnTo>
                      <a:pt x="2" y="9"/>
                    </a:lnTo>
                    <a:lnTo>
                      <a:pt x="1" y="15"/>
                    </a:lnTo>
                    <a:lnTo>
                      <a:pt x="0" y="21"/>
                    </a:lnTo>
                    <a:lnTo>
                      <a:pt x="1" y="34"/>
                    </a:lnTo>
                    <a:lnTo>
                      <a:pt x="7" y="48"/>
                    </a:lnTo>
                    <a:lnTo>
                      <a:pt x="17" y="60"/>
                    </a:lnTo>
                    <a:lnTo>
                      <a:pt x="26" y="69"/>
                    </a:lnTo>
                    <a:lnTo>
                      <a:pt x="38" y="72"/>
                    </a:lnTo>
                    <a:lnTo>
                      <a:pt x="48" y="71"/>
                    </a:lnTo>
                    <a:lnTo>
                      <a:pt x="50" y="69"/>
                    </a:lnTo>
                    <a:lnTo>
                      <a:pt x="53" y="66"/>
                    </a:lnTo>
                    <a:lnTo>
                      <a:pt x="55" y="63"/>
                    </a:lnTo>
                    <a:lnTo>
                      <a:pt x="56" y="58"/>
                    </a:lnTo>
                    <a:lnTo>
                      <a:pt x="56" y="52"/>
                    </a:lnTo>
                    <a:lnTo>
                      <a:pt x="55" y="39"/>
                    </a:lnTo>
                    <a:lnTo>
                      <a:pt x="49" y="25"/>
                    </a:lnTo>
                    <a:lnTo>
                      <a:pt x="41" y="12"/>
                    </a:lnTo>
                    <a:lnTo>
                      <a:pt x="30" y="4"/>
                    </a:lnTo>
                    <a:lnTo>
                      <a:pt x="24" y="1"/>
                    </a:lnTo>
                    <a:lnTo>
                      <a:pt x="18" y="0"/>
                    </a:lnTo>
                    <a:lnTo>
                      <a:pt x="12" y="1"/>
                    </a:lnTo>
                    <a:close/>
                    <a:moveTo>
                      <a:pt x="11" y="4"/>
                    </a:moveTo>
                    <a:lnTo>
                      <a:pt x="13" y="3"/>
                    </a:lnTo>
                    <a:lnTo>
                      <a:pt x="18" y="3"/>
                    </a:lnTo>
                    <a:lnTo>
                      <a:pt x="24" y="3"/>
                    </a:lnTo>
                    <a:lnTo>
                      <a:pt x="30" y="6"/>
                    </a:lnTo>
                    <a:lnTo>
                      <a:pt x="39" y="13"/>
                    </a:lnTo>
                    <a:lnTo>
                      <a:pt x="48" y="25"/>
                    </a:lnTo>
                    <a:lnTo>
                      <a:pt x="54" y="39"/>
                    </a:lnTo>
                    <a:lnTo>
                      <a:pt x="55" y="52"/>
                    </a:lnTo>
                    <a:lnTo>
                      <a:pt x="55" y="57"/>
                    </a:lnTo>
                    <a:lnTo>
                      <a:pt x="54" y="60"/>
                    </a:lnTo>
                    <a:lnTo>
                      <a:pt x="51" y="64"/>
                    </a:lnTo>
                    <a:lnTo>
                      <a:pt x="49" y="67"/>
                    </a:lnTo>
                    <a:lnTo>
                      <a:pt x="48" y="69"/>
                    </a:lnTo>
                    <a:lnTo>
                      <a:pt x="47" y="69"/>
                    </a:lnTo>
                    <a:lnTo>
                      <a:pt x="37" y="71"/>
                    </a:lnTo>
                    <a:lnTo>
                      <a:pt x="27" y="67"/>
                    </a:lnTo>
                    <a:lnTo>
                      <a:pt x="17" y="59"/>
                    </a:lnTo>
                    <a:lnTo>
                      <a:pt x="8" y="48"/>
                    </a:lnTo>
                    <a:lnTo>
                      <a:pt x="3" y="34"/>
                    </a:lnTo>
                    <a:lnTo>
                      <a:pt x="1" y="22"/>
                    </a:lnTo>
                    <a:lnTo>
                      <a:pt x="2" y="16"/>
                    </a:lnTo>
                    <a:lnTo>
                      <a:pt x="3" y="11"/>
                    </a:lnTo>
                    <a:lnTo>
                      <a:pt x="7" y="6"/>
                    </a:lnTo>
                    <a:lnTo>
                      <a:pt x="11" y="4"/>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67" name="Freeform 317">
                <a:extLst>
                  <a:ext uri="{FF2B5EF4-FFF2-40B4-BE49-F238E27FC236}">
                    <a16:creationId xmlns:a16="http://schemas.microsoft.com/office/drawing/2014/main" id="{1F74ABF2-1D74-4321-AB27-3ABE496B7002}"/>
                  </a:ext>
                </a:extLst>
              </p:cNvPr>
              <p:cNvSpPr>
                <a:spLocks noEditPoints="1"/>
              </p:cNvSpPr>
              <p:nvPr/>
            </p:nvSpPr>
            <p:spPr bwMode="gray">
              <a:xfrm>
                <a:off x="2051455" y="1845788"/>
                <a:ext cx="31060" cy="39113"/>
              </a:xfrm>
              <a:custGeom>
                <a:avLst/>
                <a:gdLst>
                  <a:gd name="T0" fmla="*/ 12 w 54"/>
                  <a:gd name="T1" fmla="*/ 0 h 68"/>
                  <a:gd name="T2" fmla="*/ 10 w 54"/>
                  <a:gd name="T3" fmla="*/ 1 h 68"/>
                  <a:gd name="T4" fmla="*/ 6 w 54"/>
                  <a:gd name="T5" fmla="*/ 3 h 68"/>
                  <a:gd name="T6" fmla="*/ 2 w 54"/>
                  <a:gd name="T7" fmla="*/ 8 h 68"/>
                  <a:gd name="T8" fmla="*/ 1 w 54"/>
                  <a:gd name="T9" fmla="*/ 13 h 68"/>
                  <a:gd name="T10" fmla="*/ 0 w 54"/>
                  <a:gd name="T11" fmla="*/ 19 h 68"/>
                  <a:gd name="T12" fmla="*/ 2 w 54"/>
                  <a:gd name="T13" fmla="*/ 31 h 68"/>
                  <a:gd name="T14" fmla="*/ 7 w 54"/>
                  <a:gd name="T15" fmla="*/ 45 h 68"/>
                  <a:gd name="T16" fmla="*/ 16 w 54"/>
                  <a:gd name="T17" fmla="*/ 56 h 68"/>
                  <a:gd name="T18" fmla="*/ 26 w 54"/>
                  <a:gd name="T19" fmla="*/ 64 h 68"/>
                  <a:gd name="T20" fmla="*/ 36 w 54"/>
                  <a:gd name="T21" fmla="*/ 68 h 68"/>
                  <a:gd name="T22" fmla="*/ 46 w 54"/>
                  <a:gd name="T23" fmla="*/ 66 h 68"/>
                  <a:gd name="T24" fmla="*/ 47 w 54"/>
                  <a:gd name="T25" fmla="*/ 66 h 68"/>
                  <a:gd name="T26" fmla="*/ 48 w 54"/>
                  <a:gd name="T27" fmla="*/ 64 h 68"/>
                  <a:gd name="T28" fmla="*/ 50 w 54"/>
                  <a:gd name="T29" fmla="*/ 61 h 68"/>
                  <a:gd name="T30" fmla="*/ 53 w 54"/>
                  <a:gd name="T31" fmla="*/ 57 h 68"/>
                  <a:gd name="T32" fmla="*/ 54 w 54"/>
                  <a:gd name="T33" fmla="*/ 54 h 68"/>
                  <a:gd name="T34" fmla="*/ 54 w 54"/>
                  <a:gd name="T35" fmla="*/ 49 h 68"/>
                  <a:gd name="T36" fmla="*/ 53 w 54"/>
                  <a:gd name="T37" fmla="*/ 36 h 68"/>
                  <a:gd name="T38" fmla="*/ 47 w 54"/>
                  <a:gd name="T39" fmla="*/ 22 h 68"/>
                  <a:gd name="T40" fmla="*/ 38 w 54"/>
                  <a:gd name="T41" fmla="*/ 10 h 68"/>
                  <a:gd name="T42" fmla="*/ 29 w 54"/>
                  <a:gd name="T43" fmla="*/ 3 h 68"/>
                  <a:gd name="T44" fmla="*/ 23 w 54"/>
                  <a:gd name="T45" fmla="*/ 0 h 68"/>
                  <a:gd name="T46" fmla="*/ 17 w 54"/>
                  <a:gd name="T47" fmla="*/ 0 h 68"/>
                  <a:gd name="T48" fmla="*/ 12 w 54"/>
                  <a:gd name="T49" fmla="*/ 0 h 68"/>
                  <a:gd name="T50" fmla="*/ 11 w 54"/>
                  <a:gd name="T51" fmla="*/ 4 h 68"/>
                  <a:gd name="T52" fmla="*/ 13 w 54"/>
                  <a:gd name="T53" fmla="*/ 3 h 68"/>
                  <a:gd name="T54" fmla="*/ 18 w 54"/>
                  <a:gd name="T55" fmla="*/ 3 h 68"/>
                  <a:gd name="T56" fmla="*/ 23 w 54"/>
                  <a:gd name="T57" fmla="*/ 3 h 68"/>
                  <a:gd name="T58" fmla="*/ 28 w 54"/>
                  <a:gd name="T59" fmla="*/ 6 h 68"/>
                  <a:gd name="T60" fmla="*/ 35 w 54"/>
                  <a:gd name="T61" fmla="*/ 10 h 68"/>
                  <a:gd name="T62" fmla="*/ 40 w 54"/>
                  <a:gd name="T63" fmla="*/ 16 h 68"/>
                  <a:gd name="T64" fmla="*/ 46 w 54"/>
                  <a:gd name="T65" fmla="*/ 24 h 68"/>
                  <a:gd name="T66" fmla="*/ 50 w 54"/>
                  <a:gd name="T67" fmla="*/ 36 h 68"/>
                  <a:gd name="T68" fmla="*/ 52 w 54"/>
                  <a:gd name="T69" fmla="*/ 48 h 68"/>
                  <a:gd name="T70" fmla="*/ 50 w 54"/>
                  <a:gd name="T71" fmla="*/ 54 h 68"/>
                  <a:gd name="T72" fmla="*/ 48 w 54"/>
                  <a:gd name="T73" fmla="*/ 58 h 68"/>
                  <a:gd name="T74" fmla="*/ 46 w 54"/>
                  <a:gd name="T75" fmla="*/ 62 h 68"/>
                  <a:gd name="T76" fmla="*/ 43 w 54"/>
                  <a:gd name="T77" fmla="*/ 63 h 68"/>
                  <a:gd name="T78" fmla="*/ 40 w 54"/>
                  <a:gd name="T79" fmla="*/ 64 h 68"/>
                  <a:gd name="T80" fmla="*/ 35 w 54"/>
                  <a:gd name="T81" fmla="*/ 64 h 68"/>
                  <a:gd name="T82" fmla="*/ 30 w 54"/>
                  <a:gd name="T83" fmla="*/ 63 h 68"/>
                  <a:gd name="T84" fmla="*/ 25 w 54"/>
                  <a:gd name="T85" fmla="*/ 62 h 68"/>
                  <a:gd name="T86" fmla="*/ 19 w 54"/>
                  <a:gd name="T87" fmla="*/ 57 h 68"/>
                  <a:gd name="T88" fmla="*/ 13 w 54"/>
                  <a:gd name="T89" fmla="*/ 51 h 68"/>
                  <a:gd name="T90" fmla="*/ 8 w 54"/>
                  <a:gd name="T91" fmla="*/ 44 h 68"/>
                  <a:gd name="T92" fmla="*/ 4 w 54"/>
                  <a:gd name="T93" fmla="*/ 32 h 68"/>
                  <a:gd name="T94" fmla="*/ 2 w 54"/>
                  <a:gd name="T95" fmla="*/ 20 h 68"/>
                  <a:gd name="T96" fmla="*/ 4 w 54"/>
                  <a:gd name="T97" fmla="*/ 15 h 68"/>
                  <a:gd name="T98" fmla="*/ 5 w 54"/>
                  <a:gd name="T99" fmla="*/ 10 h 68"/>
                  <a:gd name="T100" fmla="*/ 7 w 54"/>
                  <a:gd name="T101" fmla="*/ 7 h 68"/>
                  <a:gd name="T102" fmla="*/ 11 w 54"/>
                  <a:gd name="T103" fmla="*/ 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 h="68">
                    <a:moveTo>
                      <a:pt x="12" y="0"/>
                    </a:moveTo>
                    <a:lnTo>
                      <a:pt x="10" y="1"/>
                    </a:lnTo>
                    <a:lnTo>
                      <a:pt x="6" y="3"/>
                    </a:lnTo>
                    <a:lnTo>
                      <a:pt x="2" y="8"/>
                    </a:lnTo>
                    <a:lnTo>
                      <a:pt x="1" y="13"/>
                    </a:lnTo>
                    <a:lnTo>
                      <a:pt x="0" y="19"/>
                    </a:lnTo>
                    <a:lnTo>
                      <a:pt x="2" y="31"/>
                    </a:lnTo>
                    <a:lnTo>
                      <a:pt x="7" y="45"/>
                    </a:lnTo>
                    <a:lnTo>
                      <a:pt x="16" y="56"/>
                    </a:lnTo>
                    <a:lnTo>
                      <a:pt x="26" y="64"/>
                    </a:lnTo>
                    <a:lnTo>
                      <a:pt x="36" y="68"/>
                    </a:lnTo>
                    <a:lnTo>
                      <a:pt x="46" y="66"/>
                    </a:lnTo>
                    <a:lnTo>
                      <a:pt x="47" y="66"/>
                    </a:lnTo>
                    <a:lnTo>
                      <a:pt x="48" y="64"/>
                    </a:lnTo>
                    <a:lnTo>
                      <a:pt x="50" y="61"/>
                    </a:lnTo>
                    <a:lnTo>
                      <a:pt x="53" y="57"/>
                    </a:lnTo>
                    <a:lnTo>
                      <a:pt x="54" y="54"/>
                    </a:lnTo>
                    <a:lnTo>
                      <a:pt x="54" y="49"/>
                    </a:lnTo>
                    <a:lnTo>
                      <a:pt x="53" y="36"/>
                    </a:lnTo>
                    <a:lnTo>
                      <a:pt x="47" y="22"/>
                    </a:lnTo>
                    <a:lnTo>
                      <a:pt x="38" y="10"/>
                    </a:lnTo>
                    <a:lnTo>
                      <a:pt x="29" y="3"/>
                    </a:lnTo>
                    <a:lnTo>
                      <a:pt x="23" y="0"/>
                    </a:lnTo>
                    <a:lnTo>
                      <a:pt x="17" y="0"/>
                    </a:lnTo>
                    <a:lnTo>
                      <a:pt x="12" y="0"/>
                    </a:lnTo>
                    <a:close/>
                    <a:moveTo>
                      <a:pt x="11" y="4"/>
                    </a:moveTo>
                    <a:lnTo>
                      <a:pt x="13" y="3"/>
                    </a:lnTo>
                    <a:lnTo>
                      <a:pt x="18" y="3"/>
                    </a:lnTo>
                    <a:lnTo>
                      <a:pt x="23" y="3"/>
                    </a:lnTo>
                    <a:lnTo>
                      <a:pt x="28" y="6"/>
                    </a:lnTo>
                    <a:lnTo>
                      <a:pt x="35" y="10"/>
                    </a:lnTo>
                    <a:lnTo>
                      <a:pt x="40" y="16"/>
                    </a:lnTo>
                    <a:lnTo>
                      <a:pt x="46" y="24"/>
                    </a:lnTo>
                    <a:lnTo>
                      <a:pt x="50" y="36"/>
                    </a:lnTo>
                    <a:lnTo>
                      <a:pt x="52" y="48"/>
                    </a:lnTo>
                    <a:lnTo>
                      <a:pt x="50" y="54"/>
                    </a:lnTo>
                    <a:lnTo>
                      <a:pt x="48" y="58"/>
                    </a:lnTo>
                    <a:lnTo>
                      <a:pt x="46" y="62"/>
                    </a:lnTo>
                    <a:lnTo>
                      <a:pt x="43" y="63"/>
                    </a:lnTo>
                    <a:lnTo>
                      <a:pt x="40" y="64"/>
                    </a:lnTo>
                    <a:lnTo>
                      <a:pt x="35" y="64"/>
                    </a:lnTo>
                    <a:lnTo>
                      <a:pt x="30" y="63"/>
                    </a:lnTo>
                    <a:lnTo>
                      <a:pt x="25" y="62"/>
                    </a:lnTo>
                    <a:lnTo>
                      <a:pt x="19" y="57"/>
                    </a:lnTo>
                    <a:lnTo>
                      <a:pt x="13" y="51"/>
                    </a:lnTo>
                    <a:lnTo>
                      <a:pt x="8" y="44"/>
                    </a:lnTo>
                    <a:lnTo>
                      <a:pt x="4" y="32"/>
                    </a:lnTo>
                    <a:lnTo>
                      <a:pt x="2" y="20"/>
                    </a:lnTo>
                    <a:lnTo>
                      <a:pt x="4" y="15"/>
                    </a:lnTo>
                    <a:lnTo>
                      <a:pt x="5" y="10"/>
                    </a:lnTo>
                    <a:lnTo>
                      <a:pt x="7" y="7"/>
                    </a:lnTo>
                    <a:lnTo>
                      <a:pt x="11" y="4"/>
                    </a:lnTo>
                    <a:close/>
                  </a:path>
                </a:pathLst>
              </a:custGeom>
              <a:solidFill>
                <a:srgbClr val="8C8C8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68" name="Freeform 318">
                <a:extLst>
                  <a:ext uri="{FF2B5EF4-FFF2-40B4-BE49-F238E27FC236}">
                    <a16:creationId xmlns:a16="http://schemas.microsoft.com/office/drawing/2014/main" id="{9774E741-5580-4CBB-9A42-87C2692BE691}"/>
                  </a:ext>
                </a:extLst>
              </p:cNvPr>
              <p:cNvSpPr>
                <a:spLocks/>
              </p:cNvSpPr>
              <p:nvPr/>
            </p:nvSpPr>
            <p:spPr bwMode="gray">
              <a:xfrm>
                <a:off x="2052605" y="1847513"/>
                <a:ext cx="28760" cy="35087"/>
              </a:xfrm>
              <a:custGeom>
                <a:avLst/>
                <a:gdLst>
                  <a:gd name="T0" fmla="*/ 11 w 50"/>
                  <a:gd name="T1" fmla="*/ 0 h 61"/>
                  <a:gd name="T2" fmla="*/ 9 w 50"/>
                  <a:gd name="T3" fmla="*/ 1 h 61"/>
                  <a:gd name="T4" fmla="*/ 5 w 50"/>
                  <a:gd name="T5" fmla="*/ 4 h 61"/>
                  <a:gd name="T6" fmla="*/ 3 w 50"/>
                  <a:gd name="T7" fmla="*/ 7 h 61"/>
                  <a:gd name="T8" fmla="*/ 2 w 50"/>
                  <a:gd name="T9" fmla="*/ 12 h 61"/>
                  <a:gd name="T10" fmla="*/ 0 w 50"/>
                  <a:gd name="T11" fmla="*/ 17 h 61"/>
                  <a:gd name="T12" fmla="*/ 2 w 50"/>
                  <a:gd name="T13" fmla="*/ 29 h 61"/>
                  <a:gd name="T14" fmla="*/ 6 w 50"/>
                  <a:gd name="T15" fmla="*/ 41 h 61"/>
                  <a:gd name="T16" fmla="*/ 11 w 50"/>
                  <a:gd name="T17" fmla="*/ 48 h 61"/>
                  <a:gd name="T18" fmla="*/ 17 w 50"/>
                  <a:gd name="T19" fmla="*/ 54 h 61"/>
                  <a:gd name="T20" fmla="*/ 23 w 50"/>
                  <a:gd name="T21" fmla="*/ 59 h 61"/>
                  <a:gd name="T22" fmla="*/ 28 w 50"/>
                  <a:gd name="T23" fmla="*/ 60 h 61"/>
                  <a:gd name="T24" fmla="*/ 33 w 50"/>
                  <a:gd name="T25" fmla="*/ 61 h 61"/>
                  <a:gd name="T26" fmla="*/ 38 w 50"/>
                  <a:gd name="T27" fmla="*/ 61 h 61"/>
                  <a:gd name="T28" fmla="*/ 41 w 50"/>
                  <a:gd name="T29" fmla="*/ 60 h 61"/>
                  <a:gd name="T30" fmla="*/ 44 w 50"/>
                  <a:gd name="T31" fmla="*/ 59 h 61"/>
                  <a:gd name="T32" fmla="*/ 46 w 50"/>
                  <a:gd name="T33" fmla="*/ 55 h 61"/>
                  <a:gd name="T34" fmla="*/ 48 w 50"/>
                  <a:gd name="T35" fmla="*/ 51 h 61"/>
                  <a:gd name="T36" fmla="*/ 50 w 50"/>
                  <a:gd name="T37" fmla="*/ 45 h 61"/>
                  <a:gd name="T38" fmla="*/ 48 w 50"/>
                  <a:gd name="T39" fmla="*/ 33 h 61"/>
                  <a:gd name="T40" fmla="*/ 44 w 50"/>
                  <a:gd name="T41" fmla="*/ 21 h 61"/>
                  <a:gd name="T42" fmla="*/ 38 w 50"/>
                  <a:gd name="T43" fmla="*/ 13 h 61"/>
                  <a:gd name="T44" fmla="*/ 33 w 50"/>
                  <a:gd name="T45" fmla="*/ 7 h 61"/>
                  <a:gd name="T46" fmla="*/ 26 w 50"/>
                  <a:gd name="T47" fmla="*/ 3 h 61"/>
                  <a:gd name="T48" fmla="*/ 21 w 50"/>
                  <a:gd name="T49" fmla="*/ 0 h 61"/>
                  <a:gd name="T50" fmla="*/ 16 w 50"/>
                  <a:gd name="T51" fmla="*/ 0 h 61"/>
                  <a:gd name="T52" fmla="*/ 11 w 50"/>
                  <a:gd name="T5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61">
                    <a:moveTo>
                      <a:pt x="11" y="0"/>
                    </a:moveTo>
                    <a:lnTo>
                      <a:pt x="9" y="1"/>
                    </a:lnTo>
                    <a:lnTo>
                      <a:pt x="5" y="4"/>
                    </a:lnTo>
                    <a:lnTo>
                      <a:pt x="3" y="7"/>
                    </a:lnTo>
                    <a:lnTo>
                      <a:pt x="2" y="12"/>
                    </a:lnTo>
                    <a:lnTo>
                      <a:pt x="0" y="17"/>
                    </a:lnTo>
                    <a:lnTo>
                      <a:pt x="2" y="29"/>
                    </a:lnTo>
                    <a:lnTo>
                      <a:pt x="6" y="41"/>
                    </a:lnTo>
                    <a:lnTo>
                      <a:pt x="11" y="48"/>
                    </a:lnTo>
                    <a:lnTo>
                      <a:pt x="17" y="54"/>
                    </a:lnTo>
                    <a:lnTo>
                      <a:pt x="23" y="59"/>
                    </a:lnTo>
                    <a:lnTo>
                      <a:pt x="28" y="60"/>
                    </a:lnTo>
                    <a:lnTo>
                      <a:pt x="33" y="61"/>
                    </a:lnTo>
                    <a:lnTo>
                      <a:pt x="38" y="61"/>
                    </a:lnTo>
                    <a:lnTo>
                      <a:pt x="41" y="60"/>
                    </a:lnTo>
                    <a:lnTo>
                      <a:pt x="44" y="59"/>
                    </a:lnTo>
                    <a:lnTo>
                      <a:pt x="46" y="55"/>
                    </a:lnTo>
                    <a:lnTo>
                      <a:pt x="48" y="51"/>
                    </a:lnTo>
                    <a:lnTo>
                      <a:pt x="50" y="45"/>
                    </a:lnTo>
                    <a:lnTo>
                      <a:pt x="48" y="33"/>
                    </a:lnTo>
                    <a:lnTo>
                      <a:pt x="44" y="21"/>
                    </a:lnTo>
                    <a:lnTo>
                      <a:pt x="38" y="13"/>
                    </a:lnTo>
                    <a:lnTo>
                      <a:pt x="33" y="7"/>
                    </a:lnTo>
                    <a:lnTo>
                      <a:pt x="26" y="3"/>
                    </a:lnTo>
                    <a:lnTo>
                      <a:pt x="21" y="0"/>
                    </a:lnTo>
                    <a:lnTo>
                      <a:pt x="16" y="0"/>
                    </a:lnTo>
                    <a:lnTo>
                      <a:pt x="11" y="0"/>
                    </a:lnTo>
                    <a:close/>
                  </a:path>
                </a:pathLst>
              </a:custGeom>
              <a:solidFill>
                <a:srgbClr val="B7B7B7"/>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69" name="Freeform 319">
                <a:extLst>
                  <a:ext uri="{FF2B5EF4-FFF2-40B4-BE49-F238E27FC236}">
                    <a16:creationId xmlns:a16="http://schemas.microsoft.com/office/drawing/2014/main" id="{BB693D65-E361-4B75-84FE-967E7B0A2A05}"/>
                  </a:ext>
                </a:extLst>
              </p:cNvPr>
              <p:cNvSpPr>
                <a:spLocks/>
              </p:cNvSpPr>
              <p:nvPr/>
            </p:nvSpPr>
            <p:spPr bwMode="gray">
              <a:xfrm>
                <a:off x="2057782" y="1842912"/>
                <a:ext cx="28760" cy="40839"/>
              </a:xfrm>
              <a:custGeom>
                <a:avLst/>
                <a:gdLst>
                  <a:gd name="T0" fmla="*/ 2 w 50"/>
                  <a:gd name="T1" fmla="*/ 1 h 71"/>
                  <a:gd name="T2" fmla="*/ 0 w 50"/>
                  <a:gd name="T3" fmla="*/ 3 h 71"/>
                  <a:gd name="T4" fmla="*/ 6 w 50"/>
                  <a:gd name="T5" fmla="*/ 2 h 71"/>
                  <a:gd name="T6" fmla="*/ 12 w 50"/>
                  <a:gd name="T7" fmla="*/ 3 h 71"/>
                  <a:gd name="T8" fmla="*/ 18 w 50"/>
                  <a:gd name="T9" fmla="*/ 6 h 71"/>
                  <a:gd name="T10" fmla="*/ 29 w 50"/>
                  <a:gd name="T11" fmla="*/ 14 h 71"/>
                  <a:gd name="T12" fmla="*/ 37 w 50"/>
                  <a:gd name="T13" fmla="*/ 27 h 71"/>
                  <a:gd name="T14" fmla="*/ 43 w 50"/>
                  <a:gd name="T15" fmla="*/ 41 h 71"/>
                  <a:gd name="T16" fmla="*/ 44 w 50"/>
                  <a:gd name="T17" fmla="*/ 54 h 71"/>
                  <a:gd name="T18" fmla="*/ 44 w 50"/>
                  <a:gd name="T19" fmla="*/ 60 h 71"/>
                  <a:gd name="T20" fmla="*/ 43 w 50"/>
                  <a:gd name="T21" fmla="*/ 65 h 71"/>
                  <a:gd name="T22" fmla="*/ 41 w 50"/>
                  <a:gd name="T23" fmla="*/ 68 h 71"/>
                  <a:gd name="T24" fmla="*/ 38 w 50"/>
                  <a:gd name="T25" fmla="*/ 71 h 71"/>
                  <a:gd name="T26" fmla="*/ 41 w 50"/>
                  <a:gd name="T27" fmla="*/ 69 h 71"/>
                  <a:gd name="T28" fmla="*/ 44 w 50"/>
                  <a:gd name="T29" fmla="*/ 67 h 71"/>
                  <a:gd name="T30" fmla="*/ 47 w 50"/>
                  <a:gd name="T31" fmla="*/ 62 h 71"/>
                  <a:gd name="T32" fmla="*/ 49 w 50"/>
                  <a:gd name="T33" fmla="*/ 57 h 71"/>
                  <a:gd name="T34" fmla="*/ 50 w 50"/>
                  <a:gd name="T35" fmla="*/ 51 h 71"/>
                  <a:gd name="T36" fmla="*/ 48 w 50"/>
                  <a:gd name="T37" fmla="*/ 38 h 71"/>
                  <a:gd name="T38" fmla="*/ 43 w 50"/>
                  <a:gd name="T39" fmla="*/ 24 h 71"/>
                  <a:gd name="T40" fmla="*/ 33 w 50"/>
                  <a:gd name="T41" fmla="*/ 12 h 71"/>
                  <a:gd name="T42" fmla="*/ 23 w 50"/>
                  <a:gd name="T43" fmla="*/ 3 h 71"/>
                  <a:gd name="T44" fmla="*/ 12 w 50"/>
                  <a:gd name="T45" fmla="*/ 0 h 71"/>
                  <a:gd name="T46" fmla="*/ 2 w 50"/>
                  <a:gd name="T47"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71">
                    <a:moveTo>
                      <a:pt x="2" y="1"/>
                    </a:moveTo>
                    <a:lnTo>
                      <a:pt x="0" y="3"/>
                    </a:lnTo>
                    <a:lnTo>
                      <a:pt x="6" y="2"/>
                    </a:lnTo>
                    <a:lnTo>
                      <a:pt x="12" y="3"/>
                    </a:lnTo>
                    <a:lnTo>
                      <a:pt x="18" y="6"/>
                    </a:lnTo>
                    <a:lnTo>
                      <a:pt x="29" y="14"/>
                    </a:lnTo>
                    <a:lnTo>
                      <a:pt x="37" y="27"/>
                    </a:lnTo>
                    <a:lnTo>
                      <a:pt x="43" y="41"/>
                    </a:lnTo>
                    <a:lnTo>
                      <a:pt x="44" y="54"/>
                    </a:lnTo>
                    <a:lnTo>
                      <a:pt x="44" y="60"/>
                    </a:lnTo>
                    <a:lnTo>
                      <a:pt x="43" y="65"/>
                    </a:lnTo>
                    <a:lnTo>
                      <a:pt x="41" y="68"/>
                    </a:lnTo>
                    <a:lnTo>
                      <a:pt x="38" y="71"/>
                    </a:lnTo>
                    <a:lnTo>
                      <a:pt x="41" y="69"/>
                    </a:lnTo>
                    <a:lnTo>
                      <a:pt x="44" y="67"/>
                    </a:lnTo>
                    <a:lnTo>
                      <a:pt x="47" y="62"/>
                    </a:lnTo>
                    <a:lnTo>
                      <a:pt x="49" y="57"/>
                    </a:lnTo>
                    <a:lnTo>
                      <a:pt x="50" y="51"/>
                    </a:lnTo>
                    <a:lnTo>
                      <a:pt x="48" y="38"/>
                    </a:lnTo>
                    <a:lnTo>
                      <a:pt x="43" y="24"/>
                    </a:lnTo>
                    <a:lnTo>
                      <a:pt x="33" y="12"/>
                    </a:lnTo>
                    <a:lnTo>
                      <a:pt x="23" y="3"/>
                    </a:lnTo>
                    <a:lnTo>
                      <a:pt x="12" y="0"/>
                    </a:lnTo>
                    <a:lnTo>
                      <a:pt x="2" y="1"/>
                    </a:lnTo>
                    <a:close/>
                  </a:path>
                </a:pathLst>
              </a:custGeom>
              <a:solidFill>
                <a:srgbClr val="8C8C8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70" name="Freeform 320">
                <a:extLst>
                  <a:ext uri="{FF2B5EF4-FFF2-40B4-BE49-F238E27FC236}">
                    <a16:creationId xmlns:a16="http://schemas.microsoft.com/office/drawing/2014/main" id="{46B0A134-4EA3-4F72-8962-1C9A0F35D48B}"/>
                  </a:ext>
                </a:extLst>
              </p:cNvPr>
              <p:cNvSpPr>
                <a:spLocks/>
              </p:cNvSpPr>
              <p:nvPr/>
            </p:nvSpPr>
            <p:spPr bwMode="gray">
              <a:xfrm>
                <a:off x="2054331" y="1849239"/>
                <a:ext cx="17831" cy="25884"/>
              </a:xfrm>
              <a:custGeom>
                <a:avLst/>
                <a:gdLst>
                  <a:gd name="T0" fmla="*/ 9 w 31"/>
                  <a:gd name="T1" fmla="*/ 1 h 45"/>
                  <a:gd name="T2" fmla="*/ 7 w 31"/>
                  <a:gd name="T3" fmla="*/ 1 h 45"/>
                  <a:gd name="T4" fmla="*/ 5 w 31"/>
                  <a:gd name="T5" fmla="*/ 3 h 45"/>
                  <a:gd name="T6" fmla="*/ 2 w 31"/>
                  <a:gd name="T7" fmla="*/ 7 h 45"/>
                  <a:gd name="T8" fmla="*/ 1 w 31"/>
                  <a:gd name="T9" fmla="*/ 10 h 45"/>
                  <a:gd name="T10" fmla="*/ 0 w 31"/>
                  <a:gd name="T11" fmla="*/ 15 h 45"/>
                  <a:gd name="T12" fmla="*/ 1 w 31"/>
                  <a:gd name="T13" fmla="*/ 25 h 45"/>
                  <a:gd name="T14" fmla="*/ 6 w 31"/>
                  <a:gd name="T15" fmla="*/ 36 h 45"/>
                  <a:gd name="T16" fmla="*/ 8 w 31"/>
                  <a:gd name="T17" fmla="*/ 40 h 45"/>
                  <a:gd name="T18" fmla="*/ 13 w 31"/>
                  <a:gd name="T19" fmla="*/ 45 h 45"/>
                  <a:gd name="T20" fmla="*/ 12 w 31"/>
                  <a:gd name="T21" fmla="*/ 40 h 45"/>
                  <a:gd name="T22" fmla="*/ 13 w 31"/>
                  <a:gd name="T23" fmla="*/ 34 h 45"/>
                  <a:gd name="T24" fmla="*/ 17 w 31"/>
                  <a:gd name="T25" fmla="*/ 30 h 45"/>
                  <a:gd name="T26" fmla="*/ 25 w 31"/>
                  <a:gd name="T27" fmla="*/ 20 h 45"/>
                  <a:gd name="T28" fmla="*/ 31 w 31"/>
                  <a:gd name="T29" fmla="*/ 9 h 45"/>
                  <a:gd name="T30" fmla="*/ 26 w 31"/>
                  <a:gd name="T31" fmla="*/ 6 h 45"/>
                  <a:gd name="T32" fmla="*/ 21 w 31"/>
                  <a:gd name="T33" fmla="*/ 2 h 45"/>
                  <a:gd name="T34" fmla="*/ 18 w 31"/>
                  <a:gd name="T35" fmla="*/ 1 h 45"/>
                  <a:gd name="T36" fmla="*/ 13 w 31"/>
                  <a:gd name="T37" fmla="*/ 0 h 45"/>
                  <a:gd name="T38" fmla="*/ 9 w 31"/>
                  <a:gd name="T39"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45">
                    <a:moveTo>
                      <a:pt x="9" y="1"/>
                    </a:moveTo>
                    <a:lnTo>
                      <a:pt x="7" y="1"/>
                    </a:lnTo>
                    <a:lnTo>
                      <a:pt x="5" y="3"/>
                    </a:lnTo>
                    <a:lnTo>
                      <a:pt x="2" y="7"/>
                    </a:lnTo>
                    <a:lnTo>
                      <a:pt x="1" y="10"/>
                    </a:lnTo>
                    <a:lnTo>
                      <a:pt x="0" y="15"/>
                    </a:lnTo>
                    <a:lnTo>
                      <a:pt x="1" y="25"/>
                    </a:lnTo>
                    <a:lnTo>
                      <a:pt x="6" y="36"/>
                    </a:lnTo>
                    <a:lnTo>
                      <a:pt x="8" y="40"/>
                    </a:lnTo>
                    <a:lnTo>
                      <a:pt x="13" y="45"/>
                    </a:lnTo>
                    <a:lnTo>
                      <a:pt x="12" y="40"/>
                    </a:lnTo>
                    <a:lnTo>
                      <a:pt x="13" y="34"/>
                    </a:lnTo>
                    <a:lnTo>
                      <a:pt x="17" y="30"/>
                    </a:lnTo>
                    <a:lnTo>
                      <a:pt x="25" y="20"/>
                    </a:lnTo>
                    <a:lnTo>
                      <a:pt x="31" y="9"/>
                    </a:lnTo>
                    <a:lnTo>
                      <a:pt x="26" y="6"/>
                    </a:lnTo>
                    <a:lnTo>
                      <a:pt x="21" y="2"/>
                    </a:lnTo>
                    <a:lnTo>
                      <a:pt x="18" y="1"/>
                    </a:lnTo>
                    <a:lnTo>
                      <a:pt x="13" y="0"/>
                    </a:lnTo>
                    <a:lnTo>
                      <a:pt x="9" y="1"/>
                    </a:lnTo>
                    <a:close/>
                  </a:path>
                </a:pathLst>
              </a:custGeom>
              <a:solidFill>
                <a:srgbClr val="C8C8C8"/>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71" name="Freeform 321">
                <a:extLst>
                  <a:ext uri="{FF2B5EF4-FFF2-40B4-BE49-F238E27FC236}">
                    <a16:creationId xmlns:a16="http://schemas.microsoft.com/office/drawing/2014/main" id="{061CABE8-7731-4317-8810-46CC8486E265}"/>
                  </a:ext>
                </a:extLst>
              </p:cNvPr>
              <p:cNvSpPr>
                <a:spLocks noEditPoints="1"/>
              </p:cNvSpPr>
              <p:nvPr/>
            </p:nvSpPr>
            <p:spPr bwMode="gray">
              <a:xfrm>
                <a:off x="2007740" y="1779066"/>
                <a:ext cx="130569" cy="166806"/>
              </a:xfrm>
              <a:custGeom>
                <a:avLst/>
                <a:gdLst>
                  <a:gd name="T0" fmla="*/ 42 w 227"/>
                  <a:gd name="T1" fmla="*/ 5 h 290"/>
                  <a:gd name="T2" fmla="*/ 22 w 227"/>
                  <a:gd name="T3" fmla="*/ 20 h 290"/>
                  <a:gd name="T4" fmla="*/ 4 w 227"/>
                  <a:gd name="T5" fmla="*/ 57 h 290"/>
                  <a:gd name="T6" fmla="*/ 3 w 227"/>
                  <a:gd name="T7" fmla="*/ 117 h 290"/>
                  <a:gd name="T8" fmla="*/ 29 w 227"/>
                  <a:gd name="T9" fmla="*/ 191 h 290"/>
                  <a:gd name="T10" fmla="*/ 65 w 227"/>
                  <a:gd name="T11" fmla="*/ 240 h 290"/>
                  <a:gd name="T12" fmla="*/ 108 w 227"/>
                  <a:gd name="T13" fmla="*/ 274 h 290"/>
                  <a:gd name="T14" fmla="*/ 152 w 227"/>
                  <a:gd name="T15" fmla="*/ 290 h 290"/>
                  <a:gd name="T16" fmla="*/ 190 w 227"/>
                  <a:gd name="T17" fmla="*/ 281 h 290"/>
                  <a:gd name="T18" fmla="*/ 200 w 227"/>
                  <a:gd name="T19" fmla="*/ 274 h 290"/>
                  <a:gd name="T20" fmla="*/ 218 w 227"/>
                  <a:gd name="T21" fmla="*/ 251 h 290"/>
                  <a:gd name="T22" fmla="*/ 226 w 227"/>
                  <a:gd name="T23" fmla="*/ 224 h 290"/>
                  <a:gd name="T24" fmla="*/ 225 w 227"/>
                  <a:gd name="T25" fmla="*/ 172 h 290"/>
                  <a:gd name="T26" fmla="*/ 198 w 227"/>
                  <a:gd name="T27" fmla="*/ 98 h 290"/>
                  <a:gd name="T28" fmla="*/ 162 w 227"/>
                  <a:gd name="T29" fmla="*/ 50 h 290"/>
                  <a:gd name="T30" fmla="*/ 119 w 227"/>
                  <a:gd name="T31" fmla="*/ 15 h 290"/>
                  <a:gd name="T32" fmla="*/ 82 w 227"/>
                  <a:gd name="T33" fmla="*/ 0 h 290"/>
                  <a:gd name="T34" fmla="*/ 48 w 227"/>
                  <a:gd name="T35" fmla="*/ 4 h 290"/>
                  <a:gd name="T36" fmla="*/ 9 w 227"/>
                  <a:gd name="T37" fmla="*/ 60 h 290"/>
                  <a:gd name="T38" fmla="*/ 27 w 227"/>
                  <a:gd name="T39" fmla="*/ 26 h 290"/>
                  <a:gd name="T40" fmla="*/ 46 w 227"/>
                  <a:gd name="T41" fmla="*/ 12 h 290"/>
                  <a:gd name="T42" fmla="*/ 72 w 227"/>
                  <a:gd name="T43" fmla="*/ 8 h 290"/>
                  <a:gd name="T44" fmla="*/ 119 w 227"/>
                  <a:gd name="T45" fmla="*/ 22 h 290"/>
                  <a:gd name="T46" fmla="*/ 160 w 227"/>
                  <a:gd name="T47" fmla="*/ 53 h 290"/>
                  <a:gd name="T48" fmla="*/ 194 w 227"/>
                  <a:gd name="T49" fmla="*/ 100 h 290"/>
                  <a:gd name="T50" fmla="*/ 219 w 227"/>
                  <a:gd name="T51" fmla="*/ 171 h 290"/>
                  <a:gd name="T52" fmla="*/ 219 w 227"/>
                  <a:gd name="T53" fmla="*/ 225 h 290"/>
                  <a:gd name="T54" fmla="*/ 207 w 227"/>
                  <a:gd name="T55" fmla="*/ 256 h 290"/>
                  <a:gd name="T56" fmla="*/ 191 w 227"/>
                  <a:gd name="T57" fmla="*/ 272 h 290"/>
                  <a:gd name="T58" fmla="*/ 168 w 227"/>
                  <a:gd name="T59" fmla="*/ 281 h 290"/>
                  <a:gd name="T60" fmla="*/ 130 w 227"/>
                  <a:gd name="T61" fmla="*/ 278 h 290"/>
                  <a:gd name="T62" fmla="*/ 87 w 227"/>
                  <a:gd name="T63" fmla="*/ 254 h 290"/>
                  <a:gd name="T64" fmla="*/ 50 w 227"/>
                  <a:gd name="T65" fmla="*/ 214 h 290"/>
                  <a:gd name="T66" fmla="*/ 17 w 227"/>
                  <a:gd name="T67" fmla="*/ 154 h 290"/>
                  <a:gd name="T68" fmla="*/ 6 w 227"/>
                  <a:gd name="T69" fmla="*/ 8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7" h="290">
                    <a:moveTo>
                      <a:pt x="48" y="4"/>
                    </a:moveTo>
                    <a:lnTo>
                      <a:pt x="42" y="5"/>
                    </a:lnTo>
                    <a:lnTo>
                      <a:pt x="38" y="8"/>
                    </a:lnTo>
                    <a:lnTo>
                      <a:pt x="22" y="20"/>
                    </a:lnTo>
                    <a:lnTo>
                      <a:pt x="11" y="36"/>
                    </a:lnTo>
                    <a:lnTo>
                      <a:pt x="4" y="57"/>
                    </a:lnTo>
                    <a:lnTo>
                      <a:pt x="0" y="81"/>
                    </a:lnTo>
                    <a:lnTo>
                      <a:pt x="3" y="117"/>
                    </a:lnTo>
                    <a:lnTo>
                      <a:pt x="12" y="154"/>
                    </a:lnTo>
                    <a:lnTo>
                      <a:pt x="29" y="191"/>
                    </a:lnTo>
                    <a:lnTo>
                      <a:pt x="46" y="218"/>
                    </a:lnTo>
                    <a:lnTo>
                      <a:pt x="65" y="240"/>
                    </a:lnTo>
                    <a:lnTo>
                      <a:pt x="86" y="260"/>
                    </a:lnTo>
                    <a:lnTo>
                      <a:pt x="108" y="274"/>
                    </a:lnTo>
                    <a:lnTo>
                      <a:pt x="131" y="285"/>
                    </a:lnTo>
                    <a:lnTo>
                      <a:pt x="152" y="290"/>
                    </a:lnTo>
                    <a:lnTo>
                      <a:pt x="172" y="288"/>
                    </a:lnTo>
                    <a:lnTo>
                      <a:pt x="190" y="281"/>
                    </a:lnTo>
                    <a:lnTo>
                      <a:pt x="195" y="278"/>
                    </a:lnTo>
                    <a:lnTo>
                      <a:pt x="200" y="274"/>
                    </a:lnTo>
                    <a:lnTo>
                      <a:pt x="210" y="264"/>
                    </a:lnTo>
                    <a:lnTo>
                      <a:pt x="218" y="251"/>
                    </a:lnTo>
                    <a:lnTo>
                      <a:pt x="222" y="237"/>
                    </a:lnTo>
                    <a:lnTo>
                      <a:pt x="226" y="224"/>
                    </a:lnTo>
                    <a:lnTo>
                      <a:pt x="227" y="208"/>
                    </a:lnTo>
                    <a:lnTo>
                      <a:pt x="225" y="172"/>
                    </a:lnTo>
                    <a:lnTo>
                      <a:pt x="215" y="136"/>
                    </a:lnTo>
                    <a:lnTo>
                      <a:pt x="198" y="98"/>
                    </a:lnTo>
                    <a:lnTo>
                      <a:pt x="182" y="71"/>
                    </a:lnTo>
                    <a:lnTo>
                      <a:pt x="162" y="50"/>
                    </a:lnTo>
                    <a:lnTo>
                      <a:pt x="142" y="30"/>
                    </a:lnTo>
                    <a:lnTo>
                      <a:pt x="119" y="15"/>
                    </a:lnTo>
                    <a:lnTo>
                      <a:pt x="100" y="6"/>
                    </a:lnTo>
                    <a:lnTo>
                      <a:pt x="82" y="0"/>
                    </a:lnTo>
                    <a:lnTo>
                      <a:pt x="64" y="0"/>
                    </a:lnTo>
                    <a:lnTo>
                      <a:pt x="48" y="4"/>
                    </a:lnTo>
                    <a:close/>
                    <a:moveTo>
                      <a:pt x="6" y="84"/>
                    </a:moveTo>
                    <a:lnTo>
                      <a:pt x="9" y="60"/>
                    </a:lnTo>
                    <a:lnTo>
                      <a:pt x="16" y="41"/>
                    </a:lnTo>
                    <a:lnTo>
                      <a:pt x="27" y="26"/>
                    </a:lnTo>
                    <a:lnTo>
                      <a:pt x="41" y="15"/>
                    </a:lnTo>
                    <a:lnTo>
                      <a:pt x="46" y="12"/>
                    </a:lnTo>
                    <a:lnTo>
                      <a:pt x="52" y="11"/>
                    </a:lnTo>
                    <a:lnTo>
                      <a:pt x="72" y="8"/>
                    </a:lnTo>
                    <a:lnTo>
                      <a:pt x="95" y="11"/>
                    </a:lnTo>
                    <a:lnTo>
                      <a:pt x="119" y="22"/>
                    </a:lnTo>
                    <a:lnTo>
                      <a:pt x="141" y="36"/>
                    </a:lnTo>
                    <a:lnTo>
                      <a:pt x="160" y="53"/>
                    </a:lnTo>
                    <a:lnTo>
                      <a:pt x="178" y="75"/>
                    </a:lnTo>
                    <a:lnTo>
                      <a:pt x="194" y="100"/>
                    </a:lnTo>
                    <a:lnTo>
                      <a:pt x="210" y="136"/>
                    </a:lnTo>
                    <a:lnTo>
                      <a:pt x="219" y="171"/>
                    </a:lnTo>
                    <a:lnTo>
                      <a:pt x="221" y="206"/>
                    </a:lnTo>
                    <a:lnTo>
                      <a:pt x="219" y="225"/>
                    </a:lnTo>
                    <a:lnTo>
                      <a:pt x="214" y="242"/>
                    </a:lnTo>
                    <a:lnTo>
                      <a:pt x="207" y="256"/>
                    </a:lnTo>
                    <a:lnTo>
                      <a:pt x="196" y="268"/>
                    </a:lnTo>
                    <a:lnTo>
                      <a:pt x="191" y="272"/>
                    </a:lnTo>
                    <a:lnTo>
                      <a:pt x="185" y="274"/>
                    </a:lnTo>
                    <a:lnTo>
                      <a:pt x="168" y="281"/>
                    </a:lnTo>
                    <a:lnTo>
                      <a:pt x="150" y="282"/>
                    </a:lnTo>
                    <a:lnTo>
                      <a:pt x="130" y="278"/>
                    </a:lnTo>
                    <a:lnTo>
                      <a:pt x="108" y="268"/>
                    </a:lnTo>
                    <a:lnTo>
                      <a:pt x="87" y="254"/>
                    </a:lnTo>
                    <a:lnTo>
                      <a:pt x="68" y="236"/>
                    </a:lnTo>
                    <a:lnTo>
                      <a:pt x="50" y="214"/>
                    </a:lnTo>
                    <a:lnTo>
                      <a:pt x="34" y="189"/>
                    </a:lnTo>
                    <a:lnTo>
                      <a:pt x="17" y="154"/>
                    </a:lnTo>
                    <a:lnTo>
                      <a:pt x="9" y="119"/>
                    </a:lnTo>
                    <a:lnTo>
                      <a:pt x="6" y="84"/>
                    </a:lnTo>
                    <a:close/>
                  </a:path>
                </a:pathLst>
              </a:custGeom>
              <a:solidFill>
                <a:srgbClr val="FFF9F7"/>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72" name="Freeform 322">
                <a:extLst>
                  <a:ext uri="{FF2B5EF4-FFF2-40B4-BE49-F238E27FC236}">
                    <a16:creationId xmlns:a16="http://schemas.microsoft.com/office/drawing/2014/main" id="{A41523D1-C35D-4BBC-8CC4-31124664268D}"/>
                  </a:ext>
                </a:extLst>
              </p:cNvPr>
              <p:cNvSpPr>
                <a:spLocks noEditPoints="1"/>
              </p:cNvSpPr>
              <p:nvPr/>
            </p:nvSpPr>
            <p:spPr bwMode="gray">
              <a:xfrm>
                <a:off x="2011191" y="1783667"/>
                <a:ext cx="123666" cy="157602"/>
              </a:xfrm>
              <a:custGeom>
                <a:avLst/>
                <a:gdLst>
                  <a:gd name="T0" fmla="*/ 21 w 215"/>
                  <a:gd name="T1" fmla="*/ 18 h 274"/>
                  <a:gd name="T2" fmla="*/ 3 w 215"/>
                  <a:gd name="T3" fmla="*/ 52 h 274"/>
                  <a:gd name="T4" fmla="*/ 3 w 215"/>
                  <a:gd name="T5" fmla="*/ 111 h 274"/>
                  <a:gd name="T6" fmla="*/ 28 w 215"/>
                  <a:gd name="T7" fmla="*/ 181 h 274"/>
                  <a:gd name="T8" fmla="*/ 62 w 215"/>
                  <a:gd name="T9" fmla="*/ 228 h 274"/>
                  <a:gd name="T10" fmla="*/ 102 w 215"/>
                  <a:gd name="T11" fmla="*/ 260 h 274"/>
                  <a:gd name="T12" fmla="*/ 144 w 215"/>
                  <a:gd name="T13" fmla="*/ 274 h 274"/>
                  <a:gd name="T14" fmla="*/ 179 w 215"/>
                  <a:gd name="T15" fmla="*/ 266 h 274"/>
                  <a:gd name="T16" fmla="*/ 190 w 215"/>
                  <a:gd name="T17" fmla="*/ 260 h 274"/>
                  <a:gd name="T18" fmla="*/ 208 w 215"/>
                  <a:gd name="T19" fmla="*/ 234 h 274"/>
                  <a:gd name="T20" fmla="*/ 215 w 215"/>
                  <a:gd name="T21" fmla="*/ 198 h 274"/>
                  <a:gd name="T22" fmla="*/ 204 w 215"/>
                  <a:gd name="T23" fmla="*/ 128 h 274"/>
                  <a:gd name="T24" fmla="*/ 172 w 215"/>
                  <a:gd name="T25" fmla="*/ 67 h 274"/>
                  <a:gd name="T26" fmla="*/ 135 w 215"/>
                  <a:gd name="T27" fmla="*/ 28 h 274"/>
                  <a:gd name="T28" fmla="*/ 89 w 215"/>
                  <a:gd name="T29" fmla="*/ 3 h 274"/>
                  <a:gd name="T30" fmla="*/ 46 w 215"/>
                  <a:gd name="T31" fmla="*/ 3 h 274"/>
                  <a:gd name="T32" fmla="*/ 35 w 215"/>
                  <a:gd name="T33" fmla="*/ 7 h 274"/>
                  <a:gd name="T34" fmla="*/ 48 w 215"/>
                  <a:gd name="T35" fmla="*/ 9 h 274"/>
                  <a:gd name="T36" fmla="*/ 89 w 215"/>
                  <a:gd name="T37" fmla="*/ 9 h 274"/>
                  <a:gd name="T38" fmla="*/ 140 w 215"/>
                  <a:gd name="T39" fmla="*/ 38 h 274"/>
                  <a:gd name="T40" fmla="*/ 184 w 215"/>
                  <a:gd name="T41" fmla="*/ 94 h 274"/>
                  <a:gd name="T42" fmla="*/ 208 w 215"/>
                  <a:gd name="T43" fmla="*/ 162 h 274"/>
                  <a:gd name="T44" fmla="*/ 207 w 215"/>
                  <a:gd name="T45" fmla="*/ 219 h 274"/>
                  <a:gd name="T46" fmla="*/ 186 w 215"/>
                  <a:gd name="T47" fmla="*/ 254 h 274"/>
                  <a:gd name="T48" fmla="*/ 176 w 215"/>
                  <a:gd name="T49" fmla="*/ 260 h 274"/>
                  <a:gd name="T50" fmla="*/ 142 w 215"/>
                  <a:gd name="T51" fmla="*/ 267 h 274"/>
                  <a:gd name="T52" fmla="*/ 102 w 215"/>
                  <a:gd name="T53" fmla="*/ 254 h 274"/>
                  <a:gd name="T54" fmla="*/ 52 w 215"/>
                  <a:gd name="T55" fmla="*/ 210 h 274"/>
                  <a:gd name="T56" fmla="*/ 16 w 215"/>
                  <a:gd name="T57" fmla="*/ 145 h 274"/>
                  <a:gd name="T58" fmla="*/ 5 w 215"/>
                  <a:gd name="T59" fmla="*/ 80 h 274"/>
                  <a:gd name="T60" fmla="*/ 15 w 215"/>
                  <a:gd name="T61" fmla="*/ 38 h 274"/>
                  <a:gd name="T62" fmla="*/ 39 w 215"/>
                  <a:gd name="T63" fmla="*/ 1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5" h="274">
                    <a:moveTo>
                      <a:pt x="35" y="7"/>
                    </a:moveTo>
                    <a:lnTo>
                      <a:pt x="21" y="18"/>
                    </a:lnTo>
                    <a:lnTo>
                      <a:pt x="10" y="33"/>
                    </a:lnTo>
                    <a:lnTo>
                      <a:pt x="3" y="52"/>
                    </a:lnTo>
                    <a:lnTo>
                      <a:pt x="0" y="76"/>
                    </a:lnTo>
                    <a:lnTo>
                      <a:pt x="3" y="111"/>
                    </a:lnTo>
                    <a:lnTo>
                      <a:pt x="11" y="146"/>
                    </a:lnTo>
                    <a:lnTo>
                      <a:pt x="28" y="181"/>
                    </a:lnTo>
                    <a:lnTo>
                      <a:pt x="44" y="206"/>
                    </a:lnTo>
                    <a:lnTo>
                      <a:pt x="62" y="228"/>
                    </a:lnTo>
                    <a:lnTo>
                      <a:pt x="81" y="246"/>
                    </a:lnTo>
                    <a:lnTo>
                      <a:pt x="102" y="260"/>
                    </a:lnTo>
                    <a:lnTo>
                      <a:pt x="124" y="270"/>
                    </a:lnTo>
                    <a:lnTo>
                      <a:pt x="144" y="274"/>
                    </a:lnTo>
                    <a:lnTo>
                      <a:pt x="162" y="273"/>
                    </a:lnTo>
                    <a:lnTo>
                      <a:pt x="179" y="266"/>
                    </a:lnTo>
                    <a:lnTo>
                      <a:pt x="185" y="264"/>
                    </a:lnTo>
                    <a:lnTo>
                      <a:pt x="190" y="260"/>
                    </a:lnTo>
                    <a:lnTo>
                      <a:pt x="201" y="248"/>
                    </a:lnTo>
                    <a:lnTo>
                      <a:pt x="208" y="234"/>
                    </a:lnTo>
                    <a:lnTo>
                      <a:pt x="213" y="217"/>
                    </a:lnTo>
                    <a:lnTo>
                      <a:pt x="215" y="198"/>
                    </a:lnTo>
                    <a:lnTo>
                      <a:pt x="213" y="163"/>
                    </a:lnTo>
                    <a:lnTo>
                      <a:pt x="204" y="128"/>
                    </a:lnTo>
                    <a:lnTo>
                      <a:pt x="188" y="92"/>
                    </a:lnTo>
                    <a:lnTo>
                      <a:pt x="172" y="67"/>
                    </a:lnTo>
                    <a:lnTo>
                      <a:pt x="154" y="45"/>
                    </a:lnTo>
                    <a:lnTo>
                      <a:pt x="135" y="28"/>
                    </a:lnTo>
                    <a:lnTo>
                      <a:pt x="113" y="14"/>
                    </a:lnTo>
                    <a:lnTo>
                      <a:pt x="89" y="3"/>
                    </a:lnTo>
                    <a:lnTo>
                      <a:pt x="66" y="0"/>
                    </a:lnTo>
                    <a:lnTo>
                      <a:pt x="46" y="3"/>
                    </a:lnTo>
                    <a:lnTo>
                      <a:pt x="40" y="4"/>
                    </a:lnTo>
                    <a:lnTo>
                      <a:pt x="35" y="7"/>
                    </a:lnTo>
                    <a:close/>
                    <a:moveTo>
                      <a:pt x="39" y="13"/>
                    </a:moveTo>
                    <a:lnTo>
                      <a:pt x="48" y="9"/>
                    </a:lnTo>
                    <a:lnTo>
                      <a:pt x="69" y="6"/>
                    </a:lnTo>
                    <a:lnTo>
                      <a:pt x="89" y="9"/>
                    </a:lnTo>
                    <a:lnTo>
                      <a:pt x="113" y="20"/>
                    </a:lnTo>
                    <a:lnTo>
                      <a:pt x="140" y="38"/>
                    </a:lnTo>
                    <a:lnTo>
                      <a:pt x="164" y="63"/>
                    </a:lnTo>
                    <a:lnTo>
                      <a:pt x="184" y="94"/>
                    </a:lnTo>
                    <a:lnTo>
                      <a:pt x="200" y="128"/>
                    </a:lnTo>
                    <a:lnTo>
                      <a:pt x="208" y="162"/>
                    </a:lnTo>
                    <a:lnTo>
                      <a:pt x="210" y="194"/>
                    </a:lnTo>
                    <a:lnTo>
                      <a:pt x="207" y="219"/>
                    </a:lnTo>
                    <a:lnTo>
                      <a:pt x="198" y="238"/>
                    </a:lnTo>
                    <a:lnTo>
                      <a:pt x="186" y="254"/>
                    </a:lnTo>
                    <a:lnTo>
                      <a:pt x="182" y="256"/>
                    </a:lnTo>
                    <a:lnTo>
                      <a:pt x="176" y="260"/>
                    </a:lnTo>
                    <a:lnTo>
                      <a:pt x="160" y="266"/>
                    </a:lnTo>
                    <a:lnTo>
                      <a:pt x="142" y="267"/>
                    </a:lnTo>
                    <a:lnTo>
                      <a:pt x="123" y="264"/>
                    </a:lnTo>
                    <a:lnTo>
                      <a:pt x="102" y="254"/>
                    </a:lnTo>
                    <a:lnTo>
                      <a:pt x="76" y="235"/>
                    </a:lnTo>
                    <a:lnTo>
                      <a:pt x="52" y="210"/>
                    </a:lnTo>
                    <a:lnTo>
                      <a:pt x="32" y="178"/>
                    </a:lnTo>
                    <a:lnTo>
                      <a:pt x="16" y="145"/>
                    </a:lnTo>
                    <a:lnTo>
                      <a:pt x="7" y="112"/>
                    </a:lnTo>
                    <a:lnTo>
                      <a:pt x="5" y="80"/>
                    </a:lnTo>
                    <a:lnTo>
                      <a:pt x="9" y="57"/>
                    </a:lnTo>
                    <a:lnTo>
                      <a:pt x="15" y="38"/>
                    </a:lnTo>
                    <a:lnTo>
                      <a:pt x="25" y="24"/>
                    </a:lnTo>
                    <a:lnTo>
                      <a:pt x="39" y="13"/>
                    </a:lnTo>
                    <a:close/>
                  </a:path>
                </a:pathLst>
              </a:custGeom>
              <a:solidFill>
                <a:srgbClr val="F8E1D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73" name="Freeform 323">
                <a:extLst>
                  <a:ext uri="{FF2B5EF4-FFF2-40B4-BE49-F238E27FC236}">
                    <a16:creationId xmlns:a16="http://schemas.microsoft.com/office/drawing/2014/main" id="{2BCD3710-173E-43DF-8723-197966F52188}"/>
                  </a:ext>
                </a:extLst>
              </p:cNvPr>
              <p:cNvSpPr>
                <a:spLocks/>
              </p:cNvSpPr>
              <p:nvPr/>
            </p:nvSpPr>
            <p:spPr bwMode="gray">
              <a:xfrm>
                <a:off x="2035349" y="1772164"/>
                <a:ext cx="115038" cy="164505"/>
              </a:xfrm>
              <a:custGeom>
                <a:avLst/>
                <a:gdLst>
                  <a:gd name="T0" fmla="*/ 10 w 200"/>
                  <a:gd name="T1" fmla="*/ 9 h 286"/>
                  <a:gd name="T2" fmla="*/ 5 w 200"/>
                  <a:gd name="T3" fmla="*/ 11 h 286"/>
                  <a:gd name="T4" fmla="*/ 0 w 200"/>
                  <a:gd name="T5" fmla="*/ 16 h 286"/>
                  <a:gd name="T6" fmla="*/ 16 w 200"/>
                  <a:gd name="T7" fmla="*/ 12 h 286"/>
                  <a:gd name="T8" fmla="*/ 34 w 200"/>
                  <a:gd name="T9" fmla="*/ 12 h 286"/>
                  <a:gd name="T10" fmla="*/ 52 w 200"/>
                  <a:gd name="T11" fmla="*/ 18 h 286"/>
                  <a:gd name="T12" fmla="*/ 71 w 200"/>
                  <a:gd name="T13" fmla="*/ 27 h 286"/>
                  <a:gd name="T14" fmla="*/ 94 w 200"/>
                  <a:gd name="T15" fmla="*/ 42 h 286"/>
                  <a:gd name="T16" fmla="*/ 114 w 200"/>
                  <a:gd name="T17" fmla="*/ 62 h 286"/>
                  <a:gd name="T18" fmla="*/ 134 w 200"/>
                  <a:gd name="T19" fmla="*/ 83 h 286"/>
                  <a:gd name="T20" fmla="*/ 150 w 200"/>
                  <a:gd name="T21" fmla="*/ 110 h 286"/>
                  <a:gd name="T22" fmla="*/ 167 w 200"/>
                  <a:gd name="T23" fmla="*/ 148 h 286"/>
                  <a:gd name="T24" fmla="*/ 177 w 200"/>
                  <a:gd name="T25" fmla="*/ 184 h 286"/>
                  <a:gd name="T26" fmla="*/ 179 w 200"/>
                  <a:gd name="T27" fmla="*/ 220 h 286"/>
                  <a:gd name="T28" fmla="*/ 178 w 200"/>
                  <a:gd name="T29" fmla="*/ 236 h 286"/>
                  <a:gd name="T30" fmla="*/ 174 w 200"/>
                  <a:gd name="T31" fmla="*/ 249 h 286"/>
                  <a:gd name="T32" fmla="*/ 170 w 200"/>
                  <a:gd name="T33" fmla="*/ 263 h 286"/>
                  <a:gd name="T34" fmla="*/ 162 w 200"/>
                  <a:gd name="T35" fmla="*/ 276 h 286"/>
                  <a:gd name="T36" fmla="*/ 152 w 200"/>
                  <a:gd name="T37" fmla="*/ 286 h 286"/>
                  <a:gd name="T38" fmla="*/ 158 w 200"/>
                  <a:gd name="T39" fmla="*/ 284 h 286"/>
                  <a:gd name="T40" fmla="*/ 162 w 200"/>
                  <a:gd name="T41" fmla="*/ 281 h 286"/>
                  <a:gd name="T42" fmla="*/ 177 w 200"/>
                  <a:gd name="T43" fmla="*/ 270 h 286"/>
                  <a:gd name="T44" fmla="*/ 188 w 200"/>
                  <a:gd name="T45" fmla="*/ 255 h 286"/>
                  <a:gd name="T46" fmla="*/ 196 w 200"/>
                  <a:gd name="T47" fmla="*/ 237 h 286"/>
                  <a:gd name="T48" fmla="*/ 198 w 200"/>
                  <a:gd name="T49" fmla="*/ 224 h 286"/>
                  <a:gd name="T50" fmla="*/ 200 w 200"/>
                  <a:gd name="T51" fmla="*/ 208 h 286"/>
                  <a:gd name="T52" fmla="*/ 197 w 200"/>
                  <a:gd name="T53" fmla="*/ 172 h 286"/>
                  <a:gd name="T54" fmla="*/ 188 w 200"/>
                  <a:gd name="T55" fmla="*/ 136 h 286"/>
                  <a:gd name="T56" fmla="*/ 171 w 200"/>
                  <a:gd name="T57" fmla="*/ 99 h 286"/>
                  <a:gd name="T58" fmla="*/ 154 w 200"/>
                  <a:gd name="T59" fmla="*/ 71 h 286"/>
                  <a:gd name="T60" fmla="*/ 135 w 200"/>
                  <a:gd name="T61" fmla="*/ 50 h 286"/>
                  <a:gd name="T62" fmla="*/ 114 w 200"/>
                  <a:gd name="T63" fmla="*/ 30 h 286"/>
                  <a:gd name="T64" fmla="*/ 93 w 200"/>
                  <a:gd name="T65" fmla="*/ 15 h 286"/>
                  <a:gd name="T66" fmla="*/ 70 w 200"/>
                  <a:gd name="T67" fmla="*/ 5 h 286"/>
                  <a:gd name="T68" fmla="*/ 48 w 200"/>
                  <a:gd name="T69" fmla="*/ 0 h 286"/>
                  <a:gd name="T70" fmla="*/ 29 w 200"/>
                  <a:gd name="T71" fmla="*/ 2 h 286"/>
                  <a:gd name="T72" fmla="*/ 10 w 200"/>
                  <a:gd name="T73" fmla="*/ 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86">
                    <a:moveTo>
                      <a:pt x="10" y="9"/>
                    </a:moveTo>
                    <a:lnTo>
                      <a:pt x="5" y="11"/>
                    </a:lnTo>
                    <a:lnTo>
                      <a:pt x="0" y="16"/>
                    </a:lnTo>
                    <a:lnTo>
                      <a:pt x="16" y="12"/>
                    </a:lnTo>
                    <a:lnTo>
                      <a:pt x="34" y="12"/>
                    </a:lnTo>
                    <a:lnTo>
                      <a:pt x="52" y="18"/>
                    </a:lnTo>
                    <a:lnTo>
                      <a:pt x="71" y="27"/>
                    </a:lnTo>
                    <a:lnTo>
                      <a:pt x="94" y="42"/>
                    </a:lnTo>
                    <a:lnTo>
                      <a:pt x="114" y="62"/>
                    </a:lnTo>
                    <a:lnTo>
                      <a:pt x="134" y="83"/>
                    </a:lnTo>
                    <a:lnTo>
                      <a:pt x="150" y="110"/>
                    </a:lnTo>
                    <a:lnTo>
                      <a:pt x="167" y="148"/>
                    </a:lnTo>
                    <a:lnTo>
                      <a:pt x="177" y="184"/>
                    </a:lnTo>
                    <a:lnTo>
                      <a:pt x="179" y="220"/>
                    </a:lnTo>
                    <a:lnTo>
                      <a:pt x="178" y="236"/>
                    </a:lnTo>
                    <a:lnTo>
                      <a:pt x="174" y="249"/>
                    </a:lnTo>
                    <a:lnTo>
                      <a:pt x="170" y="263"/>
                    </a:lnTo>
                    <a:lnTo>
                      <a:pt x="162" y="276"/>
                    </a:lnTo>
                    <a:lnTo>
                      <a:pt x="152" y="286"/>
                    </a:lnTo>
                    <a:lnTo>
                      <a:pt x="158" y="284"/>
                    </a:lnTo>
                    <a:lnTo>
                      <a:pt x="162" y="281"/>
                    </a:lnTo>
                    <a:lnTo>
                      <a:pt x="177" y="270"/>
                    </a:lnTo>
                    <a:lnTo>
                      <a:pt x="188" y="255"/>
                    </a:lnTo>
                    <a:lnTo>
                      <a:pt x="196" y="237"/>
                    </a:lnTo>
                    <a:lnTo>
                      <a:pt x="198" y="224"/>
                    </a:lnTo>
                    <a:lnTo>
                      <a:pt x="200" y="208"/>
                    </a:lnTo>
                    <a:lnTo>
                      <a:pt x="197" y="172"/>
                    </a:lnTo>
                    <a:lnTo>
                      <a:pt x="188" y="136"/>
                    </a:lnTo>
                    <a:lnTo>
                      <a:pt x="171" y="99"/>
                    </a:lnTo>
                    <a:lnTo>
                      <a:pt x="154" y="71"/>
                    </a:lnTo>
                    <a:lnTo>
                      <a:pt x="135" y="50"/>
                    </a:lnTo>
                    <a:lnTo>
                      <a:pt x="114" y="30"/>
                    </a:lnTo>
                    <a:lnTo>
                      <a:pt x="93" y="15"/>
                    </a:lnTo>
                    <a:lnTo>
                      <a:pt x="70" y="5"/>
                    </a:lnTo>
                    <a:lnTo>
                      <a:pt x="48" y="0"/>
                    </a:lnTo>
                    <a:lnTo>
                      <a:pt x="29" y="2"/>
                    </a:lnTo>
                    <a:lnTo>
                      <a:pt x="10" y="9"/>
                    </a:lnTo>
                    <a:close/>
                  </a:path>
                </a:pathLst>
              </a:custGeom>
              <a:solidFill>
                <a:srgbClr val="E49D87"/>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74" name="Freeform 324">
                <a:extLst>
                  <a:ext uri="{FF2B5EF4-FFF2-40B4-BE49-F238E27FC236}">
                    <a16:creationId xmlns:a16="http://schemas.microsoft.com/office/drawing/2014/main" id="{7A31220C-B27C-4984-BBEB-A0EFA6AC6058}"/>
                  </a:ext>
                </a:extLst>
              </p:cNvPr>
              <p:cNvSpPr>
                <a:spLocks/>
              </p:cNvSpPr>
              <p:nvPr/>
            </p:nvSpPr>
            <p:spPr bwMode="gray">
              <a:xfrm>
                <a:off x="2122779" y="1908484"/>
                <a:ext cx="25308" cy="28185"/>
              </a:xfrm>
              <a:custGeom>
                <a:avLst/>
                <a:gdLst>
                  <a:gd name="T0" fmla="*/ 44 w 44"/>
                  <a:gd name="T1" fmla="*/ 0 h 49"/>
                  <a:gd name="T2" fmla="*/ 22 w 44"/>
                  <a:gd name="T3" fmla="*/ 12 h 49"/>
                  <a:gd name="T4" fmla="*/ 18 w 44"/>
                  <a:gd name="T5" fmla="*/ 26 h 49"/>
                  <a:gd name="T6" fmla="*/ 10 w 44"/>
                  <a:gd name="T7" fmla="*/ 39 h 49"/>
                  <a:gd name="T8" fmla="*/ 0 w 44"/>
                  <a:gd name="T9" fmla="*/ 49 h 49"/>
                  <a:gd name="T10" fmla="*/ 6 w 44"/>
                  <a:gd name="T11" fmla="*/ 47 h 49"/>
                  <a:gd name="T12" fmla="*/ 10 w 44"/>
                  <a:gd name="T13" fmla="*/ 44 h 49"/>
                  <a:gd name="T14" fmla="*/ 25 w 44"/>
                  <a:gd name="T15" fmla="*/ 33 h 49"/>
                  <a:gd name="T16" fmla="*/ 36 w 44"/>
                  <a:gd name="T17" fmla="*/ 18 h 49"/>
                  <a:gd name="T18" fmla="*/ 44 w 44"/>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9">
                    <a:moveTo>
                      <a:pt x="44" y="0"/>
                    </a:moveTo>
                    <a:lnTo>
                      <a:pt x="22" y="12"/>
                    </a:lnTo>
                    <a:lnTo>
                      <a:pt x="18" y="26"/>
                    </a:lnTo>
                    <a:lnTo>
                      <a:pt x="10" y="39"/>
                    </a:lnTo>
                    <a:lnTo>
                      <a:pt x="0" y="49"/>
                    </a:lnTo>
                    <a:lnTo>
                      <a:pt x="6" y="47"/>
                    </a:lnTo>
                    <a:lnTo>
                      <a:pt x="10" y="44"/>
                    </a:lnTo>
                    <a:lnTo>
                      <a:pt x="25" y="33"/>
                    </a:lnTo>
                    <a:lnTo>
                      <a:pt x="36" y="18"/>
                    </a:lnTo>
                    <a:lnTo>
                      <a:pt x="44" y="0"/>
                    </a:lnTo>
                    <a:close/>
                  </a:path>
                </a:pathLst>
              </a:custGeom>
              <a:solidFill>
                <a:srgbClr val="DD7D66"/>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75" name="Freeform 325">
                <a:extLst>
                  <a:ext uri="{FF2B5EF4-FFF2-40B4-BE49-F238E27FC236}">
                    <a16:creationId xmlns:a16="http://schemas.microsoft.com/office/drawing/2014/main" id="{7CF106A2-78DC-40DF-81E3-E5563D7680E1}"/>
                  </a:ext>
                </a:extLst>
              </p:cNvPr>
              <p:cNvSpPr>
                <a:spLocks/>
              </p:cNvSpPr>
              <p:nvPr/>
            </p:nvSpPr>
            <p:spPr bwMode="gray">
              <a:xfrm>
                <a:off x="1862217" y="1884901"/>
                <a:ext cx="71899" cy="48316"/>
              </a:xfrm>
              <a:custGeom>
                <a:avLst/>
                <a:gdLst>
                  <a:gd name="T0" fmla="*/ 125 w 125"/>
                  <a:gd name="T1" fmla="*/ 49 h 84"/>
                  <a:gd name="T2" fmla="*/ 77 w 125"/>
                  <a:gd name="T3" fmla="*/ 22 h 84"/>
                  <a:gd name="T4" fmla="*/ 70 w 125"/>
                  <a:gd name="T5" fmla="*/ 25 h 84"/>
                  <a:gd name="T6" fmla="*/ 24 w 125"/>
                  <a:gd name="T7" fmla="*/ 0 h 84"/>
                  <a:gd name="T8" fmla="*/ 0 w 125"/>
                  <a:gd name="T9" fmla="*/ 13 h 84"/>
                  <a:gd name="T10" fmla="*/ 0 w 125"/>
                  <a:gd name="T11" fmla="*/ 35 h 84"/>
                  <a:gd name="T12" fmla="*/ 48 w 125"/>
                  <a:gd name="T13" fmla="*/ 62 h 84"/>
                  <a:gd name="T14" fmla="*/ 56 w 125"/>
                  <a:gd name="T15" fmla="*/ 59 h 84"/>
                  <a:gd name="T16" fmla="*/ 101 w 125"/>
                  <a:gd name="T17" fmla="*/ 84 h 84"/>
                  <a:gd name="T18" fmla="*/ 125 w 125"/>
                  <a:gd name="T19" fmla="*/ 71 h 84"/>
                  <a:gd name="T20" fmla="*/ 125 w 125"/>
                  <a:gd name="T21" fmla="*/ 4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84">
                    <a:moveTo>
                      <a:pt x="125" y="49"/>
                    </a:moveTo>
                    <a:lnTo>
                      <a:pt x="77" y="22"/>
                    </a:lnTo>
                    <a:lnTo>
                      <a:pt x="70" y="25"/>
                    </a:lnTo>
                    <a:lnTo>
                      <a:pt x="24" y="0"/>
                    </a:lnTo>
                    <a:lnTo>
                      <a:pt x="0" y="13"/>
                    </a:lnTo>
                    <a:lnTo>
                      <a:pt x="0" y="35"/>
                    </a:lnTo>
                    <a:lnTo>
                      <a:pt x="48" y="62"/>
                    </a:lnTo>
                    <a:lnTo>
                      <a:pt x="56" y="59"/>
                    </a:lnTo>
                    <a:lnTo>
                      <a:pt x="101" y="84"/>
                    </a:lnTo>
                    <a:lnTo>
                      <a:pt x="125" y="71"/>
                    </a:lnTo>
                    <a:lnTo>
                      <a:pt x="125" y="49"/>
                    </a:lnTo>
                    <a:close/>
                  </a:path>
                </a:pathLst>
              </a:custGeom>
              <a:solidFill>
                <a:srgbClr val="EAEAE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76" name="Freeform 326">
                <a:extLst>
                  <a:ext uri="{FF2B5EF4-FFF2-40B4-BE49-F238E27FC236}">
                    <a16:creationId xmlns:a16="http://schemas.microsoft.com/office/drawing/2014/main" id="{AC3F14B7-BF05-47EC-8DF5-135F9835B09E}"/>
                  </a:ext>
                </a:extLst>
              </p:cNvPr>
              <p:cNvSpPr>
                <a:spLocks/>
              </p:cNvSpPr>
              <p:nvPr/>
            </p:nvSpPr>
            <p:spPr bwMode="gray">
              <a:xfrm>
                <a:off x="1893277" y="1906758"/>
                <a:ext cx="29910" cy="26459"/>
              </a:xfrm>
              <a:custGeom>
                <a:avLst/>
                <a:gdLst>
                  <a:gd name="T0" fmla="*/ 47 w 52"/>
                  <a:gd name="T1" fmla="*/ 34 h 46"/>
                  <a:gd name="T2" fmla="*/ 52 w 52"/>
                  <a:gd name="T3" fmla="*/ 22 h 46"/>
                  <a:gd name="T4" fmla="*/ 23 w 52"/>
                  <a:gd name="T5" fmla="*/ 5 h 46"/>
                  <a:gd name="T6" fmla="*/ 18 w 52"/>
                  <a:gd name="T7" fmla="*/ 17 h 46"/>
                  <a:gd name="T8" fmla="*/ 16 w 52"/>
                  <a:gd name="T9" fmla="*/ 15 h 46"/>
                  <a:gd name="T10" fmla="*/ 16 w 52"/>
                  <a:gd name="T11" fmla="*/ 15 h 46"/>
                  <a:gd name="T12" fmla="*/ 13 w 52"/>
                  <a:gd name="T13" fmla="*/ 9 h 46"/>
                  <a:gd name="T14" fmla="*/ 0 w 52"/>
                  <a:gd name="T15" fmla="*/ 0 h 46"/>
                  <a:gd name="T16" fmla="*/ 0 w 52"/>
                  <a:gd name="T17" fmla="*/ 22 h 46"/>
                  <a:gd name="T18" fmla="*/ 2 w 52"/>
                  <a:gd name="T19" fmla="*/ 21 h 46"/>
                  <a:gd name="T20" fmla="*/ 47 w 52"/>
                  <a:gd name="T21" fmla="*/ 46 h 46"/>
                  <a:gd name="T22" fmla="*/ 47 w 52"/>
                  <a:gd name="T23"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46">
                    <a:moveTo>
                      <a:pt x="47" y="34"/>
                    </a:moveTo>
                    <a:lnTo>
                      <a:pt x="52" y="22"/>
                    </a:lnTo>
                    <a:lnTo>
                      <a:pt x="23" y="5"/>
                    </a:lnTo>
                    <a:lnTo>
                      <a:pt x="18" y="17"/>
                    </a:lnTo>
                    <a:lnTo>
                      <a:pt x="16" y="15"/>
                    </a:lnTo>
                    <a:lnTo>
                      <a:pt x="16" y="15"/>
                    </a:lnTo>
                    <a:lnTo>
                      <a:pt x="13" y="9"/>
                    </a:lnTo>
                    <a:lnTo>
                      <a:pt x="0" y="0"/>
                    </a:lnTo>
                    <a:lnTo>
                      <a:pt x="0" y="22"/>
                    </a:lnTo>
                    <a:lnTo>
                      <a:pt x="2" y="21"/>
                    </a:lnTo>
                    <a:lnTo>
                      <a:pt x="47" y="46"/>
                    </a:lnTo>
                    <a:lnTo>
                      <a:pt x="47" y="34"/>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77" name="Freeform 327">
                <a:extLst>
                  <a:ext uri="{FF2B5EF4-FFF2-40B4-BE49-F238E27FC236}">
                    <a16:creationId xmlns:a16="http://schemas.microsoft.com/office/drawing/2014/main" id="{496F2BE2-6863-49C4-B6DA-2B467F2F5E8C}"/>
                  </a:ext>
                </a:extLst>
              </p:cNvPr>
              <p:cNvSpPr>
                <a:spLocks/>
              </p:cNvSpPr>
              <p:nvPr/>
            </p:nvSpPr>
            <p:spPr bwMode="gray">
              <a:xfrm>
                <a:off x="1920311" y="1913085"/>
                <a:ext cx="13805" cy="20132"/>
              </a:xfrm>
              <a:custGeom>
                <a:avLst/>
                <a:gdLst>
                  <a:gd name="T0" fmla="*/ 5 w 24"/>
                  <a:gd name="T1" fmla="*/ 11 h 35"/>
                  <a:gd name="T2" fmla="*/ 0 w 24"/>
                  <a:gd name="T3" fmla="*/ 23 h 35"/>
                  <a:gd name="T4" fmla="*/ 0 w 24"/>
                  <a:gd name="T5" fmla="*/ 35 h 35"/>
                  <a:gd name="T6" fmla="*/ 24 w 24"/>
                  <a:gd name="T7" fmla="*/ 22 h 35"/>
                  <a:gd name="T8" fmla="*/ 24 w 24"/>
                  <a:gd name="T9" fmla="*/ 0 h 35"/>
                  <a:gd name="T10" fmla="*/ 5 w 24"/>
                  <a:gd name="T11" fmla="*/ 11 h 35"/>
                </a:gdLst>
                <a:ahLst/>
                <a:cxnLst>
                  <a:cxn ang="0">
                    <a:pos x="T0" y="T1"/>
                  </a:cxn>
                  <a:cxn ang="0">
                    <a:pos x="T2" y="T3"/>
                  </a:cxn>
                  <a:cxn ang="0">
                    <a:pos x="T4" y="T5"/>
                  </a:cxn>
                  <a:cxn ang="0">
                    <a:pos x="T6" y="T7"/>
                  </a:cxn>
                  <a:cxn ang="0">
                    <a:pos x="T8" y="T9"/>
                  </a:cxn>
                  <a:cxn ang="0">
                    <a:pos x="T10" y="T11"/>
                  </a:cxn>
                </a:cxnLst>
                <a:rect l="0" t="0" r="r" b="b"/>
                <a:pathLst>
                  <a:path w="24" h="35">
                    <a:moveTo>
                      <a:pt x="5" y="11"/>
                    </a:moveTo>
                    <a:lnTo>
                      <a:pt x="0" y="23"/>
                    </a:lnTo>
                    <a:lnTo>
                      <a:pt x="0" y="35"/>
                    </a:lnTo>
                    <a:lnTo>
                      <a:pt x="24" y="22"/>
                    </a:lnTo>
                    <a:lnTo>
                      <a:pt x="24" y="0"/>
                    </a:lnTo>
                    <a:lnTo>
                      <a:pt x="5" y="11"/>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78" name="Freeform 328">
                <a:extLst>
                  <a:ext uri="{FF2B5EF4-FFF2-40B4-BE49-F238E27FC236}">
                    <a16:creationId xmlns:a16="http://schemas.microsoft.com/office/drawing/2014/main" id="{A442185D-099D-4D4B-966C-8130DD90EB7A}"/>
                  </a:ext>
                </a:extLst>
              </p:cNvPr>
              <p:cNvSpPr>
                <a:spLocks/>
              </p:cNvSpPr>
              <p:nvPr/>
            </p:nvSpPr>
            <p:spPr bwMode="gray">
              <a:xfrm>
                <a:off x="1862217" y="1892378"/>
                <a:ext cx="27609" cy="28185"/>
              </a:xfrm>
              <a:custGeom>
                <a:avLst/>
                <a:gdLst>
                  <a:gd name="T0" fmla="*/ 0 w 48"/>
                  <a:gd name="T1" fmla="*/ 0 h 49"/>
                  <a:gd name="T2" fmla="*/ 0 w 48"/>
                  <a:gd name="T3" fmla="*/ 22 h 49"/>
                  <a:gd name="T4" fmla="*/ 48 w 48"/>
                  <a:gd name="T5" fmla="*/ 49 h 49"/>
                  <a:gd name="T6" fmla="*/ 48 w 48"/>
                  <a:gd name="T7" fmla="*/ 28 h 49"/>
                  <a:gd name="T8" fmla="*/ 0 w 48"/>
                  <a:gd name="T9" fmla="*/ 0 h 49"/>
                </a:gdLst>
                <a:ahLst/>
                <a:cxnLst>
                  <a:cxn ang="0">
                    <a:pos x="T0" y="T1"/>
                  </a:cxn>
                  <a:cxn ang="0">
                    <a:pos x="T2" y="T3"/>
                  </a:cxn>
                  <a:cxn ang="0">
                    <a:pos x="T4" y="T5"/>
                  </a:cxn>
                  <a:cxn ang="0">
                    <a:pos x="T6" y="T7"/>
                  </a:cxn>
                  <a:cxn ang="0">
                    <a:pos x="T8" y="T9"/>
                  </a:cxn>
                </a:cxnLst>
                <a:rect l="0" t="0" r="r" b="b"/>
                <a:pathLst>
                  <a:path w="48" h="49">
                    <a:moveTo>
                      <a:pt x="0" y="0"/>
                    </a:moveTo>
                    <a:lnTo>
                      <a:pt x="0" y="22"/>
                    </a:lnTo>
                    <a:lnTo>
                      <a:pt x="48" y="49"/>
                    </a:lnTo>
                    <a:lnTo>
                      <a:pt x="48" y="28"/>
                    </a:lnTo>
                    <a:lnTo>
                      <a:pt x="0" y="0"/>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79" name="Freeform 329">
                <a:extLst>
                  <a:ext uri="{FF2B5EF4-FFF2-40B4-BE49-F238E27FC236}">
                    <a16:creationId xmlns:a16="http://schemas.microsoft.com/office/drawing/2014/main" id="{B61E196E-E715-4472-B0B4-2D75D81CFE56}"/>
                  </a:ext>
                </a:extLst>
              </p:cNvPr>
              <p:cNvSpPr>
                <a:spLocks/>
              </p:cNvSpPr>
              <p:nvPr/>
            </p:nvSpPr>
            <p:spPr bwMode="gray">
              <a:xfrm>
                <a:off x="1889826" y="1906758"/>
                <a:ext cx="3451" cy="13805"/>
              </a:xfrm>
              <a:custGeom>
                <a:avLst/>
                <a:gdLst>
                  <a:gd name="T0" fmla="*/ 6 w 6"/>
                  <a:gd name="T1" fmla="*/ 0 h 24"/>
                  <a:gd name="T2" fmla="*/ 0 w 6"/>
                  <a:gd name="T3" fmla="*/ 3 h 24"/>
                  <a:gd name="T4" fmla="*/ 0 w 6"/>
                  <a:gd name="T5" fmla="*/ 24 h 24"/>
                  <a:gd name="T6" fmla="*/ 6 w 6"/>
                  <a:gd name="T7" fmla="*/ 22 h 24"/>
                  <a:gd name="T8" fmla="*/ 6 w 6"/>
                  <a:gd name="T9" fmla="*/ 0 h 24"/>
                </a:gdLst>
                <a:ahLst/>
                <a:cxnLst>
                  <a:cxn ang="0">
                    <a:pos x="T0" y="T1"/>
                  </a:cxn>
                  <a:cxn ang="0">
                    <a:pos x="T2" y="T3"/>
                  </a:cxn>
                  <a:cxn ang="0">
                    <a:pos x="T4" y="T5"/>
                  </a:cxn>
                  <a:cxn ang="0">
                    <a:pos x="T6" y="T7"/>
                  </a:cxn>
                  <a:cxn ang="0">
                    <a:pos x="T8" y="T9"/>
                  </a:cxn>
                </a:cxnLst>
                <a:rect l="0" t="0" r="r" b="b"/>
                <a:pathLst>
                  <a:path w="6" h="24">
                    <a:moveTo>
                      <a:pt x="6" y="0"/>
                    </a:moveTo>
                    <a:lnTo>
                      <a:pt x="0" y="3"/>
                    </a:lnTo>
                    <a:lnTo>
                      <a:pt x="0" y="24"/>
                    </a:lnTo>
                    <a:lnTo>
                      <a:pt x="6" y="22"/>
                    </a:lnTo>
                    <a:lnTo>
                      <a:pt x="6" y="0"/>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80" name="Freeform 330">
                <a:extLst>
                  <a:ext uri="{FF2B5EF4-FFF2-40B4-BE49-F238E27FC236}">
                    <a16:creationId xmlns:a16="http://schemas.microsoft.com/office/drawing/2014/main" id="{1D50519C-7FFB-4114-B973-DD6577EEE5C1}"/>
                  </a:ext>
                </a:extLst>
              </p:cNvPr>
              <p:cNvSpPr>
                <a:spLocks/>
              </p:cNvSpPr>
              <p:nvPr/>
            </p:nvSpPr>
            <p:spPr bwMode="gray">
              <a:xfrm>
                <a:off x="1900755" y="1909634"/>
                <a:ext cx="5752" cy="6902"/>
              </a:xfrm>
              <a:custGeom>
                <a:avLst/>
                <a:gdLst>
                  <a:gd name="T0" fmla="*/ 0 w 10"/>
                  <a:gd name="T1" fmla="*/ 4 h 12"/>
                  <a:gd name="T2" fmla="*/ 3 w 10"/>
                  <a:gd name="T3" fmla="*/ 10 h 12"/>
                  <a:gd name="T4" fmla="*/ 3 w 10"/>
                  <a:gd name="T5" fmla="*/ 10 h 12"/>
                  <a:gd name="T6" fmla="*/ 5 w 10"/>
                  <a:gd name="T7" fmla="*/ 12 h 12"/>
                  <a:gd name="T8" fmla="*/ 10 w 10"/>
                  <a:gd name="T9" fmla="*/ 0 h 12"/>
                  <a:gd name="T10" fmla="*/ 0 w 10"/>
                  <a:gd name="T11" fmla="*/ 4 h 12"/>
                </a:gdLst>
                <a:ahLst/>
                <a:cxnLst>
                  <a:cxn ang="0">
                    <a:pos x="T0" y="T1"/>
                  </a:cxn>
                  <a:cxn ang="0">
                    <a:pos x="T2" y="T3"/>
                  </a:cxn>
                  <a:cxn ang="0">
                    <a:pos x="T4" y="T5"/>
                  </a:cxn>
                  <a:cxn ang="0">
                    <a:pos x="T6" y="T7"/>
                  </a:cxn>
                  <a:cxn ang="0">
                    <a:pos x="T8" y="T9"/>
                  </a:cxn>
                  <a:cxn ang="0">
                    <a:pos x="T10" y="T11"/>
                  </a:cxn>
                </a:cxnLst>
                <a:rect l="0" t="0" r="r" b="b"/>
                <a:pathLst>
                  <a:path w="10" h="12">
                    <a:moveTo>
                      <a:pt x="0" y="4"/>
                    </a:moveTo>
                    <a:lnTo>
                      <a:pt x="3" y="10"/>
                    </a:lnTo>
                    <a:lnTo>
                      <a:pt x="3" y="10"/>
                    </a:lnTo>
                    <a:lnTo>
                      <a:pt x="5" y="12"/>
                    </a:lnTo>
                    <a:lnTo>
                      <a:pt x="10" y="0"/>
                    </a:lnTo>
                    <a:lnTo>
                      <a:pt x="0" y="4"/>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81" name="Freeform 331">
                <a:extLst>
                  <a:ext uri="{FF2B5EF4-FFF2-40B4-BE49-F238E27FC236}">
                    <a16:creationId xmlns:a16="http://schemas.microsoft.com/office/drawing/2014/main" id="{575AB3F3-2C7C-4326-B5EC-EB3D42BE6D12}"/>
                  </a:ext>
                </a:extLst>
              </p:cNvPr>
              <p:cNvSpPr>
                <a:spLocks/>
              </p:cNvSpPr>
              <p:nvPr/>
            </p:nvSpPr>
            <p:spPr bwMode="gray">
              <a:xfrm>
                <a:off x="1903630" y="1909634"/>
                <a:ext cx="19557" cy="16681"/>
              </a:xfrm>
              <a:custGeom>
                <a:avLst/>
                <a:gdLst>
                  <a:gd name="T0" fmla="*/ 29 w 34"/>
                  <a:gd name="T1" fmla="*/ 29 h 29"/>
                  <a:gd name="T2" fmla="*/ 34 w 34"/>
                  <a:gd name="T3" fmla="*/ 17 h 29"/>
                  <a:gd name="T4" fmla="*/ 5 w 34"/>
                  <a:gd name="T5" fmla="*/ 0 h 29"/>
                  <a:gd name="T6" fmla="*/ 0 w 34"/>
                  <a:gd name="T7" fmla="*/ 12 h 29"/>
                  <a:gd name="T8" fmla="*/ 29 w 34"/>
                  <a:gd name="T9" fmla="*/ 29 h 29"/>
                </a:gdLst>
                <a:ahLst/>
                <a:cxnLst>
                  <a:cxn ang="0">
                    <a:pos x="T0" y="T1"/>
                  </a:cxn>
                  <a:cxn ang="0">
                    <a:pos x="T2" y="T3"/>
                  </a:cxn>
                  <a:cxn ang="0">
                    <a:pos x="T4" y="T5"/>
                  </a:cxn>
                  <a:cxn ang="0">
                    <a:pos x="T6" y="T7"/>
                  </a:cxn>
                  <a:cxn ang="0">
                    <a:pos x="T8" y="T9"/>
                  </a:cxn>
                </a:cxnLst>
                <a:rect l="0" t="0" r="r" b="b"/>
                <a:pathLst>
                  <a:path w="34" h="29">
                    <a:moveTo>
                      <a:pt x="29" y="29"/>
                    </a:moveTo>
                    <a:lnTo>
                      <a:pt x="34" y="17"/>
                    </a:lnTo>
                    <a:lnTo>
                      <a:pt x="5" y="0"/>
                    </a:lnTo>
                    <a:lnTo>
                      <a:pt x="0" y="12"/>
                    </a:lnTo>
                    <a:lnTo>
                      <a:pt x="29" y="29"/>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82" name="Freeform 332">
                <a:extLst>
                  <a:ext uri="{FF2B5EF4-FFF2-40B4-BE49-F238E27FC236}">
                    <a16:creationId xmlns:a16="http://schemas.microsoft.com/office/drawing/2014/main" id="{C496223B-185F-45B4-B9BF-639F7053B6B7}"/>
                  </a:ext>
                </a:extLst>
              </p:cNvPr>
              <p:cNvSpPr>
                <a:spLocks/>
              </p:cNvSpPr>
              <p:nvPr/>
            </p:nvSpPr>
            <p:spPr bwMode="gray">
              <a:xfrm>
                <a:off x="2006590" y="1940119"/>
                <a:ext cx="35662" cy="24158"/>
              </a:xfrm>
              <a:custGeom>
                <a:avLst/>
                <a:gdLst>
                  <a:gd name="T0" fmla="*/ 0 w 62"/>
                  <a:gd name="T1" fmla="*/ 25 h 42"/>
                  <a:gd name="T2" fmla="*/ 24 w 62"/>
                  <a:gd name="T3" fmla="*/ 11 h 42"/>
                  <a:gd name="T4" fmla="*/ 27 w 62"/>
                  <a:gd name="T5" fmla="*/ 13 h 42"/>
                  <a:gd name="T6" fmla="*/ 50 w 62"/>
                  <a:gd name="T7" fmla="*/ 0 h 42"/>
                  <a:gd name="T8" fmla="*/ 62 w 62"/>
                  <a:gd name="T9" fmla="*/ 7 h 42"/>
                  <a:gd name="T10" fmla="*/ 62 w 62"/>
                  <a:gd name="T11" fmla="*/ 18 h 42"/>
                  <a:gd name="T12" fmla="*/ 38 w 62"/>
                  <a:gd name="T13" fmla="*/ 31 h 42"/>
                  <a:gd name="T14" fmla="*/ 35 w 62"/>
                  <a:gd name="T15" fmla="*/ 30 h 42"/>
                  <a:gd name="T16" fmla="*/ 12 w 62"/>
                  <a:gd name="T17" fmla="*/ 42 h 42"/>
                  <a:gd name="T18" fmla="*/ 0 w 62"/>
                  <a:gd name="T19" fmla="*/ 36 h 42"/>
                  <a:gd name="T20" fmla="*/ 0 w 62"/>
                  <a:gd name="T21" fmla="*/ 2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5"/>
                    </a:moveTo>
                    <a:lnTo>
                      <a:pt x="24" y="11"/>
                    </a:lnTo>
                    <a:lnTo>
                      <a:pt x="27" y="13"/>
                    </a:lnTo>
                    <a:lnTo>
                      <a:pt x="50" y="0"/>
                    </a:lnTo>
                    <a:lnTo>
                      <a:pt x="62" y="7"/>
                    </a:lnTo>
                    <a:lnTo>
                      <a:pt x="62" y="18"/>
                    </a:lnTo>
                    <a:lnTo>
                      <a:pt x="38" y="31"/>
                    </a:lnTo>
                    <a:lnTo>
                      <a:pt x="35" y="30"/>
                    </a:lnTo>
                    <a:lnTo>
                      <a:pt x="12" y="42"/>
                    </a:lnTo>
                    <a:lnTo>
                      <a:pt x="0" y="36"/>
                    </a:lnTo>
                    <a:lnTo>
                      <a:pt x="0" y="25"/>
                    </a:lnTo>
                    <a:close/>
                  </a:path>
                </a:pathLst>
              </a:custGeom>
              <a:solidFill>
                <a:srgbClr val="EAEAE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83" name="Freeform 333">
                <a:extLst>
                  <a:ext uri="{FF2B5EF4-FFF2-40B4-BE49-F238E27FC236}">
                    <a16:creationId xmlns:a16="http://schemas.microsoft.com/office/drawing/2014/main" id="{CDAA313F-B065-43F9-A666-234706F5D6D3}"/>
                  </a:ext>
                </a:extLst>
              </p:cNvPr>
              <p:cNvSpPr>
                <a:spLocks/>
              </p:cNvSpPr>
              <p:nvPr/>
            </p:nvSpPr>
            <p:spPr bwMode="gray">
              <a:xfrm>
                <a:off x="2011766" y="1951048"/>
                <a:ext cx="15530" cy="13230"/>
              </a:xfrm>
              <a:custGeom>
                <a:avLst/>
                <a:gdLst>
                  <a:gd name="T0" fmla="*/ 3 w 27"/>
                  <a:gd name="T1" fmla="*/ 17 h 23"/>
                  <a:gd name="T2" fmla="*/ 0 w 27"/>
                  <a:gd name="T3" fmla="*/ 11 h 23"/>
                  <a:gd name="T4" fmla="*/ 15 w 27"/>
                  <a:gd name="T5" fmla="*/ 3 h 23"/>
                  <a:gd name="T6" fmla="*/ 17 w 27"/>
                  <a:gd name="T7" fmla="*/ 9 h 23"/>
                  <a:gd name="T8" fmla="*/ 18 w 27"/>
                  <a:gd name="T9" fmla="*/ 7 h 23"/>
                  <a:gd name="T10" fmla="*/ 20 w 27"/>
                  <a:gd name="T11" fmla="*/ 4 h 23"/>
                  <a:gd name="T12" fmla="*/ 27 w 27"/>
                  <a:gd name="T13" fmla="*/ 0 h 23"/>
                  <a:gd name="T14" fmla="*/ 27 w 27"/>
                  <a:gd name="T15" fmla="*/ 11 h 23"/>
                  <a:gd name="T16" fmla="*/ 26 w 27"/>
                  <a:gd name="T17" fmla="*/ 11 h 23"/>
                  <a:gd name="T18" fmla="*/ 3 w 27"/>
                  <a:gd name="T19" fmla="*/ 23 h 23"/>
                  <a:gd name="T20" fmla="*/ 3 w 27"/>
                  <a:gd name="T21"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3">
                    <a:moveTo>
                      <a:pt x="3" y="17"/>
                    </a:moveTo>
                    <a:lnTo>
                      <a:pt x="0" y="11"/>
                    </a:lnTo>
                    <a:lnTo>
                      <a:pt x="15" y="3"/>
                    </a:lnTo>
                    <a:lnTo>
                      <a:pt x="17" y="9"/>
                    </a:lnTo>
                    <a:lnTo>
                      <a:pt x="18" y="7"/>
                    </a:lnTo>
                    <a:lnTo>
                      <a:pt x="20" y="4"/>
                    </a:lnTo>
                    <a:lnTo>
                      <a:pt x="27" y="0"/>
                    </a:lnTo>
                    <a:lnTo>
                      <a:pt x="27" y="11"/>
                    </a:lnTo>
                    <a:lnTo>
                      <a:pt x="26" y="11"/>
                    </a:lnTo>
                    <a:lnTo>
                      <a:pt x="3" y="23"/>
                    </a:lnTo>
                    <a:lnTo>
                      <a:pt x="3" y="17"/>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84" name="Freeform 334">
                <a:extLst>
                  <a:ext uri="{FF2B5EF4-FFF2-40B4-BE49-F238E27FC236}">
                    <a16:creationId xmlns:a16="http://schemas.microsoft.com/office/drawing/2014/main" id="{370FA236-4C20-481B-A412-167A6D6B1F17}"/>
                  </a:ext>
                </a:extLst>
              </p:cNvPr>
              <p:cNvSpPr>
                <a:spLocks/>
              </p:cNvSpPr>
              <p:nvPr/>
            </p:nvSpPr>
            <p:spPr bwMode="gray">
              <a:xfrm>
                <a:off x="2006590" y="1954499"/>
                <a:ext cx="6902" cy="9778"/>
              </a:xfrm>
              <a:custGeom>
                <a:avLst/>
                <a:gdLst>
                  <a:gd name="T0" fmla="*/ 9 w 12"/>
                  <a:gd name="T1" fmla="*/ 5 h 17"/>
                  <a:gd name="T2" fmla="*/ 12 w 12"/>
                  <a:gd name="T3" fmla="*/ 11 h 17"/>
                  <a:gd name="T4" fmla="*/ 12 w 12"/>
                  <a:gd name="T5" fmla="*/ 17 h 17"/>
                  <a:gd name="T6" fmla="*/ 0 w 12"/>
                  <a:gd name="T7" fmla="*/ 11 h 17"/>
                  <a:gd name="T8" fmla="*/ 0 w 12"/>
                  <a:gd name="T9" fmla="*/ 0 h 17"/>
                  <a:gd name="T10" fmla="*/ 9 w 12"/>
                  <a:gd name="T11" fmla="*/ 5 h 17"/>
                </a:gdLst>
                <a:ahLst/>
                <a:cxnLst>
                  <a:cxn ang="0">
                    <a:pos x="T0" y="T1"/>
                  </a:cxn>
                  <a:cxn ang="0">
                    <a:pos x="T2" y="T3"/>
                  </a:cxn>
                  <a:cxn ang="0">
                    <a:pos x="T4" y="T5"/>
                  </a:cxn>
                  <a:cxn ang="0">
                    <a:pos x="T6" y="T7"/>
                  </a:cxn>
                  <a:cxn ang="0">
                    <a:pos x="T8" y="T9"/>
                  </a:cxn>
                  <a:cxn ang="0">
                    <a:pos x="T10" y="T11"/>
                  </a:cxn>
                </a:cxnLst>
                <a:rect l="0" t="0" r="r" b="b"/>
                <a:pathLst>
                  <a:path w="12" h="17">
                    <a:moveTo>
                      <a:pt x="9" y="5"/>
                    </a:moveTo>
                    <a:lnTo>
                      <a:pt x="12" y="11"/>
                    </a:lnTo>
                    <a:lnTo>
                      <a:pt x="12" y="17"/>
                    </a:lnTo>
                    <a:lnTo>
                      <a:pt x="0" y="11"/>
                    </a:lnTo>
                    <a:lnTo>
                      <a:pt x="0" y="0"/>
                    </a:lnTo>
                    <a:lnTo>
                      <a:pt x="9" y="5"/>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85" name="Freeform 335">
                <a:extLst>
                  <a:ext uri="{FF2B5EF4-FFF2-40B4-BE49-F238E27FC236}">
                    <a16:creationId xmlns:a16="http://schemas.microsoft.com/office/drawing/2014/main" id="{B5782979-6513-44A8-A134-AC1F2035FC1A}"/>
                  </a:ext>
                </a:extLst>
              </p:cNvPr>
              <p:cNvSpPr>
                <a:spLocks/>
              </p:cNvSpPr>
              <p:nvPr/>
            </p:nvSpPr>
            <p:spPr bwMode="gray">
              <a:xfrm>
                <a:off x="2028447" y="1944146"/>
                <a:ext cx="13805" cy="13805"/>
              </a:xfrm>
              <a:custGeom>
                <a:avLst/>
                <a:gdLst>
                  <a:gd name="T0" fmla="*/ 24 w 24"/>
                  <a:gd name="T1" fmla="*/ 0 h 24"/>
                  <a:gd name="T2" fmla="*/ 24 w 24"/>
                  <a:gd name="T3" fmla="*/ 11 h 24"/>
                  <a:gd name="T4" fmla="*/ 0 w 24"/>
                  <a:gd name="T5" fmla="*/ 24 h 24"/>
                  <a:gd name="T6" fmla="*/ 0 w 24"/>
                  <a:gd name="T7" fmla="*/ 13 h 24"/>
                  <a:gd name="T8" fmla="*/ 24 w 24"/>
                  <a:gd name="T9" fmla="*/ 0 h 24"/>
                </a:gdLst>
                <a:ahLst/>
                <a:cxnLst>
                  <a:cxn ang="0">
                    <a:pos x="T0" y="T1"/>
                  </a:cxn>
                  <a:cxn ang="0">
                    <a:pos x="T2" y="T3"/>
                  </a:cxn>
                  <a:cxn ang="0">
                    <a:pos x="T4" y="T5"/>
                  </a:cxn>
                  <a:cxn ang="0">
                    <a:pos x="T6" y="T7"/>
                  </a:cxn>
                  <a:cxn ang="0">
                    <a:pos x="T8" y="T9"/>
                  </a:cxn>
                </a:cxnLst>
                <a:rect l="0" t="0" r="r" b="b"/>
                <a:pathLst>
                  <a:path w="24" h="24">
                    <a:moveTo>
                      <a:pt x="24" y="0"/>
                    </a:moveTo>
                    <a:lnTo>
                      <a:pt x="24" y="11"/>
                    </a:lnTo>
                    <a:lnTo>
                      <a:pt x="0" y="24"/>
                    </a:lnTo>
                    <a:lnTo>
                      <a:pt x="0" y="13"/>
                    </a:lnTo>
                    <a:lnTo>
                      <a:pt x="24" y="0"/>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86" name="Freeform 336">
                <a:extLst>
                  <a:ext uri="{FF2B5EF4-FFF2-40B4-BE49-F238E27FC236}">
                    <a16:creationId xmlns:a16="http://schemas.microsoft.com/office/drawing/2014/main" id="{44FAFF25-D33E-44F4-86DA-663869855DDF}"/>
                  </a:ext>
                </a:extLst>
              </p:cNvPr>
              <p:cNvSpPr>
                <a:spLocks/>
              </p:cNvSpPr>
              <p:nvPr/>
            </p:nvSpPr>
            <p:spPr bwMode="gray">
              <a:xfrm>
                <a:off x="2027297" y="1951048"/>
                <a:ext cx="1150" cy="6902"/>
              </a:xfrm>
              <a:custGeom>
                <a:avLst/>
                <a:gdLst>
                  <a:gd name="T0" fmla="*/ 0 w 2"/>
                  <a:gd name="T1" fmla="*/ 0 h 12"/>
                  <a:gd name="T2" fmla="*/ 2 w 2"/>
                  <a:gd name="T3" fmla="*/ 1 h 12"/>
                  <a:gd name="T4" fmla="*/ 2 w 2"/>
                  <a:gd name="T5" fmla="*/ 12 h 12"/>
                  <a:gd name="T6" fmla="*/ 0 w 2"/>
                  <a:gd name="T7" fmla="*/ 11 h 12"/>
                  <a:gd name="T8" fmla="*/ 0 w 2"/>
                  <a:gd name="T9" fmla="*/ 0 h 12"/>
                </a:gdLst>
                <a:ahLst/>
                <a:cxnLst>
                  <a:cxn ang="0">
                    <a:pos x="T0" y="T1"/>
                  </a:cxn>
                  <a:cxn ang="0">
                    <a:pos x="T2" y="T3"/>
                  </a:cxn>
                  <a:cxn ang="0">
                    <a:pos x="T4" y="T5"/>
                  </a:cxn>
                  <a:cxn ang="0">
                    <a:pos x="T6" y="T7"/>
                  </a:cxn>
                  <a:cxn ang="0">
                    <a:pos x="T8" y="T9"/>
                  </a:cxn>
                </a:cxnLst>
                <a:rect l="0" t="0" r="r" b="b"/>
                <a:pathLst>
                  <a:path w="2" h="12">
                    <a:moveTo>
                      <a:pt x="0" y="0"/>
                    </a:moveTo>
                    <a:lnTo>
                      <a:pt x="2" y="1"/>
                    </a:lnTo>
                    <a:lnTo>
                      <a:pt x="2" y="12"/>
                    </a:lnTo>
                    <a:lnTo>
                      <a:pt x="0" y="11"/>
                    </a:lnTo>
                    <a:lnTo>
                      <a:pt x="0" y="0"/>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87" name="Freeform 337">
                <a:extLst>
                  <a:ext uri="{FF2B5EF4-FFF2-40B4-BE49-F238E27FC236}">
                    <a16:creationId xmlns:a16="http://schemas.microsoft.com/office/drawing/2014/main" id="{53F3EC54-DEC5-4BB4-9938-CB16794CB1B2}"/>
                  </a:ext>
                </a:extLst>
              </p:cNvPr>
              <p:cNvSpPr>
                <a:spLocks/>
              </p:cNvSpPr>
              <p:nvPr/>
            </p:nvSpPr>
            <p:spPr bwMode="gray">
              <a:xfrm>
                <a:off x="2020394" y="1952774"/>
                <a:ext cx="2876" cy="3451"/>
              </a:xfrm>
              <a:custGeom>
                <a:avLst/>
                <a:gdLst>
                  <a:gd name="T0" fmla="*/ 5 w 5"/>
                  <a:gd name="T1" fmla="*/ 1 h 6"/>
                  <a:gd name="T2" fmla="*/ 3 w 5"/>
                  <a:gd name="T3" fmla="*/ 4 h 6"/>
                  <a:gd name="T4" fmla="*/ 2 w 5"/>
                  <a:gd name="T5" fmla="*/ 6 h 6"/>
                  <a:gd name="T6" fmla="*/ 0 w 5"/>
                  <a:gd name="T7" fmla="*/ 0 h 6"/>
                  <a:gd name="T8" fmla="*/ 5 w 5"/>
                  <a:gd name="T9" fmla="*/ 1 h 6"/>
                </a:gdLst>
                <a:ahLst/>
                <a:cxnLst>
                  <a:cxn ang="0">
                    <a:pos x="T0" y="T1"/>
                  </a:cxn>
                  <a:cxn ang="0">
                    <a:pos x="T2" y="T3"/>
                  </a:cxn>
                  <a:cxn ang="0">
                    <a:pos x="T4" y="T5"/>
                  </a:cxn>
                  <a:cxn ang="0">
                    <a:pos x="T6" y="T7"/>
                  </a:cxn>
                  <a:cxn ang="0">
                    <a:pos x="T8" y="T9"/>
                  </a:cxn>
                </a:cxnLst>
                <a:rect l="0" t="0" r="r" b="b"/>
                <a:pathLst>
                  <a:path w="5" h="6">
                    <a:moveTo>
                      <a:pt x="5" y="1"/>
                    </a:moveTo>
                    <a:lnTo>
                      <a:pt x="3" y="4"/>
                    </a:lnTo>
                    <a:lnTo>
                      <a:pt x="2" y="6"/>
                    </a:lnTo>
                    <a:lnTo>
                      <a:pt x="0" y="0"/>
                    </a:lnTo>
                    <a:lnTo>
                      <a:pt x="5" y="1"/>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88" name="Freeform 338">
                <a:extLst>
                  <a:ext uri="{FF2B5EF4-FFF2-40B4-BE49-F238E27FC236}">
                    <a16:creationId xmlns:a16="http://schemas.microsoft.com/office/drawing/2014/main" id="{ADB55C4B-9777-4185-AD80-C650DE587E2D}"/>
                  </a:ext>
                </a:extLst>
              </p:cNvPr>
              <p:cNvSpPr>
                <a:spLocks/>
              </p:cNvSpPr>
              <p:nvPr/>
            </p:nvSpPr>
            <p:spPr bwMode="gray">
              <a:xfrm>
                <a:off x="2011766" y="1952774"/>
                <a:ext cx="9778" cy="8053"/>
              </a:xfrm>
              <a:custGeom>
                <a:avLst/>
                <a:gdLst>
                  <a:gd name="T0" fmla="*/ 3 w 17"/>
                  <a:gd name="T1" fmla="*/ 14 h 14"/>
                  <a:gd name="T2" fmla="*/ 0 w 17"/>
                  <a:gd name="T3" fmla="*/ 8 h 14"/>
                  <a:gd name="T4" fmla="*/ 15 w 17"/>
                  <a:gd name="T5" fmla="*/ 0 h 14"/>
                  <a:gd name="T6" fmla="*/ 17 w 17"/>
                  <a:gd name="T7" fmla="*/ 6 h 14"/>
                  <a:gd name="T8" fmla="*/ 3 w 17"/>
                  <a:gd name="T9" fmla="*/ 14 h 14"/>
                </a:gdLst>
                <a:ahLst/>
                <a:cxnLst>
                  <a:cxn ang="0">
                    <a:pos x="T0" y="T1"/>
                  </a:cxn>
                  <a:cxn ang="0">
                    <a:pos x="T2" y="T3"/>
                  </a:cxn>
                  <a:cxn ang="0">
                    <a:pos x="T4" y="T5"/>
                  </a:cxn>
                  <a:cxn ang="0">
                    <a:pos x="T6" y="T7"/>
                  </a:cxn>
                  <a:cxn ang="0">
                    <a:pos x="T8" y="T9"/>
                  </a:cxn>
                </a:cxnLst>
                <a:rect l="0" t="0" r="r" b="b"/>
                <a:pathLst>
                  <a:path w="17" h="14">
                    <a:moveTo>
                      <a:pt x="3" y="14"/>
                    </a:moveTo>
                    <a:lnTo>
                      <a:pt x="0" y="8"/>
                    </a:lnTo>
                    <a:lnTo>
                      <a:pt x="15" y="0"/>
                    </a:lnTo>
                    <a:lnTo>
                      <a:pt x="17" y="6"/>
                    </a:lnTo>
                    <a:lnTo>
                      <a:pt x="3" y="14"/>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89" name="Freeform 339">
                <a:extLst>
                  <a:ext uri="{FF2B5EF4-FFF2-40B4-BE49-F238E27FC236}">
                    <a16:creationId xmlns:a16="http://schemas.microsoft.com/office/drawing/2014/main" id="{9214FF46-3AAA-4640-B9DC-DF35D2AA04D2}"/>
                  </a:ext>
                </a:extLst>
              </p:cNvPr>
              <p:cNvSpPr>
                <a:spLocks/>
              </p:cNvSpPr>
              <p:nvPr/>
            </p:nvSpPr>
            <p:spPr bwMode="gray">
              <a:xfrm>
                <a:off x="2024421" y="1990736"/>
                <a:ext cx="17831" cy="12079"/>
              </a:xfrm>
              <a:custGeom>
                <a:avLst/>
                <a:gdLst>
                  <a:gd name="T0" fmla="*/ 0 w 31"/>
                  <a:gd name="T1" fmla="*/ 13 h 21"/>
                  <a:gd name="T2" fmla="*/ 12 w 31"/>
                  <a:gd name="T3" fmla="*/ 6 h 21"/>
                  <a:gd name="T4" fmla="*/ 13 w 31"/>
                  <a:gd name="T5" fmla="*/ 7 h 21"/>
                  <a:gd name="T6" fmla="*/ 25 w 31"/>
                  <a:gd name="T7" fmla="*/ 0 h 21"/>
                  <a:gd name="T8" fmla="*/ 31 w 31"/>
                  <a:gd name="T9" fmla="*/ 3 h 21"/>
                  <a:gd name="T10" fmla="*/ 31 w 31"/>
                  <a:gd name="T11" fmla="*/ 9 h 21"/>
                  <a:gd name="T12" fmla="*/ 19 w 31"/>
                  <a:gd name="T13" fmla="*/ 16 h 21"/>
                  <a:gd name="T14" fmla="*/ 17 w 31"/>
                  <a:gd name="T15" fmla="*/ 15 h 21"/>
                  <a:gd name="T16" fmla="*/ 6 w 31"/>
                  <a:gd name="T17" fmla="*/ 21 h 21"/>
                  <a:gd name="T18" fmla="*/ 0 w 31"/>
                  <a:gd name="T19" fmla="*/ 18 h 21"/>
                  <a:gd name="T20" fmla="*/ 0 w 31"/>
                  <a:gd name="T21"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1">
                    <a:moveTo>
                      <a:pt x="0" y="13"/>
                    </a:moveTo>
                    <a:lnTo>
                      <a:pt x="12" y="6"/>
                    </a:lnTo>
                    <a:lnTo>
                      <a:pt x="13" y="7"/>
                    </a:lnTo>
                    <a:lnTo>
                      <a:pt x="25" y="0"/>
                    </a:lnTo>
                    <a:lnTo>
                      <a:pt x="31" y="3"/>
                    </a:lnTo>
                    <a:lnTo>
                      <a:pt x="31" y="9"/>
                    </a:lnTo>
                    <a:lnTo>
                      <a:pt x="19" y="16"/>
                    </a:lnTo>
                    <a:lnTo>
                      <a:pt x="17" y="15"/>
                    </a:lnTo>
                    <a:lnTo>
                      <a:pt x="6" y="21"/>
                    </a:lnTo>
                    <a:lnTo>
                      <a:pt x="0" y="18"/>
                    </a:lnTo>
                    <a:lnTo>
                      <a:pt x="0" y="13"/>
                    </a:lnTo>
                    <a:close/>
                  </a:path>
                </a:pathLst>
              </a:custGeom>
              <a:solidFill>
                <a:srgbClr val="EAEAE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90" name="Freeform 340">
                <a:extLst>
                  <a:ext uri="{FF2B5EF4-FFF2-40B4-BE49-F238E27FC236}">
                    <a16:creationId xmlns:a16="http://schemas.microsoft.com/office/drawing/2014/main" id="{B5993D55-680A-41D6-9901-A9A9BE3B0562}"/>
                  </a:ext>
                </a:extLst>
              </p:cNvPr>
              <p:cNvSpPr>
                <a:spLocks/>
              </p:cNvSpPr>
              <p:nvPr/>
            </p:nvSpPr>
            <p:spPr bwMode="gray">
              <a:xfrm>
                <a:off x="2026721" y="1995913"/>
                <a:ext cx="7478" cy="6902"/>
              </a:xfrm>
              <a:custGeom>
                <a:avLst/>
                <a:gdLst>
                  <a:gd name="T0" fmla="*/ 2 w 13"/>
                  <a:gd name="T1" fmla="*/ 9 h 12"/>
                  <a:gd name="T2" fmla="*/ 0 w 13"/>
                  <a:gd name="T3" fmla="*/ 6 h 12"/>
                  <a:gd name="T4" fmla="*/ 8 w 13"/>
                  <a:gd name="T5" fmla="*/ 1 h 12"/>
                  <a:gd name="T6" fmla="*/ 9 w 13"/>
                  <a:gd name="T7" fmla="*/ 5 h 12"/>
                  <a:gd name="T8" fmla="*/ 9 w 13"/>
                  <a:gd name="T9" fmla="*/ 4 h 12"/>
                  <a:gd name="T10" fmla="*/ 11 w 13"/>
                  <a:gd name="T11" fmla="*/ 3 h 12"/>
                  <a:gd name="T12" fmla="*/ 13 w 13"/>
                  <a:gd name="T13" fmla="*/ 0 h 12"/>
                  <a:gd name="T14" fmla="*/ 13 w 13"/>
                  <a:gd name="T15" fmla="*/ 6 h 12"/>
                  <a:gd name="T16" fmla="*/ 13 w 13"/>
                  <a:gd name="T17" fmla="*/ 6 h 12"/>
                  <a:gd name="T18" fmla="*/ 2 w 13"/>
                  <a:gd name="T19" fmla="*/ 12 h 12"/>
                  <a:gd name="T20" fmla="*/ 2 w 13"/>
                  <a:gd name="T2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2">
                    <a:moveTo>
                      <a:pt x="2" y="9"/>
                    </a:moveTo>
                    <a:lnTo>
                      <a:pt x="0" y="6"/>
                    </a:lnTo>
                    <a:lnTo>
                      <a:pt x="8" y="1"/>
                    </a:lnTo>
                    <a:lnTo>
                      <a:pt x="9" y="5"/>
                    </a:lnTo>
                    <a:lnTo>
                      <a:pt x="9" y="4"/>
                    </a:lnTo>
                    <a:lnTo>
                      <a:pt x="11" y="3"/>
                    </a:lnTo>
                    <a:lnTo>
                      <a:pt x="13" y="0"/>
                    </a:lnTo>
                    <a:lnTo>
                      <a:pt x="13" y="6"/>
                    </a:lnTo>
                    <a:lnTo>
                      <a:pt x="13" y="6"/>
                    </a:lnTo>
                    <a:lnTo>
                      <a:pt x="2" y="12"/>
                    </a:lnTo>
                    <a:lnTo>
                      <a:pt x="2" y="9"/>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91" name="Freeform 341">
                <a:extLst>
                  <a:ext uri="{FF2B5EF4-FFF2-40B4-BE49-F238E27FC236}">
                    <a16:creationId xmlns:a16="http://schemas.microsoft.com/office/drawing/2014/main" id="{B0F96B7E-C120-4C7A-B0A9-EF811872FE38}"/>
                  </a:ext>
                </a:extLst>
              </p:cNvPr>
              <p:cNvSpPr>
                <a:spLocks/>
              </p:cNvSpPr>
              <p:nvPr/>
            </p:nvSpPr>
            <p:spPr bwMode="gray">
              <a:xfrm>
                <a:off x="2024421" y="1998214"/>
                <a:ext cx="3451" cy="4602"/>
              </a:xfrm>
              <a:custGeom>
                <a:avLst/>
                <a:gdLst>
                  <a:gd name="T0" fmla="*/ 4 w 6"/>
                  <a:gd name="T1" fmla="*/ 2 h 8"/>
                  <a:gd name="T2" fmla="*/ 6 w 6"/>
                  <a:gd name="T3" fmla="*/ 5 h 8"/>
                  <a:gd name="T4" fmla="*/ 6 w 6"/>
                  <a:gd name="T5" fmla="*/ 8 h 8"/>
                  <a:gd name="T6" fmla="*/ 0 w 6"/>
                  <a:gd name="T7" fmla="*/ 5 h 8"/>
                  <a:gd name="T8" fmla="*/ 0 w 6"/>
                  <a:gd name="T9" fmla="*/ 0 h 8"/>
                  <a:gd name="T10" fmla="*/ 4 w 6"/>
                  <a:gd name="T11" fmla="*/ 2 h 8"/>
                </a:gdLst>
                <a:ahLst/>
                <a:cxnLst>
                  <a:cxn ang="0">
                    <a:pos x="T0" y="T1"/>
                  </a:cxn>
                  <a:cxn ang="0">
                    <a:pos x="T2" y="T3"/>
                  </a:cxn>
                  <a:cxn ang="0">
                    <a:pos x="T4" y="T5"/>
                  </a:cxn>
                  <a:cxn ang="0">
                    <a:pos x="T6" y="T7"/>
                  </a:cxn>
                  <a:cxn ang="0">
                    <a:pos x="T8" y="T9"/>
                  </a:cxn>
                  <a:cxn ang="0">
                    <a:pos x="T10" y="T11"/>
                  </a:cxn>
                </a:cxnLst>
                <a:rect l="0" t="0" r="r" b="b"/>
                <a:pathLst>
                  <a:path w="6" h="8">
                    <a:moveTo>
                      <a:pt x="4" y="2"/>
                    </a:moveTo>
                    <a:lnTo>
                      <a:pt x="6" y="5"/>
                    </a:lnTo>
                    <a:lnTo>
                      <a:pt x="6" y="8"/>
                    </a:lnTo>
                    <a:lnTo>
                      <a:pt x="0" y="5"/>
                    </a:lnTo>
                    <a:lnTo>
                      <a:pt x="0" y="0"/>
                    </a:lnTo>
                    <a:lnTo>
                      <a:pt x="4" y="2"/>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92" name="Freeform 342">
                <a:extLst>
                  <a:ext uri="{FF2B5EF4-FFF2-40B4-BE49-F238E27FC236}">
                    <a16:creationId xmlns:a16="http://schemas.microsoft.com/office/drawing/2014/main" id="{06659EBF-6D4F-43ED-956C-D87D03BD752F}"/>
                  </a:ext>
                </a:extLst>
              </p:cNvPr>
              <p:cNvSpPr>
                <a:spLocks/>
              </p:cNvSpPr>
              <p:nvPr/>
            </p:nvSpPr>
            <p:spPr bwMode="gray">
              <a:xfrm>
                <a:off x="2035349" y="1992462"/>
                <a:ext cx="6902" cy="7478"/>
              </a:xfrm>
              <a:custGeom>
                <a:avLst/>
                <a:gdLst>
                  <a:gd name="T0" fmla="*/ 12 w 12"/>
                  <a:gd name="T1" fmla="*/ 0 h 13"/>
                  <a:gd name="T2" fmla="*/ 12 w 12"/>
                  <a:gd name="T3" fmla="*/ 6 h 13"/>
                  <a:gd name="T4" fmla="*/ 0 w 12"/>
                  <a:gd name="T5" fmla="*/ 13 h 13"/>
                  <a:gd name="T6" fmla="*/ 0 w 12"/>
                  <a:gd name="T7" fmla="*/ 7 h 13"/>
                  <a:gd name="T8" fmla="*/ 12 w 12"/>
                  <a:gd name="T9" fmla="*/ 0 h 13"/>
                </a:gdLst>
                <a:ahLst/>
                <a:cxnLst>
                  <a:cxn ang="0">
                    <a:pos x="T0" y="T1"/>
                  </a:cxn>
                  <a:cxn ang="0">
                    <a:pos x="T2" y="T3"/>
                  </a:cxn>
                  <a:cxn ang="0">
                    <a:pos x="T4" y="T5"/>
                  </a:cxn>
                  <a:cxn ang="0">
                    <a:pos x="T6" y="T7"/>
                  </a:cxn>
                  <a:cxn ang="0">
                    <a:pos x="T8" y="T9"/>
                  </a:cxn>
                </a:cxnLst>
                <a:rect l="0" t="0" r="r" b="b"/>
                <a:pathLst>
                  <a:path w="12" h="13">
                    <a:moveTo>
                      <a:pt x="12" y="0"/>
                    </a:moveTo>
                    <a:lnTo>
                      <a:pt x="12" y="6"/>
                    </a:lnTo>
                    <a:lnTo>
                      <a:pt x="0" y="13"/>
                    </a:lnTo>
                    <a:lnTo>
                      <a:pt x="0" y="7"/>
                    </a:lnTo>
                    <a:lnTo>
                      <a:pt x="12" y="0"/>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93" name="Freeform 343">
                <a:extLst>
                  <a:ext uri="{FF2B5EF4-FFF2-40B4-BE49-F238E27FC236}">
                    <a16:creationId xmlns:a16="http://schemas.microsoft.com/office/drawing/2014/main" id="{A90F324C-A4FD-4373-9B14-D843308E1696}"/>
                  </a:ext>
                </a:extLst>
              </p:cNvPr>
              <p:cNvSpPr>
                <a:spLocks/>
              </p:cNvSpPr>
              <p:nvPr/>
            </p:nvSpPr>
            <p:spPr bwMode="gray">
              <a:xfrm>
                <a:off x="2034199" y="1995913"/>
                <a:ext cx="1150" cy="4027"/>
              </a:xfrm>
              <a:custGeom>
                <a:avLst/>
                <a:gdLst>
                  <a:gd name="T0" fmla="*/ 0 w 2"/>
                  <a:gd name="T1" fmla="*/ 0 h 7"/>
                  <a:gd name="T2" fmla="*/ 2 w 2"/>
                  <a:gd name="T3" fmla="*/ 1 h 7"/>
                  <a:gd name="T4" fmla="*/ 2 w 2"/>
                  <a:gd name="T5" fmla="*/ 7 h 7"/>
                  <a:gd name="T6" fmla="*/ 0 w 2"/>
                  <a:gd name="T7" fmla="*/ 6 h 7"/>
                  <a:gd name="T8" fmla="*/ 0 w 2"/>
                  <a:gd name="T9" fmla="*/ 0 h 7"/>
                </a:gdLst>
                <a:ahLst/>
                <a:cxnLst>
                  <a:cxn ang="0">
                    <a:pos x="T0" y="T1"/>
                  </a:cxn>
                  <a:cxn ang="0">
                    <a:pos x="T2" y="T3"/>
                  </a:cxn>
                  <a:cxn ang="0">
                    <a:pos x="T4" y="T5"/>
                  </a:cxn>
                  <a:cxn ang="0">
                    <a:pos x="T6" y="T7"/>
                  </a:cxn>
                  <a:cxn ang="0">
                    <a:pos x="T8" y="T9"/>
                  </a:cxn>
                </a:cxnLst>
                <a:rect l="0" t="0" r="r" b="b"/>
                <a:pathLst>
                  <a:path w="2" h="7">
                    <a:moveTo>
                      <a:pt x="0" y="0"/>
                    </a:moveTo>
                    <a:lnTo>
                      <a:pt x="2" y="1"/>
                    </a:lnTo>
                    <a:lnTo>
                      <a:pt x="2" y="7"/>
                    </a:lnTo>
                    <a:lnTo>
                      <a:pt x="0" y="6"/>
                    </a:lnTo>
                    <a:lnTo>
                      <a:pt x="0" y="0"/>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94" name="Freeform 344">
                <a:extLst>
                  <a:ext uri="{FF2B5EF4-FFF2-40B4-BE49-F238E27FC236}">
                    <a16:creationId xmlns:a16="http://schemas.microsoft.com/office/drawing/2014/main" id="{4A8C5D61-0BEA-4A08-88FC-0A6256E424A1}"/>
                  </a:ext>
                </a:extLst>
              </p:cNvPr>
              <p:cNvSpPr>
                <a:spLocks/>
              </p:cNvSpPr>
              <p:nvPr/>
            </p:nvSpPr>
            <p:spPr bwMode="gray">
              <a:xfrm>
                <a:off x="2031323" y="1996488"/>
                <a:ext cx="1726" cy="2301"/>
              </a:xfrm>
              <a:custGeom>
                <a:avLst/>
                <a:gdLst>
                  <a:gd name="T0" fmla="*/ 3 w 3"/>
                  <a:gd name="T1" fmla="*/ 2 h 4"/>
                  <a:gd name="T2" fmla="*/ 1 w 3"/>
                  <a:gd name="T3" fmla="*/ 3 h 4"/>
                  <a:gd name="T4" fmla="*/ 1 w 3"/>
                  <a:gd name="T5" fmla="*/ 4 h 4"/>
                  <a:gd name="T6" fmla="*/ 0 w 3"/>
                  <a:gd name="T7" fmla="*/ 0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lnTo>
                      <a:pt x="1" y="3"/>
                    </a:lnTo>
                    <a:lnTo>
                      <a:pt x="1" y="4"/>
                    </a:lnTo>
                    <a:lnTo>
                      <a:pt x="0" y="0"/>
                    </a:lnTo>
                    <a:lnTo>
                      <a:pt x="3" y="2"/>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95" name="Freeform 345">
                <a:extLst>
                  <a:ext uri="{FF2B5EF4-FFF2-40B4-BE49-F238E27FC236}">
                    <a16:creationId xmlns:a16="http://schemas.microsoft.com/office/drawing/2014/main" id="{318E0001-F299-4BD7-B57C-12AEF5098F47}"/>
                  </a:ext>
                </a:extLst>
              </p:cNvPr>
              <p:cNvSpPr>
                <a:spLocks/>
              </p:cNvSpPr>
              <p:nvPr/>
            </p:nvSpPr>
            <p:spPr bwMode="gray">
              <a:xfrm>
                <a:off x="2026721" y="1996488"/>
                <a:ext cx="5177" cy="4602"/>
              </a:xfrm>
              <a:custGeom>
                <a:avLst/>
                <a:gdLst>
                  <a:gd name="T0" fmla="*/ 2 w 9"/>
                  <a:gd name="T1" fmla="*/ 8 h 8"/>
                  <a:gd name="T2" fmla="*/ 0 w 9"/>
                  <a:gd name="T3" fmla="*/ 5 h 8"/>
                  <a:gd name="T4" fmla="*/ 8 w 9"/>
                  <a:gd name="T5" fmla="*/ 0 h 8"/>
                  <a:gd name="T6" fmla="*/ 9 w 9"/>
                  <a:gd name="T7" fmla="*/ 4 h 8"/>
                  <a:gd name="T8" fmla="*/ 2 w 9"/>
                  <a:gd name="T9" fmla="*/ 8 h 8"/>
                </a:gdLst>
                <a:ahLst/>
                <a:cxnLst>
                  <a:cxn ang="0">
                    <a:pos x="T0" y="T1"/>
                  </a:cxn>
                  <a:cxn ang="0">
                    <a:pos x="T2" y="T3"/>
                  </a:cxn>
                  <a:cxn ang="0">
                    <a:pos x="T4" y="T5"/>
                  </a:cxn>
                  <a:cxn ang="0">
                    <a:pos x="T6" y="T7"/>
                  </a:cxn>
                  <a:cxn ang="0">
                    <a:pos x="T8" y="T9"/>
                  </a:cxn>
                </a:cxnLst>
                <a:rect l="0" t="0" r="r" b="b"/>
                <a:pathLst>
                  <a:path w="9" h="8">
                    <a:moveTo>
                      <a:pt x="2" y="8"/>
                    </a:moveTo>
                    <a:lnTo>
                      <a:pt x="0" y="5"/>
                    </a:lnTo>
                    <a:lnTo>
                      <a:pt x="8" y="0"/>
                    </a:lnTo>
                    <a:lnTo>
                      <a:pt x="9" y="4"/>
                    </a:lnTo>
                    <a:lnTo>
                      <a:pt x="2" y="8"/>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96" name="Freeform 346">
                <a:extLst>
                  <a:ext uri="{FF2B5EF4-FFF2-40B4-BE49-F238E27FC236}">
                    <a16:creationId xmlns:a16="http://schemas.microsoft.com/office/drawing/2014/main" id="{50C1ADEF-A059-4C3F-8B29-1C55E58181FB}"/>
                  </a:ext>
                </a:extLst>
              </p:cNvPr>
              <p:cNvSpPr>
                <a:spLocks/>
              </p:cNvSpPr>
              <p:nvPr/>
            </p:nvSpPr>
            <p:spPr bwMode="gray">
              <a:xfrm>
                <a:off x="2033049" y="1995913"/>
                <a:ext cx="17831" cy="12079"/>
              </a:xfrm>
              <a:custGeom>
                <a:avLst/>
                <a:gdLst>
                  <a:gd name="T0" fmla="*/ 0 w 31"/>
                  <a:gd name="T1" fmla="*/ 12 h 21"/>
                  <a:gd name="T2" fmla="*/ 12 w 31"/>
                  <a:gd name="T3" fmla="*/ 5 h 21"/>
                  <a:gd name="T4" fmla="*/ 13 w 31"/>
                  <a:gd name="T5" fmla="*/ 6 h 21"/>
                  <a:gd name="T6" fmla="*/ 25 w 31"/>
                  <a:gd name="T7" fmla="*/ 0 h 21"/>
                  <a:gd name="T8" fmla="*/ 31 w 31"/>
                  <a:gd name="T9" fmla="*/ 4 h 21"/>
                  <a:gd name="T10" fmla="*/ 31 w 31"/>
                  <a:gd name="T11" fmla="*/ 9 h 21"/>
                  <a:gd name="T12" fmla="*/ 19 w 31"/>
                  <a:gd name="T13" fmla="*/ 16 h 21"/>
                  <a:gd name="T14" fmla="*/ 16 w 31"/>
                  <a:gd name="T15" fmla="*/ 15 h 21"/>
                  <a:gd name="T16" fmla="*/ 6 w 31"/>
                  <a:gd name="T17" fmla="*/ 21 h 21"/>
                  <a:gd name="T18" fmla="*/ 0 w 31"/>
                  <a:gd name="T19" fmla="*/ 17 h 21"/>
                  <a:gd name="T20" fmla="*/ 0 w 31"/>
                  <a:gd name="T21" fmla="*/ 1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1">
                    <a:moveTo>
                      <a:pt x="0" y="12"/>
                    </a:moveTo>
                    <a:lnTo>
                      <a:pt x="12" y="5"/>
                    </a:lnTo>
                    <a:lnTo>
                      <a:pt x="13" y="6"/>
                    </a:lnTo>
                    <a:lnTo>
                      <a:pt x="25" y="0"/>
                    </a:lnTo>
                    <a:lnTo>
                      <a:pt x="31" y="4"/>
                    </a:lnTo>
                    <a:lnTo>
                      <a:pt x="31" y="9"/>
                    </a:lnTo>
                    <a:lnTo>
                      <a:pt x="19" y="16"/>
                    </a:lnTo>
                    <a:lnTo>
                      <a:pt x="16" y="15"/>
                    </a:lnTo>
                    <a:lnTo>
                      <a:pt x="6" y="21"/>
                    </a:lnTo>
                    <a:lnTo>
                      <a:pt x="0" y="17"/>
                    </a:lnTo>
                    <a:lnTo>
                      <a:pt x="0" y="12"/>
                    </a:lnTo>
                    <a:close/>
                  </a:path>
                </a:pathLst>
              </a:custGeom>
              <a:solidFill>
                <a:srgbClr val="EAEAE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97" name="Freeform 347">
                <a:extLst>
                  <a:ext uri="{FF2B5EF4-FFF2-40B4-BE49-F238E27FC236}">
                    <a16:creationId xmlns:a16="http://schemas.microsoft.com/office/drawing/2014/main" id="{532AE9A7-E524-455A-9AB8-D71B07B0C583}"/>
                  </a:ext>
                </a:extLst>
              </p:cNvPr>
              <p:cNvSpPr>
                <a:spLocks/>
              </p:cNvSpPr>
              <p:nvPr/>
            </p:nvSpPr>
            <p:spPr bwMode="gray">
              <a:xfrm>
                <a:off x="2034774" y="2001665"/>
                <a:ext cx="7478" cy="6327"/>
              </a:xfrm>
              <a:custGeom>
                <a:avLst/>
                <a:gdLst>
                  <a:gd name="T0" fmla="*/ 3 w 13"/>
                  <a:gd name="T1" fmla="*/ 8 h 11"/>
                  <a:gd name="T2" fmla="*/ 0 w 13"/>
                  <a:gd name="T3" fmla="*/ 5 h 11"/>
                  <a:gd name="T4" fmla="*/ 9 w 13"/>
                  <a:gd name="T5" fmla="*/ 1 h 11"/>
                  <a:gd name="T6" fmla="*/ 10 w 13"/>
                  <a:gd name="T7" fmla="*/ 3 h 11"/>
                  <a:gd name="T8" fmla="*/ 10 w 13"/>
                  <a:gd name="T9" fmla="*/ 3 h 11"/>
                  <a:gd name="T10" fmla="*/ 11 w 13"/>
                  <a:gd name="T11" fmla="*/ 1 h 11"/>
                  <a:gd name="T12" fmla="*/ 13 w 13"/>
                  <a:gd name="T13" fmla="*/ 0 h 11"/>
                  <a:gd name="T14" fmla="*/ 13 w 13"/>
                  <a:gd name="T15" fmla="*/ 5 h 11"/>
                  <a:gd name="T16" fmla="*/ 13 w 13"/>
                  <a:gd name="T17" fmla="*/ 5 h 11"/>
                  <a:gd name="T18" fmla="*/ 3 w 13"/>
                  <a:gd name="T19" fmla="*/ 11 h 11"/>
                  <a:gd name="T20" fmla="*/ 3 w 13"/>
                  <a:gd name="T21"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3" y="8"/>
                    </a:moveTo>
                    <a:lnTo>
                      <a:pt x="0" y="5"/>
                    </a:lnTo>
                    <a:lnTo>
                      <a:pt x="9" y="1"/>
                    </a:lnTo>
                    <a:lnTo>
                      <a:pt x="10" y="3"/>
                    </a:lnTo>
                    <a:lnTo>
                      <a:pt x="10" y="3"/>
                    </a:lnTo>
                    <a:lnTo>
                      <a:pt x="11" y="1"/>
                    </a:lnTo>
                    <a:lnTo>
                      <a:pt x="13" y="0"/>
                    </a:lnTo>
                    <a:lnTo>
                      <a:pt x="13" y="5"/>
                    </a:lnTo>
                    <a:lnTo>
                      <a:pt x="13" y="5"/>
                    </a:lnTo>
                    <a:lnTo>
                      <a:pt x="3" y="11"/>
                    </a:lnTo>
                    <a:lnTo>
                      <a:pt x="3" y="8"/>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98" name="Freeform 348">
                <a:extLst>
                  <a:ext uri="{FF2B5EF4-FFF2-40B4-BE49-F238E27FC236}">
                    <a16:creationId xmlns:a16="http://schemas.microsoft.com/office/drawing/2014/main" id="{D5F82F05-21AC-4A27-977E-C341AF90AC52}"/>
                  </a:ext>
                </a:extLst>
              </p:cNvPr>
              <p:cNvSpPr>
                <a:spLocks/>
              </p:cNvSpPr>
              <p:nvPr/>
            </p:nvSpPr>
            <p:spPr bwMode="gray">
              <a:xfrm>
                <a:off x="2033049" y="2002815"/>
                <a:ext cx="3451" cy="5177"/>
              </a:xfrm>
              <a:custGeom>
                <a:avLst/>
                <a:gdLst>
                  <a:gd name="T0" fmla="*/ 3 w 6"/>
                  <a:gd name="T1" fmla="*/ 3 h 9"/>
                  <a:gd name="T2" fmla="*/ 6 w 6"/>
                  <a:gd name="T3" fmla="*/ 6 h 9"/>
                  <a:gd name="T4" fmla="*/ 6 w 6"/>
                  <a:gd name="T5" fmla="*/ 9 h 9"/>
                  <a:gd name="T6" fmla="*/ 0 w 6"/>
                  <a:gd name="T7" fmla="*/ 5 h 9"/>
                  <a:gd name="T8" fmla="*/ 0 w 6"/>
                  <a:gd name="T9" fmla="*/ 0 h 9"/>
                  <a:gd name="T10" fmla="*/ 3 w 6"/>
                  <a:gd name="T11" fmla="*/ 3 h 9"/>
                </a:gdLst>
                <a:ahLst/>
                <a:cxnLst>
                  <a:cxn ang="0">
                    <a:pos x="T0" y="T1"/>
                  </a:cxn>
                  <a:cxn ang="0">
                    <a:pos x="T2" y="T3"/>
                  </a:cxn>
                  <a:cxn ang="0">
                    <a:pos x="T4" y="T5"/>
                  </a:cxn>
                  <a:cxn ang="0">
                    <a:pos x="T6" y="T7"/>
                  </a:cxn>
                  <a:cxn ang="0">
                    <a:pos x="T8" y="T9"/>
                  </a:cxn>
                  <a:cxn ang="0">
                    <a:pos x="T10" y="T11"/>
                  </a:cxn>
                </a:cxnLst>
                <a:rect l="0" t="0" r="r" b="b"/>
                <a:pathLst>
                  <a:path w="6" h="9">
                    <a:moveTo>
                      <a:pt x="3" y="3"/>
                    </a:moveTo>
                    <a:lnTo>
                      <a:pt x="6" y="6"/>
                    </a:lnTo>
                    <a:lnTo>
                      <a:pt x="6" y="9"/>
                    </a:lnTo>
                    <a:lnTo>
                      <a:pt x="0" y="5"/>
                    </a:lnTo>
                    <a:lnTo>
                      <a:pt x="0" y="0"/>
                    </a:lnTo>
                    <a:lnTo>
                      <a:pt x="3" y="3"/>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199" name="Freeform 349">
                <a:extLst>
                  <a:ext uri="{FF2B5EF4-FFF2-40B4-BE49-F238E27FC236}">
                    <a16:creationId xmlns:a16="http://schemas.microsoft.com/office/drawing/2014/main" id="{C419D1A8-5FC9-4BEF-AA7B-9AA8A14A7CFA}"/>
                  </a:ext>
                </a:extLst>
              </p:cNvPr>
              <p:cNvSpPr>
                <a:spLocks/>
              </p:cNvSpPr>
              <p:nvPr/>
            </p:nvSpPr>
            <p:spPr bwMode="gray">
              <a:xfrm>
                <a:off x="2043977" y="1998214"/>
                <a:ext cx="6902" cy="6902"/>
              </a:xfrm>
              <a:custGeom>
                <a:avLst/>
                <a:gdLst>
                  <a:gd name="T0" fmla="*/ 12 w 12"/>
                  <a:gd name="T1" fmla="*/ 0 h 12"/>
                  <a:gd name="T2" fmla="*/ 12 w 12"/>
                  <a:gd name="T3" fmla="*/ 5 h 12"/>
                  <a:gd name="T4" fmla="*/ 0 w 12"/>
                  <a:gd name="T5" fmla="*/ 12 h 12"/>
                  <a:gd name="T6" fmla="*/ 0 w 12"/>
                  <a:gd name="T7" fmla="*/ 6 h 12"/>
                  <a:gd name="T8" fmla="*/ 12 w 12"/>
                  <a:gd name="T9" fmla="*/ 0 h 12"/>
                </a:gdLst>
                <a:ahLst/>
                <a:cxnLst>
                  <a:cxn ang="0">
                    <a:pos x="T0" y="T1"/>
                  </a:cxn>
                  <a:cxn ang="0">
                    <a:pos x="T2" y="T3"/>
                  </a:cxn>
                  <a:cxn ang="0">
                    <a:pos x="T4" y="T5"/>
                  </a:cxn>
                  <a:cxn ang="0">
                    <a:pos x="T6" y="T7"/>
                  </a:cxn>
                  <a:cxn ang="0">
                    <a:pos x="T8" y="T9"/>
                  </a:cxn>
                </a:cxnLst>
                <a:rect l="0" t="0" r="r" b="b"/>
                <a:pathLst>
                  <a:path w="12" h="12">
                    <a:moveTo>
                      <a:pt x="12" y="0"/>
                    </a:moveTo>
                    <a:lnTo>
                      <a:pt x="12" y="5"/>
                    </a:lnTo>
                    <a:lnTo>
                      <a:pt x="0" y="12"/>
                    </a:lnTo>
                    <a:lnTo>
                      <a:pt x="0" y="6"/>
                    </a:lnTo>
                    <a:lnTo>
                      <a:pt x="12" y="0"/>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00" name="Freeform 350">
                <a:extLst>
                  <a:ext uri="{FF2B5EF4-FFF2-40B4-BE49-F238E27FC236}">
                    <a16:creationId xmlns:a16="http://schemas.microsoft.com/office/drawing/2014/main" id="{CAC881DB-579E-4A46-A94B-7CDB8D7E3BCF}"/>
                  </a:ext>
                </a:extLst>
              </p:cNvPr>
              <p:cNvSpPr>
                <a:spLocks/>
              </p:cNvSpPr>
              <p:nvPr/>
            </p:nvSpPr>
            <p:spPr bwMode="gray">
              <a:xfrm>
                <a:off x="2042252" y="2001665"/>
                <a:ext cx="1726" cy="3451"/>
              </a:xfrm>
              <a:custGeom>
                <a:avLst/>
                <a:gdLst>
                  <a:gd name="T0" fmla="*/ 0 w 3"/>
                  <a:gd name="T1" fmla="*/ 0 h 6"/>
                  <a:gd name="T2" fmla="*/ 3 w 3"/>
                  <a:gd name="T3" fmla="*/ 0 h 6"/>
                  <a:gd name="T4" fmla="*/ 3 w 3"/>
                  <a:gd name="T5" fmla="*/ 6 h 6"/>
                  <a:gd name="T6" fmla="*/ 0 w 3"/>
                  <a:gd name="T7" fmla="*/ 5 h 6"/>
                  <a:gd name="T8" fmla="*/ 0 w 3"/>
                  <a:gd name="T9" fmla="*/ 0 h 6"/>
                </a:gdLst>
                <a:ahLst/>
                <a:cxnLst>
                  <a:cxn ang="0">
                    <a:pos x="T0" y="T1"/>
                  </a:cxn>
                  <a:cxn ang="0">
                    <a:pos x="T2" y="T3"/>
                  </a:cxn>
                  <a:cxn ang="0">
                    <a:pos x="T4" y="T5"/>
                  </a:cxn>
                  <a:cxn ang="0">
                    <a:pos x="T6" y="T7"/>
                  </a:cxn>
                  <a:cxn ang="0">
                    <a:pos x="T8" y="T9"/>
                  </a:cxn>
                </a:cxnLst>
                <a:rect l="0" t="0" r="r" b="b"/>
                <a:pathLst>
                  <a:path w="3" h="6">
                    <a:moveTo>
                      <a:pt x="0" y="0"/>
                    </a:moveTo>
                    <a:lnTo>
                      <a:pt x="3" y="0"/>
                    </a:lnTo>
                    <a:lnTo>
                      <a:pt x="3" y="6"/>
                    </a:lnTo>
                    <a:lnTo>
                      <a:pt x="0" y="5"/>
                    </a:lnTo>
                    <a:lnTo>
                      <a:pt x="0" y="0"/>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01" name="Freeform 351">
                <a:extLst>
                  <a:ext uri="{FF2B5EF4-FFF2-40B4-BE49-F238E27FC236}">
                    <a16:creationId xmlns:a16="http://schemas.microsoft.com/office/drawing/2014/main" id="{95EB867E-3023-4D7D-B4CE-B0295C231BE7}"/>
                  </a:ext>
                </a:extLst>
              </p:cNvPr>
              <p:cNvSpPr>
                <a:spLocks/>
              </p:cNvSpPr>
              <p:nvPr/>
            </p:nvSpPr>
            <p:spPr bwMode="gray">
              <a:xfrm>
                <a:off x="2039951" y="2002240"/>
                <a:ext cx="1150" cy="1150"/>
              </a:xfrm>
              <a:custGeom>
                <a:avLst/>
                <a:gdLst>
                  <a:gd name="T0" fmla="*/ 2 w 2"/>
                  <a:gd name="T1" fmla="*/ 0 h 2"/>
                  <a:gd name="T2" fmla="*/ 1 w 2"/>
                  <a:gd name="T3" fmla="*/ 2 h 2"/>
                  <a:gd name="T4" fmla="*/ 1 w 2"/>
                  <a:gd name="T5" fmla="*/ 2 h 2"/>
                  <a:gd name="T6" fmla="*/ 0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1" y="2"/>
                    </a:lnTo>
                    <a:lnTo>
                      <a:pt x="1" y="2"/>
                    </a:lnTo>
                    <a:lnTo>
                      <a:pt x="0" y="0"/>
                    </a:lnTo>
                    <a:lnTo>
                      <a:pt x="2" y="0"/>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02" name="Freeform 352">
                <a:extLst>
                  <a:ext uri="{FF2B5EF4-FFF2-40B4-BE49-F238E27FC236}">
                    <a16:creationId xmlns:a16="http://schemas.microsoft.com/office/drawing/2014/main" id="{1F2DB19C-21DF-40C8-987C-6158AD851D50}"/>
                  </a:ext>
                </a:extLst>
              </p:cNvPr>
              <p:cNvSpPr>
                <a:spLocks/>
              </p:cNvSpPr>
              <p:nvPr/>
            </p:nvSpPr>
            <p:spPr bwMode="gray">
              <a:xfrm>
                <a:off x="2034774" y="2002240"/>
                <a:ext cx="5752" cy="4027"/>
              </a:xfrm>
              <a:custGeom>
                <a:avLst/>
                <a:gdLst>
                  <a:gd name="T0" fmla="*/ 3 w 10"/>
                  <a:gd name="T1" fmla="*/ 7 h 7"/>
                  <a:gd name="T2" fmla="*/ 0 w 10"/>
                  <a:gd name="T3" fmla="*/ 4 h 7"/>
                  <a:gd name="T4" fmla="*/ 9 w 10"/>
                  <a:gd name="T5" fmla="*/ 0 h 7"/>
                  <a:gd name="T6" fmla="*/ 10 w 10"/>
                  <a:gd name="T7" fmla="*/ 2 h 7"/>
                  <a:gd name="T8" fmla="*/ 3 w 10"/>
                  <a:gd name="T9" fmla="*/ 7 h 7"/>
                </a:gdLst>
                <a:ahLst/>
                <a:cxnLst>
                  <a:cxn ang="0">
                    <a:pos x="T0" y="T1"/>
                  </a:cxn>
                  <a:cxn ang="0">
                    <a:pos x="T2" y="T3"/>
                  </a:cxn>
                  <a:cxn ang="0">
                    <a:pos x="T4" y="T5"/>
                  </a:cxn>
                  <a:cxn ang="0">
                    <a:pos x="T6" y="T7"/>
                  </a:cxn>
                  <a:cxn ang="0">
                    <a:pos x="T8" y="T9"/>
                  </a:cxn>
                </a:cxnLst>
                <a:rect l="0" t="0" r="r" b="b"/>
                <a:pathLst>
                  <a:path w="10" h="7">
                    <a:moveTo>
                      <a:pt x="3" y="7"/>
                    </a:moveTo>
                    <a:lnTo>
                      <a:pt x="0" y="4"/>
                    </a:lnTo>
                    <a:lnTo>
                      <a:pt x="9" y="0"/>
                    </a:lnTo>
                    <a:lnTo>
                      <a:pt x="10" y="2"/>
                    </a:lnTo>
                    <a:lnTo>
                      <a:pt x="3" y="7"/>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03" name="Freeform 353">
                <a:extLst>
                  <a:ext uri="{FF2B5EF4-FFF2-40B4-BE49-F238E27FC236}">
                    <a16:creationId xmlns:a16="http://schemas.microsoft.com/office/drawing/2014/main" id="{77B29045-9AF3-4CA6-8A15-583232021FFF}"/>
                  </a:ext>
                </a:extLst>
              </p:cNvPr>
              <p:cNvSpPr>
                <a:spLocks/>
              </p:cNvSpPr>
              <p:nvPr/>
            </p:nvSpPr>
            <p:spPr bwMode="gray">
              <a:xfrm>
                <a:off x="2041676" y="2001090"/>
                <a:ext cx="17831" cy="11504"/>
              </a:xfrm>
              <a:custGeom>
                <a:avLst/>
                <a:gdLst>
                  <a:gd name="T0" fmla="*/ 0 w 31"/>
                  <a:gd name="T1" fmla="*/ 12 h 20"/>
                  <a:gd name="T2" fmla="*/ 12 w 31"/>
                  <a:gd name="T3" fmla="*/ 4 h 20"/>
                  <a:gd name="T4" fmla="*/ 13 w 31"/>
                  <a:gd name="T5" fmla="*/ 6 h 20"/>
                  <a:gd name="T6" fmla="*/ 25 w 31"/>
                  <a:gd name="T7" fmla="*/ 0 h 20"/>
                  <a:gd name="T8" fmla="*/ 31 w 31"/>
                  <a:gd name="T9" fmla="*/ 3 h 20"/>
                  <a:gd name="T10" fmla="*/ 31 w 31"/>
                  <a:gd name="T11" fmla="*/ 8 h 20"/>
                  <a:gd name="T12" fmla="*/ 19 w 31"/>
                  <a:gd name="T13" fmla="*/ 15 h 20"/>
                  <a:gd name="T14" fmla="*/ 17 w 31"/>
                  <a:gd name="T15" fmla="*/ 14 h 20"/>
                  <a:gd name="T16" fmla="*/ 6 w 31"/>
                  <a:gd name="T17" fmla="*/ 20 h 20"/>
                  <a:gd name="T18" fmla="*/ 0 w 31"/>
                  <a:gd name="T19" fmla="*/ 18 h 20"/>
                  <a:gd name="T20" fmla="*/ 0 w 31"/>
                  <a:gd name="T21"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0">
                    <a:moveTo>
                      <a:pt x="0" y="12"/>
                    </a:moveTo>
                    <a:lnTo>
                      <a:pt x="12" y="4"/>
                    </a:lnTo>
                    <a:lnTo>
                      <a:pt x="13" y="6"/>
                    </a:lnTo>
                    <a:lnTo>
                      <a:pt x="25" y="0"/>
                    </a:lnTo>
                    <a:lnTo>
                      <a:pt x="31" y="3"/>
                    </a:lnTo>
                    <a:lnTo>
                      <a:pt x="31" y="8"/>
                    </a:lnTo>
                    <a:lnTo>
                      <a:pt x="19" y="15"/>
                    </a:lnTo>
                    <a:lnTo>
                      <a:pt x="17" y="14"/>
                    </a:lnTo>
                    <a:lnTo>
                      <a:pt x="6" y="20"/>
                    </a:lnTo>
                    <a:lnTo>
                      <a:pt x="0" y="18"/>
                    </a:lnTo>
                    <a:lnTo>
                      <a:pt x="0" y="12"/>
                    </a:lnTo>
                    <a:close/>
                  </a:path>
                </a:pathLst>
              </a:custGeom>
              <a:solidFill>
                <a:srgbClr val="EAEAE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04" name="Freeform 354">
                <a:extLst>
                  <a:ext uri="{FF2B5EF4-FFF2-40B4-BE49-F238E27FC236}">
                    <a16:creationId xmlns:a16="http://schemas.microsoft.com/office/drawing/2014/main" id="{F7BB9683-B689-4BDE-9913-8DE77CB0D96E}"/>
                  </a:ext>
                </a:extLst>
              </p:cNvPr>
              <p:cNvSpPr>
                <a:spLocks/>
              </p:cNvSpPr>
              <p:nvPr/>
            </p:nvSpPr>
            <p:spPr bwMode="gray">
              <a:xfrm>
                <a:off x="2044552" y="2006266"/>
                <a:ext cx="7478" cy="6327"/>
              </a:xfrm>
              <a:custGeom>
                <a:avLst/>
                <a:gdLst>
                  <a:gd name="T0" fmla="*/ 1 w 13"/>
                  <a:gd name="T1" fmla="*/ 9 h 11"/>
                  <a:gd name="T2" fmla="*/ 0 w 13"/>
                  <a:gd name="T3" fmla="*/ 5 h 11"/>
                  <a:gd name="T4" fmla="*/ 7 w 13"/>
                  <a:gd name="T5" fmla="*/ 1 h 11"/>
                  <a:gd name="T6" fmla="*/ 8 w 13"/>
                  <a:gd name="T7" fmla="*/ 4 h 11"/>
                  <a:gd name="T8" fmla="*/ 8 w 13"/>
                  <a:gd name="T9" fmla="*/ 4 h 11"/>
                  <a:gd name="T10" fmla="*/ 8 w 13"/>
                  <a:gd name="T11" fmla="*/ 4 h 11"/>
                  <a:gd name="T12" fmla="*/ 10 w 13"/>
                  <a:gd name="T13" fmla="*/ 3 h 11"/>
                  <a:gd name="T14" fmla="*/ 13 w 13"/>
                  <a:gd name="T15" fmla="*/ 0 h 11"/>
                  <a:gd name="T16" fmla="*/ 13 w 13"/>
                  <a:gd name="T17" fmla="*/ 5 h 11"/>
                  <a:gd name="T18" fmla="*/ 12 w 13"/>
                  <a:gd name="T19" fmla="*/ 5 h 11"/>
                  <a:gd name="T20" fmla="*/ 1 w 13"/>
                  <a:gd name="T21" fmla="*/ 11 h 11"/>
                  <a:gd name="T22" fmla="*/ 1 w 13"/>
                  <a:gd name="T23"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1">
                    <a:moveTo>
                      <a:pt x="1" y="9"/>
                    </a:moveTo>
                    <a:lnTo>
                      <a:pt x="0" y="5"/>
                    </a:lnTo>
                    <a:lnTo>
                      <a:pt x="7" y="1"/>
                    </a:lnTo>
                    <a:lnTo>
                      <a:pt x="8" y="4"/>
                    </a:lnTo>
                    <a:lnTo>
                      <a:pt x="8" y="4"/>
                    </a:lnTo>
                    <a:lnTo>
                      <a:pt x="8" y="4"/>
                    </a:lnTo>
                    <a:lnTo>
                      <a:pt x="10" y="3"/>
                    </a:lnTo>
                    <a:lnTo>
                      <a:pt x="13" y="0"/>
                    </a:lnTo>
                    <a:lnTo>
                      <a:pt x="13" y="5"/>
                    </a:lnTo>
                    <a:lnTo>
                      <a:pt x="12" y="5"/>
                    </a:lnTo>
                    <a:lnTo>
                      <a:pt x="1" y="11"/>
                    </a:lnTo>
                    <a:lnTo>
                      <a:pt x="1" y="9"/>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05" name="Freeform 355">
                <a:extLst>
                  <a:ext uri="{FF2B5EF4-FFF2-40B4-BE49-F238E27FC236}">
                    <a16:creationId xmlns:a16="http://schemas.microsoft.com/office/drawing/2014/main" id="{C45DE2B0-ADBA-46E9-B9A5-A5BDEF9E01A5}"/>
                  </a:ext>
                </a:extLst>
              </p:cNvPr>
              <p:cNvSpPr>
                <a:spLocks/>
              </p:cNvSpPr>
              <p:nvPr/>
            </p:nvSpPr>
            <p:spPr bwMode="gray">
              <a:xfrm>
                <a:off x="2041676" y="2007992"/>
                <a:ext cx="3451" cy="4602"/>
              </a:xfrm>
              <a:custGeom>
                <a:avLst/>
                <a:gdLst>
                  <a:gd name="T0" fmla="*/ 5 w 6"/>
                  <a:gd name="T1" fmla="*/ 2 h 8"/>
                  <a:gd name="T2" fmla="*/ 6 w 6"/>
                  <a:gd name="T3" fmla="*/ 6 h 8"/>
                  <a:gd name="T4" fmla="*/ 6 w 6"/>
                  <a:gd name="T5" fmla="*/ 8 h 8"/>
                  <a:gd name="T6" fmla="*/ 0 w 6"/>
                  <a:gd name="T7" fmla="*/ 6 h 8"/>
                  <a:gd name="T8" fmla="*/ 0 w 6"/>
                  <a:gd name="T9" fmla="*/ 0 h 8"/>
                  <a:gd name="T10" fmla="*/ 5 w 6"/>
                  <a:gd name="T11" fmla="*/ 2 h 8"/>
                </a:gdLst>
                <a:ahLst/>
                <a:cxnLst>
                  <a:cxn ang="0">
                    <a:pos x="T0" y="T1"/>
                  </a:cxn>
                  <a:cxn ang="0">
                    <a:pos x="T2" y="T3"/>
                  </a:cxn>
                  <a:cxn ang="0">
                    <a:pos x="T4" y="T5"/>
                  </a:cxn>
                  <a:cxn ang="0">
                    <a:pos x="T6" y="T7"/>
                  </a:cxn>
                  <a:cxn ang="0">
                    <a:pos x="T8" y="T9"/>
                  </a:cxn>
                  <a:cxn ang="0">
                    <a:pos x="T10" y="T11"/>
                  </a:cxn>
                </a:cxnLst>
                <a:rect l="0" t="0" r="r" b="b"/>
                <a:pathLst>
                  <a:path w="6" h="8">
                    <a:moveTo>
                      <a:pt x="5" y="2"/>
                    </a:moveTo>
                    <a:lnTo>
                      <a:pt x="6" y="6"/>
                    </a:lnTo>
                    <a:lnTo>
                      <a:pt x="6" y="8"/>
                    </a:lnTo>
                    <a:lnTo>
                      <a:pt x="0" y="6"/>
                    </a:lnTo>
                    <a:lnTo>
                      <a:pt x="0" y="0"/>
                    </a:lnTo>
                    <a:lnTo>
                      <a:pt x="5" y="2"/>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06" name="Freeform 356">
                <a:extLst>
                  <a:ext uri="{FF2B5EF4-FFF2-40B4-BE49-F238E27FC236}">
                    <a16:creationId xmlns:a16="http://schemas.microsoft.com/office/drawing/2014/main" id="{A44F291F-5297-4FF5-B4FB-B892A6782193}"/>
                  </a:ext>
                </a:extLst>
              </p:cNvPr>
              <p:cNvSpPr>
                <a:spLocks/>
              </p:cNvSpPr>
              <p:nvPr/>
            </p:nvSpPr>
            <p:spPr bwMode="gray">
              <a:xfrm>
                <a:off x="2052605" y="2002815"/>
                <a:ext cx="6902" cy="6902"/>
              </a:xfrm>
              <a:custGeom>
                <a:avLst/>
                <a:gdLst>
                  <a:gd name="T0" fmla="*/ 12 w 12"/>
                  <a:gd name="T1" fmla="*/ 0 h 12"/>
                  <a:gd name="T2" fmla="*/ 12 w 12"/>
                  <a:gd name="T3" fmla="*/ 5 h 12"/>
                  <a:gd name="T4" fmla="*/ 0 w 12"/>
                  <a:gd name="T5" fmla="*/ 12 h 12"/>
                  <a:gd name="T6" fmla="*/ 0 w 12"/>
                  <a:gd name="T7" fmla="*/ 6 h 12"/>
                  <a:gd name="T8" fmla="*/ 12 w 12"/>
                  <a:gd name="T9" fmla="*/ 0 h 12"/>
                </a:gdLst>
                <a:ahLst/>
                <a:cxnLst>
                  <a:cxn ang="0">
                    <a:pos x="T0" y="T1"/>
                  </a:cxn>
                  <a:cxn ang="0">
                    <a:pos x="T2" y="T3"/>
                  </a:cxn>
                  <a:cxn ang="0">
                    <a:pos x="T4" y="T5"/>
                  </a:cxn>
                  <a:cxn ang="0">
                    <a:pos x="T6" y="T7"/>
                  </a:cxn>
                  <a:cxn ang="0">
                    <a:pos x="T8" y="T9"/>
                  </a:cxn>
                </a:cxnLst>
                <a:rect l="0" t="0" r="r" b="b"/>
                <a:pathLst>
                  <a:path w="12" h="12">
                    <a:moveTo>
                      <a:pt x="12" y="0"/>
                    </a:moveTo>
                    <a:lnTo>
                      <a:pt x="12" y="5"/>
                    </a:lnTo>
                    <a:lnTo>
                      <a:pt x="0" y="12"/>
                    </a:lnTo>
                    <a:lnTo>
                      <a:pt x="0" y="6"/>
                    </a:lnTo>
                    <a:lnTo>
                      <a:pt x="12" y="0"/>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07" name="Freeform 357">
                <a:extLst>
                  <a:ext uri="{FF2B5EF4-FFF2-40B4-BE49-F238E27FC236}">
                    <a16:creationId xmlns:a16="http://schemas.microsoft.com/office/drawing/2014/main" id="{28573035-7EA1-4390-A66E-B6E2C924D428}"/>
                  </a:ext>
                </a:extLst>
              </p:cNvPr>
              <p:cNvSpPr>
                <a:spLocks/>
              </p:cNvSpPr>
              <p:nvPr/>
            </p:nvSpPr>
            <p:spPr bwMode="gray">
              <a:xfrm>
                <a:off x="2052030" y="2006266"/>
                <a:ext cx="575" cy="3451"/>
              </a:xfrm>
              <a:custGeom>
                <a:avLst/>
                <a:gdLst>
                  <a:gd name="T0" fmla="*/ 0 w 1"/>
                  <a:gd name="T1" fmla="*/ 0 h 6"/>
                  <a:gd name="T2" fmla="*/ 1 w 1"/>
                  <a:gd name="T3" fmla="*/ 0 h 6"/>
                  <a:gd name="T4" fmla="*/ 1 w 1"/>
                  <a:gd name="T5" fmla="*/ 6 h 6"/>
                  <a:gd name="T6" fmla="*/ 0 w 1"/>
                  <a:gd name="T7" fmla="*/ 5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lnTo>
                      <a:pt x="1" y="0"/>
                    </a:lnTo>
                    <a:lnTo>
                      <a:pt x="1" y="6"/>
                    </a:lnTo>
                    <a:lnTo>
                      <a:pt x="0" y="5"/>
                    </a:lnTo>
                    <a:lnTo>
                      <a:pt x="0" y="0"/>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08" name="Freeform 358">
                <a:extLst>
                  <a:ext uri="{FF2B5EF4-FFF2-40B4-BE49-F238E27FC236}">
                    <a16:creationId xmlns:a16="http://schemas.microsoft.com/office/drawing/2014/main" id="{C4FC661E-B781-4F33-A427-8F5B4C578694}"/>
                  </a:ext>
                </a:extLst>
              </p:cNvPr>
              <p:cNvSpPr>
                <a:spLocks/>
              </p:cNvSpPr>
              <p:nvPr/>
            </p:nvSpPr>
            <p:spPr bwMode="gray">
              <a:xfrm>
                <a:off x="2048579" y="2006842"/>
                <a:ext cx="1726" cy="1726"/>
              </a:xfrm>
              <a:custGeom>
                <a:avLst/>
                <a:gdLst>
                  <a:gd name="T0" fmla="*/ 3 w 3"/>
                  <a:gd name="T1" fmla="*/ 2 h 3"/>
                  <a:gd name="T2" fmla="*/ 1 w 3"/>
                  <a:gd name="T3" fmla="*/ 3 h 3"/>
                  <a:gd name="T4" fmla="*/ 1 w 3"/>
                  <a:gd name="T5" fmla="*/ 3 h 3"/>
                  <a:gd name="T6" fmla="*/ 1 w 3"/>
                  <a:gd name="T7" fmla="*/ 3 h 3"/>
                  <a:gd name="T8" fmla="*/ 0 w 3"/>
                  <a:gd name="T9" fmla="*/ 0 h 3"/>
                  <a:gd name="T10" fmla="*/ 3 w 3"/>
                  <a:gd name="T11" fmla="*/ 2 h 3"/>
                </a:gdLst>
                <a:ahLst/>
                <a:cxnLst>
                  <a:cxn ang="0">
                    <a:pos x="T0" y="T1"/>
                  </a:cxn>
                  <a:cxn ang="0">
                    <a:pos x="T2" y="T3"/>
                  </a:cxn>
                  <a:cxn ang="0">
                    <a:pos x="T4" y="T5"/>
                  </a:cxn>
                  <a:cxn ang="0">
                    <a:pos x="T6" y="T7"/>
                  </a:cxn>
                  <a:cxn ang="0">
                    <a:pos x="T8" y="T9"/>
                  </a:cxn>
                  <a:cxn ang="0">
                    <a:pos x="T10" y="T11"/>
                  </a:cxn>
                </a:cxnLst>
                <a:rect l="0" t="0" r="r" b="b"/>
                <a:pathLst>
                  <a:path w="3" h="3">
                    <a:moveTo>
                      <a:pt x="3" y="2"/>
                    </a:moveTo>
                    <a:lnTo>
                      <a:pt x="1" y="3"/>
                    </a:lnTo>
                    <a:lnTo>
                      <a:pt x="1" y="3"/>
                    </a:lnTo>
                    <a:lnTo>
                      <a:pt x="1" y="3"/>
                    </a:lnTo>
                    <a:lnTo>
                      <a:pt x="0" y="0"/>
                    </a:lnTo>
                    <a:lnTo>
                      <a:pt x="3" y="2"/>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09" name="Freeform 359">
                <a:extLst>
                  <a:ext uri="{FF2B5EF4-FFF2-40B4-BE49-F238E27FC236}">
                    <a16:creationId xmlns:a16="http://schemas.microsoft.com/office/drawing/2014/main" id="{FC406298-E1DA-4D97-947D-CAF1814E9AF3}"/>
                  </a:ext>
                </a:extLst>
              </p:cNvPr>
              <p:cNvSpPr>
                <a:spLocks/>
              </p:cNvSpPr>
              <p:nvPr/>
            </p:nvSpPr>
            <p:spPr bwMode="gray">
              <a:xfrm>
                <a:off x="2044552" y="2006842"/>
                <a:ext cx="4602" cy="4602"/>
              </a:xfrm>
              <a:custGeom>
                <a:avLst/>
                <a:gdLst>
                  <a:gd name="T0" fmla="*/ 1 w 8"/>
                  <a:gd name="T1" fmla="*/ 8 h 8"/>
                  <a:gd name="T2" fmla="*/ 0 w 8"/>
                  <a:gd name="T3" fmla="*/ 4 h 8"/>
                  <a:gd name="T4" fmla="*/ 7 w 8"/>
                  <a:gd name="T5" fmla="*/ 0 h 8"/>
                  <a:gd name="T6" fmla="*/ 8 w 8"/>
                  <a:gd name="T7" fmla="*/ 3 h 8"/>
                  <a:gd name="T8" fmla="*/ 1 w 8"/>
                  <a:gd name="T9" fmla="*/ 8 h 8"/>
                </a:gdLst>
                <a:ahLst/>
                <a:cxnLst>
                  <a:cxn ang="0">
                    <a:pos x="T0" y="T1"/>
                  </a:cxn>
                  <a:cxn ang="0">
                    <a:pos x="T2" y="T3"/>
                  </a:cxn>
                  <a:cxn ang="0">
                    <a:pos x="T4" y="T5"/>
                  </a:cxn>
                  <a:cxn ang="0">
                    <a:pos x="T6" y="T7"/>
                  </a:cxn>
                  <a:cxn ang="0">
                    <a:pos x="T8" y="T9"/>
                  </a:cxn>
                </a:cxnLst>
                <a:rect l="0" t="0" r="r" b="b"/>
                <a:pathLst>
                  <a:path w="8" h="8">
                    <a:moveTo>
                      <a:pt x="1" y="8"/>
                    </a:moveTo>
                    <a:lnTo>
                      <a:pt x="0" y="4"/>
                    </a:lnTo>
                    <a:lnTo>
                      <a:pt x="7" y="0"/>
                    </a:lnTo>
                    <a:lnTo>
                      <a:pt x="8" y="3"/>
                    </a:lnTo>
                    <a:lnTo>
                      <a:pt x="1" y="8"/>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10" name="Freeform 360">
                <a:extLst>
                  <a:ext uri="{FF2B5EF4-FFF2-40B4-BE49-F238E27FC236}">
                    <a16:creationId xmlns:a16="http://schemas.microsoft.com/office/drawing/2014/main" id="{103089C7-A8BB-4A53-ACDF-A280D3F56473}"/>
                  </a:ext>
                </a:extLst>
              </p:cNvPr>
              <p:cNvSpPr>
                <a:spLocks/>
              </p:cNvSpPr>
              <p:nvPr/>
            </p:nvSpPr>
            <p:spPr bwMode="gray">
              <a:xfrm>
                <a:off x="2050304" y="2005691"/>
                <a:ext cx="17831" cy="12654"/>
              </a:xfrm>
              <a:custGeom>
                <a:avLst/>
                <a:gdLst>
                  <a:gd name="T0" fmla="*/ 0 w 31"/>
                  <a:gd name="T1" fmla="*/ 12 h 22"/>
                  <a:gd name="T2" fmla="*/ 12 w 31"/>
                  <a:gd name="T3" fmla="*/ 6 h 22"/>
                  <a:gd name="T4" fmla="*/ 14 w 31"/>
                  <a:gd name="T5" fmla="*/ 6 h 22"/>
                  <a:gd name="T6" fmla="*/ 25 w 31"/>
                  <a:gd name="T7" fmla="*/ 0 h 22"/>
                  <a:gd name="T8" fmla="*/ 31 w 31"/>
                  <a:gd name="T9" fmla="*/ 4 h 22"/>
                  <a:gd name="T10" fmla="*/ 31 w 31"/>
                  <a:gd name="T11" fmla="*/ 8 h 22"/>
                  <a:gd name="T12" fmla="*/ 19 w 31"/>
                  <a:gd name="T13" fmla="*/ 16 h 22"/>
                  <a:gd name="T14" fmla="*/ 18 w 31"/>
                  <a:gd name="T15" fmla="*/ 14 h 22"/>
                  <a:gd name="T16" fmla="*/ 6 w 31"/>
                  <a:gd name="T17" fmla="*/ 22 h 22"/>
                  <a:gd name="T18" fmla="*/ 0 w 31"/>
                  <a:gd name="T19" fmla="*/ 18 h 22"/>
                  <a:gd name="T20" fmla="*/ 0 w 31"/>
                  <a:gd name="T21"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2">
                    <a:moveTo>
                      <a:pt x="0" y="12"/>
                    </a:moveTo>
                    <a:lnTo>
                      <a:pt x="12" y="6"/>
                    </a:lnTo>
                    <a:lnTo>
                      <a:pt x="14" y="6"/>
                    </a:lnTo>
                    <a:lnTo>
                      <a:pt x="25" y="0"/>
                    </a:lnTo>
                    <a:lnTo>
                      <a:pt x="31" y="4"/>
                    </a:lnTo>
                    <a:lnTo>
                      <a:pt x="31" y="8"/>
                    </a:lnTo>
                    <a:lnTo>
                      <a:pt x="19" y="16"/>
                    </a:lnTo>
                    <a:lnTo>
                      <a:pt x="18" y="14"/>
                    </a:lnTo>
                    <a:lnTo>
                      <a:pt x="6" y="22"/>
                    </a:lnTo>
                    <a:lnTo>
                      <a:pt x="0" y="18"/>
                    </a:lnTo>
                    <a:lnTo>
                      <a:pt x="0" y="12"/>
                    </a:lnTo>
                    <a:close/>
                  </a:path>
                </a:pathLst>
              </a:custGeom>
              <a:solidFill>
                <a:srgbClr val="EAEAE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11" name="Freeform 361">
                <a:extLst>
                  <a:ext uri="{FF2B5EF4-FFF2-40B4-BE49-F238E27FC236}">
                    <a16:creationId xmlns:a16="http://schemas.microsoft.com/office/drawing/2014/main" id="{BFC36036-227E-42DF-BEED-BF4408695DFE}"/>
                  </a:ext>
                </a:extLst>
              </p:cNvPr>
              <p:cNvSpPr>
                <a:spLocks/>
              </p:cNvSpPr>
              <p:nvPr/>
            </p:nvSpPr>
            <p:spPr bwMode="gray">
              <a:xfrm>
                <a:off x="2052605" y="2011443"/>
                <a:ext cx="8053" cy="6902"/>
              </a:xfrm>
              <a:custGeom>
                <a:avLst/>
                <a:gdLst>
                  <a:gd name="T0" fmla="*/ 2 w 14"/>
                  <a:gd name="T1" fmla="*/ 8 h 12"/>
                  <a:gd name="T2" fmla="*/ 0 w 14"/>
                  <a:gd name="T3" fmla="*/ 6 h 12"/>
                  <a:gd name="T4" fmla="*/ 8 w 14"/>
                  <a:gd name="T5" fmla="*/ 1 h 12"/>
                  <a:gd name="T6" fmla="*/ 9 w 14"/>
                  <a:gd name="T7" fmla="*/ 4 h 12"/>
                  <a:gd name="T8" fmla="*/ 10 w 14"/>
                  <a:gd name="T9" fmla="*/ 3 h 12"/>
                  <a:gd name="T10" fmla="*/ 10 w 14"/>
                  <a:gd name="T11" fmla="*/ 2 h 12"/>
                  <a:gd name="T12" fmla="*/ 14 w 14"/>
                  <a:gd name="T13" fmla="*/ 0 h 12"/>
                  <a:gd name="T14" fmla="*/ 14 w 14"/>
                  <a:gd name="T15" fmla="*/ 6 h 12"/>
                  <a:gd name="T16" fmla="*/ 14 w 14"/>
                  <a:gd name="T17" fmla="*/ 4 h 12"/>
                  <a:gd name="T18" fmla="*/ 2 w 14"/>
                  <a:gd name="T19" fmla="*/ 12 h 12"/>
                  <a:gd name="T20" fmla="*/ 2 w 14"/>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2">
                    <a:moveTo>
                      <a:pt x="2" y="8"/>
                    </a:moveTo>
                    <a:lnTo>
                      <a:pt x="0" y="6"/>
                    </a:lnTo>
                    <a:lnTo>
                      <a:pt x="8" y="1"/>
                    </a:lnTo>
                    <a:lnTo>
                      <a:pt x="9" y="4"/>
                    </a:lnTo>
                    <a:lnTo>
                      <a:pt x="10" y="3"/>
                    </a:lnTo>
                    <a:lnTo>
                      <a:pt x="10" y="2"/>
                    </a:lnTo>
                    <a:lnTo>
                      <a:pt x="14" y="0"/>
                    </a:lnTo>
                    <a:lnTo>
                      <a:pt x="14" y="6"/>
                    </a:lnTo>
                    <a:lnTo>
                      <a:pt x="14" y="4"/>
                    </a:lnTo>
                    <a:lnTo>
                      <a:pt x="2" y="12"/>
                    </a:lnTo>
                    <a:lnTo>
                      <a:pt x="2" y="8"/>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12" name="Freeform 362">
                <a:extLst>
                  <a:ext uri="{FF2B5EF4-FFF2-40B4-BE49-F238E27FC236}">
                    <a16:creationId xmlns:a16="http://schemas.microsoft.com/office/drawing/2014/main" id="{3B90C594-F7B4-4F06-B8B2-53CE0FA84A28}"/>
                  </a:ext>
                </a:extLst>
              </p:cNvPr>
              <p:cNvSpPr>
                <a:spLocks/>
              </p:cNvSpPr>
              <p:nvPr/>
            </p:nvSpPr>
            <p:spPr bwMode="gray">
              <a:xfrm>
                <a:off x="2050304" y="2012594"/>
                <a:ext cx="3451" cy="5752"/>
              </a:xfrm>
              <a:custGeom>
                <a:avLst/>
                <a:gdLst>
                  <a:gd name="T0" fmla="*/ 4 w 6"/>
                  <a:gd name="T1" fmla="*/ 4 h 10"/>
                  <a:gd name="T2" fmla="*/ 6 w 6"/>
                  <a:gd name="T3" fmla="*/ 6 h 10"/>
                  <a:gd name="T4" fmla="*/ 6 w 6"/>
                  <a:gd name="T5" fmla="*/ 10 h 10"/>
                  <a:gd name="T6" fmla="*/ 0 w 6"/>
                  <a:gd name="T7" fmla="*/ 6 h 10"/>
                  <a:gd name="T8" fmla="*/ 0 w 6"/>
                  <a:gd name="T9" fmla="*/ 0 h 10"/>
                  <a:gd name="T10" fmla="*/ 4 w 6"/>
                  <a:gd name="T11" fmla="*/ 4 h 10"/>
                </a:gdLst>
                <a:ahLst/>
                <a:cxnLst>
                  <a:cxn ang="0">
                    <a:pos x="T0" y="T1"/>
                  </a:cxn>
                  <a:cxn ang="0">
                    <a:pos x="T2" y="T3"/>
                  </a:cxn>
                  <a:cxn ang="0">
                    <a:pos x="T4" y="T5"/>
                  </a:cxn>
                  <a:cxn ang="0">
                    <a:pos x="T6" y="T7"/>
                  </a:cxn>
                  <a:cxn ang="0">
                    <a:pos x="T8" y="T9"/>
                  </a:cxn>
                  <a:cxn ang="0">
                    <a:pos x="T10" y="T11"/>
                  </a:cxn>
                </a:cxnLst>
                <a:rect l="0" t="0" r="r" b="b"/>
                <a:pathLst>
                  <a:path w="6" h="10">
                    <a:moveTo>
                      <a:pt x="4" y="4"/>
                    </a:moveTo>
                    <a:lnTo>
                      <a:pt x="6" y="6"/>
                    </a:lnTo>
                    <a:lnTo>
                      <a:pt x="6" y="10"/>
                    </a:lnTo>
                    <a:lnTo>
                      <a:pt x="0" y="6"/>
                    </a:lnTo>
                    <a:lnTo>
                      <a:pt x="0" y="0"/>
                    </a:lnTo>
                    <a:lnTo>
                      <a:pt x="4" y="4"/>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13" name="Freeform 363">
                <a:extLst>
                  <a:ext uri="{FF2B5EF4-FFF2-40B4-BE49-F238E27FC236}">
                    <a16:creationId xmlns:a16="http://schemas.microsoft.com/office/drawing/2014/main" id="{E601BB67-2B60-4FF3-8763-6BC96B6CB9C4}"/>
                  </a:ext>
                </a:extLst>
              </p:cNvPr>
              <p:cNvSpPr>
                <a:spLocks/>
              </p:cNvSpPr>
              <p:nvPr/>
            </p:nvSpPr>
            <p:spPr bwMode="gray">
              <a:xfrm>
                <a:off x="2061233" y="2007992"/>
                <a:ext cx="6902" cy="6902"/>
              </a:xfrm>
              <a:custGeom>
                <a:avLst/>
                <a:gdLst>
                  <a:gd name="T0" fmla="*/ 12 w 12"/>
                  <a:gd name="T1" fmla="*/ 0 h 12"/>
                  <a:gd name="T2" fmla="*/ 12 w 12"/>
                  <a:gd name="T3" fmla="*/ 4 h 12"/>
                  <a:gd name="T4" fmla="*/ 0 w 12"/>
                  <a:gd name="T5" fmla="*/ 12 h 12"/>
                  <a:gd name="T6" fmla="*/ 0 w 12"/>
                  <a:gd name="T7" fmla="*/ 7 h 12"/>
                  <a:gd name="T8" fmla="*/ 12 w 12"/>
                  <a:gd name="T9" fmla="*/ 0 h 12"/>
                </a:gdLst>
                <a:ahLst/>
                <a:cxnLst>
                  <a:cxn ang="0">
                    <a:pos x="T0" y="T1"/>
                  </a:cxn>
                  <a:cxn ang="0">
                    <a:pos x="T2" y="T3"/>
                  </a:cxn>
                  <a:cxn ang="0">
                    <a:pos x="T4" y="T5"/>
                  </a:cxn>
                  <a:cxn ang="0">
                    <a:pos x="T6" y="T7"/>
                  </a:cxn>
                  <a:cxn ang="0">
                    <a:pos x="T8" y="T9"/>
                  </a:cxn>
                </a:cxnLst>
                <a:rect l="0" t="0" r="r" b="b"/>
                <a:pathLst>
                  <a:path w="12" h="12">
                    <a:moveTo>
                      <a:pt x="12" y="0"/>
                    </a:moveTo>
                    <a:lnTo>
                      <a:pt x="12" y="4"/>
                    </a:lnTo>
                    <a:lnTo>
                      <a:pt x="0" y="12"/>
                    </a:lnTo>
                    <a:lnTo>
                      <a:pt x="0" y="7"/>
                    </a:lnTo>
                    <a:lnTo>
                      <a:pt x="12" y="0"/>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14" name="Freeform 364">
                <a:extLst>
                  <a:ext uri="{FF2B5EF4-FFF2-40B4-BE49-F238E27FC236}">
                    <a16:creationId xmlns:a16="http://schemas.microsoft.com/office/drawing/2014/main" id="{0B42F217-A9D6-4B3B-BC05-FF94F8414E95}"/>
                  </a:ext>
                </a:extLst>
              </p:cNvPr>
              <p:cNvSpPr>
                <a:spLocks/>
              </p:cNvSpPr>
              <p:nvPr/>
            </p:nvSpPr>
            <p:spPr bwMode="gray">
              <a:xfrm>
                <a:off x="2060658" y="2011443"/>
                <a:ext cx="575" cy="3451"/>
              </a:xfrm>
              <a:custGeom>
                <a:avLst/>
                <a:gdLst>
                  <a:gd name="T0" fmla="*/ 0 w 1"/>
                  <a:gd name="T1" fmla="*/ 0 h 6"/>
                  <a:gd name="T2" fmla="*/ 1 w 1"/>
                  <a:gd name="T3" fmla="*/ 1 h 6"/>
                  <a:gd name="T4" fmla="*/ 1 w 1"/>
                  <a:gd name="T5" fmla="*/ 6 h 6"/>
                  <a:gd name="T6" fmla="*/ 0 w 1"/>
                  <a:gd name="T7" fmla="*/ 6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lnTo>
                      <a:pt x="1" y="1"/>
                    </a:lnTo>
                    <a:lnTo>
                      <a:pt x="1" y="6"/>
                    </a:lnTo>
                    <a:lnTo>
                      <a:pt x="0" y="6"/>
                    </a:lnTo>
                    <a:lnTo>
                      <a:pt x="0" y="0"/>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15" name="Freeform 365">
                <a:extLst>
                  <a:ext uri="{FF2B5EF4-FFF2-40B4-BE49-F238E27FC236}">
                    <a16:creationId xmlns:a16="http://schemas.microsoft.com/office/drawing/2014/main" id="{25F4BB92-6E81-452F-B284-A9EB1A066D57}"/>
                  </a:ext>
                </a:extLst>
              </p:cNvPr>
              <p:cNvSpPr>
                <a:spLocks/>
              </p:cNvSpPr>
              <p:nvPr/>
            </p:nvSpPr>
            <p:spPr bwMode="gray">
              <a:xfrm>
                <a:off x="2057207" y="2012018"/>
                <a:ext cx="1150" cy="1726"/>
              </a:xfrm>
              <a:custGeom>
                <a:avLst/>
                <a:gdLst>
                  <a:gd name="T0" fmla="*/ 2 w 2"/>
                  <a:gd name="T1" fmla="*/ 1 h 3"/>
                  <a:gd name="T2" fmla="*/ 2 w 2"/>
                  <a:gd name="T3" fmla="*/ 2 h 3"/>
                  <a:gd name="T4" fmla="*/ 1 w 2"/>
                  <a:gd name="T5" fmla="*/ 3 h 3"/>
                  <a:gd name="T6" fmla="*/ 0 w 2"/>
                  <a:gd name="T7" fmla="*/ 0 h 3"/>
                  <a:gd name="T8" fmla="*/ 2 w 2"/>
                  <a:gd name="T9" fmla="*/ 1 h 3"/>
                </a:gdLst>
                <a:ahLst/>
                <a:cxnLst>
                  <a:cxn ang="0">
                    <a:pos x="T0" y="T1"/>
                  </a:cxn>
                  <a:cxn ang="0">
                    <a:pos x="T2" y="T3"/>
                  </a:cxn>
                  <a:cxn ang="0">
                    <a:pos x="T4" y="T5"/>
                  </a:cxn>
                  <a:cxn ang="0">
                    <a:pos x="T6" y="T7"/>
                  </a:cxn>
                  <a:cxn ang="0">
                    <a:pos x="T8" y="T9"/>
                  </a:cxn>
                </a:cxnLst>
                <a:rect l="0" t="0" r="r" b="b"/>
                <a:pathLst>
                  <a:path w="2" h="3">
                    <a:moveTo>
                      <a:pt x="2" y="1"/>
                    </a:moveTo>
                    <a:lnTo>
                      <a:pt x="2" y="2"/>
                    </a:lnTo>
                    <a:lnTo>
                      <a:pt x="1" y="3"/>
                    </a:lnTo>
                    <a:lnTo>
                      <a:pt x="0" y="0"/>
                    </a:lnTo>
                    <a:lnTo>
                      <a:pt x="2" y="1"/>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16" name="Freeform 366">
                <a:extLst>
                  <a:ext uri="{FF2B5EF4-FFF2-40B4-BE49-F238E27FC236}">
                    <a16:creationId xmlns:a16="http://schemas.microsoft.com/office/drawing/2014/main" id="{DC9D76CF-FDE1-495E-9B84-4DAEA772C941}"/>
                  </a:ext>
                </a:extLst>
              </p:cNvPr>
              <p:cNvSpPr>
                <a:spLocks/>
              </p:cNvSpPr>
              <p:nvPr/>
            </p:nvSpPr>
            <p:spPr bwMode="gray">
              <a:xfrm>
                <a:off x="2052605" y="2012018"/>
                <a:ext cx="5177" cy="4027"/>
              </a:xfrm>
              <a:custGeom>
                <a:avLst/>
                <a:gdLst>
                  <a:gd name="T0" fmla="*/ 2 w 9"/>
                  <a:gd name="T1" fmla="*/ 7 h 7"/>
                  <a:gd name="T2" fmla="*/ 0 w 9"/>
                  <a:gd name="T3" fmla="*/ 5 h 7"/>
                  <a:gd name="T4" fmla="*/ 8 w 9"/>
                  <a:gd name="T5" fmla="*/ 0 h 7"/>
                  <a:gd name="T6" fmla="*/ 9 w 9"/>
                  <a:gd name="T7" fmla="*/ 3 h 7"/>
                  <a:gd name="T8" fmla="*/ 2 w 9"/>
                  <a:gd name="T9" fmla="*/ 7 h 7"/>
                </a:gdLst>
                <a:ahLst/>
                <a:cxnLst>
                  <a:cxn ang="0">
                    <a:pos x="T0" y="T1"/>
                  </a:cxn>
                  <a:cxn ang="0">
                    <a:pos x="T2" y="T3"/>
                  </a:cxn>
                  <a:cxn ang="0">
                    <a:pos x="T4" y="T5"/>
                  </a:cxn>
                  <a:cxn ang="0">
                    <a:pos x="T6" y="T7"/>
                  </a:cxn>
                  <a:cxn ang="0">
                    <a:pos x="T8" y="T9"/>
                  </a:cxn>
                </a:cxnLst>
                <a:rect l="0" t="0" r="r" b="b"/>
                <a:pathLst>
                  <a:path w="9" h="7">
                    <a:moveTo>
                      <a:pt x="2" y="7"/>
                    </a:moveTo>
                    <a:lnTo>
                      <a:pt x="0" y="5"/>
                    </a:lnTo>
                    <a:lnTo>
                      <a:pt x="8" y="0"/>
                    </a:lnTo>
                    <a:lnTo>
                      <a:pt x="9" y="3"/>
                    </a:lnTo>
                    <a:lnTo>
                      <a:pt x="2" y="7"/>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17" name="Freeform 367">
                <a:extLst>
                  <a:ext uri="{FF2B5EF4-FFF2-40B4-BE49-F238E27FC236}">
                    <a16:creationId xmlns:a16="http://schemas.microsoft.com/office/drawing/2014/main" id="{6924419B-D3E1-4FCE-9E1D-B1926AAAE5A3}"/>
                  </a:ext>
                </a:extLst>
              </p:cNvPr>
              <p:cNvSpPr>
                <a:spLocks/>
              </p:cNvSpPr>
              <p:nvPr/>
            </p:nvSpPr>
            <p:spPr bwMode="gray">
              <a:xfrm>
                <a:off x="2066410" y="2014894"/>
                <a:ext cx="18406" cy="11504"/>
              </a:xfrm>
              <a:custGeom>
                <a:avLst/>
                <a:gdLst>
                  <a:gd name="T0" fmla="*/ 0 w 32"/>
                  <a:gd name="T1" fmla="*/ 12 h 20"/>
                  <a:gd name="T2" fmla="*/ 12 w 32"/>
                  <a:gd name="T3" fmla="*/ 4 h 20"/>
                  <a:gd name="T4" fmla="*/ 14 w 32"/>
                  <a:gd name="T5" fmla="*/ 6 h 20"/>
                  <a:gd name="T6" fmla="*/ 26 w 32"/>
                  <a:gd name="T7" fmla="*/ 0 h 20"/>
                  <a:gd name="T8" fmla="*/ 32 w 32"/>
                  <a:gd name="T9" fmla="*/ 3 h 20"/>
                  <a:gd name="T10" fmla="*/ 32 w 32"/>
                  <a:gd name="T11" fmla="*/ 8 h 20"/>
                  <a:gd name="T12" fmla="*/ 20 w 32"/>
                  <a:gd name="T13" fmla="*/ 15 h 20"/>
                  <a:gd name="T14" fmla="*/ 17 w 32"/>
                  <a:gd name="T15" fmla="*/ 14 h 20"/>
                  <a:gd name="T16" fmla="*/ 6 w 32"/>
                  <a:gd name="T17" fmla="*/ 20 h 20"/>
                  <a:gd name="T18" fmla="*/ 0 w 32"/>
                  <a:gd name="T19" fmla="*/ 18 h 20"/>
                  <a:gd name="T20" fmla="*/ 0 w 32"/>
                  <a:gd name="T21"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0">
                    <a:moveTo>
                      <a:pt x="0" y="12"/>
                    </a:moveTo>
                    <a:lnTo>
                      <a:pt x="12" y="4"/>
                    </a:lnTo>
                    <a:lnTo>
                      <a:pt x="14" y="6"/>
                    </a:lnTo>
                    <a:lnTo>
                      <a:pt x="26" y="0"/>
                    </a:lnTo>
                    <a:lnTo>
                      <a:pt x="32" y="3"/>
                    </a:lnTo>
                    <a:lnTo>
                      <a:pt x="32" y="8"/>
                    </a:lnTo>
                    <a:lnTo>
                      <a:pt x="20" y="15"/>
                    </a:lnTo>
                    <a:lnTo>
                      <a:pt x="17" y="14"/>
                    </a:lnTo>
                    <a:lnTo>
                      <a:pt x="6" y="20"/>
                    </a:lnTo>
                    <a:lnTo>
                      <a:pt x="0" y="18"/>
                    </a:lnTo>
                    <a:lnTo>
                      <a:pt x="0" y="12"/>
                    </a:lnTo>
                    <a:close/>
                  </a:path>
                </a:pathLst>
              </a:custGeom>
              <a:solidFill>
                <a:srgbClr val="EAEAE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18" name="Freeform 368">
                <a:extLst>
                  <a:ext uri="{FF2B5EF4-FFF2-40B4-BE49-F238E27FC236}">
                    <a16:creationId xmlns:a16="http://schemas.microsoft.com/office/drawing/2014/main" id="{F74E65CE-D3A4-4A02-B75F-A1DBF317AFFE}"/>
                  </a:ext>
                </a:extLst>
              </p:cNvPr>
              <p:cNvSpPr>
                <a:spLocks/>
              </p:cNvSpPr>
              <p:nvPr/>
            </p:nvSpPr>
            <p:spPr bwMode="gray">
              <a:xfrm>
                <a:off x="2069286" y="2020071"/>
                <a:ext cx="7478" cy="6327"/>
              </a:xfrm>
              <a:custGeom>
                <a:avLst/>
                <a:gdLst>
                  <a:gd name="T0" fmla="*/ 1 w 13"/>
                  <a:gd name="T1" fmla="*/ 9 h 11"/>
                  <a:gd name="T2" fmla="*/ 0 w 13"/>
                  <a:gd name="T3" fmla="*/ 5 h 11"/>
                  <a:gd name="T4" fmla="*/ 7 w 13"/>
                  <a:gd name="T5" fmla="*/ 1 h 11"/>
                  <a:gd name="T6" fmla="*/ 9 w 13"/>
                  <a:gd name="T7" fmla="*/ 4 h 11"/>
                  <a:gd name="T8" fmla="*/ 9 w 13"/>
                  <a:gd name="T9" fmla="*/ 4 h 11"/>
                  <a:gd name="T10" fmla="*/ 9 w 13"/>
                  <a:gd name="T11" fmla="*/ 4 h 11"/>
                  <a:gd name="T12" fmla="*/ 10 w 13"/>
                  <a:gd name="T13" fmla="*/ 3 h 11"/>
                  <a:gd name="T14" fmla="*/ 13 w 13"/>
                  <a:gd name="T15" fmla="*/ 0 h 11"/>
                  <a:gd name="T16" fmla="*/ 13 w 13"/>
                  <a:gd name="T17" fmla="*/ 5 h 11"/>
                  <a:gd name="T18" fmla="*/ 12 w 13"/>
                  <a:gd name="T19" fmla="*/ 5 h 11"/>
                  <a:gd name="T20" fmla="*/ 1 w 13"/>
                  <a:gd name="T21" fmla="*/ 11 h 11"/>
                  <a:gd name="T22" fmla="*/ 1 w 13"/>
                  <a:gd name="T23"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1">
                    <a:moveTo>
                      <a:pt x="1" y="9"/>
                    </a:moveTo>
                    <a:lnTo>
                      <a:pt x="0" y="5"/>
                    </a:lnTo>
                    <a:lnTo>
                      <a:pt x="7" y="1"/>
                    </a:lnTo>
                    <a:lnTo>
                      <a:pt x="9" y="4"/>
                    </a:lnTo>
                    <a:lnTo>
                      <a:pt x="9" y="4"/>
                    </a:lnTo>
                    <a:lnTo>
                      <a:pt x="9" y="4"/>
                    </a:lnTo>
                    <a:lnTo>
                      <a:pt x="10" y="3"/>
                    </a:lnTo>
                    <a:lnTo>
                      <a:pt x="13" y="0"/>
                    </a:lnTo>
                    <a:lnTo>
                      <a:pt x="13" y="5"/>
                    </a:lnTo>
                    <a:lnTo>
                      <a:pt x="12" y="5"/>
                    </a:lnTo>
                    <a:lnTo>
                      <a:pt x="1" y="11"/>
                    </a:lnTo>
                    <a:lnTo>
                      <a:pt x="1" y="9"/>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19" name="Freeform 369">
                <a:extLst>
                  <a:ext uri="{FF2B5EF4-FFF2-40B4-BE49-F238E27FC236}">
                    <a16:creationId xmlns:a16="http://schemas.microsoft.com/office/drawing/2014/main" id="{E2278236-FC3B-4C32-9189-D87D3C27442D}"/>
                  </a:ext>
                </a:extLst>
              </p:cNvPr>
              <p:cNvSpPr>
                <a:spLocks/>
              </p:cNvSpPr>
              <p:nvPr/>
            </p:nvSpPr>
            <p:spPr bwMode="gray">
              <a:xfrm>
                <a:off x="2066410" y="2021797"/>
                <a:ext cx="3451" cy="4602"/>
              </a:xfrm>
              <a:custGeom>
                <a:avLst/>
                <a:gdLst>
                  <a:gd name="T0" fmla="*/ 5 w 6"/>
                  <a:gd name="T1" fmla="*/ 2 h 8"/>
                  <a:gd name="T2" fmla="*/ 6 w 6"/>
                  <a:gd name="T3" fmla="*/ 6 h 8"/>
                  <a:gd name="T4" fmla="*/ 6 w 6"/>
                  <a:gd name="T5" fmla="*/ 8 h 8"/>
                  <a:gd name="T6" fmla="*/ 0 w 6"/>
                  <a:gd name="T7" fmla="*/ 6 h 8"/>
                  <a:gd name="T8" fmla="*/ 0 w 6"/>
                  <a:gd name="T9" fmla="*/ 0 h 8"/>
                  <a:gd name="T10" fmla="*/ 5 w 6"/>
                  <a:gd name="T11" fmla="*/ 2 h 8"/>
                </a:gdLst>
                <a:ahLst/>
                <a:cxnLst>
                  <a:cxn ang="0">
                    <a:pos x="T0" y="T1"/>
                  </a:cxn>
                  <a:cxn ang="0">
                    <a:pos x="T2" y="T3"/>
                  </a:cxn>
                  <a:cxn ang="0">
                    <a:pos x="T4" y="T5"/>
                  </a:cxn>
                  <a:cxn ang="0">
                    <a:pos x="T6" y="T7"/>
                  </a:cxn>
                  <a:cxn ang="0">
                    <a:pos x="T8" y="T9"/>
                  </a:cxn>
                  <a:cxn ang="0">
                    <a:pos x="T10" y="T11"/>
                  </a:cxn>
                </a:cxnLst>
                <a:rect l="0" t="0" r="r" b="b"/>
                <a:pathLst>
                  <a:path w="6" h="8">
                    <a:moveTo>
                      <a:pt x="5" y="2"/>
                    </a:moveTo>
                    <a:lnTo>
                      <a:pt x="6" y="6"/>
                    </a:lnTo>
                    <a:lnTo>
                      <a:pt x="6" y="8"/>
                    </a:lnTo>
                    <a:lnTo>
                      <a:pt x="0" y="6"/>
                    </a:lnTo>
                    <a:lnTo>
                      <a:pt x="0" y="0"/>
                    </a:lnTo>
                    <a:lnTo>
                      <a:pt x="5" y="2"/>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20" name="Freeform 370">
                <a:extLst>
                  <a:ext uri="{FF2B5EF4-FFF2-40B4-BE49-F238E27FC236}">
                    <a16:creationId xmlns:a16="http://schemas.microsoft.com/office/drawing/2014/main" id="{5DCC15E9-D75B-47E4-BCB6-20DE5CDD6E31}"/>
                  </a:ext>
                </a:extLst>
              </p:cNvPr>
              <p:cNvSpPr>
                <a:spLocks/>
              </p:cNvSpPr>
              <p:nvPr/>
            </p:nvSpPr>
            <p:spPr bwMode="gray">
              <a:xfrm>
                <a:off x="2077914" y="2016620"/>
                <a:ext cx="6902" cy="6902"/>
              </a:xfrm>
              <a:custGeom>
                <a:avLst/>
                <a:gdLst>
                  <a:gd name="T0" fmla="*/ 12 w 12"/>
                  <a:gd name="T1" fmla="*/ 0 h 12"/>
                  <a:gd name="T2" fmla="*/ 12 w 12"/>
                  <a:gd name="T3" fmla="*/ 5 h 12"/>
                  <a:gd name="T4" fmla="*/ 0 w 12"/>
                  <a:gd name="T5" fmla="*/ 12 h 12"/>
                  <a:gd name="T6" fmla="*/ 0 w 12"/>
                  <a:gd name="T7" fmla="*/ 6 h 12"/>
                  <a:gd name="T8" fmla="*/ 12 w 12"/>
                  <a:gd name="T9" fmla="*/ 0 h 12"/>
                </a:gdLst>
                <a:ahLst/>
                <a:cxnLst>
                  <a:cxn ang="0">
                    <a:pos x="T0" y="T1"/>
                  </a:cxn>
                  <a:cxn ang="0">
                    <a:pos x="T2" y="T3"/>
                  </a:cxn>
                  <a:cxn ang="0">
                    <a:pos x="T4" y="T5"/>
                  </a:cxn>
                  <a:cxn ang="0">
                    <a:pos x="T6" y="T7"/>
                  </a:cxn>
                  <a:cxn ang="0">
                    <a:pos x="T8" y="T9"/>
                  </a:cxn>
                </a:cxnLst>
                <a:rect l="0" t="0" r="r" b="b"/>
                <a:pathLst>
                  <a:path w="12" h="12">
                    <a:moveTo>
                      <a:pt x="12" y="0"/>
                    </a:moveTo>
                    <a:lnTo>
                      <a:pt x="12" y="5"/>
                    </a:lnTo>
                    <a:lnTo>
                      <a:pt x="0" y="12"/>
                    </a:lnTo>
                    <a:lnTo>
                      <a:pt x="0" y="6"/>
                    </a:lnTo>
                    <a:lnTo>
                      <a:pt x="12" y="0"/>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21" name="Freeform 371">
                <a:extLst>
                  <a:ext uri="{FF2B5EF4-FFF2-40B4-BE49-F238E27FC236}">
                    <a16:creationId xmlns:a16="http://schemas.microsoft.com/office/drawing/2014/main" id="{AAE0163F-3F00-4E59-A0CF-C6B67134D651}"/>
                  </a:ext>
                </a:extLst>
              </p:cNvPr>
              <p:cNvSpPr>
                <a:spLocks/>
              </p:cNvSpPr>
              <p:nvPr/>
            </p:nvSpPr>
            <p:spPr bwMode="gray">
              <a:xfrm>
                <a:off x="2076763" y="2020071"/>
                <a:ext cx="1150" cy="3451"/>
              </a:xfrm>
              <a:custGeom>
                <a:avLst/>
                <a:gdLst>
                  <a:gd name="T0" fmla="*/ 0 w 2"/>
                  <a:gd name="T1" fmla="*/ 0 h 6"/>
                  <a:gd name="T2" fmla="*/ 2 w 2"/>
                  <a:gd name="T3" fmla="*/ 0 h 6"/>
                  <a:gd name="T4" fmla="*/ 2 w 2"/>
                  <a:gd name="T5" fmla="*/ 6 h 6"/>
                  <a:gd name="T6" fmla="*/ 0 w 2"/>
                  <a:gd name="T7" fmla="*/ 5 h 6"/>
                  <a:gd name="T8" fmla="*/ 0 w 2"/>
                  <a:gd name="T9" fmla="*/ 0 h 6"/>
                </a:gdLst>
                <a:ahLst/>
                <a:cxnLst>
                  <a:cxn ang="0">
                    <a:pos x="T0" y="T1"/>
                  </a:cxn>
                  <a:cxn ang="0">
                    <a:pos x="T2" y="T3"/>
                  </a:cxn>
                  <a:cxn ang="0">
                    <a:pos x="T4" y="T5"/>
                  </a:cxn>
                  <a:cxn ang="0">
                    <a:pos x="T6" y="T7"/>
                  </a:cxn>
                  <a:cxn ang="0">
                    <a:pos x="T8" y="T9"/>
                  </a:cxn>
                </a:cxnLst>
                <a:rect l="0" t="0" r="r" b="b"/>
                <a:pathLst>
                  <a:path w="2" h="6">
                    <a:moveTo>
                      <a:pt x="0" y="0"/>
                    </a:moveTo>
                    <a:lnTo>
                      <a:pt x="2" y="0"/>
                    </a:lnTo>
                    <a:lnTo>
                      <a:pt x="2" y="6"/>
                    </a:lnTo>
                    <a:lnTo>
                      <a:pt x="0" y="5"/>
                    </a:lnTo>
                    <a:lnTo>
                      <a:pt x="0" y="0"/>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22" name="Freeform 372">
                <a:extLst>
                  <a:ext uri="{FF2B5EF4-FFF2-40B4-BE49-F238E27FC236}">
                    <a16:creationId xmlns:a16="http://schemas.microsoft.com/office/drawing/2014/main" id="{7E6C46B2-536F-4E6E-AAA6-5433A8DC9C95}"/>
                  </a:ext>
                </a:extLst>
              </p:cNvPr>
              <p:cNvSpPr>
                <a:spLocks/>
              </p:cNvSpPr>
              <p:nvPr/>
            </p:nvSpPr>
            <p:spPr bwMode="gray">
              <a:xfrm>
                <a:off x="2073312" y="2020646"/>
                <a:ext cx="1726" cy="1726"/>
              </a:xfrm>
              <a:custGeom>
                <a:avLst/>
                <a:gdLst>
                  <a:gd name="T0" fmla="*/ 3 w 3"/>
                  <a:gd name="T1" fmla="*/ 2 h 3"/>
                  <a:gd name="T2" fmla="*/ 2 w 3"/>
                  <a:gd name="T3" fmla="*/ 3 h 3"/>
                  <a:gd name="T4" fmla="*/ 2 w 3"/>
                  <a:gd name="T5" fmla="*/ 3 h 3"/>
                  <a:gd name="T6" fmla="*/ 2 w 3"/>
                  <a:gd name="T7" fmla="*/ 3 h 3"/>
                  <a:gd name="T8" fmla="*/ 0 w 3"/>
                  <a:gd name="T9" fmla="*/ 0 h 3"/>
                  <a:gd name="T10" fmla="*/ 3 w 3"/>
                  <a:gd name="T11" fmla="*/ 2 h 3"/>
                </a:gdLst>
                <a:ahLst/>
                <a:cxnLst>
                  <a:cxn ang="0">
                    <a:pos x="T0" y="T1"/>
                  </a:cxn>
                  <a:cxn ang="0">
                    <a:pos x="T2" y="T3"/>
                  </a:cxn>
                  <a:cxn ang="0">
                    <a:pos x="T4" y="T5"/>
                  </a:cxn>
                  <a:cxn ang="0">
                    <a:pos x="T6" y="T7"/>
                  </a:cxn>
                  <a:cxn ang="0">
                    <a:pos x="T8" y="T9"/>
                  </a:cxn>
                  <a:cxn ang="0">
                    <a:pos x="T10" y="T11"/>
                  </a:cxn>
                </a:cxnLst>
                <a:rect l="0" t="0" r="r" b="b"/>
                <a:pathLst>
                  <a:path w="3" h="3">
                    <a:moveTo>
                      <a:pt x="3" y="2"/>
                    </a:moveTo>
                    <a:lnTo>
                      <a:pt x="2" y="3"/>
                    </a:lnTo>
                    <a:lnTo>
                      <a:pt x="2" y="3"/>
                    </a:lnTo>
                    <a:lnTo>
                      <a:pt x="2" y="3"/>
                    </a:lnTo>
                    <a:lnTo>
                      <a:pt x="0" y="0"/>
                    </a:lnTo>
                    <a:lnTo>
                      <a:pt x="3" y="2"/>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23" name="Freeform 373">
                <a:extLst>
                  <a:ext uri="{FF2B5EF4-FFF2-40B4-BE49-F238E27FC236}">
                    <a16:creationId xmlns:a16="http://schemas.microsoft.com/office/drawing/2014/main" id="{BEB7AECD-BBC3-44EC-8BDB-353168862D36}"/>
                  </a:ext>
                </a:extLst>
              </p:cNvPr>
              <p:cNvSpPr>
                <a:spLocks/>
              </p:cNvSpPr>
              <p:nvPr/>
            </p:nvSpPr>
            <p:spPr bwMode="gray">
              <a:xfrm>
                <a:off x="2069286" y="2020646"/>
                <a:ext cx="5177" cy="4602"/>
              </a:xfrm>
              <a:custGeom>
                <a:avLst/>
                <a:gdLst>
                  <a:gd name="T0" fmla="*/ 1 w 9"/>
                  <a:gd name="T1" fmla="*/ 8 h 8"/>
                  <a:gd name="T2" fmla="*/ 0 w 9"/>
                  <a:gd name="T3" fmla="*/ 4 h 8"/>
                  <a:gd name="T4" fmla="*/ 7 w 9"/>
                  <a:gd name="T5" fmla="*/ 0 h 8"/>
                  <a:gd name="T6" fmla="*/ 9 w 9"/>
                  <a:gd name="T7" fmla="*/ 3 h 8"/>
                  <a:gd name="T8" fmla="*/ 1 w 9"/>
                  <a:gd name="T9" fmla="*/ 8 h 8"/>
                </a:gdLst>
                <a:ahLst/>
                <a:cxnLst>
                  <a:cxn ang="0">
                    <a:pos x="T0" y="T1"/>
                  </a:cxn>
                  <a:cxn ang="0">
                    <a:pos x="T2" y="T3"/>
                  </a:cxn>
                  <a:cxn ang="0">
                    <a:pos x="T4" y="T5"/>
                  </a:cxn>
                  <a:cxn ang="0">
                    <a:pos x="T6" y="T7"/>
                  </a:cxn>
                  <a:cxn ang="0">
                    <a:pos x="T8" y="T9"/>
                  </a:cxn>
                </a:cxnLst>
                <a:rect l="0" t="0" r="r" b="b"/>
                <a:pathLst>
                  <a:path w="9" h="8">
                    <a:moveTo>
                      <a:pt x="1" y="8"/>
                    </a:moveTo>
                    <a:lnTo>
                      <a:pt x="0" y="4"/>
                    </a:lnTo>
                    <a:lnTo>
                      <a:pt x="7" y="0"/>
                    </a:lnTo>
                    <a:lnTo>
                      <a:pt x="9" y="3"/>
                    </a:lnTo>
                    <a:lnTo>
                      <a:pt x="1" y="8"/>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24" name="Freeform 374">
                <a:extLst>
                  <a:ext uri="{FF2B5EF4-FFF2-40B4-BE49-F238E27FC236}">
                    <a16:creationId xmlns:a16="http://schemas.microsoft.com/office/drawing/2014/main" id="{9D7A5D24-3AEC-46B1-A59D-6A02F755A2A5}"/>
                  </a:ext>
                </a:extLst>
              </p:cNvPr>
              <p:cNvSpPr>
                <a:spLocks/>
              </p:cNvSpPr>
              <p:nvPr/>
            </p:nvSpPr>
            <p:spPr bwMode="gray">
              <a:xfrm>
                <a:off x="2075037" y="2019496"/>
                <a:ext cx="17831" cy="12654"/>
              </a:xfrm>
              <a:custGeom>
                <a:avLst/>
                <a:gdLst>
                  <a:gd name="T0" fmla="*/ 0 w 31"/>
                  <a:gd name="T1" fmla="*/ 12 h 22"/>
                  <a:gd name="T2" fmla="*/ 12 w 31"/>
                  <a:gd name="T3" fmla="*/ 6 h 22"/>
                  <a:gd name="T4" fmla="*/ 13 w 31"/>
                  <a:gd name="T5" fmla="*/ 6 h 22"/>
                  <a:gd name="T6" fmla="*/ 25 w 31"/>
                  <a:gd name="T7" fmla="*/ 0 h 22"/>
                  <a:gd name="T8" fmla="*/ 31 w 31"/>
                  <a:gd name="T9" fmla="*/ 4 h 22"/>
                  <a:gd name="T10" fmla="*/ 31 w 31"/>
                  <a:gd name="T11" fmla="*/ 8 h 22"/>
                  <a:gd name="T12" fmla="*/ 19 w 31"/>
                  <a:gd name="T13" fmla="*/ 16 h 22"/>
                  <a:gd name="T14" fmla="*/ 17 w 31"/>
                  <a:gd name="T15" fmla="*/ 14 h 22"/>
                  <a:gd name="T16" fmla="*/ 6 w 31"/>
                  <a:gd name="T17" fmla="*/ 22 h 22"/>
                  <a:gd name="T18" fmla="*/ 0 w 31"/>
                  <a:gd name="T19" fmla="*/ 18 h 22"/>
                  <a:gd name="T20" fmla="*/ 0 w 31"/>
                  <a:gd name="T21"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2">
                    <a:moveTo>
                      <a:pt x="0" y="12"/>
                    </a:moveTo>
                    <a:lnTo>
                      <a:pt x="12" y="6"/>
                    </a:lnTo>
                    <a:lnTo>
                      <a:pt x="13" y="6"/>
                    </a:lnTo>
                    <a:lnTo>
                      <a:pt x="25" y="0"/>
                    </a:lnTo>
                    <a:lnTo>
                      <a:pt x="31" y="4"/>
                    </a:lnTo>
                    <a:lnTo>
                      <a:pt x="31" y="8"/>
                    </a:lnTo>
                    <a:lnTo>
                      <a:pt x="19" y="16"/>
                    </a:lnTo>
                    <a:lnTo>
                      <a:pt x="17" y="14"/>
                    </a:lnTo>
                    <a:lnTo>
                      <a:pt x="6" y="22"/>
                    </a:lnTo>
                    <a:lnTo>
                      <a:pt x="0" y="18"/>
                    </a:lnTo>
                    <a:lnTo>
                      <a:pt x="0" y="12"/>
                    </a:lnTo>
                    <a:close/>
                  </a:path>
                </a:pathLst>
              </a:custGeom>
              <a:solidFill>
                <a:srgbClr val="EAEAE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25" name="Freeform 375">
                <a:extLst>
                  <a:ext uri="{FF2B5EF4-FFF2-40B4-BE49-F238E27FC236}">
                    <a16:creationId xmlns:a16="http://schemas.microsoft.com/office/drawing/2014/main" id="{116AF1BB-13E2-4A0D-AE8B-C724D66B9985}"/>
                  </a:ext>
                </a:extLst>
              </p:cNvPr>
              <p:cNvSpPr>
                <a:spLocks/>
              </p:cNvSpPr>
              <p:nvPr/>
            </p:nvSpPr>
            <p:spPr bwMode="gray">
              <a:xfrm>
                <a:off x="2077914" y="2025248"/>
                <a:ext cx="7478" cy="6902"/>
              </a:xfrm>
              <a:custGeom>
                <a:avLst/>
                <a:gdLst>
                  <a:gd name="T0" fmla="*/ 1 w 13"/>
                  <a:gd name="T1" fmla="*/ 8 h 12"/>
                  <a:gd name="T2" fmla="*/ 0 w 13"/>
                  <a:gd name="T3" fmla="*/ 6 h 12"/>
                  <a:gd name="T4" fmla="*/ 7 w 13"/>
                  <a:gd name="T5" fmla="*/ 1 h 12"/>
                  <a:gd name="T6" fmla="*/ 8 w 13"/>
                  <a:gd name="T7" fmla="*/ 4 h 12"/>
                  <a:gd name="T8" fmla="*/ 8 w 13"/>
                  <a:gd name="T9" fmla="*/ 3 h 12"/>
                  <a:gd name="T10" fmla="*/ 9 w 13"/>
                  <a:gd name="T11" fmla="*/ 2 h 12"/>
                  <a:gd name="T12" fmla="*/ 13 w 13"/>
                  <a:gd name="T13" fmla="*/ 0 h 12"/>
                  <a:gd name="T14" fmla="*/ 13 w 13"/>
                  <a:gd name="T15" fmla="*/ 6 h 12"/>
                  <a:gd name="T16" fmla="*/ 12 w 13"/>
                  <a:gd name="T17" fmla="*/ 4 h 12"/>
                  <a:gd name="T18" fmla="*/ 1 w 13"/>
                  <a:gd name="T19" fmla="*/ 12 h 12"/>
                  <a:gd name="T20" fmla="*/ 1 w 13"/>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2">
                    <a:moveTo>
                      <a:pt x="1" y="8"/>
                    </a:moveTo>
                    <a:lnTo>
                      <a:pt x="0" y="6"/>
                    </a:lnTo>
                    <a:lnTo>
                      <a:pt x="7" y="1"/>
                    </a:lnTo>
                    <a:lnTo>
                      <a:pt x="8" y="4"/>
                    </a:lnTo>
                    <a:lnTo>
                      <a:pt x="8" y="3"/>
                    </a:lnTo>
                    <a:lnTo>
                      <a:pt x="9" y="2"/>
                    </a:lnTo>
                    <a:lnTo>
                      <a:pt x="13" y="0"/>
                    </a:lnTo>
                    <a:lnTo>
                      <a:pt x="13" y="6"/>
                    </a:lnTo>
                    <a:lnTo>
                      <a:pt x="12" y="4"/>
                    </a:lnTo>
                    <a:lnTo>
                      <a:pt x="1" y="12"/>
                    </a:lnTo>
                    <a:lnTo>
                      <a:pt x="1" y="8"/>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26" name="Freeform 376">
                <a:extLst>
                  <a:ext uri="{FF2B5EF4-FFF2-40B4-BE49-F238E27FC236}">
                    <a16:creationId xmlns:a16="http://schemas.microsoft.com/office/drawing/2014/main" id="{1E659CD2-B69F-4011-B44A-69276DD8C515}"/>
                  </a:ext>
                </a:extLst>
              </p:cNvPr>
              <p:cNvSpPr>
                <a:spLocks/>
              </p:cNvSpPr>
              <p:nvPr/>
            </p:nvSpPr>
            <p:spPr bwMode="gray">
              <a:xfrm>
                <a:off x="2075037" y="2026398"/>
                <a:ext cx="3451" cy="5752"/>
              </a:xfrm>
              <a:custGeom>
                <a:avLst/>
                <a:gdLst>
                  <a:gd name="T0" fmla="*/ 5 w 6"/>
                  <a:gd name="T1" fmla="*/ 4 h 10"/>
                  <a:gd name="T2" fmla="*/ 6 w 6"/>
                  <a:gd name="T3" fmla="*/ 6 h 10"/>
                  <a:gd name="T4" fmla="*/ 6 w 6"/>
                  <a:gd name="T5" fmla="*/ 10 h 10"/>
                  <a:gd name="T6" fmla="*/ 0 w 6"/>
                  <a:gd name="T7" fmla="*/ 6 h 10"/>
                  <a:gd name="T8" fmla="*/ 0 w 6"/>
                  <a:gd name="T9" fmla="*/ 0 h 10"/>
                  <a:gd name="T10" fmla="*/ 5 w 6"/>
                  <a:gd name="T11" fmla="*/ 4 h 10"/>
                </a:gdLst>
                <a:ahLst/>
                <a:cxnLst>
                  <a:cxn ang="0">
                    <a:pos x="T0" y="T1"/>
                  </a:cxn>
                  <a:cxn ang="0">
                    <a:pos x="T2" y="T3"/>
                  </a:cxn>
                  <a:cxn ang="0">
                    <a:pos x="T4" y="T5"/>
                  </a:cxn>
                  <a:cxn ang="0">
                    <a:pos x="T6" y="T7"/>
                  </a:cxn>
                  <a:cxn ang="0">
                    <a:pos x="T8" y="T9"/>
                  </a:cxn>
                  <a:cxn ang="0">
                    <a:pos x="T10" y="T11"/>
                  </a:cxn>
                </a:cxnLst>
                <a:rect l="0" t="0" r="r" b="b"/>
                <a:pathLst>
                  <a:path w="6" h="10">
                    <a:moveTo>
                      <a:pt x="5" y="4"/>
                    </a:moveTo>
                    <a:lnTo>
                      <a:pt x="6" y="6"/>
                    </a:lnTo>
                    <a:lnTo>
                      <a:pt x="6" y="10"/>
                    </a:lnTo>
                    <a:lnTo>
                      <a:pt x="0" y="6"/>
                    </a:lnTo>
                    <a:lnTo>
                      <a:pt x="0" y="0"/>
                    </a:lnTo>
                    <a:lnTo>
                      <a:pt x="5" y="4"/>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27" name="Freeform 377">
                <a:extLst>
                  <a:ext uri="{FF2B5EF4-FFF2-40B4-BE49-F238E27FC236}">
                    <a16:creationId xmlns:a16="http://schemas.microsoft.com/office/drawing/2014/main" id="{15180935-B3A9-4C43-9CFF-2BC20FA792D7}"/>
                  </a:ext>
                </a:extLst>
              </p:cNvPr>
              <p:cNvSpPr>
                <a:spLocks/>
              </p:cNvSpPr>
              <p:nvPr/>
            </p:nvSpPr>
            <p:spPr bwMode="gray">
              <a:xfrm>
                <a:off x="2085966" y="2021797"/>
                <a:ext cx="6902" cy="6902"/>
              </a:xfrm>
              <a:custGeom>
                <a:avLst/>
                <a:gdLst>
                  <a:gd name="T0" fmla="*/ 12 w 12"/>
                  <a:gd name="T1" fmla="*/ 0 h 12"/>
                  <a:gd name="T2" fmla="*/ 12 w 12"/>
                  <a:gd name="T3" fmla="*/ 4 h 12"/>
                  <a:gd name="T4" fmla="*/ 0 w 12"/>
                  <a:gd name="T5" fmla="*/ 12 h 12"/>
                  <a:gd name="T6" fmla="*/ 0 w 12"/>
                  <a:gd name="T7" fmla="*/ 7 h 12"/>
                  <a:gd name="T8" fmla="*/ 12 w 12"/>
                  <a:gd name="T9" fmla="*/ 0 h 12"/>
                </a:gdLst>
                <a:ahLst/>
                <a:cxnLst>
                  <a:cxn ang="0">
                    <a:pos x="T0" y="T1"/>
                  </a:cxn>
                  <a:cxn ang="0">
                    <a:pos x="T2" y="T3"/>
                  </a:cxn>
                  <a:cxn ang="0">
                    <a:pos x="T4" y="T5"/>
                  </a:cxn>
                  <a:cxn ang="0">
                    <a:pos x="T6" y="T7"/>
                  </a:cxn>
                  <a:cxn ang="0">
                    <a:pos x="T8" y="T9"/>
                  </a:cxn>
                </a:cxnLst>
                <a:rect l="0" t="0" r="r" b="b"/>
                <a:pathLst>
                  <a:path w="12" h="12">
                    <a:moveTo>
                      <a:pt x="12" y="0"/>
                    </a:moveTo>
                    <a:lnTo>
                      <a:pt x="12" y="4"/>
                    </a:lnTo>
                    <a:lnTo>
                      <a:pt x="0" y="12"/>
                    </a:lnTo>
                    <a:lnTo>
                      <a:pt x="0" y="7"/>
                    </a:lnTo>
                    <a:lnTo>
                      <a:pt x="12" y="0"/>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28" name="Freeform 378">
                <a:extLst>
                  <a:ext uri="{FF2B5EF4-FFF2-40B4-BE49-F238E27FC236}">
                    <a16:creationId xmlns:a16="http://schemas.microsoft.com/office/drawing/2014/main" id="{AD39E46E-7E41-4060-BCE5-F40F447BD1DF}"/>
                  </a:ext>
                </a:extLst>
              </p:cNvPr>
              <p:cNvSpPr>
                <a:spLocks/>
              </p:cNvSpPr>
              <p:nvPr/>
            </p:nvSpPr>
            <p:spPr bwMode="gray">
              <a:xfrm>
                <a:off x="2085391" y="2025248"/>
                <a:ext cx="575" cy="3451"/>
              </a:xfrm>
              <a:custGeom>
                <a:avLst/>
                <a:gdLst>
                  <a:gd name="T0" fmla="*/ 0 w 1"/>
                  <a:gd name="T1" fmla="*/ 0 h 6"/>
                  <a:gd name="T2" fmla="*/ 1 w 1"/>
                  <a:gd name="T3" fmla="*/ 1 h 6"/>
                  <a:gd name="T4" fmla="*/ 1 w 1"/>
                  <a:gd name="T5" fmla="*/ 6 h 6"/>
                  <a:gd name="T6" fmla="*/ 0 w 1"/>
                  <a:gd name="T7" fmla="*/ 6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lnTo>
                      <a:pt x="1" y="1"/>
                    </a:lnTo>
                    <a:lnTo>
                      <a:pt x="1" y="6"/>
                    </a:lnTo>
                    <a:lnTo>
                      <a:pt x="0" y="6"/>
                    </a:lnTo>
                    <a:lnTo>
                      <a:pt x="0" y="0"/>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29" name="Freeform 379">
                <a:extLst>
                  <a:ext uri="{FF2B5EF4-FFF2-40B4-BE49-F238E27FC236}">
                    <a16:creationId xmlns:a16="http://schemas.microsoft.com/office/drawing/2014/main" id="{5BB2BECF-B6C8-479E-981E-BD22F41C2D2A}"/>
                  </a:ext>
                </a:extLst>
              </p:cNvPr>
              <p:cNvSpPr>
                <a:spLocks/>
              </p:cNvSpPr>
              <p:nvPr/>
            </p:nvSpPr>
            <p:spPr bwMode="gray">
              <a:xfrm>
                <a:off x="2081940" y="2025823"/>
                <a:ext cx="1150" cy="1726"/>
              </a:xfrm>
              <a:custGeom>
                <a:avLst/>
                <a:gdLst>
                  <a:gd name="T0" fmla="*/ 2 w 2"/>
                  <a:gd name="T1" fmla="*/ 1 h 3"/>
                  <a:gd name="T2" fmla="*/ 1 w 2"/>
                  <a:gd name="T3" fmla="*/ 2 h 3"/>
                  <a:gd name="T4" fmla="*/ 1 w 2"/>
                  <a:gd name="T5" fmla="*/ 3 h 3"/>
                  <a:gd name="T6" fmla="*/ 0 w 2"/>
                  <a:gd name="T7" fmla="*/ 0 h 3"/>
                  <a:gd name="T8" fmla="*/ 2 w 2"/>
                  <a:gd name="T9" fmla="*/ 1 h 3"/>
                </a:gdLst>
                <a:ahLst/>
                <a:cxnLst>
                  <a:cxn ang="0">
                    <a:pos x="T0" y="T1"/>
                  </a:cxn>
                  <a:cxn ang="0">
                    <a:pos x="T2" y="T3"/>
                  </a:cxn>
                  <a:cxn ang="0">
                    <a:pos x="T4" y="T5"/>
                  </a:cxn>
                  <a:cxn ang="0">
                    <a:pos x="T6" y="T7"/>
                  </a:cxn>
                  <a:cxn ang="0">
                    <a:pos x="T8" y="T9"/>
                  </a:cxn>
                </a:cxnLst>
                <a:rect l="0" t="0" r="r" b="b"/>
                <a:pathLst>
                  <a:path w="2" h="3">
                    <a:moveTo>
                      <a:pt x="2" y="1"/>
                    </a:moveTo>
                    <a:lnTo>
                      <a:pt x="1" y="2"/>
                    </a:lnTo>
                    <a:lnTo>
                      <a:pt x="1" y="3"/>
                    </a:lnTo>
                    <a:lnTo>
                      <a:pt x="0" y="0"/>
                    </a:lnTo>
                    <a:lnTo>
                      <a:pt x="2" y="1"/>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30" name="Freeform 380">
                <a:extLst>
                  <a:ext uri="{FF2B5EF4-FFF2-40B4-BE49-F238E27FC236}">
                    <a16:creationId xmlns:a16="http://schemas.microsoft.com/office/drawing/2014/main" id="{B6C6CDA6-F8A1-4695-B742-A03BF24F2E0D}"/>
                  </a:ext>
                </a:extLst>
              </p:cNvPr>
              <p:cNvSpPr>
                <a:spLocks/>
              </p:cNvSpPr>
              <p:nvPr/>
            </p:nvSpPr>
            <p:spPr bwMode="gray">
              <a:xfrm>
                <a:off x="2077914" y="2025823"/>
                <a:ext cx="4602" cy="4027"/>
              </a:xfrm>
              <a:custGeom>
                <a:avLst/>
                <a:gdLst>
                  <a:gd name="T0" fmla="*/ 1 w 8"/>
                  <a:gd name="T1" fmla="*/ 7 h 7"/>
                  <a:gd name="T2" fmla="*/ 0 w 8"/>
                  <a:gd name="T3" fmla="*/ 5 h 7"/>
                  <a:gd name="T4" fmla="*/ 7 w 8"/>
                  <a:gd name="T5" fmla="*/ 0 h 7"/>
                  <a:gd name="T6" fmla="*/ 8 w 8"/>
                  <a:gd name="T7" fmla="*/ 3 h 7"/>
                  <a:gd name="T8" fmla="*/ 1 w 8"/>
                  <a:gd name="T9" fmla="*/ 7 h 7"/>
                </a:gdLst>
                <a:ahLst/>
                <a:cxnLst>
                  <a:cxn ang="0">
                    <a:pos x="T0" y="T1"/>
                  </a:cxn>
                  <a:cxn ang="0">
                    <a:pos x="T2" y="T3"/>
                  </a:cxn>
                  <a:cxn ang="0">
                    <a:pos x="T4" y="T5"/>
                  </a:cxn>
                  <a:cxn ang="0">
                    <a:pos x="T6" y="T7"/>
                  </a:cxn>
                  <a:cxn ang="0">
                    <a:pos x="T8" y="T9"/>
                  </a:cxn>
                </a:cxnLst>
                <a:rect l="0" t="0" r="r" b="b"/>
                <a:pathLst>
                  <a:path w="8" h="7">
                    <a:moveTo>
                      <a:pt x="1" y="7"/>
                    </a:moveTo>
                    <a:lnTo>
                      <a:pt x="0" y="5"/>
                    </a:lnTo>
                    <a:lnTo>
                      <a:pt x="7" y="0"/>
                    </a:lnTo>
                    <a:lnTo>
                      <a:pt x="8" y="3"/>
                    </a:lnTo>
                    <a:lnTo>
                      <a:pt x="1" y="7"/>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31" name="Freeform 381">
                <a:extLst>
                  <a:ext uri="{FF2B5EF4-FFF2-40B4-BE49-F238E27FC236}">
                    <a16:creationId xmlns:a16="http://schemas.microsoft.com/office/drawing/2014/main" id="{931606CF-1773-4648-8F0B-1C631B75E8B2}"/>
                  </a:ext>
                </a:extLst>
              </p:cNvPr>
              <p:cNvSpPr>
                <a:spLocks/>
              </p:cNvSpPr>
              <p:nvPr/>
            </p:nvSpPr>
            <p:spPr bwMode="gray">
              <a:xfrm>
                <a:off x="2083666" y="2024097"/>
                <a:ext cx="18406" cy="12654"/>
              </a:xfrm>
              <a:custGeom>
                <a:avLst/>
                <a:gdLst>
                  <a:gd name="T0" fmla="*/ 0 w 32"/>
                  <a:gd name="T1" fmla="*/ 14 h 22"/>
                  <a:gd name="T2" fmla="*/ 12 w 32"/>
                  <a:gd name="T3" fmla="*/ 6 h 22"/>
                  <a:gd name="T4" fmla="*/ 15 w 32"/>
                  <a:gd name="T5" fmla="*/ 8 h 22"/>
                  <a:gd name="T6" fmla="*/ 26 w 32"/>
                  <a:gd name="T7" fmla="*/ 0 h 22"/>
                  <a:gd name="T8" fmla="*/ 32 w 32"/>
                  <a:gd name="T9" fmla="*/ 4 h 22"/>
                  <a:gd name="T10" fmla="*/ 32 w 32"/>
                  <a:gd name="T11" fmla="*/ 10 h 22"/>
                  <a:gd name="T12" fmla="*/ 20 w 32"/>
                  <a:gd name="T13" fmla="*/ 17 h 22"/>
                  <a:gd name="T14" fmla="*/ 17 w 32"/>
                  <a:gd name="T15" fmla="*/ 16 h 22"/>
                  <a:gd name="T16" fmla="*/ 6 w 32"/>
                  <a:gd name="T17" fmla="*/ 22 h 22"/>
                  <a:gd name="T18" fmla="*/ 0 w 32"/>
                  <a:gd name="T19" fmla="*/ 18 h 22"/>
                  <a:gd name="T20" fmla="*/ 0 w 32"/>
                  <a:gd name="T2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2">
                    <a:moveTo>
                      <a:pt x="0" y="14"/>
                    </a:moveTo>
                    <a:lnTo>
                      <a:pt x="12" y="6"/>
                    </a:lnTo>
                    <a:lnTo>
                      <a:pt x="15" y="8"/>
                    </a:lnTo>
                    <a:lnTo>
                      <a:pt x="26" y="0"/>
                    </a:lnTo>
                    <a:lnTo>
                      <a:pt x="32" y="4"/>
                    </a:lnTo>
                    <a:lnTo>
                      <a:pt x="32" y="10"/>
                    </a:lnTo>
                    <a:lnTo>
                      <a:pt x="20" y="17"/>
                    </a:lnTo>
                    <a:lnTo>
                      <a:pt x="17" y="16"/>
                    </a:lnTo>
                    <a:lnTo>
                      <a:pt x="6" y="22"/>
                    </a:lnTo>
                    <a:lnTo>
                      <a:pt x="0" y="18"/>
                    </a:lnTo>
                    <a:lnTo>
                      <a:pt x="0" y="14"/>
                    </a:lnTo>
                    <a:close/>
                  </a:path>
                </a:pathLst>
              </a:custGeom>
              <a:solidFill>
                <a:srgbClr val="EAEAE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32" name="Freeform 382">
                <a:extLst>
                  <a:ext uri="{FF2B5EF4-FFF2-40B4-BE49-F238E27FC236}">
                    <a16:creationId xmlns:a16="http://schemas.microsoft.com/office/drawing/2014/main" id="{38C37CDD-044A-41BD-896D-BFD559368709}"/>
                  </a:ext>
                </a:extLst>
              </p:cNvPr>
              <p:cNvSpPr>
                <a:spLocks/>
              </p:cNvSpPr>
              <p:nvPr/>
            </p:nvSpPr>
            <p:spPr bwMode="gray">
              <a:xfrm>
                <a:off x="2086541" y="2030424"/>
                <a:ext cx="7478" cy="6327"/>
              </a:xfrm>
              <a:custGeom>
                <a:avLst/>
                <a:gdLst>
                  <a:gd name="T0" fmla="*/ 1 w 13"/>
                  <a:gd name="T1" fmla="*/ 7 h 11"/>
                  <a:gd name="T2" fmla="*/ 0 w 13"/>
                  <a:gd name="T3" fmla="*/ 5 h 11"/>
                  <a:gd name="T4" fmla="*/ 7 w 13"/>
                  <a:gd name="T5" fmla="*/ 1 h 11"/>
                  <a:gd name="T6" fmla="*/ 9 w 13"/>
                  <a:gd name="T7" fmla="*/ 4 h 11"/>
                  <a:gd name="T8" fmla="*/ 10 w 13"/>
                  <a:gd name="T9" fmla="*/ 4 h 11"/>
                  <a:gd name="T10" fmla="*/ 10 w 13"/>
                  <a:gd name="T11" fmla="*/ 3 h 11"/>
                  <a:gd name="T12" fmla="*/ 10 w 13"/>
                  <a:gd name="T13" fmla="*/ 1 h 11"/>
                  <a:gd name="T14" fmla="*/ 13 w 13"/>
                  <a:gd name="T15" fmla="*/ 0 h 11"/>
                  <a:gd name="T16" fmla="*/ 13 w 13"/>
                  <a:gd name="T17" fmla="*/ 5 h 11"/>
                  <a:gd name="T18" fmla="*/ 12 w 13"/>
                  <a:gd name="T19" fmla="*/ 5 h 11"/>
                  <a:gd name="T20" fmla="*/ 1 w 13"/>
                  <a:gd name="T21" fmla="*/ 11 h 11"/>
                  <a:gd name="T22" fmla="*/ 1 w 13"/>
                  <a:gd name="T23"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1">
                    <a:moveTo>
                      <a:pt x="1" y="7"/>
                    </a:moveTo>
                    <a:lnTo>
                      <a:pt x="0" y="5"/>
                    </a:lnTo>
                    <a:lnTo>
                      <a:pt x="7" y="1"/>
                    </a:lnTo>
                    <a:lnTo>
                      <a:pt x="9" y="4"/>
                    </a:lnTo>
                    <a:lnTo>
                      <a:pt x="10" y="4"/>
                    </a:lnTo>
                    <a:lnTo>
                      <a:pt x="10" y="3"/>
                    </a:lnTo>
                    <a:lnTo>
                      <a:pt x="10" y="1"/>
                    </a:lnTo>
                    <a:lnTo>
                      <a:pt x="13" y="0"/>
                    </a:lnTo>
                    <a:lnTo>
                      <a:pt x="13" y="5"/>
                    </a:lnTo>
                    <a:lnTo>
                      <a:pt x="12" y="5"/>
                    </a:lnTo>
                    <a:lnTo>
                      <a:pt x="1" y="11"/>
                    </a:lnTo>
                    <a:lnTo>
                      <a:pt x="1" y="7"/>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33" name="Freeform 383">
                <a:extLst>
                  <a:ext uri="{FF2B5EF4-FFF2-40B4-BE49-F238E27FC236}">
                    <a16:creationId xmlns:a16="http://schemas.microsoft.com/office/drawing/2014/main" id="{5DE7559C-9D76-492A-84F2-40086AE4DBBB}"/>
                  </a:ext>
                </a:extLst>
              </p:cNvPr>
              <p:cNvSpPr>
                <a:spLocks/>
              </p:cNvSpPr>
              <p:nvPr/>
            </p:nvSpPr>
            <p:spPr bwMode="gray">
              <a:xfrm>
                <a:off x="2083666" y="2032150"/>
                <a:ext cx="3451" cy="4602"/>
              </a:xfrm>
              <a:custGeom>
                <a:avLst/>
                <a:gdLst>
                  <a:gd name="T0" fmla="*/ 5 w 6"/>
                  <a:gd name="T1" fmla="*/ 2 h 8"/>
                  <a:gd name="T2" fmla="*/ 6 w 6"/>
                  <a:gd name="T3" fmla="*/ 4 h 8"/>
                  <a:gd name="T4" fmla="*/ 6 w 6"/>
                  <a:gd name="T5" fmla="*/ 8 h 8"/>
                  <a:gd name="T6" fmla="*/ 0 w 6"/>
                  <a:gd name="T7" fmla="*/ 4 h 8"/>
                  <a:gd name="T8" fmla="*/ 0 w 6"/>
                  <a:gd name="T9" fmla="*/ 0 h 8"/>
                  <a:gd name="T10" fmla="*/ 5 w 6"/>
                  <a:gd name="T11" fmla="*/ 2 h 8"/>
                </a:gdLst>
                <a:ahLst/>
                <a:cxnLst>
                  <a:cxn ang="0">
                    <a:pos x="T0" y="T1"/>
                  </a:cxn>
                  <a:cxn ang="0">
                    <a:pos x="T2" y="T3"/>
                  </a:cxn>
                  <a:cxn ang="0">
                    <a:pos x="T4" y="T5"/>
                  </a:cxn>
                  <a:cxn ang="0">
                    <a:pos x="T6" y="T7"/>
                  </a:cxn>
                  <a:cxn ang="0">
                    <a:pos x="T8" y="T9"/>
                  </a:cxn>
                  <a:cxn ang="0">
                    <a:pos x="T10" y="T11"/>
                  </a:cxn>
                </a:cxnLst>
                <a:rect l="0" t="0" r="r" b="b"/>
                <a:pathLst>
                  <a:path w="6" h="8">
                    <a:moveTo>
                      <a:pt x="5" y="2"/>
                    </a:moveTo>
                    <a:lnTo>
                      <a:pt x="6" y="4"/>
                    </a:lnTo>
                    <a:lnTo>
                      <a:pt x="6" y="8"/>
                    </a:lnTo>
                    <a:lnTo>
                      <a:pt x="0" y="4"/>
                    </a:lnTo>
                    <a:lnTo>
                      <a:pt x="0" y="0"/>
                    </a:lnTo>
                    <a:lnTo>
                      <a:pt x="5" y="2"/>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34" name="Freeform 384">
                <a:extLst>
                  <a:ext uri="{FF2B5EF4-FFF2-40B4-BE49-F238E27FC236}">
                    <a16:creationId xmlns:a16="http://schemas.microsoft.com/office/drawing/2014/main" id="{813B8AFA-9F33-4091-9CE6-F718EC22FC53}"/>
                  </a:ext>
                </a:extLst>
              </p:cNvPr>
              <p:cNvSpPr>
                <a:spLocks/>
              </p:cNvSpPr>
              <p:nvPr/>
            </p:nvSpPr>
            <p:spPr bwMode="gray">
              <a:xfrm>
                <a:off x="2095169" y="2026398"/>
                <a:ext cx="6902" cy="7478"/>
              </a:xfrm>
              <a:custGeom>
                <a:avLst/>
                <a:gdLst>
                  <a:gd name="T0" fmla="*/ 12 w 12"/>
                  <a:gd name="T1" fmla="*/ 0 h 13"/>
                  <a:gd name="T2" fmla="*/ 12 w 12"/>
                  <a:gd name="T3" fmla="*/ 6 h 13"/>
                  <a:gd name="T4" fmla="*/ 0 w 12"/>
                  <a:gd name="T5" fmla="*/ 13 h 13"/>
                  <a:gd name="T6" fmla="*/ 0 w 12"/>
                  <a:gd name="T7" fmla="*/ 7 h 13"/>
                  <a:gd name="T8" fmla="*/ 12 w 12"/>
                  <a:gd name="T9" fmla="*/ 0 h 13"/>
                </a:gdLst>
                <a:ahLst/>
                <a:cxnLst>
                  <a:cxn ang="0">
                    <a:pos x="T0" y="T1"/>
                  </a:cxn>
                  <a:cxn ang="0">
                    <a:pos x="T2" y="T3"/>
                  </a:cxn>
                  <a:cxn ang="0">
                    <a:pos x="T4" y="T5"/>
                  </a:cxn>
                  <a:cxn ang="0">
                    <a:pos x="T6" y="T7"/>
                  </a:cxn>
                  <a:cxn ang="0">
                    <a:pos x="T8" y="T9"/>
                  </a:cxn>
                </a:cxnLst>
                <a:rect l="0" t="0" r="r" b="b"/>
                <a:pathLst>
                  <a:path w="12" h="13">
                    <a:moveTo>
                      <a:pt x="12" y="0"/>
                    </a:moveTo>
                    <a:lnTo>
                      <a:pt x="12" y="6"/>
                    </a:lnTo>
                    <a:lnTo>
                      <a:pt x="0" y="13"/>
                    </a:lnTo>
                    <a:lnTo>
                      <a:pt x="0" y="7"/>
                    </a:lnTo>
                    <a:lnTo>
                      <a:pt x="12" y="0"/>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35" name="Freeform 385">
                <a:extLst>
                  <a:ext uri="{FF2B5EF4-FFF2-40B4-BE49-F238E27FC236}">
                    <a16:creationId xmlns:a16="http://schemas.microsoft.com/office/drawing/2014/main" id="{D4422D76-EE12-48CC-8FD8-B930B2179A2A}"/>
                  </a:ext>
                </a:extLst>
              </p:cNvPr>
              <p:cNvSpPr>
                <a:spLocks/>
              </p:cNvSpPr>
              <p:nvPr/>
            </p:nvSpPr>
            <p:spPr bwMode="gray">
              <a:xfrm>
                <a:off x="2094019" y="2030424"/>
                <a:ext cx="1150" cy="3451"/>
              </a:xfrm>
              <a:custGeom>
                <a:avLst/>
                <a:gdLst>
                  <a:gd name="T0" fmla="*/ 0 w 2"/>
                  <a:gd name="T1" fmla="*/ 0 h 6"/>
                  <a:gd name="T2" fmla="*/ 2 w 2"/>
                  <a:gd name="T3" fmla="*/ 0 h 6"/>
                  <a:gd name="T4" fmla="*/ 2 w 2"/>
                  <a:gd name="T5" fmla="*/ 6 h 6"/>
                  <a:gd name="T6" fmla="*/ 0 w 2"/>
                  <a:gd name="T7" fmla="*/ 5 h 6"/>
                  <a:gd name="T8" fmla="*/ 0 w 2"/>
                  <a:gd name="T9" fmla="*/ 0 h 6"/>
                </a:gdLst>
                <a:ahLst/>
                <a:cxnLst>
                  <a:cxn ang="0">
                    <a:pos x="T0" y="T1"/>
                  </a:cxn>
                  <a:cxn ang="0">
                    <a:pos x="T2" y="T3"/>
                  </a:cxn>
                  <a:cxn ang="0">
                    <a:pos x="T4" y="T5"/>
                  </a:cxn>
                  <a:cxn ang="0">
                    <a:pos x="T6" y="T7"/>
                  </a:cxn>
                  <a:cxn ang="0">
                    <a:pos x="T8" y="T9"/>
                  </a:cxn>
                </a:cxnLst>
                <a:rect l="0" t="0" r="r" b="b"/>
                <a:pathLst>
                  <a:path w="2" h="6">
                    <a:moveTo>
                      <a:pt x="0" y="0"/>
                    </a:moveTo>
                    <a:lnTo>
                      <a:pt x="2" y="0"/>
                    </a:lnTo>
                    <a:lnTo>
                      <a:pt x="2" y="6"/>
                    </a:lnTo>
                    <a:lnTo>
                      <a:pt x="0" y="5"/>
                    </a:lnTo>
                    <a:lnTo>
                      <a:pt x="0" y="0"/>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36" name="Freeform 386">
                <a:extLst>
                  <a:ext uri="{FF2B5EF4-FFF2-40B4-BE49-F238E27FC236}">
                    <a16:creationId xmlns:a16="http://schemas.microsoft.com/office/drawing/2014/main" id="{94031B95-7EA9-4D5D-AD6C-1897B27C8782}"/>
                  </a:ext>
                </a:extLst>
              </p:cNvPr>
              <p:cNvSpPr>
                <a:spLocks/>
              </p:cNvSpPr>
              <p:nvPr/>
            </p:nvSpPr>
            <p:spPr bwMode="gray">
              <a:xfrm>
                <a:off x="2090568" y="2031000"/>
                <a:ext cx="1726" cy="1726"/>
              </a:xfrm>
              <a:custGeom>
                <a:avLst/>
                <a:gdLst>
                  <a:gd name="T0" fmla="*/ 3 w 3"/>
                  <a:gd name="T1" fmla="*/ 0 h 3"/>
                  <a:gd name="T2" fmla="*/ 3 w 3"/>
                  <a:gd name="T3" fmla="*/ 2 h 3"/>
                  <a:gd name="T4" fmla="*/ 3 w 3"/>
                  <a:gd name="T5" fmla="*/ 3 h 3"/>
                  <a:gd name="T6" fmla="*/ 2 w 3"/>
                  <a:gd name="T7" fmla="*/ 3 h 3"/>
                  <a:gd name="T8" fmla="*/ 0 w 3"/>
                  <a:gd name="T9" fmla="*/ 0 h 3"/>
                  <a:gd name="T10" fmla="*/ 3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3" y="0"/>
                    </a:moveTo>
                    <a:lnTo>
                      <a:pt x="3" y="2"/>
                    </a:lnTo>
                    <a:lnTo>
                      <a:pt x="3" y="3"/>
                    </a:lnTo>
                    <a:lnTo>
                      <a:pt x="2" y="3"/>
                    </a:lnTo>
                    <a:lnTo>
                      <a:pt x="0" y="0"/>
                    </a:lnTo>
                    <a:lnTo>
                      <a:pt x="3" y="0"/>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37" name="Freeform 387">
                <a:extLst>
                  <a:ext uri="{FF2B5EF4-FFF2-40B4-BE49-F238E27FC236}">
                    <a16:creationId xmlns:a16="http://schemas.microsoft.com/office/drawing/2014/main" id="{31020A84-27B4-4C7A-BA57-99BBEB1DE0C3}"/>
                  </a:ext>
                </a:extLst>
              </p:cNvPr>
              <p:cNvSpPr>
                <a:spLocks/>
              </p:cNvSpPr>
              <p:nvPr/>
            </p:nvSpPr>
            <p:spPr bwMode="gray">
              <a:xfrm>
                <a:off x="2086541" y="2031000"/>
                <a:ext cx="5177" cy="3451"/>
              </a:xfrm>
              <a:custGeom>
                <a:avLst/>
                <a:gdLst>
                  <a:gd name="T0" fmla="*/ 1 w 9"/>
                  <a:gd name="T1" fmla="*/ 6 h 6"/>
                  <a:gd name="T2" fmla="*/ 0 w 9"/>
                  <a:gd name="T3" fmla="*/ 4 h 6"/>
                  <a:gd name="T4" fmla="*/ 7 w 9"/>
                  <a:gd name="T5" fmla="*/ 0 h 6"/>
                  <a:gd name="T6" fmla="*/ 9 w 9"/>
                  <a:gd name="T7" fmla="*/ 3 h 6"/>
                  <a:gd name="T8" fmla="*/ 1 w 9"/>
                  <a:gd name="T9" fmla="*/ 6 h 6"/>
                </a:gdLst>
                <a:ahLst/>
                <a:cxnLst>
                  <a:cxn ang="0">
                    <a:pos x="T0" y="T1"/>
                  </a:cxn>
                  <a:cxn ang="0">
                    <a:pos x="T2" y="T3"/>
                  </a:cxn>
                  <a:cxn ang="0">
                    <a:pos x="T4" y="T5"/>
                  </a:cxn>
                  <a:cxn ang="0">
                    <a:pos x="T6" y="T7"/>
                  </a:cxn>
                  <a:cxn ang="0">
                    <a:pos x="T8" y="T9"/>
                  </a:cxn>
                </a:cxnLst>
                <a:rect l="0" t="0" r="r" b="b"/>
                <a:pathLst>
                  <a:path w="9" h="6">
                    <a:moveTo>
                      <a:pt x="1" y="6"/>
                    </a:moveTo>
                    <a:lnTo>
                      <a:pt x="0" y="4"/>
                    </a:lnTo>
                    <a:lnTo>
                      <a:pt x="7" y="0"/>
                    </a:lnTo>
                    <a:lnTo>
                      <a:pt x="9" y="3"/>
                    </a:lnTo>
                    <a:lnTo>
                      <a:pt x="1" y="6"/>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38" name="Freeform 388">
                <a:extLst>
                  <a:ext uri="{FF2B5EF4-FFF2-40B4-BE49-F238E27FC236}">
                    <a16:creationId xmlns:a16="http://schemas.microsoft.com/office/drawing/2014/main" id="{BA7EDC80-ED54-4EC2-BE8E-CD3E16759538}"/>
                  </a:ext>
                </a:extLst>
              </p:cNvPr>
              <p:cNvSpPr>
                <a:spLocks/>
              </p:cNvSpPr>
              <p:nvPr/>
            </p:nvSpPr>
            <p:spPr bwMode="gray">
              <a:xfrm>
                <a:off x="2092293" y="2029849"/>
                <a:ext cx="17831" cy="11504"/>
              </a:xfrm>
              <a:custGeom>
                <a:avLst/>
                <a:gdLst>
                  <a:gd name="T0" fmla="*/ 0 w 31"/>
                  <a:gd name="T1" fmla="*/ 12 h 20"/>
                  <a:gd name="T2" fmla="*/ 12 w 31"/>
                  <a:gd name="T3" fmla="*/ 5 h 20"/>
                  <a:gd name="T4" fmla="*/ 14 w 31"/>
                  <a:gd name="T5" fmla="*/ 6 h 20"/>
                  <a:gd name="T6" fmla="*/ 25 w 31"/>
                  <a:gd name="T7" fmla="*/ 0 h 20"/>
                  <a:gd name="T8" fmla="*/ 31 w 31"/>
                  <a:gd name="T9" fmla="*/ 4 h 20"/>
                  <a:gd name="T10" fmla="*/ 31 w 31"/>
                  <a:gd name="T11" fmla="*/ 8 h 20"/>
                  <a:gd name="T12" fmla="*/ 19 w 31"/>
                  <a:gd name="T13" fmla="*/ 16 h 20"/>
                  <a:gd name="T14" fmla="*/ 18 w 31"/>
                  <a:gd name="T15" fmla="*/ 14 h 20"/>
                  <a:gd name="T16" fmla="*/ 7 w 31"/>
                  <a:gd name="T17" fmla="*/ 20 h 20"/>
                  <a:gd name="T18" fmla="*/ 0 w 31"/>
                  <a:gd name="T19" fmla="*/ 17 h 20"/>
                  <a:gd name="T20" fmla="*/ 0 w 31"/>
                  <a:gd name="T21"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0">
                    <a:moveTo>
                      <a:pt x="0" y="12"/>
                    </a:moveTo>
                    <a:lnTo>
                      <a:pt x="12" y="5"/>
                    </a:lnTo>
                    <a:lnTo>
                      <a:pt x="14" y="6"/>
                    </a:lnTo>
                    <a:lnTo>
                      <a:pt x="25" y="0"/>
                    </a:lnTo>
                    <a:lnTo>
                      <a:pt x="31" y="4"/>
                    </a:lnTo>
                    <a:lnTo>
                      <a:pt x="31" y="8"/>
                    </a:lnTo>
                    <a:lnTo>
                      <a:pt x="19" y="16"/>
                    </a:lnTo>
                    <a:lnTo>
                      <a:pt x="18" y="14"/>
                    </a:lnTo>
                    <a:lnTo>
                      <a:pt x="7" y="20"/>
                    </a:lnTo>
                    <a:lnTo>
                      <a:pt x="0" y="17"/>
                    </a:lnTo>
                    <a:lnTo>
                      <a:pt x="0" y="12"/>
                    </a:lnTo>
                    <a:close/>
                  </a:path>
                </a:pathLst>
              </a:custGeom>
              <a:solidFill>
                <a:srgbClr val="EAEAE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39" name="Freeform 389">
                <a:extLst>
                  <a:ext uri="{FF2B5EF4-FFF2-40B4-BE49-F238E27FC236}">
                    <a16:creationId xmlns:a16="http://schemas.microsoft.com/office/drawing/2014/main" id="{8E982C2C-BFAF-4DA1-A10C-20DF41405D7C}"/>
                  </a:ext>
                </a:extLst>
              </p:cNvPr>
              <p:cNvSpPr>
                <a:spLocks/>
              </p:cNvSpPr>
              <p:nvPr/>
            </p:nvSpPr>
            <p:spPr bwMode="gray">
              <a:xfrm>
                <a:off x="2095169" y="2035601"/>
                <a:ext cx="7478" cy="5752"/>
              </a:xfrm>
              <a:custGeom>
                <a:avLst/>
                <a:gdLst>
                  <a:gd name="T0" fmla="*/ 2 w 13"/>
                  <a:gd name="T1" fmla="*/ 8 h 10"/>
                  <a:gd name="T2" fmla="*/ 0 w 13"/>
                  <a:gd name="T3" fmla="*/ 4 h 10"/>
                  <a:gd name="T4" fmla="*/ 7 w 13"/>
                  <a:gd name="T5" fmla="*/ 1 h 10"/>
                  <a:gd name="T6" fmla="*/ 9 w 13"/>
                  <a:gd name="T7" fmla="*/ 3 h 10"/>
                  <a:gd name="T8" fmla="*/ 9 w 13"/>
                  <a:gd name="T9" fmla="*/ 3 h 10"/>
                  <a:gd name="T10" fmla="*/ 9 w 13"/>
                  <a:gd name="T11" fmla="*/ 1 h 10"/>
                  <a:gd name="T12" fmla="*/ 13 w 13"/>
                  <a:gd name="T13" fmla="*/ 0 h 10"/>
                  <a:gd name="T14" fmla="*/ 13 w 13"/>
                  <a:gd name="T15" fmla="*/ 4 h 10"/>
                  <a:gd name="T16" fmla="*/ 13 w 13"/>
                  <a:gd name="T17" fmla="*/ 4 h 10"/>
                  <a:gd name="T18" fmla="*/ 2 w 13"/>
                  <a:gd name="T19" fmla="*/ 10 h 10"/>
                  <a:gd name="T20" fmla="*/ 2 w 13"/>
                  <a:gd name="T21"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0">
                    <a:moveTo>
                      <a:pt x="2" y="8"/>
                    </a:moveTo>
                    <a:lnTo>
                      <a:pt x="0" y="4"/>
                    </a:lnTo>
                    <a:lnTo>
                      <a:pt x="7" y="1"/>
                    </a:lnTo>
                    <a:lnTo>
                      <a:pt x="9" y="3"/>
                    </a:lnTo>
                    <a:lnTo>
                      <a:pt x="9" y="3"/>
                    </a:lnTo>
                    <a:lnTo>
                      <a:pt x="9" y="1"/>
                    </a:lnTo>
                    <a:lnTo>
                      <a:pt x="13" y="0"/>
                    </a:lnTo>
                    <a:lnTo>
                      <a:pt x="13" y="4"/>
                    </a:lnTo>
                    <a:lnTo>
                      <a:pt x="13" y="4"/>
                    </a:lnTo>
                    <a:lnTo>
                      <a:pt x="2" y="10"/>
                    </a:lnTo>
                    <a:lnTo>
                      <a:pt x="2" y="8"/>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40" name="Freeform 390">
                <a:extLst>
                  <a:ext uri="{FF2B5EF4-FFF2-40B4-BE49-F238E27FC236}">
                    <a16:creationId xmlns:a16="http://schemas.microsoft.com/office/drawing/2014/main" id="{9D6E4435-52AC-48AF-BB30-E56F82A55E35}"/>
                  </a:ext>
                </a:extLst>
              </p:cNvPr>
              <p:cNvSpPr>
                <a:spLocks/>
              </p:cNvSpPr>
              <p:nvPr/>
            </p:nvSpPr>
            <p:spPr bwMode="gray">
              <a:xfrm>
                <a:off x="2092293" y="2036752"/>
                <a:ext cx="4027" cy="4602"/>
              </a:xfrm>
              <a:custGeom>
                <a:avLst/>
                <a:gdLst>
                  <a:gd name="T0" fmla="*/ 5 w 7"/>
                  <a:gd name="T1" fmla="*/ 2 h 8"/>
                  <a:gd name="T2" fmla="*/ 7 w 7"/>
                  <a:gd name="T3" fmla="*/ 6 h 8"/>
                  <a:gd name="T4" fmla="*/ 7 w 7"/>
                  <a:gd name="T5" fmla="*/ 8 h 8"/>
                  <a:gd name="T6" fmla="*/ 0 w 7"/>
                  <a:gd name="T7" fmla="*/ 5 h 8"/>
                  <a:gd name="T8" fmla="*/ 0 w 7"/>
                  <a:gd name="T9" fmla="*/ 0 h 8"/>
                  <a:gd name="T10" fmla="*/ 5 w 7"/>
                  <a:gd name="T11" fmla="*/ 2 h 8"/>
                </a:gdLst>
                <a:ahLst/>
                <a:cxnLst>
                  <a:cxn ang="0">
                    <a:pos x="T0" y="T1"/>
                  </a:cxn>
                  <a:cxn ang="0">
                    <a:pos x="T2" y="T3"/>
                  </a:cxn>
                  <a:cxn ang="0">
                    <a:pos x="T4" y="T5"/>
                  </a:cxn>
                  <a:cxn ang="0">
                    <a:pos x="T6" y="T7"/>
                  </a:cxn>
                  <a:cxn ang="0">
                    <a:pos x="T8" y="T9"/>
                  </a:cxn>
                  <a:cxn ang="0">
                    <a:pos x="T10" y="T11"/>
                  </a:cxn>
                </a:cxnLst>
                <a:rect l="0" t="0" r="r" b="b"/>
                <a:pathLst>
                  <a:path w="7" h="8">
                    <a:moveTo>
                      <a:pt x="5" y="2"/>
                    </a:moveTo>
                    <a:lnTo>
                      <a:pt x="7" y="6"/>
                    </a:lnTo>
                    <a:lnTo>
                      <a:pt x="7" y="8"/>
                    </a:lnTo>
                    <a:lnTo>
                      <a:pt x="0" y="5"/>
                    </a:lnTo>
                    <a:lnTo>
                      <a:pt x="0" y="0"/>
                    </a:lnTo>
                    <a:lnTo>
                      <a:pt x="5" y="2"/>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41" name="Freeform 391">
                <a:extLst>
                  <a:ext uri="{FF2B5EF4-FFF2-40B4-BE49-F238E27FC236}">
                    <a16:creationId xmlns:a16="http://schemas.microsoft.com/office/drawing/2014/main" id="{9A26488C-F1D8-414A-95F2-B174351D96C3}"/>
                  </a:ext>
                </a:extLst>
              </p:cNvPr>
              <p:cNvSpPr>
                <a:spLocks/>
              </p:cNvSpPr>
              <p:nvPr/>
            </p:nvSpPr>
            <p:spPr bwMode="gray">
              <a:xfrm>
                <a:off x="2103222" y="2032150"/>
                <a:ext cx="6902" cy="6902"/>
              </a:xfrm>
              <a:custGeom>
                <a:avLst/>
                <a:gdLst>
                  <a:gd name="T0" fmla="*/ 12 w 12"/>
                  <a:gd name="T1" fmla="*/ 0 h 12"/>
                  <a:gd name="T2" fmla="*/ 12 w 12"/>
                  <a:gd name="T3" fmla="*/ 4 h 12"/>
                  <a:gd name="T4" fmla="*/ 0 w 12"/>
                  <a:gd name="T5" fmla="*/ 12 h 12"/>
                  <a:gd name="T6" fmla="*/ 0 w 12"/>
                  <a:gd name="T7" fmla="*/ 6 h 12"/>
                  <a:gd name="T8" fmla="*/ 12 w 12"/>
                  <a:gd name="T9" fmla="*/ 0 h 12"/>
                </a:gdLst>
                <a:ahLst/>
                <a:cxnLst>
                  <a:cxn ang="0">
                    <a:pos x="T0" y="T1"/>
                  </a:cxn>
                  <a:cxn ang="0">
                    <a:pos x="T2" y="T3"/>
                  </a:cxn>
                  <a:cxn ang="0">
                    <a:pos x="T4" y="T5"/>
                  </a:cxn>
                  <a:cxn ang="0">
                    <a:pos x="T6" y="T7"/>
                  </a:cxn>
                  <a:cxn ang="0">
                    <a:pos x="T8" y="T9"/>
                  </a:cxn>
                </a:cxnLst>
                <a:rect l="0" t="0" r="r" b="b"/>
                <a:pathLst>
                  <a:path w="12" h="12">
                    <a:moveTo>
                      <a:pt x="12" y="0"/>
                    </a:moveTo>
                    <a:lnTo>
                      <a:pt x="12" y="4"/>
                    </a:lnTo>
                    <a:lnTo>
                      <a:pt x="0" y="12"/>
                    </a:lnTo>
                    <a:lnTo>
                      <a:pt x="0" y="6"/>
                    </a:lnTo>
                    <a:lnTo>
                      <a:pt x="12" y="0"/>
                    </a:lnTo>
                    <a:close/>
                  </a:path>
                </a:pathLst>
              </a:custGeom>
              <a:solidFill>
                <a:srgbClr val="CCCCCC"/>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42" name="Freeform 392">
                <a:extLst>
                  <a:ext uri="{FF2B5EF4-FFF2-40B4-BE49-F238E27FC236}">
                    <a16:creationId xmlns:a16="http://schemas.microsoft.com/office/drawing/2014/main" id="{FCBA192B-117D-4664-A579-68D10DC21EDC}"/>
                  </a:ext>
                </a:extLst>
              </p:cNvPr>
              <p:cNvSpPr>
                <a:spLocks/>
              </p:cNvSpPr>
              <p:nvPr/>
            </p:nvSpPr>
            <p:spPr bwMode="gray">
              <a:xfrm>
                <a:off x="2102647" y="2035601"/>
                <a:ext cx="575" cy="3451"/>
              </a:xfrm>
              <a:custGeom>
                <a:avLst/>
                <a:gdLst>
                  <a:gd name="T0" fmla="*/ 0 w 1"/>
                  <a:gd name="T1" fmla="*/ 0 h 6"/>
                  <a:gd name="T2" fmla="*/ 1 w 1"/>
                  <a:gd name="T3" fmla="*/ 0 h 6"/>
                  <a:gd name="T4" fmla="*/ 1 w 1"/>
                  <a:gd name="T5" fmla="*/ 6 h 6"/>
                  <a:gd name="T6" fmla="*/ 0 w 1"/>
                  <a:gd name="T7" fmla="*/ 4 h 6"/>
                  <a:gd name="T8" fmla="*/ 0 w 1"/>
                  <a:gd name="T9" fmla="*/ 0 h 6"/>
                </a:gdLst>
                <a:ahLst/>
                <a:cxnLst>
                  <a:cxn ang="0">
                    <a:pos x="T0" y="T1"/>
                  </a:cxn>
                  <a:cxn ang="0">
                    <a:pos x="T2" y="T3"/>
                  </a:cxn>
                  <a:cxn ang="0">
                    <a:pos x="T4" y="T5"/>
                  </a:cxn>
                  <a:cxn ang="0">
                    <a:pos x="T6" y="T7"/>
                  </a:cxn>
                  <a:cxn ang="0">
                    <a:pos x="T8" y="T9"/>
                  </a:cxn>
                </a:cxnLst>
                <a:rect l="0" t="0" r="r" b="b"/>
                <a:pathLst>
                  <a:path w="1" h="6">
                    <a:moveTo>
                      <a:pt x="0" y="0"/>
                    </a:moveTo>
                    <a:lnTo>
                      <a:pt x="1" y="0"/>
                    </a:lnTo>
                    <a:lnTo>
                      <a:pt x="1" y="6"/>
                    </a:lnTo>
                    <a:lnTo>
                      <a:pt x="0" y="4"/>
                    </a:lnTo>
                    <a:lnTo>
                      <a:pt x="0" y="0"/>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43" name="Freeform 393">
                <a:extLst>
                  <a:ext uri="{FF2B5EF4-FFF2-40B4-BE49-F238E27FC236}">
                    <a16:creationId xmlns:a16="http://schemas.microsoft.com/office/drawing/2014/main" id="{DB06C4F4-0575-4F9C-A920-2A5BCC2F1CCA}"/>
                  </a:ext>
                </a:extLst>
              </p:cNvPr>
              <p:cNvSpPr>
                <a:spLocks/>
              </p:cNvSpPr>
              <p:nvPr/>
            </p:nvSpPr>
            <p:spPr bwMode="gray">
              <a:xfrm>
                <a:off x="2099196" y="2036176"/>
                <a:ext cx="1150" cy="1150"/>
              </a:xfrm>
              <a:custGeom>
                <a:avLst/>
                <a:gdLst>
                  <a:gd name="T0" fmla="*/ 2 w 2"/>
                  <a:gd name="T1" fmla="*/ 0 h 2"/>
                  <a:gd name="T2" fmla="*/ 2 w 2"/>
                  <a:gd name="T3" fmla="*/ 2 h 2"/>
                  <a:gd name="T4" fmla="*/ 2 w 2"/>
                  <a:gd name="T5" fmla="*/ 2 h 2"/>
                  <a:gd name="T6" fmla="*/ 0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2" y="2"/>
                    </a:lnTo>
                    <a:lnTo>
                      <a:pt x="2" y="2"/>
                    </a:lnTo>
                    <a:lnTo>
                      <a:pt x="0" y="0"/>
                    </a:lnTo>
                    <a:lnTo>
                      <a:pt x="2" y="0"/>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44" name="Freeform 394">
                <a:extLst>
                  <a:ext uri="{FF2B5EF4-FFF2-40B4-BE49-F238E27FC236}">
                    <a16:creationId xmlns:a16="http://schemas.microsoft.com/office/drawing/2014/main" id="{F9E5BA13-7D93-468D-BCDC-25BD0B3DE315}"/>
                  </a:ext>
                </a:extLst>
              </p:cNvPr>
              <p:cNvSpPr>
                <a:spLocks/>
              </p:cNvSpPr>
              <p:nvPr/>
            </p:nvSpPr>
            <p:spPr bwMode="gray">
              <a:xfrm>
                <a:off x="2095169" y="2036176"/>
                <a:ext cx="5177" cy="4027"/>
              </a:xfrm>
              <a:custGeom>
                <a:avLst/>
                <a:gdLst>
                  <a:gd name="T0" fmla="*/ 2 w 9"/>
                  <a:gd name="T1" fmla="*/ 7 h 7"/>
                  <a:gd name="T2" fmla="*/ 0 w 9"/>
                  <a:gd name="T3" fmla="*/ 3 h 7"/>
                  <a:gd name="T4" fmla="*/ 7 w 9"/>
                  <a:gd name="T5" fmla="*/ 0 h 7"/>
                  <a:gd name="T6" fmla="*/ 9 w 9"/>
                  <a:gd name="T7" fmla="*/ 2 h 7"/>
                  <a:gd name="T8" fmla="*/ 2 w 9"/>
                  <a:gd name="T9" fmla="*/ 7 h 7"/>
                </a:gdLst>
                <a:ahLst/>
                <a:cxnLst>
                  <a:cxn ang="0">
                    <a:pos x="T0" y="T1"/>
                  </a:cxn>
                  <a:cxn ang="0">
                    <a:pos x="T2" y="T3"/>
                  </a:cxn>
                  <a:cxn ang="0">
                    <a:pos x="T4" y="T5"/>
                  </a:cxn>
                  <a:cxn ang="0">
                    <a:pos x="T6" y="T7"/>
                  </a:cxn>
                  <a:cxn ang="0">
                    <a:pos x="T8" y="T9"/>
                  </a:cxn>
                </a:cxnLst>
                <a:rect l="0" t="0" r="r" b="b"/>
                <a:pathLst>
                  <a:path w="9" h="7">
                    <a:moveTo>
                      <a:pt x="2" y="7"/>
                    </a:moveTo>
                    <a:lnTo>
                      <a:pt x="0" y="3"/>
                    </a:lnTo>
                    <a:lnTo>
                      <a:pt x="7" y="0"/>
                    </a:lnTo>
                    <a:lnTo>
                      <a:pt x="9" y="2"/>
                    </a:lnTo>
                    <a:lnTo>
                      <a:pt x="2" y="7"/>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45" name="Freeform 395">
                <a:extLst>
                  <a:ext uri="{FF2B5EF4-FFF2-40B4-BE49-F238E27FC236}">
                    <a16:creationId xmlns:a16="http://schemas.microsoft.com/office/drawing/2014/main" id="{7340EA3F-FF56-4CBE-A24E-AF8F1A52DB66}"/>
                  </a:ext>
                </a:extLst>
              </p:cNvPr>
              <p:cNvSpPr>
                <a:spLocks/>
              </p:cNvSpPr>
              <p:nvPr/>
            </p:nvSpPr>
            <p:spPr bwMode="gray">
              <a:xfrm>
                <a:off x="1941018" y="2025823"/>
                <a:ext cx="110437" cy="86854"/>
              </a:xfrm>
              <a:custGeom>
                <a:avLst/>
                <a:gdLst>
                  <a:gd name="T0" fmla="*/ 0 w 192"/>
                  <a:gd name="T1" fmla="*/ 21 h 151"/>
                  <a:gd name="T2" fmla="*/ 0 w 192"/>
                  <a:gd name="T3" fmla="*/ 41 h 151"/>
                  <a:gd name="T4" fmla="*/ 192 w 192"/>
                  <a:gd name="T5" fmla="*/ 151 h 151"/>
                  <a:gd name="T6" fmla="*/ 192 w 192"/>
                  <a:gd name="T7" fmla="*/ 90 h 151"/>
                  <a:gd name="T8" fmla="*/ 36 w 192"/>
                  <a:gd name="T9" fmla="*/ 0 h 151"/>
                  <a:gd name="T10" fmla="*/ 0 w 192"/>
                  <a:gd name="T11" fmla="*/ 21 h 151"/>
                </a:gdLst>
                <a:ahLst/>
                <a:cxnLst>
                  <a:cxn ang="0">
                    <a:pos x="T0" y="T1"/>
                  </a:cxn>
                  <a:cxn ang="0">
                    <a:pos x="T2" y="T3"/>
                  </a:cxn>
                  <a:cxn ang="0">
                    <a:pos x="T4" y="T5"/>
                  </a:cxn>
                  <a:cxn ang="0">
                    <a:pos x="T6" y="T7"/>
                  </a:cxn>
                  <a:cxn ang="0">
                    <a:pos x="T8" y="T9"/>
                  </a:cxn>
                  <a:cxn ang="0">
                    <a:pos x="T10" y="T11"/>
                  </a:cxn>
                </a:cxnLst>
                <a:rect l="0" t="0" r="r" b="b"/>
                <a:pathLst>
                  <a:path w="192" h="151">
                    <a:moveTo>
                      <a:pt x="0" y="21"/>
                    </a:moveTo>
                    <a:lnTo>
                      <a:pt x="0" y="41"/>
                    </a:lnTo>
                    <a:lnTo>
                      <a:pt x="192" y="151"/>
                    </a:lnTo>
                    <a:lnTo>
                      <a:pt x="192" y="90"/>
                    </a:lnTo>
                    <a:lnTo>
                      <a:pt x="36" y="0"/>
                    </a:lnTo>
                    <a:lnTo>
                      <a:pt x="0" y="21"/>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46" name="Freeform 397">
                <a:extLst>
                  <a:ext uri="{FF2B5EF4-FFF2-40B4-BE49-F238E27FC236}">
                    <a16:creationId xmlns:a16="http://schemas.microsoft.com/office/drawing/2014/main" id="{19A2809A-7EE9-4D00-A470-507A63201E64}"/>
                  </a:ext>
                </a:extLst>
              </p:cNvPr>
              <p:cNvSpPr>
                <a:spLocks/>
              </p:cNvSpPr>
              <p:nvPr/>
            </p:nvSpPr>
            <p:spPr bwMode="gray">
              <a:xfrm>
                <a:off x="1941018" y="2037902"/>
                <a:ext cx="110437" cy="74775"/>
              </a:xfrm>
              <a:custGeom>
                <a:avLst/>
                <a:gdLst>
                  <a:gd name="T0" fmla="*/ 0 w 192"/>
                  <a:gd name="T1" fmla="*/ 0 h 130"/>
                  <a:gd name="T2" fmla="*/ 0 w 192"/>
                  <a:gd name="T3" fmla="*/ 20 h 130"/>
                  <a:gd name="T4" fmla="*/ 192 w 192"/>
                  <a:gd name="T5" fmla="*/ 130 h 130"/>
                  <a:gd name="T6" fmla="*/ 192 w 192"/>
                  <a:gd name="T7" fmla="*/ 111 h 130"/>
                  <a:gd name="T8" fmla="*/ 0 w 192"/>
                  <a:gd name="T9" fmla="*/ 0 h 130"/>
                </a:gdLst>
                <a:ahLst/>
                <a:cxnLst>
                  <a:cxn ang="0">
                    <a:pos x="T0" y="T1"/>
                  </a:cxn>
                  <a:cxn ang="0">
                    <a:pos x="T2" y="T3"/>
                  </a:cxn>
                  <a:cxn ang="0">
                    <a:pos x="T4" y="T5"/>
                  </a:cxn>
                  <a:cxn ang="0">
                    <a:pos x="T6" y="T7"/>
                  </a:cxn>
                  <a:cxn ang="0">
                    <a:pos x="T8" y="T9"/>
                  </a:cxn>
                </a:cxnLst>
                <a:rect l="0" t="0" r="r" b="b"/>
                <a:pathLst>
                  <a:path w="192" h="130">
                    <a:moveTo>
                      <a:pt x="0" y="0"/>
                    </a:moveTo>
                    <a:lnTo>
                      <a:pt x="0" y="20"/>
                    </a:lnTo>
                    <a:lnTo>
                      <a:pt x="192" y="130"/>
                    </a:lnTo>
                    <a:lnTo>
                      <a:pt x="192" y="111"/>
                    </a:lnTo>
                    <a:lnTo>
                      <a:pt x="0" y="0"/>
                    </a:lnTo>
                    <a:close/>
                  </a:path>
                </a:pathLst>
              </a:custGeom>
              <a:solidFill>
                <a:srgbClr val="FF871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47" name="Freeform 398">
                <a:extLst>
                  <a:ext uri="{FF2B5EF4-FFF2-40B4-BE49-F238E27FC236}">
                    <a16:creationId xmlns:a16="http://schemas.microsoft.com/office/drawing/2014/main" id="{2FDE6231-71EB-4110-9FD8-D1E4C662850D}"/>
                  </a:ext>
                </a:extLst>
              </p:cNvPr>
              <p:cNvSpPr>
                <a:spLocks/>
              </p:cNvSpPr>
              <p:nvPr/>
            </p:nvSpPr>
            <p:spPr bwMode="gray">
              <a:xfrm>
                <a:off x="1951371" y="2025823"/>
                <a:ext cx="100083" cy="63846"/>
              </a:xfrm>
              <a:custGeom>
                <a:avLst/>
                <a:gdLst>
                  <a:gd name="T0" fmla="*/ 18 w 174"/>
                  <a:gd name="T1" fmla="*/ 0 h 111"/>
                  <a:gd name="T2" fmla="*/ 0 w 174"/>
                  <a:gd name="T3" fmla="*/ 11 h 111"/>
                  <a:gd name="T4" fmla="*/ 174 w 174"/>
                  <a:gd name="T5" fmla="*/ 111 h 111"/>
                  <a:gd name="T6" fmla="*/ 174 w 174"/>
                  <a:gd name="T7" fmla="*/ 90 h 111"/>
                  <a:gd name="T8" fmla="*/ 18 w 174"/>
                  <a:gd name="T9" fmla="*/ 0 h 111"/>
                </a:gdLst>
                <a:ahLst/>
                <a:cxnLst>
                  <a:cxn ang="0">
                    <a:pos x="T0" y="T1"/>
                  </a:cxn>
                  <a:cxn ang="0">
                    <a:pos x="T2" y="T3"/>
                  </a:cxn>
                  <a:cxn ang="0">
                    <a:pos x="T4" y="T5"/>
                  </a:cxn>
                  <a:cxn ang="0">
                    <a:pos x="T6" y="T7"/>
                  </a:cxn>
                  <a:cxn ang="0">
                    <a:pos x="T8" y="T9"/>
                  </a:cxn>
                </a:cxnLst>
                <a:rect l="0" t="0" r="r" b="b"/>
                <a:pathLst>
                  <a:path w="174" h="111">
                    <a:moveTo>
                      <a:pt x="18" y="0"/>
                    </a:moveTo>
                    <a:lnTo>
                      <a:pt x="0" y="11"/>
                    </a:lnTo>
                    <a:lnTo>
                      <a:pt x="174" y="111"/>
                    </a:lnTo>
                    <a:lnTo>
                      <a:pt x="174" y="90"/>
                    </a:lnTo>
                    <a:lnTo>
                      <a:pt x="18" y="0"/>
                    </a:lnTo>
                    <a:close/>
                  </a:path>
                </a:pathLst>
              </a:custGeom>
              <a:solidFill>
                <a:srgbClr val="EC4802"/>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48" name="Freeform 399">
                <a:extLst>
                  <a:ext uri="{FF2B5EF4-FFF2-40B4-BE49-F238E27FC236}">
                    <a16:creationId xmlns:a16="http://schemas.microsoft.com/office/drawing/2014/main" id="{5CCC1946-DC71-4780-A6A4-88D6EEB08AE5}"/>
                  </a:ext>
                </a:extLst>
              </p:cNvPr>
              <p:cNvSpPr>
                <a:spLocks/>
              </p:cNvSpPr>
              <p:nvPr/>
            </p:nvSpPr>
            <p:spPr bwMode="gray">
              <a:xfrm>
                <a:off x="1941018" y="2032150"/>
                <a:ext cx="110437" cy="69598"/>
              </a:xfrm>
              <a:custGeom>
                <a:avLst/>
                <a:gdLst>
                  <a:gd name="T0" fmla="*/ 192 w 192"/>
                  <a:gd name="T1" fmla="*/ 121 h 121"/>
                  <a:gd name="T2" fmla="*/ 192 w 192"/>
                  <a:gd name="T3" fmla="*/ 100 h 121"/>
                  <a:gd name="T4" fmla="*/ 18 w 192"/>
                  <a:gd name="T5" fmla="*/ 0 h 121"/>
                  <a:gd name="T6" fmla="*/ 0 w 192"/>
                  <a:gd name="T7" fmla="*/ 10 h 121"/>
                  <a:gd name="T8" fmla="*/ 192 w 192"/>
                  <a:gd name="T9" fmla="*/ 121 h 121"/>
                </a:gdLst>
                <a:ahLst/>
                <a:cxnLst>
                  <a:cxn ang="0">
                    <a:pos x="T0" y="T1"/>
                  </a:cxn>
                  <a:cxn ang="0">
                    <a:pos x="T2" y="T3"/>
                  </a:cxn>
                  <a:cxn ang="0">
                    <a:pos x="T4" y="T5"/>
                  </a:cxn>
                  <a:cxn ang="0">
                    <a:pos x="T6" y="T7"/>
                  </a:cxn>
                  <a:cxn ang="0">
                    <a:pos x="T8" y="T9"/>
                  </a:cxn>
                </a:cxnLst>
                <a:rect l="0" t="0" r="r" b="b"/>
                <a:pathLst>
                  <a:path w="192" h="121">
                    <a:moveTo>
                      <a:pt x="192" y="121"/>
                    </a:moveTo>
                    <a:lnTo>
                      <a:pt x="192" y="100"/>
                    </a:lnTo>
                    <a:lnTo>
                      <a:pt x="18" y="0"/>
                    </a:lnTo>
                    <a:lnTo>
                      <a:pt x="0" y="10"/>
                    </a:lnTo>
                    <a:lnTo>
                      <a:pt x="192" y="121"/>
                    </a:lnTo>
                    <a:close/>
                  </a:path>
                </a:pathLst>
              </a:custGeom>
              <a:solidFill>
                <a:srgbClr val="F75A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49" name="Freeform 402">
                <a:extLst>
                  <a:ext uri="{FF2B5EF4-FFF2-40B4-BE49-F238E27FC236}">
                    <a16:creationId xmlns:a16="http://schemas.microsoft.com/office/drawing/2014/main" id="{D5E60C9C-0CD6-4A46-8C2D-9C04C101A930}"/>
                  </a:ext>
                </a:extLst>
              </p:cNvPr>
              <p:cNvSpPr>
                <a:spLocks/>
              </p:cNvSpPr>
              <p:nvPr/>
            </p:nvSpPr>
            <p:spPr bwMode="gray">
              <a:xfrm>
                <a:off x="1856465" y="1970604"/>
                <a:ext cx="13230" cy="23583"/>
              </a:xfrm>
              <a:custGeom>
                <a:avLst/>
                <a:gdLst>
                  <a:gd name="T0" fmla="*/ 0 w 23"/>
                  <a:gd name="T1" fmla="*/ 0 h 41"/>
                  <a:gd name="T2" fmla="*/ 0 w 23"/>
                  <a:gd name="T3" fmla="*/ 0 h 41"/>
                  <a:gd name="T4" fmla="*/ 0 w 23"/>
                  <a:gd name="T5" fmla="*/ 27 h 41"/>
                  <a:gd name="T6" fmla="*/ 23 w 23"/>
                  <a:gd name="T7" fmla="*/ 41 h 41"/>
                  <a:gd name="T8" fmla="*/ 23 w 23"/>
                  <a:gd name="T9" fmla="*/ 41 h 41"/>
                  <a:gd name="T10" fmla="*/ 23 w 23"/>
                  <a:gd name="T11" fmla="*/ 41 h 41"/>
                  <a:gd name="T12" fmla="*/ 23 w 23"/>
                  <a:gd name="T13" fmla="*/ 13 h 41"/>
                  <a:gd name="T14" fmla="*/ 0 w 23"/>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41">
                    <a:moveTo>
                      <a:pt x="0" y="0"/>
                    </a:moveTo>
                    <a:lnTo>
                      <a:pt x="0" y="0"/>
                    </a:lnTo>
                    <a:lnTo>
                      <a:pt x="0" y="27"/>
                    </a:lnTo>
                    <a:lnTo>
                      <a:pt x="23" y="41"/>
                    </a:lnTo>
                    <a:lnTo>
                      <a:pt x="23" y="41"/>
                    </a:lnTo>
                    <a:lnTo>
                      <a:pt x="23" y="41"/>
                    </a:lnTo>
                    <a:lnTo>
                      <a:pt x="23" y="13"/>
                    </a:lnTo>
                    <a:lnTo>
                      <a:pt x="0" y="0"/>
                    </a:lnTo>
                    <a:close/>
                  </a:path>
                </a:pathLst>
              </a:custGeom>
              <a:solidFill>
                <a:srgbClr val="EEEEE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50" name="Freeform 403">
                <a:extLst>
                  <a:ext uri="{FF2B5EF4-FFF2-40B4-BE49-F238E27FC236}">
                    <a16:creationId xmlns:a16="http://schemas.microsoft.com/office/drawing/2014/main" id="{0D6E8383-5D4D-477F-BDD6-0044E5A27A1F}"/>
                  </a:ext>
                </a:extLst>
              </p:cNvPr>
              <p:cNvSpPr>
                <a:spLocks/>
              </p:cNvSpPr>
              <p:nvPr/>
            </p:nvSpPr>
            <p:spPr bwMode="gray">
              <a:xfrm>
                <a:off x="1856465" y="1970604"/>
                <a:ext cx="13230" cy="23583"/>
              </a:xfrm>
              <a:custGeom>
                <a:avLst/>
                <a:gdLst>
                  <a:gd name="T0" fmla="*/ 0 w 23"/>
                  <a:gd name="T1" fmla="*/ 0 h 41"/>
                  <a:gd name="T2" fmla="*/ 0 w 23"/>
                  <a:gd name="T3" fmla="*/ 0 h 41"/>
                  <a:gd name="T4" fmla="*/ 23 w 23"/>
                  <a:gd name="T5" fmla="*/ 13 h 41"/>
                  <a:gd name="T6" fmla="*/ 23 w 23"/>
                  <a:gd name="T7" fmla="*/ 41 h 41"/>
                  <a:gd name="T8" fmla="*/ 23 w 23"/>
                  <a:gd name="T9" fmla="*/ 41 h 41"/>
                  <a:gd name="T10" fmla="*/ 23 w 23"/>
                  <a:gd name="T11" fmla="*/ 13 h 41"/>
                  <a:gd name="T12" fmla="*/ 0 w 23"/>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3" h="41">
                    <a:moveTo>
                      <a:pt x="0" y="0"/>
                    </a:moveTo>
                    <a:lnTo>
                      <a:pt x="0" y="0"/>
                    </a:lnTo>
                    <a:lnTo>
                      <a:pt x="23" y="13"/>
                    </a:lnTo>
                    <a:lnTo>
                      <a:pt x="23" y="41"/>
                    </a:lnTo>
                    <a:lnTo>
                      <a:pt x="23" y="41"/>
                    </a:lnTo>
                    <a:lnTo>
                      <a:pt x="23" y="13"/>
                    </a:lnTo>
                    <a:lnTo>
                      <a:pt x="0" y="0"/>
                    </a:lnTo>
                    <a:close/>
                  </a:path>
                </a:pathLst>
              </a:custGeom>
              <a:solidFill>
                <a:srgbClr val="AEAEA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51" name="Freeform 404">
                <a:extLst>
                  <a:ext uri="{FF2B5EF4-FFF2-40B4-BE49-F238E27FC236}">
                    <a16:creationId xmlns:a16="http://schemas.microsoft.com/office/drawing/2014/main" id="{C3C688B7-9EBE-4A2F-9D06-27A43F19E311}"/>
                  </a:ext>
                </a:extLst>
              </p:cNvPr>
              <p:cNvSpPr>
                <a:spLocks/>
              </p:cNvSpPr>
              <p:nvPr/>
            </p:nvSpPr>
            <p:spPr bwMode="gray">
              <a:xfrm>
                <a:off x="1857615" y="1972330"/>
                <a:ext cx="10929" cy="20132"/>
              </a:xfrm>
              <a:custGeom>
                <a:avLst/>
                <a:gdLst>
                  <a:gd name="T0" fmla="*/ 19 w 19"/>
                  <a:gd name="T1" fmla="*/ 35 h 35"/>
                  <a:gd name="T2" fmla="*/ 19 w 19"/>
                  <a:gd name="T3" fmla="*/ 11 h 35"/>
                  <a:gd name="T4" fmla="*/ 0 w 19"/>
                  <a:gd name="T5" fmla="*/ 0 h 35"/>
                  <a:gd name="T6" fmla="*/ 0 w 19"/>
                  <a:gd name="T7" fmla="*/ 23 h 35"/>
                  <a:gd name="T8" fmla="*/ 19 w 19"/>
                  <a:gd name="T9" fmla="*/ 35 h 35"/>
                </a:gdLst>
                <a:ahLst/>
                <a:cxnLst>
                  <a:cxn ang="0">
                    <a:pos x="T0" y="T1"/>
                  </a:cxn>
                  <a:cxn ang="0">
                    <a:pos x="T2" y="T3"/>
                  </a:cxn>
                  <a:cxn ang="0">
                    <a:pos x="T4" y="T5"/>
                  </a:cxn>
                  <a:cxn ang="0">
                    <a:pos x="T6" y="T7"/>
                  </a:cxn>
                  <a:cxn ang="0">
                    <a:pos x="T8" y="T9"/>
                  </a:cxn>
                </a:cxnLst>
                <a:rect l="0" t="0" r="r" b="b"/>
                <a:pathLst>
                  <a:path w="19" h="35">
                    <a:moveTo>
                      <a:pt x="19" y="35"/>
                    </a:moveTo>
                    <a:lnTo>
                      <a:pt x="19" y="11"/>
                    </a:lnTo>
                    <a:lnTo>
                      <a:pt x="0" y="0"/>
                    </a:lnTo>
                    <a:lnTo>
                      <a:pt x="0" y="23"/>
                    </a:lnTo>
                    <a:lnTo>
                      <a:pt x="19" y="35"/>
                    </a:lnTo>
                    <a:close/>
                  </a:path>
                </a:pathLst>
              </a:custGeom>
              <a:solidFill>
                <a:srgbClr val="555555"/>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52" name="Freeform 405">
                <a:extLst>
                  <a:ext uri="{FF2B5EF4-FFF2-40B4-BE49-F238E27FC236}">
                    <a16:creationId xmlns:a16="http://schemas.microsoft.com/office/drawing/2014/main" id="{C9F4D559-D136-4764-92A7-3DC1AE8D5683}"/>
                  </a:ext>
                </a:extLst>
              </p:cNvPr>
              <p:cNvSpPr>
                <a:spLocks/>
              </p:cNvSpPr>
              <p:nvPr/>
            </p:nvSpPr>
            <p:spPr bwMode="gray">
              <a:xfrm>
                <a:off x="1858765" y="1973481"/>
                <a:ext cx="9778" cy="17256"/>
              </a:xfrm>
              <a:custGeom>
                <a:avLst/>
                <a:gdLst>
                  <a:gd name="T0" fmla="*/ 0 w 17"/>
                  <a:gd name="T1" fmla="*/ 20 h 30"/>
                  <a:gd name="T2" fmla="*/ 17 w 17"/>
                  <a:gd name="T3" fmla="*/ 30 h 30"/>
                  <a:gd name="T4" fmla="*/ 17 w 17"/>
                  <a:gd name="T5" fmla="*/ 9 h 30"/>
                  <a:gd name="T6" fmla="*/ 0 w 17"/>
                  <a:gd name="T7" fmla="*/ 0 h 30"/>
                  <a:gd name="T8" fmla="*/ 0 w 17"/>
                  <a:gd name="T9" fmla="*/ 20 h 30"/>
                </a:gdLst>
                <a:ahLst/>
                <a:cxnLst>
                  <a:cxn ang="0">
                    <a:pos x="T0" y="T1"/>
                  </a:cxn>
                  <a:cxn ang="0">
                    <a:pos x="T2" y="T3"/>
                  </a:cxn>
                  <a:cxn ang="0">
                    <a:pos x="T4" y="T5"/>
                  </a:cxn>
                  <a:cxn ang="0">
                    <a:pos x="T6" y="T7"/>
                  </a:cxn>
                  <a:cxn ang="0">
                    <a:pos x="T8" y="T9"/>
                  </a:cxn>
                </a:cxnLst>
                <a:rect l="0" t="0" r="r" b="b"/>
                <a:pathLst>
                  <a:path w="17" h="30">
                    <a:moveTo>
                      <a:pt x="0" y="20"/>
                    </a:moveTo>
                    <a:lnTo>
                      <a:pt x="17" y="30"/>
                    </a:lnTo>
                    <a:lnTo>
                      <a:pt x="17" y="9"/>
                    </a:lnTo>
                    <a:lnTo>
                      <a:pt x="0" y="0"/>
                    </a:lnTo>
                    <a:lnTo>
                      <a:pt x="0" y="20"/>
                    </a:lnTo>
                    <a:close/>
                  </a:path>
                </a:pathLst>
              </a:custGeom>
              <a:solidFill>
                <a:srgbClr val="40404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53" name="Freeform 406">
                <a:extLst>
                  <a:ext uri="{FF2B5EF4-FFF2-40B4-BE49-F238E27FC236}">
                    <a16:creationId xmlns:a16="http://schemas.microsoft.com/office/drawing/2014/main" id="{095B9166-A33E-4C54-8ADD-9BA845F52784}"/>
                  </a:ext>
                </a:extLst>
              </p:cNvPr>
              <p:cNvSpPr>
                <a:spLocks/>
              </p:cNvSpPr>
              <p:nvPr/>
            </p:nvSpPr>
            <p:spPr bwMode="gray">
              <a:xfrm>
                <a:off x="1861642" y="1974631"/>
                <a:ext cx="6902" cy="12654"/>
              </a:xfrm>
              <a:custGeom>
                <a:avLst/>
                <a:gdLst>
                  <a:gd name="T0" fmla="*/ 6 w 12"/>
                  <a:gd name="T1" fmla="*/ 18 h 22"/>
                  <a:gd name="T2" fmla="*/ 6 w 12"/>
                  <a:gd name="T3" fmla="*/ 18 h 22"/>
                  <a:gd name="T4" fmla="*/ 7 w 12"/>
                  <a:gd name="T5" fmla="*/ 19 h 22"/>
                  <a:gd name="T6" fmla="*/ 11 w 12"/>
                  <a:gd name="T7" fmla="*/ 20 h 22"/>
                  <a:gd name="T8" fmla="*/ 12 w 12"/>
                  <a:gd name="T9" fmla="*/ 22 h 22"/>
                  <a:gd name="T10" fmla="*/ 12 w 12"/>
                  <a:gd name="T11" fmla="*/ 7 h 22"/>
                  <a:gd name="T12" fmla="*/ 0 w 12"/>
                  <a:gd name="T13" fmla="*/ 0 h 22"/>
                  <a:gd name="T14" fmla="*/ 0 w 12"/>
                  <a:gd name="T15" fmla="*/ 14 h 22"/>
                  <a:gd name="T16" fmla="*/ 2 w 12"/>
                  <a:gd name="T17" fmla="*/ 16 h 22"/>
                  <a:gd name="T18" fmla="*/ 6 w 12"/>
                  <a:gd name="T19"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2">
                    <a:moveTo>
                      <a:pt x="6" y="18"/>
                    </a:moveTo>
                    <a:lnTo>
                      <a:pt x="6" y="18"/>
                    </a:lnTo>
                    <a:lnTo>
                      <a:pt x="7" y="19"/>
                    </a:lnTo>
                    <a:lnTo>
                      <a:pt x="11" y="20"/>
                    </a:lnTo>
                    <a:lnTo>
                      <a:pt x="12" y="22"/>
                    </a:lnTo>
                    <a:lnTo>
                      <a:pt x="12" y="7"/>
                    </a:lnTo>
                    <a:lnTo>
                      <a:pt x="0" y="0"/>
                    </a:lnTo>
                    <a:lnTo>
                      <a:pt x="0" y="14"/>
                    </a:lnTo>
                    <a:lnTo>
                      <a:pt x="2" y="16"/>
                    </a:lnTo>
                    <a:lnTo>
                      <a:pt x="6" y="18"/>
                    </a:lnTo>
                    <a:close/>
                  </a:path>
                </a:pathLst>
              </a:custGeom>
              <a:solidFill>
                <a:srgbClr val="FE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54" name="Freeform 407">
                <a:extLst>
                  <a:ext uri="{FF2B5EF4-FFF2-40B4-BE49-F238E27FC236}">
                    <a16:creationId xmlns:a16="http://schemas.microsoft.com/office/drawing/2014/main" id="{B745D08C-1EB7-45FE-AC6E-327420A553E9}"/>
                  </a:ext>
                </a:extLst>
              </p:cNvPr>
              <p:cNvSpPr>
                <a:spLocks/>
              </p:cNvSpPr>
              <p:nvPr/>
            </p:nvSpPr>
            <p:spPr bwMode="gray">
              <a:xfrm>
                <a:off x="1861642" y="1974631"/>
                <a:ext cx="6902" cy="12654"/>
              </a:xfrm>
              <a:custGeom>
                <a:avLst/>
                <a:gdLst>
                  <a:gd name="T0" fmla="*/ 0 w 12"/>
                  <a:gd name="T1" fmla="*/ 0 h 22"/>
                  <a:gd name="T2" fmla="*/ 0 w 12"/>
                  <a:gd name="T3" fmla="*/ 2 h 22"/>
                  <a:gd name="T4" fmla="*/ 9 w 12"/>
                  <a:gd name="T5" fmla="*/ 8 h 22"/>
                  <a:gd name="T6" fmla="*/ 9 w 12"/>
                  <a:gd name="T7" fmla="*/ 20 h 22"/>
                  <a:gd name="T8" fmla="*/ 11 w 12"/>
                  <a:gd name="T9" fmla="*/ 20 h 22"/>
                  <a:gd name="T10" fmla="*/ 12 w 12"/>
                  <a:gd name="T11" fmla="*/ 22 h 22"/>
                  <a:gd name="T12" fmla="*/ 12 w 12"/>
                  <a:gd name="T13" fmla="*/ 7 h 22"/>
                  <a:gd name="T14" fmla="*/ 0 w 12"/>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2">
                    <a:moveTo>
                      <a:pt x="0" y="0"/>
                    </a:moveTo>
                    <a:lnTo>
                      <a:pt x="0" y="2"/>
                    </a:lnTo>
                    <a:lnTo>
                      <a:pt x="9" y="8"/>
                    </a:lnTo>
                    <a:lnTo>
                      <a:pt x="9" y="20"/>
                    </a:lnTo>
                    <a:lnTo>
                      <a:pt x="11" y="20"/>
                    </a:lnTo>
                    <a:lnTo>
                      <a:pt x="12" y="22"/>
                    </a:lnTo>
                    <a:lnTo>
                      <a:pt x="12" y="7"/>
                    </a:lnTo>
                    <a:lnTo>
                      <a:pt x="0" y="0"/>
                    </a:lnTo>
                    <a:close/>
                  </a:path>
                </a:pathLst>
              </a:custGeom>
              <a:solidFill>
                <a:srgbClr val="8F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55" name="Freeform 408">
                <a:extLst>
                  <a:ext uri="{FF2B5EF4-FFF2-40B4-BE49-F238E27FC236}">
                    <a16:creationId xmlns:a16="http://schemas.microsoft.com/office/drawing/2014/main" id="{B274D5C9-0F48-470D-B311-B927026F6BEB}"/>
                  </a:ext>
                </a:extLst>
              </p:cNvPr>
              <p:cNvSpPr>
                <a:spLocks/>
              </p:cNvSpPr>
              <p:nvPr/>
            </p:nvSpPr>
            <p:spPr bwMode="gray">
              <a:xfrm>
                <a:off x="1861642" y="1979232"/>
                <a:ext cx="4027" cy="6327"/>
              </a:xfrm>
              <a:custGeom>
                <a:avLst/>
                <a:gdLst>
                  <a:gd name="T0" fmla="*/ 6 w 7"/>
                  <a:gd name="T1" fmla="*/ 10 h 11"/>
                  <a:gd name="T2" fmla="*/ 6 w 7"/>
                  <a:gd name="T3" fmla="*/ 10 h 11"/>
                  <a:gd name="T4" fmla="*/ 7 w 7"/>
                  <a:gd name="T5" fmla="*/ 11 h 11"/>
                  <a:gd name="T6" fmla="*/ 6 w 7"/>
                  <a:gd name="T7" fmla="*/ 6 h 11"/>
                  <a:gd name="T8" fmla="*/ 0 w 7"/>
                  <a:gd name="T9" fmla="*/ 0 h 11"/>
                  <a:gd name="T10" fmla="*/ 0 w 7"/>
                  <a:gd name="T11" fmla="*/ 6 h 11"/>
                  <a:gd name="T12" fmla="*/ 2 w 7"/>
                  <a:gd name="T13" fmla="*/ 8 h 11"/>
                  <a:gd name="T14" fmla="*/ 6 w 7"/>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6" y="10"/>
                    </a:moveTo>
                    <a:lnTo>
                      <a:pt x="6" y="10"/>
                    </a:lnTo>
                    <a:lnTo>
                      <a:pt x="7" y="11"/>
                    </a:lnTo>
                    <a:lnTo>
                      <a:pt x="6" y="6"/>
                    </a:lnTo>
                    <a:lnTo>
                      <a:pt x="0" y="0"/>
                    </a:lnTo>
                    <a:lnTo>
                      <a:pt x="0" y="6"/>
                    </a:lnTo>
                    <a:lnTo>
                      <a:pt x="2" y="8"/>
                    </a:lnTo>
                    <a:lnTo>
                      <a:pt x="6" y="10"/>
                    </a:lnTo>
                    <a:close/>
                  </a:path>
                </a:pathLst>
              </a:custGeom>
              <a:solidFill>
                <a:srgbClr val="FF6767"/>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56" name="Freeform 409">
                <a:extLst>
                  <a:ext uri="{FF2B5EF4-FFF2-40B4-BE49-F238E27FC236}">
                    <a16:creationId xmlns:a16="http://schemas.microsoft.com/office/drawing/2014/main" id="{57B42AC3-8657-4E01-9C82-9A7075AFD87D}"/>
                  </a:ext>
                </a:extLst>
              </p:cNvPr>
              <p:cNvSpPr>
                <a:spLocks/>
              </p:cNvSpPr>
              <p:nvPr/>
            </p:nvSpPr>
            <p:spPr bwMode="gray">
              <a:xfrm>
                <a:off x="1847837" y="1577173"/>
                <a:ext cx="41989" cy="34511"/>
              </a:xfrm>
              <a:custGeom>
                <a:avLst/>
                <a:gdLst>
                  <a:gd name="T0" fmla="*/ 73 w 73"/>
                  <a:gd name="T1" fmla="*/ 60 h 60"/>
                  <a:gd name="T2" fmla="*/ 73 w 73"/>
                  <a:gd name="T3" fmla="*/ 42 h 60"/>
                  <a:gd name="T4" fmla="*/ 0 w 73"/>
                  <a:gd name="T5" fmla="*/ 0 h 60"/>
                  <a:gd name="T6" fmla="*/ 0 w 73"/>
                  <a:gd name="T7" fmla="*/ 18 h 60"/>
                  <a:gd name="T8" fmla="*/ 73 w 73"/>
                  <a:gd name="T9" fmla="*/ 60 h 60"/>
                </a:gdLst>
                <a:ahLst/>
                <a:cxnLst>
                  <a:cxn ang="0">
                    <a:pos x="T0" y="T1"/>
                  </a:cxn>
                  <a:cxn ang="0">
                    <a:pos x="T2" y="T3"/>
                  </a:cxn>
                  <a:cxn ang="0">
                    <a:pos x="T4" y="T5"/>
                  </a:cxn>
                  <a:cxn ang="0">
                    <a:pos x="T6" y="T7"/>
                  </a:cxn>
                  <a:cxn ang="0">
                    <a:pos x="T8" y="T9"/>
                  </a:cxn>
                </a:cxnLst>
                <a:rect l="0" t="0" r="r" b="b"/>
                <a:pathLst>
                  <a:path w="73" h="60">
                    <a:moveTo>
                      <a:pt x="73" y="60"/>
                    </a:moveTo>
                    <a:lnTo>
                      <a:pt x="73" y="42"/>
                    </a:lnTo>
                    <a:lnTo>
                      <a:pt x="0" y="0"/>
                    </a:lnTo>
                    <a:lnTo>
                      <a:pt x="0" y="18"/>
                    </a:lnTo>
                    <a:lnTo>
                      <a:pt x="73" y="60"/>
                    </a:lnTo>
                    <a:close/>
                  </a:path>
                </a:pathLst>
              </a:custGeom>
              <a:solidFill>
                <a:srgbClr val="FFF3D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sp>
            <p:nvSpPr>
              <p:cNvPr id="257" name="Freeform 410">
                <a:extLst>
                  <a:ext uri="{FF2B5EF4-FFF2-40B4-BE49-F238E27FC236}">
                    <a16:creationId xmlns:a16="http://schemas.microsoft.com/office/drawing/2014/main" id="{F892B1E6-4394-44FB-8272-4D6816CAEB49}"/>
                  </a:ext>
                </a:extLst>
              </p:cNvPr>
              <p:cNvSpPr>
                <a:spLocks/>
              </p:cNvSpPr>
              <p:nvPr/>
            </p:nvSpPr>
            <p:spPr bwMode="gray">
              <a:xfrm>
                <a:off x="2227463" y="1702565"/>
                <a:ext cx="106986" cy="170832"/>
              </a:xfrm>
              <a:custGeom>
                <a:avLst/>
                <a:gdLst>
                  <a:gd name="T0" fmla="*/ 127 w 186"/>
                  <a:gd name="T1" fmla="*/ 34 h 297"/>
                  <a:gd name="T2" fmla="*/ 127 w 186"/>
                  <a:gd name="T3" fmla="*/ 3 h 297"/>
                  <a:gd name="T4" fmla="*/ 0 w 186"/>
                  <a:gd name="T5" fmla="*/ 76 h 297"/>
                  <a:gd name="T6" fmla="*/ 0 w 186"/>
                  <a:gd name="T7" fmla="*/ 297 h 297"/>
                  <a:gd name="T8" fmla="*/ 127 w 186"/>
                  <a:gd name="T9" fmla="*/ 223 h 297"/>
                  <a:gd name="T10" fmla="*/ 127 w 186"/>
                  <a:gd name="T11" fmla="*/ 145 h 297"/>
                  <a:gd name="T12" fmla="*/ 186 w 186"/>
                  <a:gd name="T13" fmla="*/ 111 h 297"/>
                  <a:gd name="T14" fmla="*/ 186 w 186"/>
                  <a:gd name="T15" fmla="*/ 0 h 297"/>
                  <a:gd name="T16" fmla="*/ 127 w 186"/>
                  <a:gd name="T17" fmla="*/ 34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297">
                    <a:moveTo>
                      <a:pt x="127" y="34"/>
                    </a:moveTo>
                    <a:lnTo>
                      <a:pt x="127" y="3"/>
                    </a:lnTo>
                    <a:lnTo>
                      <a:pt x="0" y="76"/>
                    </a:lnTo>
                    <a:lnTo>
                      <a:pt x="0" y="297"/>
                    </a:lnTo>
                    <a:lnTo>
                      <a:pt x="127" y="223"/>
                    </a:lnTo>
                    <a:lnTo>
                      <a:pt x="127" y="145"/>
                    </a:lnTo>
                    <a:lnTo>
                      <a:pt x="186" y="111"/>
                    </a:lnTo>
                    <a:lnTo>
                      <a:pt x="186" y="0"/>
                    </a:lnTo>
                    <a:lnTo>
                      <a:pt x="127" y="34"/>
                    </a:lnTo>
                    <a:close/>
                  </a:path>
                </a:pathLst>
              </a:custGeom>
              <a:solidFill>
                <a:srgbClr val="AAAAAA"/>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noAutofit/>
              </a:bodyPr>
              <a:lstStyle/>
              <a:p>
                <a:endParaRPr lang="en-US" sz="1333" dirty="0"/>
              </a:p>
            </p:txBody>
          </p:sp>
          <p:pic>
            <p:nvPicPr>
              <p:cNvPr id="258" name="Picture 257">
                <a:extLst>
                  <a:ext uri="{FF2B5EF4-FFF2-40B4-BE49-F238E27FC236}">
                    <a16:creationId xmlns:a16="http://schemas.microsoft.com/office/drawing/2014/main" id="{75CF43E5-5427-4109-805F-E38A47A109FE}"/>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b="62621"/>
              <a:stretch/>
            </p:blipFill>
            <p:spPr bwMode="gray">
              <a:xfrm>
                <a:off x="1844386" y="1940695"/>
                <a:ext cx="292633" cy="264344"/>
              </a:xfrm>
              <a:prstGeom prst="rect">
                <a:avLst/>
              </a:prstGeom>
              <a:ln>
                <a:solidFill>
                  <a:schemeClr val="accent1"/>
                </a:solidFill>
              </a:ln>
            </p:spPr>
          </p:pic>
        </p:grpSp>
        <p:sp>
          <p:nvSpPr>
            <p:cNvPr id="84" name="Freeform 357">
              <a:extLst>
                <a:ext uri="{FF2B5EF4-FFF2-40B4-BE49-F238E27FC236}">
                  <a16:creationId xmlns:a16="http://schemas.microsoft.com/office/drawing/2014/main" id="{49E21380-7780-483C-9B3C-F47D89C1DB30}"/>
                </a:ext>
              </a:extLst>
            </p:cNvPr>
            <p:cNvSpPr/>
            <p:nvPr/>
          </p:nvSpPr>
          <p:spPr bwMode="gray">
            <a:xfrm>
              <a:off x="1730684" y="2136817"/>
              <a:ext cx="688705" cy="106642"/>
            </a:xfrm>
            <a:custGeom>
              <a:avLst/>
              <a:gdLst>
                <a:gd name="connsiteX0" fmla="*/ 475312 w 515259"/>
                <a:gd name="connsiteY0" fmla="*/ 0 h 97244"/>
                <a:gd name="connsiteX1" fmla="*/ 515259 w 515259"/>
                <a:gd name="connsiteY1" fmla="*/ 82689 h 97244"/>
                <a:gd name="connsiteX2" fmla="*/ 0 w 515259"/>
                <a:gd name="connsiteY2" fmla="*/ 97244 h 97244"/>
                <a:gd name="connsiteX3" fmla="*/ 14937 w 515259"/>
                <a:gd name="connsiteY3" fmla="*/ 21432 h 97244"/>
                <a:gd name="connsiteX0" fmla="*/ 475312 w 515259"/>
                <a:gd name="connsiteY0" fmla="*/ 0 h 97244"/>
                <a:gd name="connsiteX1" fmla="*/ 515259 w 515259"/>
                <a:gd name="connsiteY1" fmla="*/ 82689 h 97244"/>
                <a:gd name="connsiteX2" fmla="*/ 0 w 515259"/>
                <a:gd name="connsiteY2" fmla="*/ 97244 h 97244"/>
                <a:gd name="connsiteX3" fmla="*/ 50655 w 515259"/>
                <a:gd name="connsiteY3" fmla="*/ 28575 h 97244"/>
                <a:gd name="connsiteX4" fmla="*/ 475312 w 515259"/>
                <a:gd name="connsiteY4" fmla="*/ 0 h 97244"/>
                <a:gd name="connsiteX0" fmla="*/ 424657 w 464604"/>
                <a:gd name="connsiteY0" fmla="*/ 0 h 118675"/>
                <a:gd name="connsiteX1" fmla="*/ 464604 w 464604"/>
                <a:gd name="connsiteY1" fmla="*/ 82689 h 118675"/>
                <a:gd name="connsiteX2" fmla="*/ 56502 w 464604"/>
                <a:gd name="connsiteY2" fmla="*/ 118675 h 118675"/>
                <a:gd name="connsiteX3" fmla="*/ 0 w 464604"/>
                <a:gd name="connsiteY3" fmla="*/ 28575 h 118675"/>
                <a:gd name="connsiteX4" fmla="*/ 424657 w 464604"/>
                <a:gd name="connsiteY4" fmla="*/ 0 h 118675"/>
                <a:gd name="connsiteX0" fmla="*/ 391319 w 464604"/>
                <a:gd name="connsiteY0" fmla="*/ 0 h 111531"/>
                <a:gd name="connsiteX1" fmla="*/ 464604 w 464604"/>
                <a:gd name="connsiteY1" fmla="*/ 75545 h 111531"/>
                <a:gd name="connsiteX2" fmla="*/ 56502 w 464604"/>
                <a:gd name="connsiteY2" fmla="*/ 111531 h 111531"/>
                <a:gd name="connsiteX3" fmla="*/ 0 w 464604"/>
                <a:gd name="connsiteY3" fmla="*/ 21431 h 111531"/>
                <a:gd name="connsiteX4" fmla="*/ 391319 w 464604"/>
                <a:gd name="connsiteY4" fmla="*/ 0 h 111531"/>
                <a:gd name="connsiteX0" fmla="*/ 391319 w 391319"/>
                <a:gd name="connsiteY0" fmla="*/ 0 h 111531"/>
                <a:gd name="connsiteX1" fmla="*/ 390785 w 391319"/>
                <a:gd name="connsiteY1" fmla="*/ 89832 h 111531"/>
                <a:gd name="connsiteX2" fmla="*/ 56502 w 391319"/>
                <a:gd name="connsiteY2" fmla="*/ 111531 h 111531"/>
                <a:gd name="connsiteX3" fmla="*/ 0 w 391319"/>
                <a:gd name="connsiteY3" fmla="*/ 21431 h 111531"/>
                <a:gd name="connsiteX4" fmla="*/ 391319 w 391319"/>
                <a:gd name="connsiteY4" fmla="*/ 0 h 111531"/>
                <a:gd name="connsiteX0" fmla="*/ 391319 w 397929"/>
                <a:gd name="connsiteY0" fmla="*/ 0 h 111531"/>
                <a:gd name="connsiteX1" fmla="*/ 397929 w 397929"/>
                <a:gd name="connsiteY1" fmla="*/ 73163 h 111531"/>
                <a:gd name="connsiteX2" fmla="*/ 56502 w 397929"/>
                <a:gd name="connsiteY2" fmla="*/ 111531 h 111531"/>
                <a:gd name="connsiteX3" fmla="*/ 0 w 397929"/>
                <a:gd name="connsiteY3" fmla="*/ 21431 h 111531"/>
                <a:gd name="connsiteX4" fmla="*/ 391319 w 397929"/>
                <a:gd name="connsiteY4" fmla="*/ 0 h 111531"/>
                <a:gd name="connsiteX0" fmla="*/ 391319 w 397929"/>
                <a:gd name="connsiteY0" fmla="*/ 0 h 90100"/>
                <a:gd name="connsiteX1" fmla="*/ 397929 w 397929"/>
                <a:gd name="connsiteY1" fmla="*/ 73163 h 90100"/>
                <a:gd name="connsiteX2" fmla="*/ 46977 w 397929"/>
                <a:gd name="connsiteY2" fmla="*/ 90100 h 90100"/>
                <a:gd name="connsiteX3" fmla="*/ 0 w 397929"/>
                <a:gd name="connsiteY3" fmla="*/ 21431 h 90100"/>
                <a:gd name="connsiteX4" fmla="*/ 391319 w 397929"/>
                <a:gd name="connsiteY4" fmla="*/ 0 h 9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929" h="90100">
                  <a:moveTo>
                    <a:pt x="391319" y="0"/>
                  </a:moveTo>
                  <a:lnTo>
                    <a:pt x="397929" y="73163"/>
                  </a:lnTo>
                  <a:lnTo>
                    <a:pt x="46977" y="90100"/>
                  </a:lnTo>
                  <a:lnTo>
                    <a:pt x="0" y="21431"/>
                  </a:lnTo>
                  <a:lnTo>
                    <a:pt x="391319" y="0"/>
                  </a:lnTo>
                  <a:close/>
                </a:path>
              </a:pathLst>
            </a:custGeom>
            <a:gradFill>
              <a:gsLst>
                <a:gs pos="27000">
                  <a:schemeClr val="bg1">
                    <a:alpha val="0"/>
                  </a:schemeClr>
                </a:gs>
                <a:gs pos="78000">
                  <a:srgbClr val="7D7D7D"/>
                </a:gs>
              </a:gsLst>
              <a:lin ang="5400000" scaled="0"/>
            </a:gra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solidFill>
                  <a:schemeClr val="tx1"/>
                </a:solidFill>
              </a:endParaRPr>
            </a:p>
          </p:txBody>
        </p:sp>
      </p:grpSp>
      <p:pic>
        <p:nvPicPr>
          <p:cNvPr id="296" name="Picture 295">
            <a:extLst>
              <a:ext uri="{FF2B5EF4-FFF2-40B4-BE49-F238E27FC236}">
                <a16:creationId xmlns:a16="http://schemas.microsoft.com/office/drawing/2014/main" id="{93AD5BB7-1729-4D63-979C-28A6752A42CC}"/>
              </a:ext>
            </a:extLst>
          </p:cNvPr>
          <p:cNvPicPr>
            <a:picLocks/>
          </p:cNvPicPr>
          <p:nvPr/>
        </p:nvPicPr>
        <p:blipFill rotWithShape="1">
          <a:blip r:embed="rId15" cstate="print">
            <a:extLst>
              <a:ext uri="{28A0092B-C50C-407E-A947-70E740481C1C}">
                <a14:useLocalDpi xmlns:a14="http://schemas.microsoft.com/office/drawing/2010/main" val="0"/>
              </a:ext>
            </a:extLst>
          </a:blip>
          <a:srcRect/>
          <a:stretch/>
        </p:blipFill>
        <p:spPr bwMode="gray">
          <a:xfrm>
            <a:off x="10058615" y="3869765"/>
            <a:ext cx="1611069" cy="1459577"/>
          </a:xfrm>
          <a:prstGeom prst="ellipse">
            <a:avLst/>
          </a:prstGeom>
          <a:ln w="28575">
            <a:solidFill>
              <a:schemeClr val="accent1"/>
            </a:solidFill>
            <a:prstDash val="solid"/>
          </a:ln>
        </p:spPr>
      </p:pic>
      <p:sp>
        <p:nvSpPr>
          <p:cNvPr id="299" name="Oval 298">
            <a:extLst>
              <a:ext uri="{FF2B5EF4-FFF2-40B4-BE49-F238E27FC236}">
                <a16:creationId xmlns:a16="http://schemas.microsoft.com/office/drawing/2014/main" id="{E4A4DC82-78D3-4326-9889-AC57ADE276A5}"/>
              </a:ext>
            </a:extLst>
          </p:cNvPr>
          <p:cNvSpPr>
            <a:spLocks noChangeAspect="1"/>
          </p:cNvSpPr>
          <p:nvPr/>
        </p:nvSpPr>
        <p:spPr>
          <a:xfrm>
            <a:off x="5609919" y="2460401"/>
            <a:ext cx="1126856" cy="1028364"/>
          </a:xfrm>
          <a:prstGeom prst="ellipse">
            <a:avLst/>
          </a:prstGeom>
          <a:solidFill>
            <a:schemeClr val="tx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solidFill>
                <a:schemeClr val="tx1"/>
              </a:solidFill>
            </a:endParaRPr>
          </a:p>
        </p:txBody>
      </p:sp>
      <p:pic>
        <p:nvPicPr>
          <p:cNvPr id="300" name="Picture 9" descr="https://mm.gettyimages.com/mm/thumbnail/520501215,EAAB14DD465DC59F6C2">
            <a:extLst>
              <a:ext uri="{FF2B5EF4-FFF2-40B4-BE49-F238E27FC236}">
                <a16:creationId xmlns:a16="http://schemas.microsoft.com/office/drawing/2014/main" id="{252BCBA5-6DA8-49B6-9463-71381B0F0E38}"/>
              </a:ext>
            </a:extLst>
          </p:cNvPr>
          <p:cNvPicPr>
            <a:picLocks noChangeAspect="1" noChangeArrowheads="1"/>
          </p:cNvPicPr>
          <p:nvPr/>
        </p:nvPicPr>
        <p:blipFill>
          <a:blip r:embed="rId9"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5816848" y="2649245"/>
            <a:ext cx="712992" cy="650676"/>
          </a:xfrm>
          <a:prstGeom prst="rect">
            <a:avLst/>
          </a:prstGeom>
          <a:noFill/>
          <a:extLst>
            <a:ext uri="{909E8E84-426E-40DD-AFC4-6F175D3DCCD1}">
              <a14:hiddenFill xmlns:a14="http://schemas.microsoft.com/office/drawing/2010/main">
                <a:solidFill>
                  <a:srgbClr val="FFFFFF"/>
                </a:solidFill>
              </a14:hiddenFill>
            </a:ext>
          </a:extLst>
        </p:spPr>
      </p:pic>
      <p:cxnSp>
        <p:nvCxnSpPr>
          <p:cNvPr id="301" name="Straight Arrow Connector 300">
            <a:extLst>
              <a:ext uri="{FF2B5EF4-FFF2-40B4-BE49-F238E27FC236}">
                <a16:creationId xmlns:a16="http://schemas.microsoft.com/office/drawing/2014/main" id="{941CF25C-2CBD-49FF-AE04-8772BADF3E17}"/>
              </a:ext>
            </a:extLst>
          </p:cNvPr>
          <p:cNvCxnSpPr>
            <a:cxnSpLocks/>
          </p:cNvCxnSpPr>
          <p:nvPr/>
        </p:nvCxnSpPr>
        <p:spPr bwMode="gray">
          <a:xfrm>
            <a:off x="3971888" y="3442693"/>
            <a:ext cx="0" cy="413475"/>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302" name="Picture 105" descr="Picture 105">
            <a:extLst>
              <a:ext uri="{FF2B5EF4-FFF2-40B4-BE49-F238E27FC236}">
                <a16:creationId xmlns:a16="http://schemas.microsoft.com/office/drawing/2014/main" id="{AD458085-2DF7-414F-BDF2-A52C2F55B97C}"/>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gray">
          <a:xfrm>
            <a:off x="3378516" y="2433073"/>
            <a:ext cx="1186744" cy="108302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4" y="0"/>
                  <a:pt x="0" y="4834"/>
                  <a:pt x="0" y="10800"/>
                </a:cubicBezTo>
                <a:cubicBezTo>
                  <a:pt x="0" y="16766"/>
                  <a:pt x="4834" y="21600"/>
                  <a:pt x="10800" y="21600"/>
                </a:cubicBezTo>
                <a:cubicBezTo>
                  <a:pt x="16766" y="21600"/>
                  <a:pt x="21600" y="16766"/>
                  <a:pt x="21600" y="10800"/>
                </a:cubicBezTo>
                <a:cubicBezTo>
                  <a:pt x="21600" y="4834"/>
                  <a:pt x="16766" y="0"/>
                  <a:pt x="10800" y="0"/>
                </a:cubicBezTo>
                <a:close/>
              </a:path>
            </a:pathLst>
          </a:custGeom>
          <a:ln w="28575" cap="flat">
            <a:solidFill>
              <a:schemeClr val="accent1"/>
            </a:solidFill>
            <a:miter lim="400000"/>
          </a:ln>
          <a:effectLst/>
        </p:spPr>
      </p:pic>
      <p:cxnSp>
        <p:nvCxnSpPr>
          <p:cNvPr id="304" name="Straight Arrow Connector 303">
            <a:extLst>
              <a:ext uri="{FF2B5EF4-FFF2-40B4-BE49-F238E27FC236}">
                <a16:creationId xmlns:a16="http://schemas.microsoft.com/office/drawing/2014/main" id="{CE5DFCD2-19B5-4AB0-93B4-67868D2B3FDD}"/>
              </a:ext>
            </a:extLst>
          </p:cNvPr>
          <p:cNvCxnSpPr>
            <a:cxnSpLocks/>
          </p:cNvCxnSpPr>
          <p:nvPr/>
        </p:nvCxnSpPr>
        <p:spPr bwMode="gray">
          <a:xfrm flipH="1">
            <a:off x="4561651" y="2987871"/>
            <a:ext cx="1020040"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Straight Arrow Connector 304">
            <a:extLst>
              <a:ext uri="{FF2B5EF4-FFF2-40B4-BE49-F238E27FC236}">
                <a16:creationId xmlns:a16="http://schemas.microsoft.com/office/drawing/2014/main" id="{706A9972-3118-4111-94CE-F0B72E0C9250}"/>
              </a:ext>
            </a:extLst>
          </p:cNvPr>
          <p:cNvCxnSpPr>
            <a:cxnSpLocks/>
          </p:cNvCxnSpPr>
          <p:nvPr/>
        </p:nvCxnSpPr>
        <p:spPr bwMode="gray">
          <a:xfrm>
            <a:off x="4561649" y="2902555"/>
            <a:ext cx="1045972"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06" name="Straight Arrow Connector 442">
            <a:extLst>
              <a:ext uri="{FF2B5EF4-FFF2-40B4-BE49-F238E27FC236}">
                <a16:creationId xmlns:a16="http://schemas.microsoft.com/office/drawing/2014/main" id="{790D5414-0E0F-45AF-A6D8-D90794C17038}"/>
              </a:ext>
            </a:extLst>
          </p:cNvPr>
          <p:cNvCxnSpPr>
            <a:cxnSpLocks/>
            <a:stCxn id="67" idx="3"/>
            <a:endCxn id="299" idx="0"/>
          </p:cNvCxnSpPr>
          <p:nvPr/>
        </p:nvCxnSpPr>
        <p:spPr bwMode="gray">
          <a:xfrm rot="16200000" flipH="1">
            <a:off x="5463042" y="1750099"/>
            <a:ext cx="423871" cy="996733"/>
          </a:xfrm>
          <a:prstGeom prst="bentConnector3">
            <a:avLst>
              <a:gd name="adj1" fmla="val 50000"/>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07" name="Straight Arrow Connector 442">
            <a:extLst>
              <a:ext uri="{FF2B5EF4-FFF2-40B4-BE49-F238E27FC236}">
                <a16:creationId xmlns:a16="http://schemas.microsoft.com/office/drawing/2014/main" id="{38551498-8C77-4AAC-88D1-DD13D9EF374A}"/>
              </a:ext>
            </a:extLst>
          </p:cNvPr>
          <p:cNvCxnSpPr>
            <a:cxnSpLocks/>
            <a:stCxn id="67" idx="3"/>
            <a:endCxn id="10" idx="0"/>
          </p:cNvCxnSpPr>
          <p:nvPr/>
        </p:nvCxnSpPr>
        <p:spPr bwMode="gray">
          <a:xfrm rot="5400000">
            <a:off x="4360526" y="1644314"/>
            <a:ext cx="423871" cy="1208300"/>
          </a:xfrm>
          <a:prstGeom prst="bentConnector3">
            <a:avLst>
              <a:gd name="adj1" fmla="val 50000"/>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420" name="Group 419">
            <a:extLst>
              <a:ext uri="{FF2B5EF4-FFF2-40B4-BE49-F238E27FC236}">
                <a16:creationId xmlns:a16="http://schemas.microsoft.com/office/drawing/2014/main" id="{B428BF95-9E76-47EC-A60F-E60FACE347AF}"/>
              </a:ext>
            </a:extLst>
          </p:cNvPr>
          <p:cNvGrpSpPr/>
          <p:nvPr/>
        </p:nvGrpSpPr>
        <p:grpSpPr>
          <a:xfrm>
            <a:off x="6861000" y="4544315"/>
            <a:ext cx="769651" cy="149925"/>
            <a:chOff x="5289751" y="3460488"/>
            <a:chExt cx="177775" cy="104792"/>
          </a:xfrm>
        </p:grpSpPr>
        <p:cxnSp>
          <p:nvCxnSpPr>
            <p:cNvPr id="297" name="Straight Arrow Connector 296">
              <a:extLst>
                <a:ext uri="{FF2B5EF4-FFF2-40B4-BE49-F238E27FC236}">
                  <a16:creationId xmlns:a16="http://schemas.microsoft.com/office/drawing/2014/main" id="{2A5668A8-EB09-4465-A788-AF64ACAFE205}"/>
                </a:ext>
              </a:extLst>
            </p:cNvPr>
            <p:cNvCxnSpPr>
              <a:cxnSpLocks/>
            </p:cNvCxnSpPr>
            <p:nvPr/>
          </p:nvCxnSpPr>
          <p:spPr bwMode="gray">
            <a:xfrm flipH="1">
              <a:off x="5289752" y="3565280"/>
              <a:ext cx="164161"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98" name="Straight Arrow Connector 297">
              <a:extLst>
                <a:ext uri="{FF2B5EF4-FFF2-40B4-BE49-F238E27FC236}">
                  <a16:creationId xmlns:a16="http://schemas.microsoft.com/office/drawing/2014/main" id="{0EB18323-9BB1-4D67-ABEE-6FBAB244F2C4}"/>
                </a:ext>
              </a:extLst>
            </p:cNvPr>
            <p:cNvCxnSpPr>
              <a:cxnSpLocks/>
            </p:cNvCxnSpPr>
            <p:nvPr/>
          </p:nvCxnSpPr>
          <p:spPr bwMode="gray">
            <a:xfrm>
              <a:off x="5300066" y="3460488"/>
              <a:ext cx="164161"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08" name="Straight Arrow Connector 307">
              <a:extLst>
                <a:ext uri="{FF2B5EF4-FFF2-40B4-BE49-F238E27FC236}">
                  <a16:creationId xmlns:a16="http://schemas.microsoft.com/office/drawing/2014/main" id="{6B1EA45D-0EC4-4014-B89C-A6BB273FBDA5}"/>
                </a:ext>
              </a:extLst>
            </p:cNvPr>
            <p:cNvCxnSpPr>
              <a:cxnSpLocks/>
            </p:cNvCxnSpPr>
            <p:nvPr/>
          </p:nvCxnSpPr>
          <p:spPr bwMode="gray">
            <a:xfrm flipH="1">
              <a:off x="5289751" y="3565280"/>
              <a:ext cx="167461"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09" name="Straight Arrow Connector 308">
              <a:extLst>
                <a:ext uri="{FF2B5EF4-FFF2-40B4-BE49-F238E27FC236}">
                  <a16:creationId xmlns:a16="http://schemas.microsoft.com/office/drawing/2014/main" id="{C4F7F37F-90F6-47D5-BF9B-D7665F144E69}"/>
                </a:ext>
              </a:extLst>
            </p:cNvPr>
            <p:cNvCxnSpPr>
              <a:cxnSpLocks/>
            </p:cNvCxnSpPr>
            <p:nvPr/>
          </p:nvCxnSpPr>
          <p:spPr bwMode="gray">
            <a:xfrm>
              <a:off x="5300065" y="3460488"/>
              <a:ext cx="167461"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19" name="Group 418">
            <a:extLst>
              <a:ext uri="{FF2B5EF4-FFF2-40B4-BE49-F238E27FC236}">
                <a16:creationId xmlns:a16="http://schemas.microsoft.com/office/drawing/2014/main" id="{83336F51-F1F9-41E7-8BB7-659EBFFFDDC5}"/>
              </a:ext>
            </a:extLst>
          </p:cNvPr>
          <p:cNvGrpSpPr/>
          <p:nvPr/>
        </p:nvGrpSpPr>
        <p:grpSpPr>
          <a:xfrm>
            <a:off x="9232205" y="4544314"/>
            <a:ext cx="826408" cy="149927"/>
            <a:chOff x="6965089" y="3460488"/>
            <a:chExt cx="177774" cy="104792"/>
          </a:xfrm>
        </p:grpSpPr>
        <p:cxnSp>
          <p:nvCxnSpPr>
            <p:cNvPr id="310" name="Straight Arrow Connector 309">
              <a:extLst>
                <a:ext uri="{FF2B5EF4-FFF2-40B4-BE49-F238E27FC236}">
                  <a16:creationId xmlns:a16="http://schemas.microsoft.com/office/drawing/2014/main" id="{077408AC-6ABD-4B02-817D-C0090B10241A}"/>
                </a:ext>
              </a:extLst>
            </p:cNvPr>
            <p:cNvCxnSpPr>
              <a:cxnSpLocks/>
            </p:cNvCxnSpPr>
            <p:nvPr/>
          </p:nvCxnSpPr>
          <p:spPr bwMode="gray">
            <a:xfrm flipH="1">
              <a:off x="6965089" y="3565280"/>
              <a:ext cx="167461"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11" name="Straight Arrow Connector 310">
              <a:extLst>
                <a:ext uri="{FF2B5EF4-FFF2-40B4-BE49-F238E27FC236}">
                  <a16:creationId xmlns:a16="http://schemas.microsoft.com/office/drawing/2014/main" id="{ED1149C2-17FE-4631-9186-51C87D7DB021}"/>
                </a:ext>
              </a:extLst>
            </p:cNvPr>
            <p:cNvCxnSpPr>
              <a:cxnSpLocks/>
            </p:cNvCxnSpPr>
            <p:nvPr/>
          </p:nvCxnSpPr>
          <p:spPr bwMode="gray">
            <a:xfrm>
              <a:off x="6975402" y="3460488"/>
              <a:ext cx="167461"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sp>
        <p:nvSpPr>
          <p:cNvPr id="312" name="TextBox 311">
            <a:extLst>
              <a:ext uri="{FF2B5EF4-FFF2-40B4-BE49-F238E27FC236}">
                <a16:creationId xmlns:a16="http://schemas.microsoft.com/office/drawing/2014/main" id="{D14FEF1A-2B34-4E84-B733-7BB82FFCB371}"/>
              </a:ext>
            </a:extLst>
          </p:cNvPr>
          <p:cNvSpPr txBox="1"/>
          <p:nvPr/>
        </p:nvSpPr>
        <p:spPr bwMode="gray">
          <a:xfrm>
            <a:off x="7589760" y="5476330"/>
            <a:ext cx="1868968" cy="205121"/>
          </a:xfrm>
          <a:prstGeom prst="rect">
            <a:avLst/>
          </a:prstGeom>
        </p:spPr>
        <p:txBody>
          <a:bodyPr vert="horz" wrap="square" lIns="0" tIns="0" rIns="0" bIns="0" rtlCol="0" anchor="ctr" anchorCtr="0">
            <a:spAutoFit/>
          </a:bodyPr>
          <a:lstStyle>
            <a:defPPr>
              <a:defRPr lang="en-US"/>
            </a:defPPr>
            <a:lvl1pPr marL="0" lvl="0" indent="0" defTabSz="913041" eaLnBrk="1" hangingPunct="1">
              <a:buClr>
                <a:schemeClr val="tx2"/>
              </a:buClr>
              <a:defRPr sz="1400" b="1" baseline="0">
                <a:solidFill>
                  <a:schemeClr val="tx2"/>
                </a:solidFill>
                <a:latin typeface="+mn-lt"/>
              </a:defRPr>
            </a:lvl1pPr>
            <a:lvl2pPr marL="197503" indent="-195884" defTabSz="913041" eaLnBrk="1" hangingPunct="1">
              <a:buClr>
                <a:schemeClr val="tx2"/>
              </a:buClr>
              <a:buSzPct val="125000"/>
              <a:buFont typeface="Arial" charset="0"/>
              <a:buChar char="▪"/>
              <a:defRPr baseline="0">
                <a:latin typeface="+mn-lt"/>
              </a:defRPr>
            </a:lvl2pPr>
            <a:lvl3pPr marL="466231" indent="-267114" defTabSz="913041" eaLnBrk="1" hangingPunct="1">
              <a:buClr>
                <a:schemeClr val="tx2"/>
              </a:buClr>
              <a:buSzPct val="120000"/>
              <a:buFont typeface="Arial" charset="0"/>
              <a:buChar char="–"/>
              <a:defRPr baseline="0">
                <a:latin typeface="+mn-lt"/>
              </a:defRPr>
            </a:lvl3pPr>
            <a:lvl4pPr marL="626503" indent="-158650" defTabSz="913041" eaLnBrk="1" hangingPunct="1">
              <a:buClr>
                <a:schemeClr val="tx2"/>
              </a:buClr>
              <a:buSzPct val="120000"/>
              <a:buFont typeface="Arial" charset="0"/>
              <a:buChar char="▫"/>
              <a:defRPr baseline="0">
                <a:latin typeface="+mn-lt"/>
              </a:defRPr>
            </a:lvl4pPr>
            <a:lvl5pPr marL="764623" indent="-132747" defTabSz="913041" eaLnBrk="1" hangingPunct="1">
              <a:buClr>
                <a:schemeClr val="tx2"/>
              </a:buClr>
              <a:buSzPct val="89000"/>
              <a:buFont typeface="Arial" charset="0"/>
              <a:buChar char="-"/>
              <a:defRPr baseline="0">
                <a:latin typeface="+mn-lt"/>
              </a:defRPr>
            </a:lvl5pPr>
            <a:lvl6pPr marL="764623" indent="-132747" defTabSz="913041" fontAlgn="base">
              <a:spcBef>
                <a:spcPct val="0"/>
              </a:spcBef>
              <a:spcAft>
                <a:spcPct val="0"/>
              </a:spcAft>
              <a:buClr>
                <a:schemeClr val="tx2"/>
              </a:buClr>
              <a:buSzPct val="89000"/>
              <a:buFont typeface="Arial" charset="0"/>
              <a:buChar char="-"/>
              <a:defRPr baseline="0">
                <a:latin typeface="+mn-lt"/>
              </a:defRPr>
            </a:lvl6pPr>
            <a:lvl7pPr marL="764623" indent="-132747" defTabSz="913041" fontAlgn="base">
              <a:spcBef>
                <a:spcPct val="0"/>
              </a:spcBef>
              <a:spcAft>
                <a:spcPct val="0"/>
              </a:spcAft>
              <a:buClr>
                <a:schemeClr val="tx2"/>
              </a:buClr>
              <a:buSzPct val="89000"/>
              <a:buFont typeface="Arial" charset="0"/>
              <a:buChar char="-"/>
              <a:defRPr baseline="0">
                <a:latin typeface="+mn-lt"/>
              </a:defRPr>
            </a:lvl7pPr>
            <a:lvl8pPr marL="764623" indent="-132747" defTabSz="913041" fontAlgn="base">
              <a:spcBef>
                <a:spcPct val="0"/>
              </a:spcBef>
              <a:spcAft>
                <a:spcPct val="0"/>
              </a:spcAft>
              <a:buClr>
                <a:schemeClr val="tx2"/>
              </a:buClr>
              <a:buSzPct val="89000"/>
              <a:buFont typeface="Arial" charset="0"/>
              <a:buChar char="-"/>
              <a:defRPr baseline="0">
                <a:latin typeface="+mn-lt"/>
              </a:defRPr>
            </a:lvl8pPr>
            <a:lvl9pPr marL="764623" indent="-132747" defTabSz="913041" fontAlgn="base">
              <a:spcBef>
                <a:spcPct val="0"/>
              </a:spcBef>
              <a:spcAft>
                <a:spcPct val="0"/>
              </a:spcAft>
              <a:buClr>
                <a:schemeClr val="tx2"/>
              </a:buClr>
              <a:buSzPct val="89000"/>
              <a:buFont typeface="Arial" charset="0"/>
              <a:buChar char="-"/>
              <a:defRPr baseline="0">
                <a:latin typeface="+mn-lt"/>
              </a:defRPr>
            </a:lvl9pPr>
          </a:lstStyle>
          <a:p>
            <a:r>
              <a:rPr lang="en-US" sz="1333" dirty="0">
                <a:solidFill>
                  <a:schemeClr val="accent2"/>
                </a:solidFill>
              </a:rPr>
              <a:t>Digital product mgmt.</a:t>
            </a:r>
          </a:p>
        </p:txBody>
      </p:sp>
      <p:sp>
        <p:nvSpPr>
          <p:cNvPr id="315" name="Oval 314">
            <a:extLst>
              <a:ext uri="{FF2B5EF4-FFF2-40B4-BE49-F238E27FC236}">
                <a16:creationId xmlns:a16="http://schemas.microsoft.com/office/drawing/2014/main" id="{E5DDFEAE-C9B5-463F-83A3-9CBAA20D6442}"/>
              </a:ext>
            </a:extLst>
          </p:cNvPr>
          <p:cNvSpPr>
            <a:spLocks/>
          </p:cNvSpPr>
          <p:nvPr/>
        </p:nvSpPr>
        <p:spPr>
          <a:xfrm>
            <a:off x="7615084" y="3869765"/>
            <a:ext cx="1611069" cy="1459577"/>
          </a:xfrm>
          <a:prstGeom prst="ellipse">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6" tIns="45716" rIns="45716" bIns="45716" numCol="1" spcCol="38100" rtlCol="0" anchor="ctr">
            <a:noAutofit/>
          </a:bodyPr>
          <a:lstStyle/>
          <a:p>
            <a:pPr defTabSz="914250" hangingPunct="0"/>
            <a:endParaRPr lang="en-US" sz="1333" dirty="0">
              <a:solidFill>
                <a:srgbClr val="000000"/>
              </a:solidFill>
              <a:ea typeface="+mj-ea"/>
              <a:cs typeface="+mj-cs"/>
              <a:sym typeface="Arial"/>
            </a:endParaRPr>
          </a:p>
        </p:txBody>
      </p:sp>
      <p:grpSp>
        <p:nvGrpSpPr>
          <p:cNvPr id="316" name="Group 315">
            <a:extLst>
              <a:ext uri="{FF2B5EF4-FFF2-40B4-BE49-F238E27FC236}">
                <a16:creationId xmlns:a16="http://schemas.microsoft.com/office/drawing/2014/main" id="{1E6F5E67-CC0B-4C44-BC9E-60E657197DF5}"/>
              </a:ext>
            </a:extLst>
          </p:cNvPr>
          <p:cNvGrpSpPr/>
          <p:nvPr/>
        </p:nvGrpSpPr>
        <p:grpSpPr>
          <a:xfrm>
            <a:off x="7779849" y="4161621"/>
            <a:ext cx="1281543" cy="875864"/>
            <a:chOff x="4665663" y="847726"/>
            <a:chExt cx="1295401" cy="939801"/>
          </a:xfrm>
        </p:grpSpPr>
        <p:sp>
          <p:nvSpPr>
            <p:cNvPr id="317" name="Freeform 600">
              <a:extLst>
                <a:ext uri="{FF2B5EF4-FFF2-40B4-BE49-F238E27FC236}">
                  <a16:creationId xmlns:a16="http://schemas.microsoft.com/office/drawing/2014/main" id="{31F4AAA2-CEA4-426B-87CD-C275EF454ECC}"/>
                </a:ext>
              </a:extLst>
            </p:cNvPr>
            <p:cNvSpPr>
              <a:spLocks/>
            </p:cNvSpPr>
            <p:nvPr/>
          </p:nvSpPr>
          <p:spPr bwMode="auto">
            <a:xfrm>
              <a:off x="5272088" y="847726"/>
              <a:ext cx="28575" cy="911225"/>
            </a:xfrm>
            <a:custGeom>
              <a:avLst/>
              <a:gdLst>
                <a:gd name="T0" fmla="*/ 9 w 18"/>
                <a:gd name="T1" fmla="*/ 0 h 574"/>
                <a:gd name="T2" fmla="*/ 9 w 18"/>
                <a:gd name="T3" fmla="*/ 0 h 574"/>
                <a:gd name="T4" fmla="*/ 12 w 18"/>
                <a:gd name="T5" fmla="*/ 1 h 574"/>
                <a:gd name="T6" fmla="*/ 15 w 18"/>
                <a:gd name="T7" fmla="*/ 3 h 574"/>
                <a:gd name="T8" fmla="*/ 17 w 18"/>
                <a:gd name="T9" fmla="*/ 6 h 574"/>
                <a:gd name="T10" fmla="*/ 18 w 18"/>
                <a:gd name="T11" fmla="*/ 9 h 574"/>
                <a:gd name="T12" fmla="*/ 18 w 18"/>
                <a:gd name="T13" fmla="*/ 574 h 574"/>
                <a:gd name="T14" fmla="*/ 0 w 18"/>
                <a:gd name="T15" fmla="*/ 574 h 574"/>
                <a:gd name="T16" fmla="*/ 0 w 18"/>
                <a:gd name="T17" fmla="*/ 9 h 574"/>
                <a:gd name="T18" fmla="*/ 1 w 18"/>
                <a:gd name="T19" fmla="*/ 6 h 574"/>
                <a:gd name="T20" fmla="*/ 3 w 18"/>
                <a:gd name="T21" fmla="*/ 3 h 574"/>
                <a:gd name="T22" fmla="*/ 6 w 18"/>
                <a:gd name="T23" fmla="*/ 1 h 574"/>
                <a:gd name="T24" fmla="*/ 9 w 18"/>
                <a:gd name="T25"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574">
                  <a:moveTo>
                    <a:pt x="9" y="0"/>
                  </a:moveTo>
                  <a:lnTo>
                    <a:pt x="9" y="0"/>
                  </a:lnTo>
                  <a:lnTo>
                    <a:pt x="12" y="1"/>
                  </a:lnTo>
                  <a:lnTo>
                    <a:pt x="15" y="3"/>
                  </a:lnTo>
                  <a:lnTo>
                    <a:pt x="17" y="6"/>
                  </a:lnTo>
                  <a:lnTo>
                    <a:pt x="18" y="9"/>
                  </a:lnTo>
                  <a:lnTo>
                    <a:pt x="18" y="574"/>
                  </a:lnTo>
                  <a:lnTo>
                    <a:pt x="0" y="574"/>
                  </a:lnTo>
                  <a:lnTo>
                    <a:pt x="0" y="9"/>
                  </a:lnTo>
                  <a:lnTo>
                    <a:pt x="1" y="6"/>
                  </a:lnTo>
                  <a:lnTo>
                    <a:pt x="3" y="3"/>
                  </a:lnTo>
                  <a:lnTo>
                    <a:pt x="6" y="1"/>
                  </a:lnTo>
                  <a:lnTo>
                    <a:pt x="9" y="0"/>
                  </a:lnTo>
                  <a:close/>
                </a:path>
              </a:pathLst>
            </a:custGeom>
            <a:solidFill>
              <a:srgbClr val="C4D1D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18" name="Freeform 601">
              <a:extLst>
                <a:ext uri="{FF2B5EF4-FFF2-40B4-BE49-F238E27FC236}">
                  <a16:creationId xmlns:a16="http://schemas.microsoft.com/office/drawing/2014/main" id="{8BBA54CE-DE42-49C7-9A2E-38A9A5FC4F35}"/>
                </a:ext>
              </a:extLst>
            </p:cNvPr>
            <p:cNvSpPr>
              <a:spLocks/>
            </p:cNvSpPr>
            <p:nvPr/>
          </p:nvSpPr>
          <p:spPr bwMode="auto">
            <a:xfrm>
              <a:off x="5594351" y="847726"/>
              <a:ext cx="28575" cy="911225"/>
            </a:xfrm>
            <a:custGeom>
              <a:avLst/>
              <a:gdLst>
                <a:gd name="T0" fmla="*/ 9 w 18"/>
                <a:gd name="T1" fmla="*/ 0 h 574"/>
                <a:gd name="T2" fmla="*/ 9 w 18"/>
                <a:gd name="T3" fmla="*/ 0 h 574"/>
                <a:gd name="T4" fmla="*/ 13 w 18"/>
                <a:gd name="T5" fmla="*/ 1 h 574"/>
                <a:gd name="T6" fmla="*/ 15 w 18"/>
                <a:gd name="T7" fmla="*/ 3 h 574"/>
                <a:gd name="T8" fmla="*/ 17 w 18"/>
                <a:gd name="T9" fmla="*/ 6 h 574"/>
                <a:gd name="T10" fmla="*/ 18 w 18"/>
                <a:gd name="T11" fmla="*/ 9 h 574"/>
                <a:gd name="T12" fmla="*/ 18 w 18"/>
                <a:gd name="T13" fmla="*/ 574 h 574"/>
                <a:gd name="T14" fmla="*/ 0 w 18"/>
                <a:gd name="T15" fmla="*/ 574 h 574"/>
                <a:gd name="T16" fmla="*/ 0 w 18"/>
                <a:gd name="T17" fmla="*/ 9 h 574"/>
                <a:gd name="T18" fmla="*/ 1 w 18"/>
                <a:gd name="T19" fmla="*/ 6 h 574"/>
                <a:gd name="T20" fmla="*/ 3 w 18"/>
                <a:gd name="T21" fmla="*/ 3 h 574"/>
                <a:gd name="T22" fmla="*/ 6 w 18"/>
                <a:gd name="T23" fmla="*/ 1 h 574"/>
                <a:gd name="T24" fmla="*/ 9 w 18"/>
                <a:gd name="T25" fmla="*/ 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574">
                  <a:moveTo>
                    <a:pt x="9" y="0"/>
                  </a:moveTo>
                  <a:lnTo>
                    <a:pt x="9" y="0"/>
                  </a:lnTo>
                  <a:lnTo>
                    <a:pt x="13" y="1"/>
                  </a:lnTo>
                  <a:lnTo>
                    <a:pt x="15" y="3"/>
                  </a:lnTo>
                  <a:lnTo>
                    <a:pt x="17" y="6"/>
                  </a:lnTo>
                  <a:lnTo>
                    <a:pt x="18" y="9"/>
                  </a:lnTo>
                  <a:lnTo>
                    <a:pt x="18" y="574"/>
                  </a:lnTo>
                  <a:lnTo>
                    <a:pt x="0" y="574"/>
                  </a:lnTo>
                  <a:lnTo>
                    <a:pt x="0" y="9"/>
                  </a:lnTo>
                  <a:lnTo>
                    <a:pt x="1" y="6"/>
                  </a:lnTo>
                  <a:lnTo>
                    <a:pt x="3" y="3"/>
                  </a:lnTo>
                  <a:lnTo>
                    <a:pt x="6" y="1"/>
                  </a:lnTo>
                  <a:lnTo>
                    <a:pt x="9" y="0"/>
                  </a:lnTo>
                  <a:close/>
                </a:path>
              </a:pathLst>
            </a:custGeom>
            <a:solidFill>
              <a:srgbClr val="C4D1D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19" name="Rectangle 602">
              <a:extLst>
                <a:ext uri="{FF2B5EF4-FFF2-40B4-BE49-F238E27FC236}">
                  <a16:creationId xmlns:a16="http://schemas.microsoft.com/office/drawing/2014/main" id="{1EE8FF23-3D6B-48DF-A8D2-FAD06710B57F}"/>
                </a:ext>
              </a:extLst>
            </p:cNvPr>
            <p:cNvSpPr>
              <a:spLocks noChangeArrowheads="1"/>
            </p:cNvSpPr>
            <p:nvPr/>
          </p:nvSpPr>
          <p:spPr bwMode="auto">
            <a:xfrm>
              <a:off x="5183188" y="925514"/>
              <a:ext cx="527050" cy="304800"/>
            </a:xfrm>
            <a:prstGeom prst="rect">
              <a:avLst/>
            </a:prstGeom>
            <a:solidFill>
              <a:srgbClr val="768B8B"/>
            </a:solidFill>
            <a:ln w="0">
              <a:solidFill>
                <a:schemeClr val="accent1"/>
              </a:solidFill>
              <a:prstDash val="solid"/>
              <a:miter lim="800000"/>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20" name="Rectangle 603">
              <a:extLst>
                <a:ext uri="{FF2B5EF4-FFF2-40B4-BE49-F238E27FC236}">
                  <a16:creationId xmlns:a16="http://schemas.microsoft.com/office/drawing/2014/main" id="{A08107FE-62C5-4958-A167-47E5B99B30C2}"/>
                </a:ext>
              </a:extLst>
            </p:cNvPr>
            <p:cNvSpPr>
              <a:spLocks noChangeArrowheads="1"/>
            </p:cNvSpPr>
            <p:nvPr/>
          </p:nvSpPr>
          <p:spPr bwMode="auto">
            <a:xfrm>
              <a:off x="5211763" y="954089"/>
              <a:ext cx="471488" cy="246063"/>
            </a:xfrm>
            <a:prstGeom prst="rect">
              <a:avLst/>
            </a:prstGeom>
            <a:solidFill>
              <a:srgbClr val="F2F5F5"/>
            </a:solidFill>
            <a:ln w="0">
              <a:solidFill>
                <a:schemeClr val="accent1"/>
              </a:solidFill>
              <a:prstDash val="solid"/>
              <a:miter lim="800000"/>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21" name="Freeform 604">
              <a:extLst>
                <a:ext uri="{FF2B5EF4-FFF2-40B4-BE49-F238E27FC236}">
                  <a16:creationId xmlns:a16="http://schemas.microsoft.com/office/drawing/2014/main" id="{5422F584-28B3-4333-B972-885B7E8741F9}"/>
                </a:ext>
              </a:extLst>
            </p:cNvPr>
            <p:cNvSpPr>
              <a:spLocks/>
            </p:cNvSpPr>
            <p:nvPr/>
          </p:nvSpPr>
          <p:spPr bwMode="auto">
            <a:xfrm>
              <a:off x="5278438" y="989014"/>
              <a:ext cx="338138" cy="166688"/>
            </a:xfrm>
            <a:custGeom>
              <a:avLst/>
              <a:gdLst>
                <a:gd name="T0" fmla="*/ 190 w 213"/>
                <a:gd name="T1" fmla="*/ 0 h 105"/>
                <a:gd name="T2" fmla="*/ 213 w 213"/>
                <a:gd name="T3" fmla="*/ 0 h 105"/>
                <a:gd name="T4" fmla="*/ 201 w 213"/>
                <a:gd name="T5" fmla="*/ 20 h 105"/>
                <a:gd name="T6" fmla="*/ 197 w 213"/>
                <a:gd name="T7" fmla="*/ 13 h 105"/>
                <a:gd name="T8" fmla="*/ 148 w 213"/>
                <a:gd name="T9" fmla="*/ 30 h 105"/>
                <a:gd name="T10" fmla="*/ 100 w 213"/>
                <a:gd name="T11" fmla="*/ 93 h 105"/>
                <a:gd name="T12" fmla="*/ 43 w 213"/>
                <a:gd name="T13" fmla="*/ 58 h 105"/>
                <a:gd name="T14" fmla="*/ 6 w 213"/>
                <a:gd name="T15" fmla="*/ 105 h 105"/>
                <a:gd name="T16" fmla="*/ 0 w 213"/>
                <a:gd name="T17" fmla="*/ 91 h 105"/>
                <a:gd name="T18" fmla="*/ 42 w 213"/>
                <a:gd name="T19" fmla="*/ 50 h 105"/>
                <a:gd name="T20" fmla="*/ 100 w 213"/>
                <a:gd name="T21" fmla="*/ 79 h 105"/>
                <a:gd name="T22" fmla="*/ 144 w 213"/>
                <a:gd name="T23" fmla="*/ 24 h 105"/>
                <a:gd name="T24" fmla="*/ 194 w 213"/>
                <a:gd name="T25" fmla="*/ 7 h 105"/>
                <a:gd name="T26" fmla="*/ 190 w 213"/>
                <a:gd name="T27"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3" h="105">
                  <a:moveTo>
                    <a:pt x="190" y="0"/>
                  </a:moveTo>
                  <a:lnTo>
                    <a:pt x="213" y="0"/>
                  </a:lnTo>
                  <a:lnTo>
                    <a:pt x="201" y="20"/>
                  </a:lnTo>
                  <a:lnTo>
                    <a:pt x="197" y="13"/>
                  </a:lnTo>
                  <a:lnTo>
                    <a:pt x="148" y="30"/>
                  </a:lnTo>
                  <a:lnTo>
                    <a:pt x="100" y="93"/>
                  </a:lnTo>
                  <a:lnTo>
                    <a:pt x="43" y="58"/>
                  </a:lnTo>
                  <a:lnTo>
                    <a:pt x="6" y="105"/>
                  </a:lnTo>
                  <a:lnTo>
                    <a:pt x="0" y="91"/>
                  </a:lnTo>
                  <a:lnTo>
                    <a:pt x="42" y="50"/>
                  </a:lnTo>
                  <a:lnTo>
                    <a:pt x="100" y="79"/>
                  </a:lnTo>
                  <a:lnTo>
                    <a:pt x="144" y="24"/>
                  </a:lnTo>
                  <a:lnTo>
                    <a:pt x="194" y="7"/>
                  </a:lnTo>
                  <a:lnTo>
                    <a:pt x="190" y="0"/>
                  </a:lnTo>
                  <a:close/>
                </a:path>
              </a:pathLst>
            </a:custGeom>
            <a:solidFill>
              <a:srgbClr val="FF39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22" name="Rectangle 605">
              <a:extLst>
                <a:ext uri="{FF2B5EF4-FFF2-40B4-BE49-F238E27FC236}">
                  <a16:creationId xmlns:a16="http://schemas.microsoft.com/office/drawing/2014/main" id="{0DC6E0DA-1AD6-4AE5-9752-051DC1B7E6D1}"/>
                </a:ext>
              </a:extLst>
            </p:cNvPr>
            <p:cNvSpPr>
              <a:spLocks noChangeArrowheads="1"/>
            </p:cNvSpPr>
            <p:nvPr/>
          </p:nvSpPr>
          <p:spPr bwMode="auto">
            <a:xfrm>
              <a:off x="5265738" y="1174751"/>
              <a:ext cx="366713" cy="9525"/>
            </a:xfrm>
            <a:prstGeom prst="rect">
              <a:avLst/>
            </a:prstGeom>
            <a:solidFill>
              <a:srgbClr val="001315"/>
            </a:solidFill>
            <a:ln w="0">
              <a:solidFill>
                <a:schemeClr val="accent1"/>
              </a:solidFill>
              <a:prstDash val="solid"/>
              <a:miter lim="800000"/>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23" name="Freeform 606">
              <a:extLst>
                <a:ext uri="{FF2B5EF4-FFF2-40B4-BE49-F238E27FC236}">
                  <a16:creationId xmlns:a16="http://schemas.microsoft.com/office/drawing/2014/main" id="{0393D642-940C-4216-A585-0937553E106C}"/>
                </a:ext>
              </a:extLst>
            </p:cNvPr>
            <p:cNvSpPr>
              <a:spLocks/>
            </p:cNvSpPr>
            <p:nvPr/>
          </p:nvSpPr>
          <p:spPr bwMode="auto">
            <a:xfrm>
              <a:off x="5276851" y="1177926"/>
              <a:ext cx="247650" cy="158750"/>
            </a:xfrm>
            <a:custGeom>
              <a:avLst/>
              <a:gdLst>
                <a:gd name="T0" fmla="*/ 7 w 156"/>
                <a:gd name="T1" fmla="*/ 0 h 100"/>
                <a:gd name="T2" fmla="*/ 13 w 156"/>
                <a:gd name="T3" fmla="*/ 1 h 100"/>
                <a:gd name="T4" fmla="*/ 19 w 156"/>
                <a:gd name="T5" fmla="*/ 3 h 100"/>
                <a:gd name="T6" fmla="*/ 23 w 156"/>
                <a:gd name="T7" fmla="*/ 4 h 100"/>
                <a:gd name="T8" fmla="*/ 25 w 156"/>
                <a:gd name="T9" fmla="*/ 5 h 100"/>
                <a:gd name="T10" fmla="*/ 33 w 156"/>
                <a:gd name="T11" fmla="*/ 16 h 100"/>
                <a:gd name="T12" fmla="*/ 41 w 156"/>
                <a:gd name="T13" fmla="*/ 27 h 100"/>
                <a:gd name="T14" fmla="*/ 48 w 156"/>
                <a:gd name="T15" fmla="*/ 37 h 100"/>
                <a:gd name="T16" fmla="*/ 53 w 156"/>
                <a:gd name="T17" fmla="*/ 45 h 100"/>
                <a:gd name="T18" fmla="*/ 58 w 156"/>
                <a:gd name="T19" fmla="*/ 51 h 100"/>
                <a:gd name="T20" fmla="*/ 60 w 156"/>
                <a:gd name="T21" fmla="*/ 53 h 100"/>
                <a:gd name="T22" fmla="*/ 63 w 156"/>
                <a:gd name="T23" fmla="*/ 55 h 100"/>
                <a:gd name="T24" fmla="*/ 66 w 156"/>
                <a:gd name="T25" fmla="*/ 56 h 100"/>
                <a:gd name="T26" fmla="*/ 69 w 156"/>
                <a:gd name="T27" fmla="*/ 56 h 100"/>
                <a:gd name="T28" fmla="*/ 72 w 156"/>
                <a:gd name="T29" fmla="*/ 54 h 100"/>
                <a:gd name="T30" fmla="*/ 82 w 156"/>
                <a:gd name="T31" fmla="*/ 48 h 100"/>
                <a:gd name="T32" fmla="*/ 93 w 156"/>
                <a:gd name="T33" fmla="*/ 43 h 100"/>
                <a:gd name="T34" fmla="*/ 104 w 156"/>
                <a:gd name="T35" fmla="*/ 37 h 100"/>
                <a:gd name="T36" fmla="*/ 114 w 156"/>
                <a:gd name="T37" fmla="*/ 31 h 100"/>
                <a:gd name="T38" fmla="*/ 124 w 156"/>
                <a:gd name="T39" fmla="*/ 26 h 100"/>
                <a:gd name="T40" fmla="*/ 132 w 156"/>
                <a:gd name="T41" fmla="*/ 22 h 100"/>
                <a:gd name="T42" fmla="*/ 137 w 156"/>
                <a:gd name="T43" fmla="*/ 19 h 100"/>
                <a:gd name="T44" fmla="*/ 139 w 156"/>
                <a:gd name="T45" fmla="*/ 18 h 100"/>
                <a:gd name="T46" fmla="*/ 156 w 156"/>
                <a:gd name="T47" fmla="*/ 42 h 100"/>
                <a:gd name="T48" fmla="*/ 154 w 156"/>
                <a:gd name="T49" fmla="*/ 44 h 100"/>
                <a:gd name="T50" fmla="*/ 149 w 156"/>
                <a:gd name="T51" fmla="*/ 48 h 100"/>
                <a:gd name="T52" fmla="*/ 140 w 156"/>
                <a:gd name="T53" fmla="*/ 56 h 100"/>
                <a:gd name="T54" fmla="*/ 130 w 156"/>
                <a:gd name="T55" fmla="*/ 64 h 100"/>
                <a:gd name="T56" fmla="*/ 118 w 156"/>
                <a:gd name="T57" fmla="*/ 72 h 100"/>
                <a:gd name="T58" fmla="*/ 105 w 156"/>
                <a:gd name="T59" fmla="*/ 81 h 100"/>
                <a:gd name="T60" fmla="*/ 92 w 156"/>
                <a:gd name="T61" fmla="*/ 88 h 100"/>
                <a:gd name="T62" fmla="*/ 79 w 156"/>
                <a:gd name="T63" fmla="*/ 95 h 100"/>
                <a:gd name="T64" fmla="*/ 68 w 156"/>
                <a:gd name="T65" fmla="*/ 99 h 100"/>
                <a:gd name="T66" fmla="*/ 58 w 156"/>
                <a:gd name="T67" fmla="*/ 100 h 100"/>
                <a:gd name="T68" fmla="*/ 49 w 156"/>
                <a:gd name="T69" fmla="*/ 97 h 100"/>
                <a:gd name="T70" fmla="*/ 45 w 156"/>
                <a:gd name="T71" fmla="*/ 93 h 100"/>
                <a:gd name="T72" fmla="*/ 39 w 156"/>
                <a:gd name="T73" fmla="*/ 88 h 100"/>
                <a:gd name="T74" fmla="*/ 32 w 156"/>
                <a:gd name="T75" fmla="*/ 81 h 100"/>
                <a:gd name="T76" fmla="*/ 25 w 156"/>
                <a:gd name="T77" fmla="*/ 74 h 100"/>
                <a:gd name="T78" fmla="*/ 19 w 156"/>
                <a:gd name="T79" fmla="*/ 66 h 100"/>
                <a:gd name="T80" fmla="*/ 13 w 156"/>
                <a:gd name="T81" fmla="*/ 60 h 100"/>
                <a:gd name="T82" fmla="*/ 9 w 156"/>
                <a:gd name="T83" fmla="*/ 56 h 100"/>
                <a:gd name="T84" fmla="*/ 8 w 156"/>
                <a:gd name="T85" fmla="*/ 55 h 100"/>
                <a:gd name="T86" fmla="*/ 7 w 156"/>
                <a:gd name="T87" fmla="*/ 52 h 100"/>
                <a:gd name="T88" fmla="*/ 6 w 156"/>
                <a:gd name="T89" fmla="*/ 44 h 100"/>
                <a:gd name="T90" fmla="*/ 4 w 156"/>
                <a:gd name="T91" fmla="*/ 34 h 100"/>
                <a:gd name="T92" fmla="*/ 2 w 156"/>
                <a:gd name="T93" fmla="*/ 23 h 100"/>
                <a:gd name="T94" fmla="*/ 0 w 156"/>
                <a:gd name="T95" fmla="*/ 13 h 100"/>
                <a:gd name="T96" fmla="*/ 0 w 156"/>
                <a:gd name="T97" fmla="*/ 6 h 100"/>
                <a:gd name="T98" fmla="*/ 1 w 156"/>
                <a:gd name="T99" fmla="*/ 2 h 100"/>
                <a:gd name="T100" fmla="*/ 7 w 156"/>
                <a:gd name="T10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100">
                  <a:moveTo>
                    <a:pt x="7" y="0"/>
                  </a:moveTo>
                  <a:lnTo>
                    <a:pt x="13" y="1"/>
                  </a:lnTo>
                  <a:lnTo>
                    <a:pt x="19" y="3"/>
                  </a:lnTo>
                  <a:lnTo>
                    <a:pt x="23" y="4"/>
                  </a:lnTo>
                  <a:lnTo>
                    <a:pt x="25" y="5"/>
                  </a:lnTo>
                  <a:lnTo>
                    <a:pt x="33" y="16"/>
                  </a:lnTo>
                  <a:lnTo>
                    <a:pt x="41" y="27"/>
                  </a:lnTo>
                  <a:lnTo>
                    <a:pt x="48" y="37"/>
                  </a:lnTo>
                  <a:lnTo>
                    <a:pt x="53" y="45"/>
                  </a:lnTo>
                  <a:lnTo>
                    <a:pt x="58" y="51"/>
                  </a:lnTo>
                  <a:lnTo>
                    <a:pt x="60" y="53"/>
                  </a:lnTo>
                  <a:lnTo>
                    <a:pt x="63" y="55"/>
                  </a:lnTo>
                  <a:lnTo>
                    <a:pt x="66" y="56"/>
                  </a:lnTo>
                  <a:lnTo>
                    <a:pt x="69" y="56"/>
                  </a:lnTo>
                  <a:lnTo>
                    <a:pt x="72" y="54"/>
                  </a:lnTo>
                  <a:lnTo>
                    <a:pt x="82" y="48"/>
                  </a:lnTo>
                  <a:lnTo>
                    <a:pt x="93" y="43"/>
                  </a:lnTo>
                  <a:lnTo>
                    <a:pt x="104" y="37"/>
                  </a:lnTo>
                  <a:lnTo>
                    <a:pt x="114" y="31"/>
                  </a:lnTo>
                  <a:lnTo>
                    <a:pt x="124" y="26"/>
                  </a:lnTo>
                  <a:lnTo>
                    <a:pt x="132" y="22"/>
                  </a:lnTo>
                  <a:lnTo>
                    <a:pt x="137" y="19"/>
                  </a:lnTo>
                  <a:lnTo>
                    <a:pt x="139" y="18"/>
                  </a:lnTo>
                  <a:lnTo>
                    <a:pt x="156" y="42"/>
                  </a:lnTo>
                  <a:lnTo>
                    <a:pt x="154" y="44"/>
                  </a:lnTo>
                  <a:lnTo>
                    <a:pt x="149" y="48"/>
                  </a:lnTo>
                  <a:lnTo>
                    <a:pt x="140" y="56"/>
                  </a:lnTo>
                  <a:lnTo>
                    <a:pt x="130" y="64"/>
                  </a:lnTo>
                  <a:lnTo>
                    <a:pt x="118" y="72"/>
                  </a:lnTo>
                  <a:lnTo>
                    <a:pt x="105" y="81"/>
                  </a:lnTo>
                  <a:lnTo>
                    <a:pt x="92" y="88"/>
                  </a:lnTo>
                  <a:lnTo>
                    <a:pt x="79" y="95"/>
                  </a:lnTo>
                  <a:lnTo>
                    <a:pt x="68" y="99"/>
                  </a:lnTo>
                  <a:lnTo>
                    <a:pt x="58" y="100"/>
                  </a:lnTo>
                  <a:lnTo>
                    <a:pt x="49" y="97"/>
                  </a:lnTo>
                  <a:lnTo>
                    <a:pt x="45" y="93"/>
                  </a:lnTo>
                  <a:lnTo>
                    <a:pt x="39" y="88"/>
                  </a:lnTo>
                  <a:lnTo>
                    <a:pt x="32" y="81"/>
                  </a:lnTo>
                  <a:lnTo>
                    <a:pt x="25" y="74"/>
                  </a:lnTo>
                  <a:lnTo>
                    <a:pt x="19" y="66"/>
                  </a:lnTo>
                  <a:lnTo>
                    <a:pt x="13" y="60"/>
                  </a:lnTo>
                  <a:lnTo>
                    <a:pt x="9" y="56"/>
                  </a:lnTo>
                  <a:lnTo>
                    <a:pt x="8" y="55"/>
                  </a:lnTo>
                  <a:lnTo>
                    <a:pt x="7" y="52"/>
                  </a:lnTo>
                  <a:lnTo>
                    <a:pt x="6" y="44"/>
                  </a:lnTo>
                  <a:lnTo>
                    <a:pt x="4" y="34"/>
                  </a:lnTo>
                  <a:lnTo>
                    <a:pt x="2" y="23"/>
                  </a:lnTo>
                  <a:lnTo>
                    <a:pt x="0" y="13"/>
                  </a:lnTo>
                  <a:lnTo>
                    <a:pt x="0" y="6"/>
                  </a:lnTo>
                  <a:lnTo>
                    <a:pt x="1" y="2"/>
                  </a:lnTo>
                  <a:lnTo>
                    <a:pt x="7" y="0"/>
                  </a:lnTo>
                  <a:close/>
                </a:path>
              </a:pathLst>
            </a:custGeom>
            <a:solidFill>
              <a:srgbClr val="69E2FF"/>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24" name="Freeform 608">
              <a:extLst>
                <a:ext uri="{FF2B5EF4-FFF2-40B4-BE49-F238E27FC236}">
                  <a16:creationId xmlns:a16="http://schemas.microsoft.com/office/drawing/2014/main" id="{3FB6FECD-C9A9-4588-9A80-667670D91659}"/>
                </a:ext>
              </a:extLst>
            </p:cNvPr>
            <p:cNvSpPr>
              <a:spLocks/>
            </p:cNvSpPr>
            <p:nvPr/>
          </p:nvSpPr>
          <p:spPr bwMode="auto">
            <a:xfrm>
              <a:off x="5497513" y="1195389"/>
              <a:ext cx="49213" cy="49213"/>
            </a:xfrm>
            <a:custGeom>
              <a:avLst/>
              <a:gdLst>
                <a:gd name="T0" fmla="*/ 11 w 31"/>
                <a:gd name="T1" fmla="*/ 0 h 31"/>
                <a:gd name="T2" fmla="*/ 20 w 31"/>
                <a:gd name="T3" fmla="*/ 1 h 31"/>
                <a:gd name="T4" fmla="*/ 28 w 31"/>
                <a:gd name="T5" fmla="*/ 5 h 31"/>
                <a:gd name="T6" fmla="*/ 31 w 31"/>
                <a:gd name="T7" fmla="*/ 13 h 31"/>
                <a:gd name="T8" fmla="*/ 30 w 31"/>
                <a:gd name="T9" fmla="*/ 21 h 31"/>
                <a:gd name="T10" fmla="*/ 24 w 31"/>
                <a:gd name="T11" fmla="*/ 27 h 31"/>
                <a:gd name="T12" fmla="*/ 17 w 31"/>
                <a:gd name="T13" fmla="*/ 31 h 31"/>
                <a:gd name="T14" fmla="*/ 0 w 31"/>
                <a:gd name="T15" fmla="*/ 7 h 31"/>
                <a:gd name="T16" fmla="*/ 3 w 31"/>
                <a:gd name="T17" fmla="*/ 4 h 31"/>
                <a:gd name="T18" fmla="*/ 7 w 31"/>
                <a:gd name="T19" fmla="*/ 2 h 31"/>
                <a:gd name="T20" fmla="*/ 11 w 31"/>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31">
                  <a:moveTo>
                    <a:pt x="11" y="0"/>
                  </a:moveTo>
                  <a:lnTo>
                    <a:pt x="20" y="1"/>
                  </a:lnTo>
                  <a:lnTo>
                    <a:pt x="28" y="5"/>
                  </a:lnTo>
                  <a:lnTo>
                    <a:pt x="31" y="13"/>
                  </a:lnTo>
                  <a:lnTo>
                    <a:pt x="30" y="21"/>
                  </a:lnTo>
                  <a:lnTo>
                    <a:pt x="24" y="27"/>
                  </a:lnTo>
                  <a:lnTo>
                    <a:pt x="17" y="31"/>
                  </a:lnTo>
                  <a:lnTo>
                    <a:pt x="0" y="7"/>
                  </a:lnTo>
                  <a:lnTo>
                    <a:pt x="3" y="4"/>
                  </a:lnTo>
                  <a:lnTo>
                    <a:pt x="7" y="2"/>
                  </a:lnTo>
                  <a:lnTo>
                    <a:pt x="11" y="0"/>
                  </a:lnTo>
                  <a:close/>
                </a:path>
              </a:pathLst>
            </a:custGeom>
            <a:solidFill>
              <a:srgbClr val="FFB878"/>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25" name="Freeform 609">
              <a:extLst>
                <a:ext uri="{FF2B5EF4-FFF2-40B4-BE49-F238E27FC236}">
                  <a16:creationId xmlns:a16="http://schemas.microsoft.com/office/drawing/2014/main" id="{43E9A832-C99B-4777-8C90-ADF7B28DD48E}"/>
                </a:ext>
              </a:extLst>
            </p:cNvPr>
            <p:cNvSpPr>
              <a:spLocks/>
            </p:cNvSpPr>
            <p:nvPr/>
          </p:nvSpPr>
          <p:spPr bwMode="auto">
            <a:xfrm>
              <a:off x="5084763" y="1184276"/>
              <a:ext cx="85725" cy="252413"/>
            </a:xfrm>
            <a:custGeom>
              <a:avLst/>
              <a:gdLst>
                <a:gd name="T0" fmla="*/ 44 w 54"/>
                <a:gd name="T1" fmla="*/ 0 h 159"/>
                <a:gd name="T2" fmla="*/ 53 w 54"/>
                <a:gd name="T3" fmla="*/ 0 h 159"/>
                <a:gd name="T4" fmla="*/ 54 w 54"/>
                <a:gd name="T5" fmla="*/ 3 h 159"/>
                <a:gd name="T6" fmla="*/ 53 w 54"/>
                <a:gd name="T7" fmla="*/ 9 h 159"/>
                <a:gd name="T8" fmla="*/ 52 w 54"/>
                <a:gd name="T9" fmla="*/ 18 h 159"/>
                <a:gd name="T10" fmla="*/ 50 w 54"/>
                <a:gd name="T11" fmla="*/ 29 h 159"/>
                <a:gd name="T12" fmla="*/ 48 w 54"/>
                <a:gd name="T13" fmla="*/ 40 h 159"/>
                <a:gd name="T14" fmla="*/ 45 w 54"/>
                <a:gd name="T15" fmla="*/ 50 h 159"/>
                <a:gd name="T16" fmla="*/ 44 w 54"/>
                <a:gd name="T17" fmla="*/ 56 h 159"/>
                <a:gd name="T18" fmla="*/ 43 w 54"/>
                <a:gd name="T19" fmla="*/ 59 h 159"/>
                <a:gd name="T20" fmla="*/ 40 w 54"/>
                <a:gd name="T21" fmla="*/ 63 h 159"/>
                <a:gd name="T22" fmla="*/ 39 w 54"/>
                <a:gd name="T23" fmla="*/ 70 h 159"/>
                <a:gd name="T24" fmla="*/ 38 w 54"/>
                <a:gd name="T25" fmla="*/ 81 h 159"/>
                <a:gd name="T26" fmla="*/ 36 w 54"/>
                <a:gd name="T27" fmla="*/ 95 h 159"/>
                <a:gd name="T28" fmla="*/ 35 w 54"/>
                <a:gd name="T29" fmla="*/ 109 h 159"/>
                <a:gd name="T30" fmla="*/ 33 w 54"/>
                <a:gd name="T31" fmla="*/ 124 h 159"/>
                <a:gd name="T32" fmla="*/ 32 w 54"/>
                <a:gd name="T33" fmla="*/ 137 h 159"/>
                <a:gd name="T34" fmla="*/ 31 w 54"/>
                <a:gd name="T35" fmla="*/ 148 h 159"/>
                <a:gd name="T36" fmla="*/ 30 w 54"/>
                <a:gd name="T37" fmla="*/ 157 h 159"/>
                <a:gd name="T38" fmla="*/ 30 w 54"/>
                <a:gd name="T39" fmla="*/ 159 h 159"/>
                <a:gd name="T40" fmla="*/ 0 w 54"/>
                <a:gd name="T41" fmla="*/ 159 h 159"/>
                <a:gd name="T42" fmla="*/ 0 w 54"/>
                <a:gd name="T43" fmla="*/ 157 h 159"/>
                <a:gd name="T44" fmla="*/ 0 w 54"/>
                <a:gd name="T45" fmla="*/ 147 h 159"/>
                <a:gd name="T46" fmla="*/ 1 w 54"/>
                <a:gd name="T47" fmla="*/ 135 h 159"/>
                <a:gd name="T48" fmla="*/ 2 w 54"/>
                <a:gd name="T49" fmla="*/ 120 h 159"/>
                <a:gd name="T50" fmla="*/ 3 w 54"/>
                <a:gd name="T51" fmla="*/ 103 h 159"/>
                <a:gd name="T52" fmla="*/ 5 w 54"/>
                <a:gd name="T53" fmla="*/ 85 h 159"/>
                <a:gd name="T54" fmla="*/ 6 w 54"/>
                <a:gd name="T55" fmla="*/ 67 h 159"/>
                <a:gd name="T56" fmla="*/ 8 w 54"/>
                <a:gd name="T57" fmla="*/ 50 h 159"/>
                <a:gd name="T58" fmla="*/ 9 w 54"/>
                <a:gd name="T59" fmla="*/ 34 h 159"/>
                <a:gd name="T60" fmla="*/ 11 w 54"/>
                <a:gd name="T61" fmla="*/ 22 h 159"/>
                <a:gd name="T62" fmla="*/ 14 w 54"/>
                <a:gd name="T63" fmla="*/ 12 h 159"/>
                <a:gd name="T64" fmla="*/ 20 w 54"/>
                <a:gd name="T65" fmla="*/ 5 h 159"/>
                <a:gd name="T66" fmla="*/ 27 w 54"/>
                <a:gd name="T67" fmla="*/ 2 h 159"/>
                <a:gd name="T68" fmla="*/ 36 w 54"/>
                <a:gd name="T69" fmla="*/ 0 h 159"/>
                <a:gd name="T70" fmla="*/ 44 w 54"/>
                <a:gd name="T7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 h="159">
                  <a:moveTo>
                    <a:pt x="44" y="0"/>
                  </a:moveTo>
                  <a:lnTo>
                    <a:pt x="53" y="0"/>
                  </a:lnTo>
                  <a:lnTo>
                    <a:pt x="54" y="3"/>
                  </a:lnTo>
                  <a:lnTo>
                    <a:pt x="53" y="9"/>
                  </a:lnTo>
                  <a:lnTo>
                    <a:pt x="52" y="18"/>
                  </a:lnTo>
                  <a:lnTo>
                    <a:pt x="50" y="29"/>
                  </a:lnTo>
                  <a:lnTo>
                    <a:pt x="48" y="40"/>
                  </a:lnTo>
                  <a:lnTo>
                    <a:pt x="45" y="50"/>
                  </a:lnTo>
                  <a:lnTo>
                    <a:pt x="44" y="56"/>
                  </a:lnTo>
                  <a:lnTo>
                    <a:pt x="43" y="59"/>
                  </a:lnTo>
                  <a:lnTo>
                    <a:pt x="40" y="63"/>
                  </a:lnTo>
                  <a:lnTo>
                    <a:pt x="39" y="70"/>
                  </a:lnTo>
                  <a:lnTo>
                    <a:pt x="38" y="81"/>
                  </a:lnTo>
                  <a:lnTo>
                    <a:pt x="36" y="95"/>
                  </a:lnTo>
                  <a:lnTo>
                    <a:pt x="35" y="109"/>
                  </a:lnTo>
                  <a:lnTo>
                    <a:pt x="33" y="124"/>
                  </a:lnTo>
                  <a:lnTo>
                    <a:pt x="32" y="137"/>
                  </a:lnTo>
                  <a:lnTo>
                    <a:pt x="31" y="148"/>
                  </a:lnTo>
                  <a:lnTo>
                    <a:pt x="30" y="157"/>
                  </a:lnTo>
                  <a:lnTo>
                    <a:pt x="30" y="159"/>
                  </a:lnTo>
                  <a:lnTo>
                    <a:pt x="0" y="159"/>
                  </a:lnTo>
                  <a:lnTo>
                    <a:pt x="0" y="157"/>
                  </a:lnTo>
                  <a:lnTo>
                    <a:pt x="0" y="147"/>
                  </a:lnTo>
                  <a:lnTo>
                    <a:pt x="1" y="135"/>
                  </a:lnTo>
                  <a:lnTo>
                    <a:pt x="2" y="120"/>
                  </a:lnTo>
                  <a:lnTo>
                    <a:pt x="3" y="103"/>
                  </a:lnTo>
                  <a:lnTo>
                    <a:pt x="5" y="85"/>
                  </a:lnTo>
                  <a:lnTo>
                    <a:pt x="6" y="67"/>
                  </a:lnTo>
                  <a:lnTo>
                    <a:pt x="8" y="50"/>
                  </a:lnTo>
                  <a:lnTo>
                    <a:pt x="9" y="34"/>
                  </a:lnTo>
                  <a:lnTo>
                    <a:pt x="11" y="22"/>
                  </a:lnTo>
                  <a:lnTo>
                    <a:pt x="14" y="12"/>
                  </a:lnTo>
                  <a:lnTo>
                    <a:pt x="20" y="5"/>
                  </a:lnTo>
                  <a:lnTo>
                    <a:pt x="27" y="2"/>
                  </a:lnTo>
                  <a:lnTo>
                    <a:pt x="36" y="0"/>
                  </a:lnTo>
                  <a:lnTo>
                    <a:pt x="44" y="0"/>
                  </a:lnTo>
                  <a:close/>
                </a:path>
              </a:pathLst>
            </a:custGeom>
            <a:solidFill>
              <a:srgbClr val="69E2FF"/>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26" name="Freeform 610">
              <a:extLst>
                <a:ext uri="{FF2B5EF4-FFF2-40B4-BE49-F238E27FC236}">
                  <a16:creationId xmlns:a16="http://schemas.microsoft.com/office/drawing/2014/main" id="{A38567A1-A1ED-472A-9FD8-D23C996C303B}"/>
                </a:ext>
              </a:extLst>
            </p:cNvPr>
            <p:cNvSpPr>
              <a:spLocks/>
            </p:cNvSpPr>
            <p:nvPr/>
          </p:nvSpPr>
          <p:spPr bwMode="auto">
            <a:xfrm>
              <a:off x="5083176" y="1436689"/>
              <a:ext cx="49213" cy="36513"/>
            </a:xfrm>
            <a:custGeom>
              <a:avLst/>
              <a:gdLst>
                <a:gd name="T0" fmla="*/ 1 w 31"/>
                <a:gd name="T1" fmla="*/ 0 h 23"/>
                <a:gd name="T2" fmla="*/ 31 w 31"/>
                <a:gd name="T3" fmla="*/ 0 h 23"/>
                <a:gd name="T4" fmla="*/ 31 w 31"/>
                <a:gd name="T5" fmla="*/ 5 h 23"/>
                <a:gd name="T6" fmla="*/ 31 w 31"/>
                <a:gd name="T7" fmla="*/ 9 h 23"/>
                <a:gd name="T8" fmla="*/ 30 w 31"/>
                <a:gd name="T9" fmla="*/ 13 h 23"/>
                <a:gd name="T10" fmla="*/ 24 w 31"/>
                <a:gd name="T11" fmla="*/ 20 h 23"/>
                <a:gd name="T12" fmla="*/ 16 w 31"/>
                <a:gd name="T13" fmla="*/ 23 h 23"/>
                <a:gd name="T14" fmla="*/ 8 w 31"/>
                <a:gd name="T15" fmla="*/ 22 h 23"/>
                <a:gd name="T16" fmla="*/ 3 w 31"/>
                <a:gd name="T17" fmla="*/ 17 h 23"/>
                <a:gd name="T18" fmla="*/ 0 w 31"/>
                <a:gd name="T19" fmla="*/ 9 h 23"/>
                <a:gd name="T20" fmla="*/ 1 w 31"/>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3">
                  <a:moveTo>
                    <a:pt x="1" y="0"/>
                  </a:moveTo>
                  <a:lnTo>
                    <a:pt x="31" y="0"/>
                  </a:lnTo>
                  <a:lnTo>
                    <a:pt x="31" y="5"/>
                  </a:lnTo>
                  <a:lnTo>
                    <a:pt x="31" y="9"/>
                  </a:lnTo>
                  <a:lnTo>
                    <a:pt x="30" y="13"/>
                  </a:lnTo>
                  <a:lnTo>
                    <a:pt x="24" y="20"/>
                  </a:lnTo>
                  <a:lnTo>
                    <a:pt x="16" y="23"/>
                  </a:lnTo>
                  <a:lnTo>
                    <a:pt x="8" y="22"/>
                  </a:lnTo>
                  <a:lnTo>
                    <a:pt x="3" y="17"/>
                  </a:lnTo>
                  <a:lnTo>
                    <a:pt x="0" y="9"/>
                  </a:lnTo>
                  <a:lnTo>
                    <a:pt x="1" y="0"/>
                  </a:lnTo>
                  <a:close/>
                </a:path>
              </a:pathLst>
            </a:custGeom>
            <a:solidFill>
              <a:srgbClr val="FFB878"/>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27" name="Rectangle 611">
              <a:extLst>
                <a:ext uri="{FF2B5EF4-FFF2-40B4-BE49-F238E27FC236}">
                  <a16:creationId xmlns:a16="http://schemas.microsoft.com/office/drawing/2014/main" id="{83413F25-8408-4167-8A74-65D8086C5613}"/>
                </a:ext>
              </a:extLst>
            </p:cNvPr>
            <p:cNvSpPr>
              <a:spLocks noChangeArrowheads="1"/>
            </p:cNvSpPr>
            <p:nvPr/>
          </p:nvSpPr>
          <p:spPr bwMode="auto">
            <a:xfrm>
              <a:off x="5232401" y="1419226"/>
              <a:ext cx="74613" cy="317500"/>
            </a:xfrm>
            <a:prstGeom prst="rect">
              <a:avLst/>
            </a:prstGeom>
            <a:solidFill>
              <a:srgbClr val="001620"/>
            </a:solidFill>
            <a:ln w="0">
              <a:solidFill>
                <a:schemeClr val="accent1"/>
              </a:solidFill>
              <a:prstDash val="solid"/>
              <a:miter lim="800000"/>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28" name="Rectangle 612">
              <a:extLst>
                <a:ext uri="{FF2B5EF4-FFF2-40B4-BE49-F238E27FC236}">
                  <a16:creationId xmlns:a16="http://schemas.microsoft.com/office/drawing/2014/main" id="{1CEA2A1E-7419-4268-A2F2-376B06906874}"/>
                </a:ext>
              </a:extLst>
            </p:cNvPr>
            <p:cNvSpPr>
              <a:spLocks noChangeArrowheads="1"/>
            </p:cNvSpPr>
            <p:nvPr/>
          </p:nvSpPr>
          <p:spPr bwMode="auto">
            <a:xfrm>
              <a:off x="5137151" y="1419226"/>
              <a:ext cx="79375" cy="317500"/>
            </a:xfrm>
            <a:prstGeom prst="rect">
              <a:avLst/>
            </a:prstGeom>
            <a:solidFill>
              <a:srgbClr val="001620"/>
            </a:solidFill>
            <a:ln w="0">
              <a:solidFill>
                <a:schemeClr val="accent1"/>
              </a:solidFill>
              <a:prstDash val="solid"/>
              <a:miter lim="800000"/>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29" name="Rectangle 613">
              <a:extLst>
                <a:ext uri="{FF2B5EF4-FFF2-40B4-BE49-F238E27FC236}">
                  <a16:creationId xmlns:a16="http://schemas.microsoft.com/office/drawing/2014/main" id="{59E0B00A-3EED-451F-90F7-577D6E405F40}"/>
                </a:ext>
              </a:extLst>
            </p:cNvPr>
            <p:cNvSpPr>
              <a:spLocks noChangeArrowheads="1"/>
            </p:cNvSpPr>
            <p:nvPr/>
          </p:nvSpPr>
          <p:spPr bwMode="auto">
            <a:xfrm>
              <a:off x="5170488" y="1419226"/>
              <a:ext cx="103188" cy="31750"/>
            </a:xfrm>
            <a:prstGeom prst="rect">
              <a:avLst/>
            </a:prstGeom>
            <a:solidFill>
              <a:srgbClr val="001620"/>
            </a:solidFill>
            <a:ln w="0">
              <a:solidFill>
                <a:schemeClr val="accent1"/>
              </a:solidFill>
              <a:prstDash val="solid"/>
              <a:miter lim="800000"/>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30" name="Freeform 614">
              <a:extLst>
                <a:ext uri="{FF2B5EF4-FFF2-40B4-BE49-F238E27FC236}">
                  <a16:creationId xmlns:a16="http://schemas.microsoft.com/office/drawing/2014/main" id="{9AB14776-2039-4E08-AEB3-F8EA65AB1CE5}"/>
                </a:ext>
              </a:extLst>
            </p:cNvPr>
            <p:cNvSpPr>
              <a:spLocks/>
            </p:cNvSpPr>
            <p:nvPr/>
          </p:nvSpPr>
          <p:spPr bwMode="auto">
            <a:xfrm>
              <a:off x="5226051" y="1719264"/>
              <a:ext cx="85725" cy="49213"/>
            </a:xfrm>
            <a:custGeom>
              <a:avLst/>
              <a:gdLst>
                <a:gd name="T0" fmla="*/ 27 w 54"/>
                <a:gd name="T1" fmla="*/ 0 h 31"/>
                <a:gd name="T2" fmla="*/ 38 w 54"/>
                <a:gd name="T3" fmla="*/ 2 h 31"/>
                <a:gd name="T4" fmla="*/ 46 w 54"/>
                <a:gd name="T5" fmla="*/ 7 h 31"/>
                <a:gd name="T6" fmla="*/ 52 w 54"/>
                <a:gd name="T7" fmla="*/ 14 h 31"/>
                <a:gd name="T8" fmla="*/ 54 w 54"/>
                <a:gd name="T9" fmla="*/ 22 h 31"/>
                <a:gd name="T10" fmla="*/ 53 w 54"/>
                <a:gd name="T11" fmla="*/ 27 h 31"/>
                <a:gd name="T12" fmla="*/ 52 w 54"/>
                <a:gd name="T13" fmla="*/ 31 h 31"/>
                <a:gd name="T14" fmla="*/ 2 w 54"/>
                <a:gd name="T15" fmla="*/ 31 h 31"/>
                <a:gd name="T16" fmla="*/ 1 w 54"/>
                <a:gd name="T17" fmla="*/ 27 h 31"/>
                <a:gd name="T18" fmla="*/ 0 w 54"/>
                <a:gd name="T19" fmla="*/ 22 h 31"/>
                <a:gd name="T20" fmla="*/ 2 w 54"/>
                <a:gd name="T21" fmla="*/ 14 h 31"/>
                <a:gd name="T22" fmla="*/ 8 w 54"/>
                <a:gd name="T23" fmla="*/ 7 h 31"/>
                <a:gd name="T24" fmla="*/ 16 w 54"/>
                <a:gd name="T25" fmla="*/ 2 h 31"/>
                <a:gd name="T26" fmla="*/ 27 w 54"/>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1">
                  <a:moveTo>
                    <a:pt x="27" y="0"/>
                  </a:moveTo>
                  <a:lnTo>
                    <a:pt x="38" y="2"/>
                  </a:lnTo>
                  <a:lnTo>
                    <a:pt x="46" y="7"/>
                  </a:lnTo>
                  <a:lnTo>
                    <a:pt x="52" y="14"/>
                  </a:lnTo>
                  <a:lnTo>
                    <a:pt x="54" y="22"/>
                  </a:lnTo>
                  <a:lnTo>
                    <a:pt x="53" y="27"/>
                  </a:lnTo>
                  <a:lnTo>
                    <a:pt x="52" y="31"/>
                  </a:lnTo>
                  <a:lnTo>
                    <a:pt x="2" y="31"/>
                  </a:lnTo>
                  <a:lnTo>
                    <a:pt x="1" y="27"/>
                  </a:lnTo>
                  <a:lnTo>
                    <a:pt x="0" y="22"/>
                  </a:lnTo>
                  <a:lnTo>
                    <a:pt x="2" y="14"/>
                  </a:lnTo>
                  <a:lnTo>
                    <a:pt x="8" y="7"/>
                  </a:lnTo>
                  <a:lnTo>
                    <a:pt x="16" y="2"/>
                  </a:lnTo>
                  <a:lnTo>
                    <a:pt x="27"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31" name="Freeform 615">
              <a:extLst>
                <a:ext uri="{FF2B5EF4-FFF2-40B4-BE49-F238E27FC236}">
                  <a16:creationId xmlns:a16="http://schemas.microsoft.com/office/drawing/2014/main" id="{36836A4E-5287-4548-A136-9C479F773ABB}"/>
                </a:ext>
              </a:extLst>
            </p:cNvPr>
            <p:cNvSpPr>
              <a:spLocks/>
            </p:cNvSpPr>
            <p:nvPr/>
          </p:nvSpPr>
          <p:spPr bwMode="auto">
            <a:xfrm>
              <a:off x="5133976" y="1719264"/>
              <a:ext cx="87313" cy="49213"/>
            </a:xfrm>
            <a:custGeom>
              <a:avLst/>
              <a:gdLst>
                <a:gd name="T0" fmla="*/ 27 w 55"/>
                <a:gd name="T1" fmla="*/ 0 h 31"/>
                <a:gd name="T2" fmla="*/ 39 w 55"/>
                <a:gd name="T3" fmla="*/ 2 h 31"/>
                <a:gd name="T4" fmla="*/ 47 w 55"/>
                <a:gd name="T5" fmla="*/ 7 h 31"/>
                <a:gd name="T6" fmla="*/ 53 w 55"/>
                <a:gd name="T7" fmla="*/ 14 h 31"/>
                <a:gd name="T8" fmla="*/ 55 w 55"/>
                <a:gd name="T9" fmla="*/ 22 h 31"/>
                <a:gd name="T10" fmla="*/ 55 w 55"/>
                <a:gd name="T11" fmla="*/ 27 h 31"/>
                <a:gd name="T12" fmla="*/ 53 w 55"/>
                <a:gd name="T13" fmla="*/ 31 h 31"/>
                <a:gd name="T14" fmla="*/ 3 w 55"/>
                <a:gd name="T15" fmla="*/ 31 h 31"/>
                <a:gd name="T16" fmla="*/ 1 w 55"/>
                <a:gd name="T17" fmla="*/ 27 h 31"/>
                <a:gd name="T18" fmla="*/ 0 w 55"/>
                <a:gd name="T19" fmla="*/ 22 h 31"/>
                <a:gd name="T20" fmla="*/ 2 w 55"/>
                <a:gd name="T21" fmla="*/ 14 h 31"/>
                <a:gd name="T22" fmla="*/ 8 w 55"/>
                <a:gd name="T23" fmla="*/ 7 h 31"/>
                <a:gd name="T24" fmla="*/ 17 w 55"/>
                <a:gd name="T25" fmla="*/ 2 h 31"/>
                <a:gd name="T26" fmla="*/ 27 w 55"/>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1">
                  <a:moveTo>
                    <a:pt x="27" y="0"/>
                  </a:moveTo>
                  <a:lnTo>
                    <a:pt x="39" y="2"/>
                  </a:lnTo>
                  <a:lnTo>
                    <a:pt x="47" y="7"/>
                  </a:lnTo>
                  <a:lnTo>
                    <a:pt x="53" y="14"/>
                  </a:lnTo>
                  <a:lnTo>
                    <a:pt x="55" y="22"/>
                  </a:lnTo>
                  <a:lnTo>
                    <a:pt x="55" y="27"/>
                  </a:lnTo>
                  <a:lnTo>
                    <a:pt x="53" y="31"/>
                  </a:lnTo>
                  <a:lnTo>
                    <a:pt x="3" y="31"/>
                  </a:lnTo>
                  <a:lnTo>
                    <a:pt x="1" y="27"/>
                  </a:lnTo>
                  <a:lnTo>
                    <a:pt x="0" y="22"/>
                  </a:lnTo>
                  <a:lnTo>
                    <a:pt x="2" y="14"/>
                  </a:lnTo>
                  <a:lnTo>
                    <a:pt x="8" y="7"/>
                  </a:lnTo>
                  <a:lnTo>
                    <a:pt x="17" y="2"/>
                  </a:lnTo>
                  <a:lnTo>
                    <a:pt x="27"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32" name="Freeform 616">
              <a:extLst>
                <a:ext uri="{FF2B5EF4-FFF2-40B4-BE49-F238E27FC236}">
                  <a16:creationId xmlns:a16="http://schemas.microsoft.com/office/drawing/2014/main" id="{EC662F97-1E86-4554-BF98-B8BB650C1850}"/>
                </a:ext>
              </a:extLst>
            </p:cNvPr>
            <p:cNvSpPr>
              <a:spLocks/>
            </p:cNvSpPr>
            <p:nvPr/>
          </p:nvSpPr>
          <p:spPr bwMode="auto">
            <a:xfrm>
              <a:off x="5127626" y="1165226"/>
              <a:ext cx="188913" cy="260350"/>
            </a:xfrm>
            <a:custGeom>
              <a:avLst/>
              <a:gdLst>
                <a:gd name="T0" fmla="*/ 41 w 119"/>
                <a:gd name="T1" fmla="*/ 0 h 164"/>
                <a:gd name="T2" fmla="*/ 41 w 119"/>
                <a:gd name="T3" fmla="*/ 0 h 164"/>
                <a:gd name="T4" fmla="*/ 41 w 119"/>
                <a:gd name="T5" fmla="*/ 0 h 164"/>
                <a:gd name="T6" fmla="*/ 41 w 119"/>
                <a:gd name="T7" fmla="*/ 2 h 164"/>
                <a:gd name="T8" fmla="*/ 41 w 119"/>
                <a:gd name="T9" fmla="*/ 10 h 164"/>
                <a:gd name="T10" fmla="*/ 43 w 119"/>
                <a:gd name="T11" fmla="*/ 22 h 164"/>
                <a:gd name="T12" fmla="*/ 47 w 119"/>
                <a:gd name="T13" fmla="*/ 37 h 164"/>
                <a:gd name="T14" fmla="*/ 72 w 119"/>
                <a:gd name="T15" fmla="*/ 37 h 164"/>
                <a:gd name="T16" fmla="*/ 76 w 119"/>
                <a:gd name="T17" fmla="*/ 22 h 164"/>
                <a:gd name="T18" fmla="*/ 78 w 119"/>
                <a:gd name="T19" fmla="*/ 10 h 164"/>
                <a:gd name="T20" fmla="*/ 78 w 119"/>
                <a:gd name="T21" fmla="*/ 2 h 164"/>
                <a:gd name="T22" fmla="*/ 78 w 119"/>
                <a:gd name="T23" fmla="*/ 0 h 164"/>
                <a:gd name="T24" fmla="*/ 78 w 119"/>
                <a:gd name="T25" fmla="*/ 0 h 164"/>
                <a:gd name="T26" fmla="*/ 78 w 119"/>
                <a:gd name="T27" fmla="*/ 0 h 164"/>
                <a:gd name="T28" fmla="*/ 81 w 119"/>
                <a:gd name="T29" fmla="*/ 0 h 164"/>
                <a:gd name="T30" fmla="*/ 88 w 119"/>
                <a:gd name="T31" fmla="*/ 2 h 164"/>
                <a:gd name="T32" fmla="*/ 98 w 119"/>
                <a:gd name="T33" fmla="*/ 5 h 164"/>
                <a:gd name="T34" fmla="*/ 108 w 119"/>
                <a:gd name="T35" fmla="*/ 9 h 164"/>
                <a:gd name="T36" fmla="*/ 119 w 119"/>
                <a:gd name="T37" fmla="*/ 13 h 164"/>
                <a:gd name="T38" fmla="*/ 113 w 119"/>
                <a:gd name="T39" fmla="*/ 164 h 164"/>
                <a:gd name="T40" fmla="*/ 6 w 119"/>
                <a:gd name="T41" fmla="*/ 164 h 164"/>
                <a:gd name="T42" fmla="*/ 0 w 119"/>
                <a:gd name="T43" fmla="*/ 13 h 164"/>
                <a:gd name="T44" fmla="*/ 10 w 119"/>
                <a:gd name="T45" fmla="*/ 9 h 164"/>
                <a:gd name="T46" fmla="*/ 21 w 119"/>
                <a:gd name="T47" fmla="*/ 5 h 164"/>
                <a:gd name="T48" fmla="*/ 30 w 119"/>
                <a:gd name="T49" fmla="*/ 2 h 164"/>
                <a:gd name="T50" fmla="*/ 37 w 119"/>
                <a:gd name="T51" fmla="*/ 0 h 164"/>
                <a:gd name="T52" fmla="*/ 41 w 119"/>
                <a:gd name="T5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9" h="164">
                  <a:moveTo>
                    <a:pt x="41" y="0"/>
                  </a:moveTo>
                  <a:lnTo>
                    <a:pt x="41" y="0"/>
                  </a:lnTo>
                  <a:lnTo>
                    <a:pt x="41" y="0"/>
                  </a:lnTo>
                  <a:lnTo>
                    <a:pt x="41" y="2"/>
                  </a:lnTo>
                  <a:lnTo>
                    <a:pt x="41" y="10"/>
                  </a:lnTo>
                  <a:lnTo>
                    <a:pt x="43" y="22"/>
                  </a:lnTo>
                  <a:lnTo>
                    <a:pt x="47" y="37"/>
                  </a:lnTo>
                  <a:lnTo>
                    <a:pt x="72" y="37"/>
                  </a:lnTo>
                  <a:lnTo>
                    <a:pt x="76" y="22"/>
                  </a:lnTo>
                  <a:lnTo>
                    <a:pt x="78" y="10"/>
                  </a:lnTo>
                  <a:lnTo>
                    <a:pt x="78" y="2"/>
                  </a:lnTo>
                  <a:lnTo>
                    <a:pt x="78" y="0"/>
                  </a:lnTo>
                  <a:lnTo>
                    <a:pt x="78" y="0"/>
                  </a:lnTo>
                  <a:lnTo>
                    <a:pt x="78" y="0"/>
                  </a:lnTo>
                  <a:lnTo>
                    <a:pt x="81" y="0"/>
                  </a:lnTo>
                  <a:lnTo>
                    <a:pt x="88" y="2"/>
                  </a:lnTo>
                  <a:lnTo>
                    <a:pt x="98" y="5"/>
                  </a:lnTo>
                  <a:lnTo>
                    <a:pt x="108" y="9"/>
                  </a:lnTo>
                  <a:lnTo>
                    <a:pt x="119" y="13"/>
                  </a:lnTo>
                  <a:lnTo>
                    <a:pt x="113" y="164"/>
                  </a:lnTo>
                  <a:lnTo>
                    <a:pt x="6" y="164"/>
                  </a:lnTo>
                  <a:lnTo>
                    <a:pt x="0" y="13"/>
                  </a:lnTo>
                  <a:lnTo>
                    <a:pt x="10" y="9"/>
                  </a:lnTo>
                  <a:lnTo>
                    <a:pt x="21" y="5"/>
                  </a:lnTo>
                  <a:lnTo>
                    <a:pt x="30" y="2"/>
                  </a:lnTo>
                  <a:lnTo>
                    <a:pt x="37" y="0"/>
                  </a:lnTo>
                  <a:lnTo>
                    <a:pt x="41" y="0"/>
                  </a:lnTo>
                  <a:close/>
                </a:path>
              </a:pathLst>
            </a:custGeom>
            <a:solidFill>
              <a:srgbClr val="4FCFFF"/>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33" name="Freeform 617">
              <a:extLst>
                <a:ext uri="{FF2B5EF4-FFF2-40B4-BE49-F238E27FC236}">
                  <a16:creationId xmlns:a16="http://schemas.microsoft.com/office/drawing/2014/main" id="{21C31B14-B957-4D0E-8269-EDD935237F80}"/>
                </a:ext>
              </a:extLst>
            </p:cNvPr>
            <p:cNvSpPr>
              <a:spLocks/>
            </p:cNvSpPr>
            <p:nvPr/>
          </p:nvSpPr>
          <p:spPr bwMode="auto">
            <a:xfrm>
              <a:off x="5175251" y="1138239"/>
              <a:ext cx="93663" cy="122238"/>
            </a:xfrm>
            <a:custGeom>
              <a:avLst/>
              <a:gdLst>
                <a:gd name="T0" fmla="*/ 16 w 59"/>
                <a:gd name="T1" fmla="*/ 0 h 77"/>
                <a:gd name="T2" fmla="*/ 43 w 59"/>
                <a:gd name="T3" fmla="*/ 0 h 77"/>
                <a:gd name="T4" fmla="*/ 43 w 59"/>
                <a:gd name="T5" fmla="*/ 2 h 77"/>
                <a:gd name="T6" fmla="*/ 43 w 59"/>
                <a:gd name="T7" fmla="*/ 9 h 77"/>
                <a:gd name="T8" fmla="*/ 45 w 59"/>
                <a:gd name="T9" fmla="*/ 19 h 77"/>
                <a:gd name="T10" fmla="*/ 50 w 59"/>
                <a:gd name="T11" fmla="*/ 31 h 77"/>
                <a:gd name="T12" fmla="*/ 59 w 59"/>
                <a:gd name="T13" fmla="*/ 43 h 77"/>
                <a:gd name="T14" fmla="*/ 31 w 59"/>
                <a:gd name="T15" fmla="*/ 77 h 77"/>
                <a:gd name="T16" fmla="*/ 29 w 59"/>
                <a:gd name="T17" fmla="*/ 77 h 77"/>
                <a:gd name="T18" fmla="*/ 0 w 59"/>
                <a:gd name="T19" fmla="*/ 43 h 77"/>
                <a:gd name="T20" fmla="*/ 10 w 59"/>
                <a:gd name="T21" fmla="*/ 31 h 77"/>
                <a:gd name="T22" fmla="*/ 15 w 59"/>
                <a:gd name="T23" fmla="*/ 19 h 77"/>
                <a:gd name="T24" fmla="*/ 17 w 59"/>
                <a:gd name="T25" fmla="*/ 9 h 77"/>
                <a:gd name="T26" fmla="*/ 17 w 59"/>
                <a:gd name="T27" fmla="*/ 2 h 77"/>
                <a:gd name="T28" fmla="*/ 16 w 59"/>
                <a:gd name="T2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77">
                  <a:moveTo>
                    <a:pt x="16" y="0"/>
                  </a:moveTo>
                  <a:lnTo>
                    <a:pt x="43" y="0"/>
                  </a:lnTo>
                  <a:lnTo>
                    <a:pt x="43" y="2"/>
                  </a:lnTo>
                  <a:lnTo>
                    <a:pt x="43" y="9"/>
                  </a:lnTo>
                  <a:lnTo>
                    <a:pt x="45" y="19"/>
                  </a:lnTo>
                  <a:lnTo>
                    <a:pt x="50" y="31"/>
                  </a:lnTo>
                  <a:lnTo>
                    <a:pt x="59" y="43"/>
                  </a:lnTo>
                  <a:lnTo>
                    <a:pt x="31" y="77"/>
                  </a:lnTo>
                  <a:lnTo>
                    <a:pt x="29" y="77"/>
                  </a:lnTo>
                  <a:lnTo>
                    <a:pt x="0" y="43"/>
                  </a:lnTo>
                  <a:lnTo>
                    <a:pt x="10" y="31"/>
                  </a:lnTo>
                  <a:lnTo>
                    <a:pt x="15" y="19"/>
                  </a:lnTo>
                  <a:lnTo>
                    <a:pt x="17" y="9"/>
                  </a:lnTo>
                  <a:lnTo>
                    <a:pt x="17" y="2"/>
                  </a:lnTo>
                  <a:lnTo>
                    <a:pt x="16" y="0"/>
                  </a:lnTo>
                  <a:close/>
                </a:path>
              </a:pathLst>
            </a:custGeom>
            <a:solidFill>
              <a:srgbClr val="FFB878"/>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34" name="Freeform 618">
              <a:extLst>
                <a:ext uri="{FF2B5EF4-FFF2-40B4-BE49-F238E27FC236}">
                  <a16:creationId xmlns:a16="http://schemas.microsoft.com/office/drawing/2014/main" id="{8BD5E0BE-5D6A-4FB3-9997-5A4DDC652233}"/>
                </a:ext>
              </a:extLst>
            </p:cNvPr>
            <p:cNvSpPr>
              <a:spLocks/>
            </p:cNvSpPr>
            <p:nvPr/>
          </p:nvSpPr>
          <p:spPr bwMode="auto">
            <a:xfrm>
              <a:off x="5195888" y="1138239"/>
              <a:ext cx="47625" cy="39688"/>
            </a:xfrm>
            <a:custGeom>
              <a:avLst/>
              <a:gdLst>
                <a:gd name="T0" fmla="*/ 3 w 30"/>
                <a:gd name="T1" fmla="*/ 0 h 25"/>
                <a:gd name="T2" fmla="*/ 30 w 30"/>
                <a:gd name="T3" fmla="*/ 0 h 25"/>
                <a:gd name="T4" fmla="*/ 30 w 30"/>
                <a:gd name="T5" fmla="*/ 0 h 25"/>
                <a:gd name="T6" fmla="*/ 30 w 30"/>
                <a:gd name="T7" fmla="*/ 3 h 25"/>
                <a:gd name="T8" fmla="*/ 20 w 30"/>
                <a:gd name="T9" fmla="*/ 11 h 25"/>
                <a:gd name="T10" fmla="*/ 11 w 30"/>
                <a:gd name="T11" fmla="*/ 19 h 25"/>
                <a:gd name="T12" fmla="*/ 0 w 30"/>
                <a:gd name="T13" fmla="*/ 25 h 25"/>
                <a:gd name="T14" fmla="*/ 3 w 30"/>
                <a:gd name="T15" fmla="*/ 15 h 25"/>
                <a:gd name="T16" fmla="*/ 4 w 30"/>
                <a:gd name="T17" fmla="*/ 7 h 25"/>
                <a:gd name="T18" fmla="*/ 4 w 30"/>
                <a:gd name="T19" fmla="*/ 2 h 25"/>
                <a:gd name="T20" fmla="*/ 3 w 30"/>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5">
                  <a:moveTo>
                    <a:pt x="3" y="0"/>
                  </a:moveTo>
                  <a:lnTo>
                    <a:pt x="30" y="0"/>
                  </a:lnTo>
                  <a:lnTo>
                    <a:pt x="30" y="0"/>
                  </a:lnTo>
                  <a:lnTo>
                    <a:pt x="30" y="3"/>
                  </a:lnTo>
                  <a:lnTo>
                    <a:pt x="20" y="11"/>
                  </a:lnTo>
                  <a:lnTo>
                    <a:pt x="11" y="19"/>
                  </a:lnTo>
                  <a:lnTo>
                    <a:pt x="0" y="25"/>
                  </a:lnTo>
                  <a:lnTo>
                    <a:pt x="3" y="15"/>
                  </a:lnTo>
                  <a:lnTo>
                    <a:pt x="4" y="7"/>
                  </a:lnTo>
                  <a:lnTo>
                    <a:pt x="4" y="2"/>
                  </a:lnTo>
                  <a:lnTo>
                    <a:pt x="3" y="0"/>
                  </a:lnTo>
                  <a:close/>
                </a:path>
              </a:pathLst>
            </a:custGeom>
            <a:solidFill>
              <a:srgbClr val="EBA44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35" name="Freeform 619">
              <a:extLst>
                <a:ext uri="{FF2B5EF4-FFF2-40B4-BE49-F238E27FC236}">
                  <a16:creationId xmlns:a16="http://schemas.microsoft.com/office/drawing/2014/main" id="{27AC54C2-E179-48B1-9E08-33984BB3D495}"/>
                </a:ext>
              </a:extLst>
            </p:cNvPr>
            <p:cNvSpPr>
              <a:spLocks/>
            </p:cNvSpPr>
            <p:nvPr/>
          </p:nvSpPr>
          <p:spPr bwMode="auto">
            <a:xfrm>
              <a:off x="5175251" y="1168401"/>
              <a:ext cx="93663" cy="92075"/>
            </a:xfrm>
            <a:custGeom>
              <a:avLst/>
              <a:gdLst>
                <a:gd name="T0" fmla="*/ 15 w 59"/>
                <a:gd name="T1" fmla="*/ 0 h 58"/>
                <a:gd name="T2" fmla="*/ 30 w 59"/>
                <a:gd name="T3" fmla="*/ 9 h 58"/>
                <a:gd name="T4" fmla="*/ 45 w 59"/>
                <a:gd name="T5" fmla="*/ 0 h 58"/>
                <a:gd name="T6" fmla="*/ 50 w 59"/>
                <a:gd name="T7" fmla="*/ 12 h 58"/>
                <a:gd name="T8" fmla="*/ 59 w 59"/>
                <a:gd name="T9" fmla="*/ 24 h 58"/>
                <a:gd name="T10" fmla="*/ 31 w 59"/>
                <a:gd name="T11" fmla="*/ 58 h 58"/>
                <a:gd name="T12" fmla="*/ 29 w 59"/>
                <a:gd name="T13" fmla="*/ 58 h 58"/>
                <a:gd name="T14" fmla="*/ 0 w 59"/>
                <a:gd name="T15" fmla="*/ 24 h 58"/>
                <a:gd name="T16" fmla="*/ 10 w 59"/>
                <a:gd name="T17" fmla="*/ 12 h 58"/>
                <a:gd name="T18" fmla="*/ 15 w 59"/>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58">
                  <a:moveTo>
                    <a:pt x="15" y="0"/>
                  </a:moveTo>
                  <a:lnTo>
                    <a:pt x="30" y="9"/>
                  </a:lnTo>
                  <a:lnTo>
                    <a:pt x="45" y="0"/>
                  </a:lnTo>
                  <a:lnTo>
                    <a:pt x="50" y="12"/>
                  </a:lnTo>
                  <a:lnTo>
                    <a:pt x="59" y="24"/>
                  </a:lnTo>
                  <a:lnTo>
                    <a:pt x="31" y="58"/>
                  </a:lnTo>
                  <a:lnTo>
                    <a:pt x="29" y="58"/>
                  </a:lnTo>
                  <a:lnTo>
                    <a:pt x="0" y="24"/>
                  </a:lnTo>
                  <a:lnTo>
                    <a:pt x="10" y="12"/>
                  </a:lnTo>
                  <a:lnTo>
                    <a:pt x="15" y="0"/>
                  </a:lnTo>
                  <a:close/>
                </a:path>
              </a:pathLst>
            </a:custGeom>
            <a:solidFill>
              <a:srgbClr val="EFF5F4"/>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36" name="Freeform 620">
              <a:extLst>
                <a:ext uri="{FF2B5EF4-FFF2-40B4-BE49-F238E27FC236}">
                  <a16:creationId xmlns:a16="http://schemas.microsoft.com/office/drawing/2014/main" id="{F16275FC-8BFD-45FC-A6E0-1DFD3F120746}"/>
                </a:ext>
              </a:extLst>
            </p:cNvPr>
            <p:cNvSpPr>
              <a:spLocks/>
            </p:cNvSpPr>
            <p:nvPr/>
          </p:nvSpPr>
          <p:spPr bwMode="auto">
            <a:xfrm>
              <a:off x="5199063" y="1168401"/>
              <a:ext cx="47625" cy="100013"/>
            </a:xfrm>
            <a:custGeom>
              <a:avLst/>
              <a:gdLst>
                <a:gd name="T0" fmla="*/ 0 w 30"/>
                <a:gd name="T1" fmla="*/ 0 h 63"/>
                <a:gd name="T2" fmla="*/ 15 w 30"/>
                <a:gd name="T3" fmla="*/ 10 h 63"/>
                <a:gd name="T4" fmla="*/ 30 w 30"/>
                <a:gd name="T5" fmla="*/ 0 h 63"/>
                <a:gd name="T6" fmla="*/ 29 w 30"/>
                <a:gd name="T7" fmla="*/ 5 h 63"/>
                <a:gd name="T8" fmla="*/ 26 w 30"/>
                <a:gd name="T9" fmla="*/ 10 h 63"/>
                <a:gd name="T10" fmla="*/ 22 w 30"/>
                <a:gd name="T11" fmla="*/ 14 h 63"/>
                <a:gd name="T12" fmla="*/ 19 w 30"/>
                <a:gd name="T13" fmla="*/ 18 h 63"/>
                <a:gd name="T14" fmla="*/ 17 w 30"/>
                <a:gd name="T15" fmla="*/ 19 h 63"/>
                <a:gd name="T16" fmla="*/ 24 w 30"/>
                <a:gd name="T17" fmla="*/ 50 h 63"/>
                <a:gd name="T18" fmla="*/ 15 w 30"/>
                <a:gd name="T19" fmla="*/ 63 h 63"/>
                <a:gd name="T20" fmla="*/ 5 w 30"/>
                <a:gd name="T21" fmla="*/ 50 h 63"/>
                <a:gd name="T22" fmla="*/ 13 w 30"/>
                <a:gd name="T23" fmla="*/ 19 h 63"/>
                <a:gd name="T24" fmla="*/ 11 w 30"/>
                <a:gd name="T25" fmla="*/ 18 h 63"/>
                <a:gd name="T26" fmla="*/ 8 w 30"/>
                <a:gd name="T27" fmla="*/ 14 h 63"/>
                <a:gd name="T28" fmla="*/ 4 w 30"/>
                <a:gd name="T29" fmla="*/ 10 h 63"/>
                <a:gd name="T30" fmla="*/ 0 w 30"/>
                <a:gd name="T31" fmla="*/ 5 h 63"/>
                <a:gd name="T32" fmla="*/ 0 w 30"/>
                <a:gd name="T3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63">
                  <a:moveTo>
                    <a:pt x="0" y="0"/>
                  </a:moveTo>
                  <a:lnTo>
                    <a:pt x="15" y="10"/>
                  </a:lnTo>
                  <a:lnTo>
                    <a:pt x="30" y="0"/>
                  </a:lnTo>
                  <a:lnTo>
                    <a:pt x="29" y="5"/>
                  </a:lnTo>
                  <a:lnTo>
                    <a:pt x="26" y="10"/>
                  </a:lnTo>
                  <a:lnTo>
                    <a:pt x="22" y="14"/>
                  </a:lnTo>
                  <a:lnTo>
                    <a:pt x="19" y="18"/>
                  </a:lnTo>
                  <a:lnTo>
                    <a:pt x="17" y="19"/>
                  </a:lnTo>
                  <a:lnTo>
                    <a:pt x="24" y="50"/>
                  </a:lnTo>
                  <a:lnTo>
                    <a:pt x="15" y="63"/>
                  </a:lnTo>
                  <a:lnTo>
                    <a:pt x="5" y="50"/>
                  </a:lnTo>
                  <a:lnTo>
                    <a:pt x="13" y="19"/>
                  </a:lnTo>
                  <a:lnTo>
                    <a:pt x="11" y="18"/>
                  </a:lnTo>
                  <a:lnTo>
                    <a:pt x="8" y="14"/>
                  </a:lnTo>
                  <a:lnTo>
                    <a:pt x="4" y="10"/>
                  </a:lnTo>
                  <a:lnTo>
                    <a:pt x="0" y="5"/>
                  </a:lnTo>
                  <a:lnTo>
                    <a:pt x="0"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37" name="Freeform 621">
              <a:extLst>
                <a:ext uri="{FF2B5EF4-FFF2-40B4-BE49-F238E27FC236}">
                  <a16:creationId xmlns:a16="http://schemas.microsoft.com/office/drawing/2014/main" id="{ED0C6258-F479-481C-8E9C-A36D4C1B6BE4}"/>
                </a:ext>
              </a:extLst>
            </p:cNvPr>
            <p:cNvSpPr>
              <a:spLocks/>
            </p:cNvSpPr>
            <p:nvPr/>
          </p:nvSpPr>
          <p:spPr bwMode="auto">
            <a:xfrm>
              <a:off x="5192713" y="1169989"/>
              <a:ext cx="4763" cy="12700"/>
            </a:xfrm>
            <a:custGeom>
              <a:avLst/>
              <a:gdLst>
                <a:gd name="T0" fmla="*/ 3 w 3"/>
                <a:gd name="T1" fmla="*/ 0 h 8"/>
                <a:gd name="T2" fmla="*/ 2 w 3"/>
                <a:gd name="T3" fmla="*/ 5 h 8"/>
                <a:gd name="T4" fmla="*/ 2 w 3"/>
                <a:gd name="T5" fmla="*/ 5 h 8"/>
                <a:gd name="T6" fmla="*/ 1 w 3"/>
                <a:gd name="T7" fmla="*/ 8 h 8"/>
                <a:gd name="T8" fmla="*/ 0 w 3"/>
                <a:gd name="T9" fmla="*/ 5 h 8"/>
                <a:gd name="T10" fmla="*/ 0 w 3"/>
                <a:gd name="T11" fmla="*/ 2 h 8"/>
                <a:gd name="T12" fmla="*/ 3 w 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3" h="8">
                  <a:moveTo>
                    <a:pt x="3" y="0"/>
                  </a:moveTo>
                  <a:lnTo>
                    <a:pt x="2" y="5"/>
                  </a:lnTo>
                  <a:lnTo>
                    <a:pt x="2" y="5"/>
                  </a:lnTo>
                  <a:lnTo>
                    <a:pt x="1" y="8"/>
                  </a:lnTo>
                  <a:lnTo>
                    <a:pt x="0" y="5"/>
                  </a:lnTo>
                  <a:lnTo>
                    <a:pt x="0" y="2"/>
                  </a:lnTo>
                  <a:lnTo>
                    <a:pt x="3" y="0"/>
                  </a:lnTo>
                  <a:close/>
                </a:path>
              </a:pathLst>
            </a:custGeom>
            <a:solidFill>
              <a:srgbClr val="495F6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38" name="Freeform 622">
              <a:extLst>
                <a:ext uri="{FF2B5EF4-FFF2-40B4-BE49-F238E27FC236}">
                  <a16:creationId xmlns:a16="http://schemas.microsoft.com/office/drawing/2014/main" id="{09D0F25E-1B6A-4687-A817-CA8187257D85}"/>
                </a:ext>
              </a:extLst>
            </p:cNvPr>
            <p:cNvSpPr>
              <a:spLocks/>
            </p:cNvSpPr>
            <p:nvPr/>
          </p:nvSpPr>
          <p:spPr bwMode="auto">
            <a:xfrm>
              <a:off x="5246688" y="1169989"/>
              <a:ext cx="4763" cy="11113"/>
            </a:xfrm>
            <a:custGeom>
              <a:avLst/>
              <a:gdLst>
                <a:gd name="T0" fmla="*/ 0 w 3"/>
                <a:gd name="T1" fmla="*/ 0 h 7"/>
                <a:gd name="T2" fmla="*/ 3 w 3"/>
                <a:gd name="T3" fmla="*/ 2 h 7"/>
                <a:gd name="T4" fmla="*/ 3 w 3"/>
                <a:gd name="T5" fmla="*/ 4 h 7"/>
                <a:gd name="T6" fmla="*/ 3 w 3"/>
                <a:gd name="T7" fmla="*/ 7 h 7"/>
                <a:gd name="T8" fmla="*/ 0 w 3"/>
                <a:gd name="T9" fmla="*/ 0 h 7"/>
              </a:gdLst>
              <a:ahLst/>
              <a:cxnLst>
                <a:cxn ang="0">
                  <a:pos x="T0" y="T1"/>
                </a:cxn>
                <a:cxn ang="0">
                  <a:pos x="T2" y="T3"/>
                </a:cxn>
                <a:cxn ang="0">
                  <a:pos x="T4" y="T5"/>
                </a:cxn>
                <a:cxn ang="0">
                  <a:pos x="T6" y="T7"/>
                </a:cxn>
                <a:cxn ang="0">
                  <a:pos x="T8" y="T9"/>
                </a:cxn>
              </a:cxnLst>
              <a:rect l="0" t="0" r="r" b="b"/>
              <a:pathLst>
                <a:path w="3" h="7">
                  <a:moveTo>
                    <a:pt x="0" y="0"/>
                  </a:moveTo>
                  <a:lnTo>
                    <a:pt x="3" y="2"/>
                  </a:lnTo>
                  <a:lnTo>
                    <a:pt x="3" y="4"/>
                  </a:lnTo>
                  <a:lnTo>
                    <a:pt x="3" y="7"/>
                  </a:lnTo>
                  <a:lnTo>
                    <a:pt x="0" y="0"/>
                  </a:lnTo>
                  <a:close/>
                </a:path>
              </a:pathLst>
            </a:custGeom>
            <a:solidFill>
              <a:srgbClr val="C4D1D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39" name="Freeform 623">
              <a:extLst>
                <a:ext uri="{FF2B5EF4-FFF2-40B4-BE49-F238E27FC236}">
                  <a16:creationId xmlns:a16="http://schemas.microsoft.com/office/drawing/2014/main" id="{3EAC1AE1-C786-4F45-BA13-D9E01451E345}"/>
                </a:ext>
              </a:extLst>
            </p:cNvPr>
            <p:cNvSpPr>
              <a:spLocks noEditPoints="1"/>
            </p:cNvSpPr>
            <p:nvPr/>
          </p:nvSpPr>
          <p:spPr bwMode="auto">
            <a:xfrm>
              <a:off x="5184776" y="1173164"/>
              <a:ext cx="74613" cy="12700"/>
            </a:xfrm>
            <a:custGeom>
              <a:avLst/>
              <a:gdLst>
                <a:gd name="T0" fmla="*/ 5 w 47"/>
                <a:gd name="T1" fmla="*/ 0 h 8"/>
                <a:gd name="T2" fmla="*/ 5 w 47"/>
                <a:gd name="T3" fmla="*/ 3 h 8"/>
                <a:gd name="T4" fmla="*/ 6 w 47"/>
                <a:gd name="T5" fmla="*/ 6 h 8"/>
                <a:gd name="T6" fmla="*/ 5 w 47"/>
                <a:gd name="T7" fmla="*/ 8 h 8"/>
                <a:gd name="T8" fmla="*/ 0 w 47"/>
                <a:gd name="T9" fmla="*/ 2 h 8"/>
                <a:gd name="T10" fmla="*/ 5 w 47"/>
                <a:gd name="T11" fmla="*/ 0 h 8"/>
                <a:gd name="T12" fmla="*/ 42 w 47"/>
                <a:gd name="T13" fmla="*/ 0 h 8"/>
                <a:gd name="T14" fmla="*/ 47 w 47"/>
                <a:gd name="T15" fmla="*/ 2 h 8"/>
                <a:gd name="T16" fmla="*/ 43 w 47"/>
                <a:gd name="T17" fmla="*/ 8 h 8"/>
                <a:gd name="T18" fmla="*/ 42 w 47"/>
                <a:gd name="T19" fmla="*/ 5 h 8"/>
                <a:gd name="T20" fmla="*/ 42 w 47"/>
                <a:gd name="T21" fmla="*/ 2 h 8"/>
                <a:gd name="T22" fmla="*/ 42 w 47"/>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8">
                  <a:moveTo>
                    <a:pt x="5" y="0"/>
                  </a:moveTo>
                  <a:lnTo>
                    <a:pt x="5" y="3"/>
                  </a:lnTo>
                  <a:lnTo>
                    <a:pt x="6" y="6"/>
                  </a:lnTo>
                  <a:lnTo>
                    <a:pt x="5" y="8"/>
                  </a:lnTo>
                  <a:lnTo>
                    <a:pt x="0" y="2"/>
                  </a:lnTo>
                  <a:lnTo>
                    <a:pt x="5" y="0"/>
                  </a:lnTo>
                  <a:close/>
                  <a:moveTo>
                    <a:pt x="42" y="0"/>
                  </a:moveTo>
                  <a:lnTo>
                    <a:pt x="47" y="2"/>
                  </a:lnTo>
                  <a:lnTo>
                    <a:pt x="43" y="8"/>
                  </a:lnTo>
                  <a:lnTo>
                    <a:pt x="42" y="5"/>
                  </a:lnTo>
                  <a:lnTo>
                    <a:pt x="42" y="2"/>
                  </a:lnTo>
                  <a:lnTo>
                    <a:pt x="42" y="0"/>
                  </a:lnTo>
                  <a:close/>
                </a:path>
              </a:pathLst>
            </a:custGeom>
            <a:solidFill>
              <a:srgbClr val="35A2E1"/>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40" name="Freeform 624">
              <a:extLst>
                <a:ext uri="{FF2B5EF4-FFF2-40B4-BE49-F238E27FC236}">
                  <a16:creationId xmlns:a16="http://schemas.microsoft.com/office/drawing/2014/main" id="{F2AFEADF-996F-4E77-AB09-ACE80FAD8FF7}"/>
                </a:ext>
              </a:extLst>
            </p:cNvPr>
            <p:cNvSpPr>
              <a:spLocks noEditPoints="1"/>
            </p:cNvSpPr>
            <p:nvPr/>
          </p:nvSpPr>
          <p:spPr bwMode="auto">
            <a:xfrm>
              <a:off x="5192713" y="1177926"/>
              <a:ext cx="3175" cy="7938"/>
            </a:xfrm>
            <a:custGeom>
              <a:avLst/>
              <a:gdLst>
                <a:gd name="T0" fmla="*/ 0 w 2"/>
                <a:gd name="T1" fmla="*/ 5 h 5"/>
                <a:gd name="T2" fmla="*/ 0 w 2"/>
                <a:gd name="T3" fmla="*/ 5 h 5"/>
                <a:gd name="T4" fmla="*/ 0 w 2"/>
                <a:gd name="T5" fmla="*/ 5 h 5"/>
                <a:gd name="T6" fmla="*/ 0 w 2"/>
                <a:gd name="T7" fmla="*/ 5 h 5"/>
                <a:gd name="T8" fmla="*/ 2 w 2"/>
                <a:gd name="T9" fmla="*/ 0 h 5"/>
                <a:gd name="T10" fmla="*/ 2 w 2"/>
                <a:gd name="T11" fmla="*/ 0 h 5"/>
                <a:gd name="T12" fmla="*/ 1 w 2"/>
                <a:gd name="T13" fmla="*/ 3 h 5"/>
                <a:gd name="T14" fmla="*/ 0 w 2"/>
                <a:gd name="T15" fmla="*/ 5 h 5"/>
                <a:gd name="T16" fmla="*/ 2 w 2"/>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0" y="5"/>
                  </a:moveTo>
                  <a:lnTo>
                    <a:pt x="0" y="5"/>
                  </a:lnTo>
                  <a:lnTo>
                    <a:pt x="0" y="5"/>
                  </a:lnTo>
                  <a:lnTo>
                    <a:pt x="0" y="5"/>
                  </a:lnTo>
                  <a:close/>
                  <a:moveTo>
                    <a:pt x="2" y="0"/>
                  </a:moveTo>
                  <a:lnTo>
                    <a:pt x="2" y="0"/>
                  </a:lnTo>
                  <a:lnTo>
                    <a:pt x="1" y="3"/>
                  </a:lnTo>
                  <a:lnTo>
                    <a:pt x="0" y="5"/>
                  </a:lnTo>
                  <a:lnTo>
                    <a:pt x="2" y="0"/>
                  </a:lnTo>
                  <a:close/>
                </a:path>
              </a:pathLst>
            </a:custGeom>
            <a:solidFill>
              <a:srgbClr val="CE9B5B"/>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41" name="Freeform 625">
              <a:extLst>
                <a:ext uri="{FF2B5EF4-FFF2-40B4-BE49-F238E27FC236}">
                  <a16:creationId xmlns:a16="http://schemas.microsoft.com/office/drawing/2014/main" id="{770DF595-8786-4FD2-AF48-4D045B5BA7FF}"/>
                </a:ext>
              </a:extLst>
            </p:cNvPr>
            <p:cNvSpPr>
              <a:spLocks/>
            </p:cNvSpPr>
            <p:nvPr/>
          </p:nvSpPr>
          <p:spPr bwMode="auto">
            <a:xfrm>
              <a:off x="5195888" y="1169989"/>
              <a:ext cx="1588" cy="7938"/>
            </a:xfrm>
            <a:custGeom>
              <a:avLst/>
              <a:gdLst>
                <a:gd name="T0" fmla="*/ 1 w 1"/>
                <a:gd name="T1" fmla="*/ 0 h 5"/>
                <a:gd name="T2" fmla="*/ 0 w 1"/>
                <a:gd name="T3" fmla="*/ 5 h 5"/>
                <a:gd name="T4" fmla="*/ 0 w 1"/>
                <a:gd name="T5" fmla="*/ 5 h 5"/>
                <a:gd name="T6" fmla="*/ 0 w 1"/>
                <a:gd name="T7" fmla="*/ 5 h 5"/>
                <a:gd name="T8" fmla="*/ 1 w 1"/>
                <a:gd name="T9" fmla="*/ 0 h 5"/>
                <a:gd name="T10" fmla="*/ 1 w 1"/>
                <a:gd name="T11" fmla="*/ 0 h 5"/>
              </a:gdLst>
              <a:ahLst/>
              <a:cxnLst>
                <a:cxn ang="0">
                  <a:pos x="T0" y="T1"/>
                </a:cxn>
                <a:cxn ang="0">
                  <a:pos x="T2" y="T3"/>
                </a:cxn>
                <a:cxn ang="0">
                  <a:pos x="T4" y="T5"/>
                </a:cxn>
                <a:cxn ang="0">
                  <a:pos x="T6" y="T7"/>
                </a:cxn>
                <a:cxn ang="0">
                  <a:pos x="T8" y="T9"/>
                </a:cxn>
                <a:cxn ang="0">
                  <a:pos x="T10" y="T11"/>
                </a:cxn>
              </a:cxnLst>
              <a:rect l="0" t="0" r="r" b="b"/>
              <a:pathLst>
                <a:path w="1" h="5">
                  <a:moveTo>
                    <a:pt x="1" y="0"/>
                  </a:moveTo>
                  <a:lnTo>
                    <a:pt x="0" y="5"/>
                  </a:lnTo>
                  <a:lnTo>
                    <a:pt x="0" y="5"/>
                  </a:lnTo>
                  <a:lnTo>
                    <a:pt x="0" y="5"/>
                  </a:lnTo>
                  <a:lnTo>
                    <a:pt x="1" y="0"/>
                  </a:lnTo>
                  <a:lnTo>
                    <a:pt x="1" y="0"/>
                  </a:lnTo>
                  <a:close/>
                </a:path>
              </a:pathLst>
            </a:custGeom>
            <a:solidFill>
              <a:srgbClr val="B9823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42" name="Freeform 626">
              <a:extLst>
                <a:ext uri="{FF2B5EF4-FFF2-40B4-BE49-F238E27FC236}">
                  <a16:creationId xmlns:a16="http://schemas.microsoft.com/office/drawing/2014/main" id="{DF87384A-0D22-4A52-9592-3E6A1F435767}"/>
                </a:ext>
              </a:extLst>
            </p:cNvPr>
            <p:cNvSpPr>
              <a:spLocks noEditPoints="1"/>
            </p:cNvSpPr>
            <p:nvPr/>
          </p:nvSpPr>
          <p:spPr bwMode="auto">
            <a:xfrm>
              <a:off x="5192713" y="1169989"/>
              <a:ext cx="60325" cy="39688"/>
            </a:xfrm>
            <a:custGeom>
              <a:avLst/>
              <a:gdLst>
                <a:gd name="T0" fmla="*/ 19 w 38"/>
                <a:gd name="T1" fmla="*/ 8 h 25"/>
                <a:gd name="T2" fmla="*/ 19 w 38"/>
                <a:gd name="T3" fmla="*/ 9 h 25"/>
                <a:gd name="T4" fmla="*/ 19 w 38"/>
                <a:gd name="T5" fmla="*/ 9 h 25"/>
                <a:gd name="T6" fmla="*/ 19 w 38"/>
                <a:gd name="T7" fmla="*/ 8 h 25"/>
                <a:gd name="T8" fmla="*/ 4 w 38"/>
                <a:gd name="T9" fmla="*/ 0 h 25"/>
                <a:gd name="T10" fmla="*/ 6 w 38"/>
                <a:gd name="T11" fmla="*/ 6 h 25"/>
                <a:gd name="T12" fmla="*/ 11 w 38"/>
                <a:gd name="T13" fmla="*/ 13 h 25"/>
                <a:gd name="T14" fmla="*/ 16 w 38"/>
                <a:gd name="T15" fmla="*/ 17 h 25"/>
                <a:gd name="T16" fmla="*/ 10 w 38"/>
                <a:gd name="T17" fmla="*/ 25 h 25"/>
                <a:gd name="T18" fmla="*/ 0 w 38"/>
                <a:gd name="T19" fmla="*/ 10 h 25"/>
                <a:gd name="T20" fmla="*/ 2 w 38"/>
                <a:gd name="T21" fmla="*/ 5 h 25"/>
                <a:gd name="T22" fmla="*/ 3 w 38"/>
                <a:gd name="T23" fmla="*/ 0 h 25"/>
                <a:gd name="T24" fmla="*/ 4 w 38"/>
                <a:gd name="T25" fmla="*/ 0 h 25"/>
                <a:gd name="T26" fmla="*/ 34 w 38"/>
                <a:gd name="T27" fmla="*/ 0 h 25"/>
                <a:gd name="T28" fmla="*/ 34 w 38"/>
                <a:gd name="T29" fmla="*/ 0 h 25"/>
                <a:gd name="T30" fmla="*/ 37 w 38"/>
                <a:gd name="T31" fmla="*/ 7 h 25"/>
                <a:gd name="T32" fmla="*/ 38 w 38"/>
                <a:gd name="T33" fmla="*/ 10 h 25"/>
                <a:gd name="T34" fmla="*/ 28 w 38"/>
                <a:gd name="T35" fmla="*/ 25 h 25"/>
                <a:gd name="T36" fmla="*/ 22 w 38"/>
                <a:gd name="T37" fmla="*/ 17 h 25"/>
                <a:gd name="T38" fmla="*/ 27 w 38"/>
                <a:gd name="T39" fmla="*/ 13 h 25"/>
                <a:gd name="T40" fmla="*/ 32 w 38"/>
                <a:gd name="T41" fmla="*/ 6 h 25"/>
                <a:gd name="T42" fmla="*/ 34 w 38"/>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25">
                  <a:moveTo>
                    <a:pt x="19" y="8"/>
                  </a:moveTo>
                  <a:lnTo>
                    <a:pt x="19" y="9"/>
                  </a:lnTo>
                  <a:lnTo>
                    <a:pt x="19" y="9"/>
                  </a:lnTo>
                  <a:lnTo>
                    <a:pt x="19" y="8"/>
                  </a:lnTo>
                  <a:close/>
                  <a:moveTo>
                    <a:pt x="4" y="0"/>
                  </a:moveTo>
                  <a:lnTo>
                    <a:pt x="6" y="6"/>
                  </a:lnTo>
                  <a:lnTo>
                    <a:pt x="11" y="13"/>
                  </a:lnTo>
                  <a:lnTo>
                    <a:pt x="16" y="17"/>
                  </a:lnTo>
                  <a:lnTo>
                    <a:pt x="10" y="25"/>
                  </a:lnTo>
                  <a:lnTo>
                    <a:pt x="0" y="10"/>
                  </a:lnTo>
                  <a:lnTo>
                    <a:pt x="2" y="5"/>
                  </a:lnTo>
                  <a:lnTo>
                    <a:pt x="3" y="0"/>
                  </a:lnTo>
                  <a:lnTo>
                    <a:pt x="4" y="0"/>
                  </a:lnTo>
                  <a:close/>
                  <a:moveTo>
                    <a:pt x="34" y="0"/>
                  </a:moveTo>
                  <a:lnTo>
                    <a:pt x="34" y="0"/>
                  </a:lnTo>
                  <a:lnTo>
                    <a:pt x="37" y="7"/>
                  </a:lnTo>
                  <a:lnTo>
                    <a:pt x="38" y="10"/>
                  </a:lnTo>
                  <a:lnTo>
                    <a:pt x="28" y="25"/>
                  </a:lnTo>
                  <a:lnTo>
                    <a:pt x="22" y="17"/>
                  </a:lnTo>
                  <a:lnTo>
                    <a:pt x="27" y="13"/>
                  </a:lnTo>
                  <a:lnTo>
                    <a:pt x="32" y="6"/>
                  </a:lnTo>
                  <a:lnTo>
                    <a:pt x="34" y="0"/>
                  </a:lnTo>
                  <a:close/>
                </a:path>
              </a:pathLst>
            </a:custGeom>
            <a:solidFill>
              <a:srgbClr val="C2D0CF"/>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43" name="Freeform 627">
              <a:extLst>
                <a:ext uri="{FF2B5EF4-FFF2-40B4-BE49-F238E27FC236}">
                  <a16:creationId xmlns:a16="http://schemas.microsoft.com/office/drawing/2014/main" id="{D606BCD3-2A59-4797-B946-F10D4D7B27D4}"/>
                </a:ext>
              </a:extLst>
            </p:cNvPr>
            <p:cNvSpPr>
              <a:spLocks/>
            </p:cNvSpPr>
            <p:nvPr/>
          </p:nvSpPr>
          <p:spPr bwMode="auto">
            <a:xfrm>
              <a:off x="5199063" y="1169989"/>
              <a:ext cx="47625" cy="26988"/>
            </a:xfrm>
            <a:custGeom>
              <a:avLst/>
              <a:gdLst>
                <a:gd name="T0" fmla="*/ 0 w 30"/>
                <a:gd name="T1" fmla="*/ 0 h 17"/>
                <a:gd name="T2" fmla="*/ 15 w 30"/>
                <a:gd name="T3" fmla="*/ 8 h 17"/>
                <a:gd name="T4" fmla="*/ 15 w 30"/>
                <a:gd name="T5" fmla="*/ 9 h 17"/>
                <a:gd name="T6" fmla="*/ 15 w 30"/>
                <a:gd name="T7" fmla="*/ 9 h 17"/>
                <a:gd name="T8" fmla="*/ 15 w 30"/>
                <a:gd name="T9" fmla="*/ 9 h 17"/>
                <a:gd name="T10" fmla="*/ 30 w 30"/>
                <a:gd name="T11" fmla="*/ 0 h 17"/>
                <a:gd name="T12" fmla="*/ 30 w 30"/>
                <a:gd name="T13" fmla="*/ 0 h 17"/>
                <a:gd name="T14" fmla="*/ 28 w 30"/>
                <a:gd name="T15" fmla="*/ 6 h 17"/>
                <a:gd name="T16" fmla="*/ 23 w 30"/>
                <a:gd name="T17" fmla="*/ 13 h 17"/>
                <a:gd name="T18" fmla="*/ 18 w 30"/>
                <a:gd name="T19" fmla="*/ 17 h 17"/>
                <a:gd name="T20" fmla="*/ 15 w 30"/>
                <a:gd name="T21" fmla="*/ 12 h 17"/>
                <a:gd name="T22" fmla="*/ 12 w 30"/>
                <a:gd name="T23" fmla="*/ 17 h 17"/>
                <a:gd name="T24" fmla="*/ 7 w 30"/>
                <a:gd name="T25" fmla="*/ 13 h 17"/>
                <a:gd name="T26" fmla="*/ 2 w 30"/>
                <a:gd name="T27" fmla="*/ 6 h 17"/>
                <a:gd name="T28" fmla="*/ 0 w 30"/>
                <a:gd name="T29" fmla="*/ 0 h 17"/>
                <a:gd name="T30" fmla="*/ 0 w 30"/>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17">
                  <a:moveTo>
                    <a:pt x="0" y="0"/>
                  </a:moveTo>
                  <a:lnTo>
                    <a:pt x="15" y="8"/>
                  </a:lnTo>
                  <a:lnTo>
                    <a:pt x="15" y="9"/>
                  </a:lnTo>
                  <a:lnTo>
                    <a:pt x="15" y="9"/>
                  </a:lnTo>
                  <a:lnTo>
                    <a:pt x="15" y="9"/>
                  </a:lnTo>
                  <a:lnTo>
                    <a:pt x="30" y="0"/>
                  </a:lnTo>
                  <a:lnTo>
                    <a:pt x="30" y="0"/>
                  </a:lnTo>
                  <a:lnTo>
                    <a:pt x="28" y="6"/>
                  </a:lnTo>
                  <a:lnTo>
                    <a:pt x="23" y="13"/>
                  </a:lnTo>
                  <a:lnTo>
                    <a:pt x="18" y="17"/>
                  </a:lnTo>
                  <a:lnTo>
                    <a:pt x="15" y="12"/>
                  </a:lnTo>
                  <a:lnTo>
                    <a:pt x="12" y="17"/>
                  </a:lnTo>
                  <a:lnTo>
                    <a:pt x="7" y="13"/>
                  </a:lnTo>
                  <a:lnTo>
                    <a:pt x="2" y="6"/>
                  </a:lnTo>
                  <a:lnTo>
                    <a:pt x="0" y="0"/>
                  </a:lnTo>
                  <a:lnTo>
                    <a:pt x="0"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44" name="Freeform 628">
              <a:extLst>
                <a:ext uri="{FF2B5EF4-FFF2-40B4-BE49-F238E27FC236}">
                  <a16:creationId xmlns:a16="http://schemas.microsoft.com/office/drawing/2014/main" id="{B7BE20E1-BB9F-4F1B-9795-860DE9785469}"/>
                </a:ext>
              </a:extLst>
            </p:cNvPr>
            <p:cNvSpPr>
              <a:spLocks/>
            </p:cNvSpPr>
            <p:nvPr/>
          </p:nvSpPr>
          <p:spPr bwMode="auto">
            <a:xfrm>
              <a:off x="5222876" y="1162051"/>
              <a:ext cx="34925" cy="39688"/>
            </a:xfrm>
            <a:custGeom>
              <a:avLst/>
              <a:gdLst>
                <a:gd name="T0" fmla="*/ 15 w 22"/>
                <a:gd name="T1" fmla="*/ 0 h 25"/>
                <a:gd name="T2" fmla="*/ 22 w 22"/>
                <a:gd name="T3" fmla="*/ 5 h 25"/>
                <a:gd name="T4" fmla="*/ 9 w 22"/>
                <a:gd name="T5" fmla="*/ 25 h 25"/>
                <a:gd name="T6" fmla="*/ 0 w 22"/>
                <a:gd name="T7" fmla="*/ 14 h 25"/>
                <a:gd name="T8" fmla="*/ 15 w 22"/>
                <a:gd name="T9" fmla="*/ 0 h 25"/>
              </a:gdLst>
              <a:ahLst/>
              <a:cxnLst>
                <a:cxn ang="0">
                  <a:pos x="T0" y="T1"/>
                </a:cxn>
                <a:cxn ang="0">
                  <a:pos x="T2" y="T3"/>
                </a:cxn>
                <a:cxn ang="0">
                  <a:pos x="T4" y="T5"/>
                </a:cxn>
                <a:cxn ang="0">
                  <a:pos x="T6" y="T7"/>
                </a:cxn>
                <a:cxn ang="0">
                  <a:pos x="T8" y="T9"/>
                </a:cxn>
              </a:cxnLst>
              <a:rect l="0" t="0" r="r" b="b"/>
              <a:pathLst>
                <a:path w="22" h="25">
                  <a:moveTo>
                    <a:pt x="15" y="0"/>
                  </a:moveTo>
                  <a:lnTo>
                    <a:pt x="22" y="5"/>
                  </a:lnTo>
                  <a:lnTo>
                    <a:pt x="9" y="25"/>
                  </a:lnTo>
                  <a:lnTo>
                    <a:pt x="0" y="14"/>
                  </a:lnTo>
                  <a:lnTo>
                    <a:pt x="15" y="0"/>
                  </a:lnTo>
                  <a:close/>
                </a:path>
              </a:pathLst>
            </a:custGeom>
            <a:solidFill>
              <a:srgbClr val="EFF5F4"/>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45" name="Freeform 629">
              <a:extLst>
                <a:ext uri="{FF2B5EF4-FFF2-40B4-BE49-F238E27FC236}">
                  <a16:creationId xmlns:a16="http://schemas.microsoft.com/office/drawing/2014/main" id="{694AFC35-C842-4C56-B527-48858DE5EC8F}"/>
                </a:ext>
              </a:extLst>
            </p:cNvPr>
            <p:cNvSpPr>
              <a:spLocks/>
            </p:cNvSpPr>
            <p:nvPr/>
          </p:nvSpPr>
          <p:spPr bwMode="auto">
            <a:xfrm>
              <a:off x="5184776" y="1162051"/>
              <a:ext cx="38100" cy="39688"/>
            </a:xfrm>
            <a:custGeom>
              <a:avLst/>
              <a:gdLst>
                <a:gd name="T0" fmla="*/ 9 w 24"/>
                <a:gd name="T1" fmla="*/ 0 h 25"/>
                <a:gd name="T2" fmla="*/ 24 w 24"/>
                <a:gd name="T3" fmla="*/ 14 h 25"/>
                <a:gd name="T4" fmla="*/ 15 w 24"/>
                <a:gd name="T5" fmla="*/ 25 h 25"/>
                <a:gd name="T6" fmla="*/ 0 w 24"/>
                <a:gd name="T7" fmla="*/ 5 h 25"/>
                <a:gd name="T8" fmla="*/ 9 w 24"/>
                <a:gd name="T9" fmla="*/ 0 h 25"/>
              </a:gdLst>
              <a:ahLst/>
              <a:cxnLst>
                <a:cxn ang="0">
                  <a:pos x="T0" y="T1"/>
                </a:cxn>
                <a:cxn ang="0">
                  <a:pos x="T2" y="T3"/>
                </a:cxn>
                <a:cxn ang="0">
                  <a:pos x="T4" y="T5"/>
                </a:cxn>
                <a:cxn ang="0">
                  <a:pos x="T6" y="T7"/>
                </a:cxn>
                <a:cxn ang="0">
                  <a:pos x="T8" y="T9"/>
                </a:cxn>
              </a:cxnLst>
              <a:rect l="0" t="0" r="r" b="b"/>
              <a:pathLst>
                <a:path w="24" h="25">
                  <a:moveTo>
                    <a:pt x="9" y="0"/>
                  </a:moveTo>
                  <a:lnTo>
                    <a:pt x="24" y="14"/>
                  </a:lnTo>
                  <a:lnTo>
                    <a:pt x="15" y="25"/>
                  </a:lnTo>
                  <a:lnTo>
                    <a:pt x="0" y="5"/>
                  </a:lnTo>
                  <a:lnTo>
                    <a:pt x="9" y="0"/>
                  </a:lnTo>
                  <a:close/>
                </a:path>
              </a:pathLst>
            </a:custGeom>
            <a:solidFill>
              <a:srgbClr val="EFF5F4"/>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46" name="Freeform 630">
              <a:extLst>
                <a:ext uri="{FF2B5EF4-FFF2-40B4-BE49-F238E27FC236}">
                  <a16:creationId xmlns:a16="http://schemas.microsoft.com/office/drawing/2014/main" id="{9D600213-26FC-43C3-A044-B8257CA4F5B9}"/>
                </a:ext>
              </a:extLst>
            </p:cNvPr>
            <p:cNvSpPr>
              <a:spLocks/>
            </p:cNvSpPr>
            <p:nvPr/>
          </p:nvSpPr>
          <p:spPr bwMode="auto">
            <a:xfrm>
              <a:off x="5168901" y="1163639"/>
              <a:ext cx="106363" cy="106363"/>
            </a:xfrm>
            <a:custGeom>
              <a:avLst/>
              <a:gdLst>
                <a:gd name="T0" fmla="*/ 17 w 67"/>
                <a:gd name="T1" fmla="*/ 0 h 67"/>
                <a:gd name="T2" fmla="*/ 17 w 67"/>
                <a:gd name="T3" fmla="*/ 3 h 67"/>
                <a:gd name="T4" fmla="*/ 18 w 67"/>
                <a:gd name="T5" fmla="*/ 9 h 67"/>
                <a:gd name="T6" fmla="*/ 19 w 67"/>
                <a:gd name="T7" fmla="*/ 20 h 67"/>
                <a:gd name="T8" fmla="*/ 22 w 67"/>
                <a:gd name="T9" fmla="*/ 33 h 67"/>
                <a:gd name="T10" fmla="*/ 26 w 67"/>
                <a:gd name="T11" fmla="*/ 44 h 67"/>
                <a:gd name="T12" fmla="*/ 29 w 67"/>
                <a:gd name="T13" fmla="*/ 54 h 67"/>
                <a:gd name="T14" fmla="*/ 32 w 67"/>
                <a:gd name="T15" fmla="*/ 62 h 67"/>
                <a:gd name="T16" fmla="*/ 34 w 67"/>
                <a:gd name="T17" fmla="*/ 66 h 67"/>
                <a:gd name="T18" fmla="*/ 36 w 67"/>
                <a:gd name="T19" fmla="*/ 62 h 67"/>
                <a:gd name="T20" fmla="*/ 39 w 67"/>
                <a:gd name="T21" fmla="*/ 54 h 67"/>
                <a:gd name="T22" fmla="*/ 42 w 67"/>
                <a:gd name="T23" fmla="*/ 44 h 67"/>
                <a:gd name="T24" fmla="*/ 46 w 67"/>
                <a:gd name="T25" fmla="*/ 33 h 67"/>
                <a:gd name="T26" fmla="*/ 49 w 67"/>
                <a:gd name="T27" fmla="*/ 20 h 67"/>
                <a:gd name="T28" fmla="*/ 50 w 67"/>
                <a:gd name="T29" fmla="*/ 9 h 67"/>
                <a:gd name="T30" fmla="*/ 51 w 67"/>
                <a:gd name="T31" fmla="*/ 3 h 67"/>
                <a:gd name="T32" fmla="*/ 51 w 67"/>
                <a:gd name="T33" fmla="*/ 0 h 67"/>
                <a:gd name="T34" fmla="*/ 64 w 67"/>
                <a:gd name="T35" fmla="*/ 4 h 67"/>
                <a:gd name="T36" fmla="*/ 58 w 67"/>
                <a:gd name="T37" fmla="*/ 20 h 67"/>
                <a:gd name="T38" fmla="*/ 67 w 67"/>
                <a:gd name="T39" fmla="*/ 24 h 67"/>
                <a:gd name="T40" fmla="*/ 34 w 67"/>
                <a:gd name="T41" fmla="*/ 67 h 67"/>
                <a:gd name="T42" fmla="*/ 0 w 67"/>
                <a:gd name="T43" fmla="*/ 24 h 67"/>
                <a:gd name="T44" fmla="*/ 9 w 67"/>
                <a:gd name="T45" fmla="*/ 20 h 67"/>
                <a:gd name="T46" fmla="*/ 3 w 67"/>
                <a:gd name="T47" fmla="*/ 4 h 67"/>
                <a:gd name="T48" fmla="*/ 17 w 67"/>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67">
                  <a:moveTo>
                    <a:pt x="17" y="0"/>
                  </a:moveTo>
                  <a:lnTo>
                    <a:pt x="17" y="3"/>
                  </a:lnTo>
                  <a:lnTo>
                    <a:pt x="18" y="9"/>
                  </a:lnTo>
                  <a:lnTo>
                    <a:pt x="19" y="20"/>
                  </a:lnTo>
                  <a:lnTo>
                    <a:pt x="22" y="33"/>
                  </a:lnTo>
                  <a:lnTo>
                    <a:pt x="26" y="44"/>
                  </a:lnTo>
                  <a:lnTo>
                    <a:pt x="29" y="54"/>
                  </a:lnTo>
                  <a:lnTo>
                    <a:pt x="32" y="62"/>
                  </a:lnTo>
                  <a:lnTo>
                    <a:pt x="34" y="66"/>
                  </a:lnTo>
                  <a:lnTo>
                    <a:pt x="36" y="62"/>
                  </a:lnTo>
                  <a:lnTo>
                    <a:pt x="39" y="54"/>
                  </a:lnTo>
                  <a:lnTo>
                    <a:pt x="42" y="44"/>
                  </a:lnTo>
                  <a:lnTo>
                    <a:pt x="46" y="33"/>
                  </a:lnTo>
                  <a:lnTo>
                    <a:pt x="49" y="20"/>
                  </a:lnTo>
                  <a:lnTo>
                    <a:pt x="50" y="9"/>
                  </a:lnTo>
                  <a:lnTo>
                    <a:pt x="51" y="3"/>
                  </a:lnTo>
                  <a:lnTo>
                    <a:pt x="51" y="0"/>
                  </a:lnTo>
                  <a:lnTo>
                    <a:pt x="64" y="4"/>
                  </a:lnTo>
                  <a:lnTo>
                    <a:pt x="58" y="20"/>
                  </a:lnTo>
                  <a:lnTo>
                    <a:pt x="67" y="24"/>
                  </a:lnTo>
                  <a:lnTo>
                    <a:pt x="34" y="67"/>
                  </a:lnTo>
                  <a:lnTo>
                    <a:pt x="0" y="24"/>
                  </a:lnTo>
                  <a:lnTo>
                    <a:pt x="9" y="20"/>
                  </a:lnTo>
                  <a:lnTo>
                    <a:pt x="3" y="4"/>
                  </a:lnTo>
                  <a:lnTo>
                    <a:pt x="17" y="0"/>
                  </a:lnTo>
                  <a:close/>
                </a:path>
              </a:pathLst>
            </a:custGeom>
            <a:solidFill>
              <a:srgbClr val="69E2FF"/>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47" name="Freeform 631">
              <a:extLst>
                <a:ext uri="{FF2B5EF4-FFF2-40B4-BE49-F238E27FC236}">
                  <a16:creationId xmlns:a16="http://schemas.microsoft.com/office/drawing/2014/main" id="{080C775C-85FC-4047-8808-F65017300CE7}"/>
                </a:ext>
              </a:extLst>
            </p:cNvPr>
            <p:cNvSpPr>
              <a:spLocks/>
            </p:cNvSpPr>
            <p:nvPr/>
          </p:nvSpPr>
          <p:spPr bwMode="auto">
            <a:xfrm>
              <a:off x="5162551" y="987426"/>
              <a:ext cx="117475" cy="76200"/>
            </a:xfrm>
            <a:custGeom>
              <a:avLst/>
              <a:gdLst>
                <a:gd name="T0" fmla="*/ 37 w 74"/>
                <a:gd name="T1" fmla="*/ 0 h 48"/>
                <a:gd name="T2" fmla="*/ 44 w 74"/>
                <a:gd name="T3" fmla="*/ 1 h 48"/>
                <a:gd name="T4" fmla="*/ 51 w 74"/>
                <a:gd name="T5" fmla="*/ 2 h 48"/>
                <a:gd name="T6" fmla="*/ 57 w 74"/>
                <a:gd name="T7" fmla="*/ 4 h 48"/>
                <a:gd name="T8" fmla="*/ 65 w 74"/>
                <a:gd name="T9" fmla="*/ 9 h 48"/>
                <a:gd name="T10" fmla="*/ 71 w 74"/>
                <a:gd name="T11" fmla="*/ 16 h 48"/>
                <a:gd name="T12" fmla="*/ 73 w 74"/>
                <a:gd name="T13" fmla="*/ 25 h 48"/>
                <a:gd name="T14" fmla="*/ 74 w 74"/>
                <a:gd name="T15" fmla="*/ 36 h 48"/>
                <a:gd name="T16" fmla="*/ 74 w 74"/>
                <a:gd name="T17" fmla="*/ 48 h 48"/>
                <a:gd name="T18" fmla="*/ 0 w 74"/>
                <a:gd name="T19" fmla="*/ 48 h 48"/>
                <a:gd name="T20" fmla="*/ 0 w 74"/>
                <a:gd name="T21" fmla="*/ 36 h 48"/>
                <a:gd name="T22" fmla="*/ 1 w 74"/>
                <a:gd name="T23" fmla="*/ 25 h 48"/>
                <a:gd name="T24" fmla="*/ 3 w 74"/>
                <a:gd name="T25" fmla="*/ 16 h 48"/>
                <a:gd name="T26" fmla="*/ 9 w 74"/>
                <a:gd name="T27" fmla="*/ 9 h 48"/>
                <a:gd name="T28" fmla="*/ 18 w 74"/>
                <a:gd name="T29" fmla="*/ 4 h 48"/>
                <a:gd name="T30" fmla="*/ 24 w 74"/>
                <a:gd name="T31" fmla="*/ 2 h 48"/>
                <a:gd name="T32" fmla="*/ 31 w 74"/>
                <a:gd name="T33" fmla="*/ 1 h 48"/>
                <a:gd name="T34" fmla="*/ 37 w 74"/>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48">
                  <a:moveTo>
                    <a:pt x="37" y="0"/>
                  </a:moveTo>
                  <a:lnTo>
                    <a:pt x="44" y="1"/>
                  </a:lnTo>
                  <a:lnTo>
                    <a:pt x="51" y="2"/>
                  </a:lnTo>
                  <a:lnTo>
                    <a:pt x="57" y="4"/>
                  </a:lnTo>
                  <a:lnTo>
                    <a:pt x="65" y="9"/>
                  </a:lnTo>
                  <a:lnTo>
                    <a:pt x="71" y="16"/>
                  </a:lnTo>
                  <a:lnTo>
                    <a:pt x="73" y="25"/>
                  </a:lnTo>
                  <a:lnTo>
                    <a:pt x="74" y="36"/>
                  </a:lnTo>
                  <a:lnTo>
                    <a:pt x="74" y="48"/>
                  </a:lnTo>
                  <a:lnTo>
                    <a:pt x="0" y="48"/>
                  </a:lnTo>
                  <a:lnTo>
                    <a:pt x="0" y="36"/>
                  </a:lnTo>
                  <a:lnTo>
                    <a:pt x="1" y="25"/>
                  </a:lnTo>
                  <a:lnTo>
                    <a:pt x="3" y="16"/>
                  </a:lnTo>
                  <a:lnTo>
                    <a:pt x="9" y="9"/>
                  </a:lnTo>
                  <a:lnTo>
                    <a:pt x="18" y="4"/>
                  </a:lnTo>
                  <a:lnTo>
                    <a:pt x="24" y="2"/>
                  </a:lnTo>
                  <a:lnTo>
                    <a:pt x="31" y="1"/>
                  </a:lnTo>
                  <a:lnTo>
                    <a:pt x="37"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48" name="Freeform 632">
              <a:extLst>
                <a:ext uri="{FF2B5EF4-FFF2-40B4-BE49-F238E27FC236}">
                  <a16:creationId xmlns:a16="http://schemas.microsoft.com/office/drawing/2014/main" id="{72EA8BAF-C859-4532-9710-6D59D901A5C7}"/>
                </a:ext>
              </a:extLst>
            </p:cNvPr>
            <p:cNvSpPr>
              <a:spLocks/>
            </p:cNvSpPr>
            <p:nvPr/>
          </p:nvSpPr>
          <p:spPr bwMode="auto">
            <a:xfrm>
              <a:off x="5160963" y="1009651"/>
              <a:ext cx="122238" cy="141288"/>
            </a:xfrm>
            <a:custGeom>
              <a:avLst/>
              <a:gdLst>
                <a:gd name="T0" fmla="*/ 16 w 77"/>
                <a:gd name="T1" fmla="*/ 0 h 89"/>
                <a:gd name="T2" fmla="*/ 61 w 77"/>
                <a:gd name="T3" fmla="*/ 0 h 89"/>
                <a:gd name="T4" fmla="*/ 62 w 77"/>
                <a:gd name="T5" fmla="*/ 1 h 89"/>
                <a:gd name="T6" fmla="*/ 65 w 77"/>
                <a:gd name="T7" fmla="*/ 5 h 89"/>
                <a:gd name="T8" fmla="*/ 68 w 77"/>
                <a:gd name="T9" fmla="*/ 12 h 89"/>
                <a:gd name="T10" fmla="*/ 71 w 77"/>
                <a:gd name="T11" fmla="*/ 21 h 89"/>
                <a:gd name="T12" fmla="*/ 72 w 77"/>
                <a:gd name="T13" fmla="*/ 33 h 89"/>
                <a:gd name="T14" fmla="*/ 73 w 77"/>
                <a:gd name="T15" fmla="*/ 32 h 89"/>
                <a:gd name="T16" fmla="*/ 74 w 77"/>
                <a:gd name="T17" fmla="*/ 31 h 89"/>
                <a:gd name="T18" fmla="*/ 76 w 77"/>
                <a:gd name="T19" fmla="*/ 31 h 89"/>
                <a:gd name="T20" fmla="*/ 77 w 77"/>
                <a:gd name="T21" fmla="*/ 33 h 89"/>
                <a:gd name="T22" fmla="*/ 77 w 77"/>
                <a:gd name="T23" fmla="*/ 38 h 89"/>
                <a:gd name="T24" fmla="*/ 75 w 77"/>
                <a:gd name="T25" fmla="*/ 45 h 89"/>
                <a:gd name="T26" fmla="*/ 75 w 77"/>
                <a:gd name="T27" fmla="*/ 53 h 89"/>
                <a:gd name="T28" fmla="*/ 75 w 77"/>
                <a:gd name="T29" fmla="*/ 55 h 89"/>
                <a:gd name="T30" fmla="*/ 74 w 77"/>
                <a:gd name="T31" fmla="*/ 56 h 89"/>
                <a:gd name="T32" fmla="*/ 73 w 77"/>
                <a:gd name="T33" fmla="*/ 57 h 89"/>
                <a:gd name="T34" fmla="*/ 72 w 77"/>
                <a:gd name="T35" fmla="*/ 57 h 89"/>
                <a:gd name="T36" fmla="*/ 70 w 77"/>
                <a:gd name="T37" fmla="*/ 57 h 89"/>
                <a:gd name="T38" fmla="*/ 69 w 77"/>
                <a:gd name="T39" fmla="*/ 56 h 89"/>
                <a:gd name="T40" fmla="*/ 68 w 77"/>
                <a:gd name="T41" fmla="*/ 60 h 89"/>
                <a:gd name="T42" fmla="*/ 67 w 77"/>
                <a:gd name="T43" fmla="*/ 64 h 89"/>
                <a:gd name="T44" fmla="*/ 65 w 77"/>
                <a:gd name="T45" fmla="*/ 69 h 89"/>
                <a:gd name="T46" fmla="*/ 60 w 77"/>
                <a:gd name="T47" fmla="*/ 77 h 89"/>
                <a:gd name="T48" fmla="*/ 53 w 77"/>
                <a:gd name="T49" fmla="*/ 83 h 89"/>
                <a:gd name="T50" fmla="*/ 46 w 77"/>
                <a:gd name="T51" fmla="*/ 88 h 89"/>
                <a:gd name="T52" fmla="*/ 39 w 77"/>
                <a:gd name="T53" fmla="*/ 89 h 89"/>
                <a:gd name="T54" fmla="*/ 32 w 77"/>
                <a:gd name="T55" fmla="*/ 88 h 89"/>
                <a:gd name="T56" fmla="*/ 25 w 77"/>
                <a:gd name="T57" fmla="*/ 83 h 89"/>
                <a:gd name="T58" fmla="*/ 18 w 77"/>
                <a:gd name="T59" fmla="*/ 77 h 89"/>
                <a:gd name="T60" fmla="*/ 12 w 77"/>
                <a:gd name="T61" fmla="*/ 69 h 89"/>
                <a:gd name="T62" fmla="*/ 10 w 77"/>
                <a:gd name="T63" fmla="*/ 64 h 89"/>
                <a:gd name="T64" fmla="*/ 9 w 77"/>
                <a:gd name="T65" fmla="*/ 60 h 89"/>
                <a:gd name="T66" fmla="*/ 8 w 77"/>
                <a:gd name="T67" fmla="*/ 56 h 89"/>
                <a:gd name="T68" fmla="*/ 6 w 77"/>
                <a:gd name="T69" fmla="*/ 57 h 89"/>
                <a:gd name="T70" fmla="*/ 5 w 77"/>
                <a:gd name="T71" fmla="*/ 57 h 89"/>
                <a:gd name="T72" fmla="*/ 4 w 77"/>
                <a:gd name="T73" fmla="*/ 57 h 89"/>
                <a:gd name="T74" fmla="*/ 3 w 77"/>
                <a:gd name="T75" fmla="*/ 56 h 89"/>
                <a:gd name="T76" fmla="*/ 2 w 77"/>
                <a:gd name="T77" fmla="*/ 55 h 89"/>
                <a:gd name="T78" fmla="*/ 2 w 77"/>
                <a:gd name="T79" fmla="*/ 53 h 89"/>
                <a:gd name="T80" fmla="*/ 1 w 77"/>
                <a:gd name="T81" fmla="*/ 45 h 89"/>
                <a:gd name="T82" fmla="*/ 0 w 77"/>
                <a:gd name="T83" fmla="*/ 38 h 89"/>
                <a:gd name="T84" fmla="*/ 0 w 77"/>
                <a:gd name="T85" fmla="*/ 33 h 89"/>
                <a:gd name="T86" fmla="*/ 1 w 77"/>
                <a:gd name="T87" fmla="*/ 31 h 89"/>
                <a:gd name="T88" fmla="*/ 2 w 77"/>
                <a:gd name="T89" fmla="*/ 31 h 89"/>
                <a:gd name="T90" fmla="*/ 3 w 77"/>
                <a:gd name="T91" fmla="*/ 32 h 89"/>
                <a:gd name="T92" fmla="*/ 5 w 77"/>
                <a:gd name="T93" fmla="*/ 33 h 89"/>
                <a:gd name="T94" fmla="*/ 6 w 77"/>
                <a:gd name="T95" fmla="*/ 21 h 89"/>
                <a:gd name="T96" fmla="*/ 8 w 77"/>
                <a:gd name="T97" fmla="*/ 12 h 89"/>
                <a:gd name="T98" fmla="*/ 12 w 77"/>
                <a:gd name="T99" fmla="*/ 5 h 89"/>
                <a:gd name="T100" fmla="*/ 15 w 77"/>
                <a:gd name="T101" fmla="*/ 1 h 89"/>
                <a:gd name="T102" fmla="*/ 16 w 77"/>
                <a:gd name="T10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7" h="89">
                  <a:moveTo>
                    <a:pt x="16" y="0"/>
                  </a:moveTo>
                  <a:lnTo>
                    <a:pt x="61" y="0"/>
                  </a:lnTo>
                  <a:lnTo>
                    <a:pt x="62" y="1"/>
                  </a:lnTo>
                  <a:lnTo>
                    <a:pt x="65" y="5"/>
                  </a:lnTo>
                  <a:lnTo>
                    <a:pt x="68" y="12"/>
                  </a:lnTo>
                  <a:lnTo>
                    <a:pt x="71" y="21"/>
                  </a:lnTo>
                  <a:lnTo>
                    <a:pt x="72" y="33"/>
                  </a:lnTo>
                  <a:lnTo>
                    <a:pt x="73" y="32"/>
                  </a:lnTo>
                  <a:lnTo>
                    <a:pt x="74" y="31"/>
                  </a:lnTo>
                  <a:lnTo>
                    <a:pt x="76" y="31"/>
                  </a:lnTo>
                  <a:lnTo>
                    <a:pt x="77" y="33"/>
                  </a:lnTo>
                  <a:lnTo>
                    <a:pt x="77" y="38"/>
                  </a:lnTo>
                  <a:lnTo>
                    <a:pt x="75" y="45"/>
                  </a:lnTo>
                  <a:lnTo>
                    <a:pt x="75" y="53"/>
                  </a:lnTo>
                  <a:lnTo>
                    <a:pt x="75" y="55"/>
                  </a:lnTo>
                  <a:lnTo>
                    <a:pt x="74" y="56"/>
                  </a:lnTo>
                  <a:lnTo>
                    <a:pt x="73" y="57"/>
                  </a:lnTo>
                  <a:lnTo>
                    <a:pt x="72" y="57"/>
                  </a:lnTo>
                  <a:lnTo>
                    <a:pt x="70" y="57"/>
                  </a:lnTo>
                  <a:lnTo>
                    <a:pt x="69" y="56"/>
                  </a:lnTo>
                  <a:lnTo>
                    <a:pt x="68" y="60"/>
                  </a:lnTo>
                  <a:lnTo>
                    <a:pt x="67" y="64"/>
                  </a:lnTo>
                  <a:lnTo>
                    <a:pt x="65" y="69"/>
                  </a:lnTo>
                  <a:lnTo>
                    <a:pt x="60" y="77"/>
                  </a:lnTo>
                  <a:lnTo>
                    <a:pt x="53" y="83"/>
                  </a:lnTo>
                  <a:lnTo>
                    <a:pt x="46" y="88"/>
                  </a:lnTo>
                  <a:lnTo>
                    <a:pt x="39" y="89"/>
                  </a:lnTo>
                  <a:lnTo>
                    <a:pt x="32" y="88"/>
                  </a:lnTo>
                  <a:lnTo>
                    <a:pt x="25" y="83"/>
                  </a:lnTo>
                  <a:lnTo>
                    <a:pt x="18" y="77"/>
                  </a:lnTo>
                  <a:lnTo>
                    <a:pt x="12" y="69"/>
                  </a:lnTo>
                  <a:lnTo>
                    <a:pt x="10" y="64"/>
                  </a:lnTo>
                  <a:lnTo>
                    <a:pt x="9" y="60"/>
                  </a:lnTo>
                  <a:lnTo>
                    <a:pt x="8" y="56"/>
                  </a:lnTo>
                  <a:lnTo>
                    <a:pt x="6" y="57"/>
                  </a:lnTo>
                  <a:lnTo>
                    <a:pt x="5" y="57"/>
                  </a:lnTo>
                  <a:lnTo>
                    <a:pt x="4" y="57"/>
                  </a:lnTo>
                  <a:lnTo>
                    <a:pt x="3" y="56"/>
                  </a:lnTo>
                  <a:lnTo>
                    <a:pt x="2" y="55"/>
                  </a:lnTo>
                  <a:lnTo>
                    <a:pt x="2" y="53"/>
                  </a:lnTo>
                  <a:lnTo>
                    <a:pt x="1" y="45"/>
                  </a:lnTo>
                  <a:lnTo>
                    <a:pt x="0" y="38"/>
                  </a:lnTo>
                  <a:lnTo>
                    <a:pt x="0" y="33"/>
                  </a:lnTo>
                  <a:lnTo>
                    <a:pt x="1" y="31"/>
                  </a:lnTo>
                  <a:lnTo>
                    <a:pt x="2" y="31"/>
                  </a:lnTo>
                  <a:lnTo>
                    <a:pt x="3" y="32"/>
                  </a:lnTo>
                  <a:lnTo>
                    <a:pt x="5" y="33"/>
                  </a:lnTo>
                  <a:lnTo>
                    <a:pt x="6" y="21"/>
                  </a:lnTo>
                  <a:lnTo>
                    <a:pt x="8" y="12"/>
                  </a:lnTo>
                  <a:lnTo>
                    <a:pt x="12" y="5"/>
                  </a:lnTo>
                  <a:lnTo>
                    <a:pt x="15" y="1"/>
                  </a:lnTo>
                  <a:lnTo>
                    <a:pt x="16" y="0"/>
                  </a:lnTo>
                  <a:close/>
                </a:path>
              </a:pathLst>
            </a:custGeom>
            <a:solidFill>
              <a:srgbClr val="FFB878"/>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49" name="Freeform 633">
              <a:extLst>
                <a:ext uri="{FF2B5EF4-FFF2-40B4-BE49-F238E27FC236}">
                  <a16:creationId xmlns:a16="http://schemas.microsoft.com/office/drawing/2014/main" id="{2F9A37CB-EA24-466E-A586-AC01B7B41707}"/>
                </a:ext>
              </a:extLst>
            </p:cNvPr>
            <p:cNvSpPr>
              <a:spLocks/>
            </p:cNvSpPr>
            <p:nvPr/>
          </p:nvSpPr>
          <p:spPr bwMode="auto">
            <a:xfrm>
              <a:off x="5180013" y="987426"/>
              <a:ext cx="101600" cy="52388"/>
            </a:xfrm>
            <a:custGeom>
              <a:avLst/>
              <a:gdLst>
                <a:gd name="T0" fmla="*/ 27 w 64"/>
                <a:gd name="T1" fmla="*/ 0 h 33"/>
                <a:gd name="T2" fmla="*/ 38 w 64"/>
                <a:gd name="T3" fmla="*/ 1 h 33"/>
                <a:gd name="T4" fmla="*/ 49 w 64"/>
                <a:gd name="T5" fmla="*/ 3 h 33"/>
                <a:gd name="T6" fmla="*/ 57 w 64"/>
                <a:gd name="T7" fmla="*/ 7 h 33"/>
                <a:gd name="T8" fmla="*/ 62 w 64"/>
                <a:gd name="T9" fmla="*/ 10 h 33"/>
                <a:gd name="T10" fmla="*/ 64 w 64"/>
                <a:gd name="T11" fmla="*/ 12 h 33"/>
                <a:gd name="T12" fmla="*/ 53 w 64"/>
                <a:gd name="T13" fmla="*/ 23 h 33"/>
                <a:gd name="T14" fmla="*/ 43 w 64"/>
                <a:gd name="T15" fmla="*/ 30 h 33"/>
                <a:gd name="T16" fmla="*/ 34 w 64"/>
                <a:gd name="T17" fmla="*/ 33 h 33"/>
                <a:gd name="T18" fmla="*/ 26 w 64"/>
                <a:gd name="T19" fmla="*/ 33 h 33"/>
                <a:gd name="T20" fmla="*/ 18 w 64"/>
                <a:gd name="T21" fmla="*/ 30 h 33"/>
                <a:gd name="T22" fmla="*/ 12 w 64"/>
                <a:gd name="T23" fmla="*/ 26 h 33"/>
                <a:gd name="T24" fmla="*/ 8 w 64"/>
                <a:gd name="T25" fmla="*/ 22 h 33"/>
                <a:gd name="T26" fmla="*/ 3 w 64"/>
                <a:gd name="T27" fmla="*/ 18 h 33"/>
                <a:gd name="T28" fmla="*/ 1 w 64"/>
                <a:gd name="T29" fmla="*/ 15 h 33"/>
                <a:gd name="T30" fmla="*/ 0 w 64"/>
                <a:gd name="T31" fmla="*/ 13 h 33"/>
                <a:gd name="T32" fmla="*/ 14 w 64"/>
                <a:gd name="T33" fmla="*/ 4 h 33"/>
                <a:gd name="T34" fmla="*/ 27 w 64"/>
                <a:gd name="T3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33">
                  <a:moveTo>
                    <a:pt x="27" y="0"/>
                  </a:moveTo>
                  <a:lnTo>
                    <a:pt x="38" y="1"/>
                  </a:lnTo>
                  <a:lnTo>
                    <a:pt x="49" y="3"/>
                  </a:lnTo>
                  <a:lnTo>
                    <a:pt x="57" y="7"/>
                  </a:lnTo>
                  <a:lnTo>
                    <a:pt x="62" y="10"/>
                  </a:lnTo>
                  <a:lnTo>
                    <a:pt x="64" y="12"/>
                  </a:lnTo>
                  <a:lnTo>
                    <a:pt x="53" y="23"/>
                  </a:lnTo>
                  <a:lnTo>
                    <a:pt x="43" y="30"/>
                  </a:lnTo>
                  <a:lnTo>
                    <a:pt x="34" y="33"/>
                  </a:lnTo>
                  <a:lnTo>
                    <a:pt x="26" y="33"/>
                  </a:lnTo>
                  <a:lnTo>
                    <a:pt x="18" y="30"/>
                  </a:lnTo>
                  <a:lnTo>
                    <a:pt x="12" y="26"/>
                  </a:lnTo>
                  <a:lnTo>
                    <a:pt x="8" y="22"/>
                  </a:lnTo>
                  <a:lnTo>
                    <a:pt x="3" y="18"/>
                  </a:lnTo>
                  <a:lnTo>
                    <a:pt x="1" y="15"/>
                  </a:lnTo>
                  <a:lnTo>
                    <a:pt x="0" y="13"/>
                  </a:lnTo>
                  <a:lnTo>
                    <a:pt x="14" y="4"/>
                  </a:lnTo>
                  <a:lnTo>
                    <a:pt x="27"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50" name="Freeform 634">
              <a:extLst>
                <a:ext uri="{FF2B5EF4-FFF2-40B4-BE49-F238E27FC236}">
                  <a16:creationId xmlns:a16="http://schemas.microsoft.com/office/drawing/2014/main" id="{8EC34F78-4190-40C6-9FB2-A0DA19B532B5}"/>
                </a:ext>
              </a:extLst>
            </p:cNvPr>
            <p:cNvSpPr>
              <a:spLocks/>
            </p:cNvSpPr>
            <p:nvPr/>
          </p:nvSpPr>
          <p:spPr bwMode="auto">
            <a:xfrm>
              <a:off x="5165726" y="1000126"/>
              <a:ext cx="42863" cy="100013"/>
            </a:xfrm>
            <a:custGeom>
              <a:avLst/>
              <a:gdLst>
                <a:gd name="T0" fmla="*/ 21 w 27"/>
                <a:gd name="T1" fmla="*/ 0 h 63"/>
                <a:gd name="T2" fmla="*/ 27 w 27"/>
                <a:gd name="T3" fmla="*/ 3 h 63"/>
                <a:gd name="T4" fmla="*/ 19 w 27"/>
                <a:gd name="T5" fmla="*/ 9 h 63"/>
                <a:gd name="T6" fmla="*/ 12 w 27"/>
                <a:gd name="T7" fmla="*/ 18 h 63"/>
                <a:gd name="T8" fmla="*/ 9 w 27"/>
                <a:gd name="T9" fmla="*/ 29 h 63"/>
                <a:gd name="T10" fmla="*/ 8 w 27"/>
                <a:gd name="T11" fmla="*/ 39 h 63"/>
                <a:gd name="T12" fmla="*/ 8 w 27"/>
                <a:gd name="T13" fmla="*/ 49 h 63"/>
                <a:gd name="T14" fmla="*/ 9 w 27"/>
                <a:gd name="T15" fmla="*/ 59 h 63"/>
                <a:gd name="T16" fmla="*/ 8 w 27"/>
                <a:gd name="T17" fmla="*/ 61 h 63"/>
                <a:gd name="T18" fmla="*/ 7 w 27"/>
                <a:gd name="T19" fmla="*/ 62 h 63"/>
                <a:gd name="T20" fmla="*/ 5 w 27"/>
                <a:gd name="T21" fmla="*/ 63 h 63"/>
                <a:gd name="T22" fmla="*/ 5 w 27"/>
                <a:gd name="T23" fmla="*/ 63 h 63"/>
                <a:gd name="T24" fmla="*/ 0 w 27"/>
                <a:gd name="T25" fmla="*/ 32 h 63"/>
                <a:gd name="T26" fmla="*/ 2 w 27"/>
                <a:gd name="T27" fmla="*/ 20 h 63"/>
                <a:gd name="T28" fmla="*/ 6 w 27"/>
                <a:gd name="T29" fmla="*/ 11 h 63"/>
                <a:gd name="T30" fmla="*/ 11 w 27"/>
                <a:gd name="T31" fmla="*/ 5 h 63"/>
                <a:gd name="T32" fmla="*/ 16 w 27"/>
                <a:gd name="T33" fmla="*/ 2 h 63"/>
                <a:gd name="T34" fmla="*/ 20 w 27"/>
                <a:gd name="T35" fmla="*/ 0 h 63"/>
                <a:gd name="T36" fmla="*/ 21 w 27"/>
                <a:gd name="T3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63">
                  <a:moveTo>
                    <a:pt x="21" y="0"/>
                  </a:moveTo>
                  <a:lnTo>
                    <a:pt x="27" y="3"/>
                  </a:lnTo>
                  <a:lnTo>
                    <a:pt x="19" y="9"/>
                  </a:lnTo>
                  <a:lnTo>
                    <a:pt x="12" y="18"/>
                  </a:lnTo>
                  <a:lnTo>
                    <a:pt x="9" y="29"/>
                  </a:lnTo>
                  <a:lnTo>
                    <a:pt x="8" y="39"/>
                  </a:lnTo>
                  <a:lnTo>
                    <a:pt x="8" y="49"/>
                  </a:lnTo>
                  <a:lnTo>
                    <a:pt x="9" y="59"/>
                  </a:lnTo>
                  <a:lnTo>
                    <a:pt x="8" y="61"/>
                  </a:lnTo>
                  <a:lnTo>
                    <a:pt x="7" y="62"/>
                  </a:lnTo>
                  <a:lnTo>
                    <a:pt x="5" y="63"/>
                  </a:lnTo>
                  <a:lnTo>
                    <a:pt x="5" y="63"/>
                  </a:lnTo>
                  <a:lnTo>
                    <a:pt x="0" y="32"/>
                  </a:lnTo>
                  <a:lnTo>
                    <a:pt x="2" y="20"/>
                  </a:lnTo>
                  <a:lnTo>
                    <a:pt x="6" y="11"/>
                  </a:lnTo>
                  <a:lnTo>
                    <a:pt x="11" y="5"/>
                  </a:lnTo>
                  <a:lnTo>
                    <a:pt x="16" y="2"/>
                  </a:lnTo>
                  <a:lnTo>
                    <a:pt x="20" y="0"/>
                  </a:lnTo>
                  <a:lnTo>
                    <a:pt x="21"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51" name="Freeform 635">
              <a:extLst>
                <a:ext uri="{FF2B5EF4-FFF2-40B4-BE49-F238E27FC236}">
                  <a16:creationId xmlns:a16="http://schemas.microsoft.com/office/drawing/2014/main" id="{759B96A9-3433-40A6-A47A-49567C22A358}"/>
                </a:ext>
              </a:extLst>
            </p:cNvPr>
            <p:cNvSpPr>
              <a:spLocks/>
            </p:cNvSpPr>
            <p:nvPr/>
          </p:nvSpPr>
          <p:spPr bwMode="auto">
            <a:xfrm>
              <a:off x="5235576" y="1000126"/>
              <a:ext cx="42863" cy="100013"/>
            </a:xfrm>
            <a:custGeom>
              <a:avLst/>
              <a:gdLst>
                <a:gd name="T0" fmla="*/ 7 w 27"/>
                <a:gd name="T1" fmla="*/ 0 h 63"/>
                <a:gd name="T2" fmla="*/ 8 w 27"/>
                <a:gd name="T3" fmla="*/ 1 h 63"/>
                <a:gd name="T4" fmla="*/ 11 w 27"/>
                <a:gd name="T5" fmla="*/ 2 h 63"/>
                <a:gd name="T6" fmla="*/ 16 w 27"/>
                <a:gd name="T7" fmla="*/ 6 h 63"/>
                <a:gd name="T8" fmla="*/ 21 w 27"/>
                <a:gd name="T9" fmla="*/ 11 h 63"/>
                <a:gd name="T10" fmla="*/ 25 w 27"/>
                <a:gd name="T11" fmla="*/ 20 h 63"/>
                <a:gd name="T12" fmla="*/ 27 w 27"/>
                <a:gd name="T13" fmla="*/ 32 h 63"/>
                <a:gd name="T14" fmla="*/ 22 w 27"/>
                <a:gd name="T15" fmla="*/ 63 h 63"/>
                <a:gd name="T16" fmla="*/ 22 w 27"/>
                <a:gd name="T17" fmla="*/ 63 h 63"/>
                <a:gd name="T18" fmla="*/ 20 w 27"/>
                <a:gd name="T19" fmla="*/ 62 h 63"/>
                <a:gd name="T20" fmla="*/ 18 w 27"/>
                <a:gd name="T21" fmla="*/ 61 h 63"/>
                <a:gd name="T22" fmla="*/ 18 w 27"/>
                <a:gd name="T23" fmla="*/ 59 h 63"/>
                <a:gd name="T24" fmla="*/ 19 w 27"/>
                <a:gd name="T25" fmla="*/ 50 h 63"/>
                <a:gd name="T26" fmla="*/ 19 w 27"/>
                <a:gd name="T27" fmla="*/ 39 h 63"/>
                <a:gd name="T28" fmla="*/ 17 w 27"/>
                <a:gd name="T29" fmla="*/ 29 h 63"/>
                <a:gd name="T30" fmla="*/ 14 w 27"/>
                <a:gd name="T31" fmla="*/ 18 h 63"/>
                <a:gd name="T32" fmla="*/ 9 w 27"/>
                <a:gd name="T33" fmla="*/ 9 h 63"/>
                <a:gd name="T34" fmla="*/ 0 w 27"/>
                <a:gd name="T35" fmla="*/ 3 h 63"/>
                <a:gd name="T36" fmla="*/ 7 w 27"/>
                <a:gd name="T3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63">
                  <a:moveTo>
                    <a:pt x="7" y="0"/>
                  </a:moveTo>
                  <a:lnTo>
                    <a:pt x="8" y="1"/>
                  </a:lnTo>
                  <a:lnTo>
                    <a:pt x="11" y="2"/>
                  </a:lnTo>
                  <a:lnTo>
                    <a:pt x="16" y="6"/>
                  </a:lnTo>
                  <a:lnTo>
                    <a:pt x="21" y="11"/>
                  </a:lnTo>
                  <a:lnTo>
                    <a:pt x="25" y="20"/>
                  </a:lnTo>
                  <a:lnTo>
                    <a:pt x="27" y="32"/>
                  </a:lnTo>
                  <a:lnTo>
                    <a:pt x="22" y="63"/>
                  </a:lnTo>
                  <a:lnTo>
                    <a:pt x="22" y="63"/>
                  </a:lnTo>
                  <a:lnTo>
                    <a:pt x="20" y="62"/>
                  </a:lnTo>
                  <a:lnTo>
                    <a:pt x="18" y="61"/>
                  </a:lnTo>
                  <a:lnTo>
                    <a:pt x="18" y="59"/>
                  </a:lnTo>
                  <a:lnTo>
                    <a:pt x="19" y="50"/>
                  </a:lnTo>
                  <a:lnTo>
                    <a:pt x="19" y="39"/>
                  </a:lnTo>
                  <a:lnTo>
                    <a:pt x="17" y="29"/>
                  </a:lnTo>
                  <a:lnTo>
                    <a:pt x="14" y="18"/>
                  </a:lnTo>
                  <a:lnTo>
                    <a:pt x="9" y="9"/>
                  </a:lnTo>
                  <a:lnTo>
                    <a:pt x="0" y="3"/>
                  </a:lnTo>
                  <a:lnTo>
                    <a:pt x="7"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52" name="Rectangle 636">
              <a:extLst>
                <a:ext uri="{FF2B5EF4-FFF2-40B4-BE49-F238E27FC236}">
                  <a16:creationId xmlns:a16="http://schemas.microsoft.com/office/drawing/2014/main" id="{DDC2387A-E285-4EAA-A206-9A70DFA0F1E5}"/>
                </a:ext>
              </a:extLst>
            </p:cNvPr>
            <p:cNvSpPr>
              <a:spLocks noChangeArrowheads="1"/>
            </p:cNvSpPr>
            <p:nvPr/>
          </p:nvSpPr>
          <p:spPr bwMode="auto">
            <a:xfrm>
              <a:off x="4827588" y="1573214"/>
              <a:ext cx="25400" cy="187325"/>
            </a:xfrm>
            <a:prstGeom prst="rect">
              <a:avLst/>
            </a:prstGeom>
            <a:solidFill>
              <a:srgbClr val="5A7875"/>
            </a:solidFill>
            <a:ln w="0">
              <a:solidFill>
                <a:schemeClr val="accent1"/>
              </a:solidFill>
              <a:prstDash val="solid"/>
              <a:miter lim="800000"/>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53" name="Freeform 637">
              <a:extLst>
                <a:ext uri="{FF2B5EF4-FFF2-40B4-BE49-F238E27FC236}">
                  <a16:creationId xmlns:a16="http://schemas.microsoft.com/office/drawing/2014/main" id="{FD7FCE6C-F63C-4CEF-97F9-DD0A0DAAC611}"/>
                </a:ext>
              </a:extLst>
            </p:cNvPr>
            <p:cNvSpPr>
              <a:spLocks/>
            </p:cNvSpPr>
            <p:nvPr/>
          </p:nvSpPr>
          <p:spPr bwMode="auto">
            <a:xfrm>
              <a:off x="4778376" y="1712914"/>
              <a:ext cx="125413" cy="47625"/>
            </a:xfrm>
            <a:custGeom>
              <a:avLst/>
              <a:gdLst>
                <a:gd name="T0" fmla="*/ 5 w 79"/>
                <a:gd name="T1" fmla="*/ 0 h 30"/>
                <a:gd name="T2" fmla="*/ 74 w 79"/>
                <a:gd name="T3" fmla="*/ 0 h 30"/>
                <a:gd name="T4" fmla="*/ 76 w 79"/>
                <a:gd name="T5" fmla="*/ 0 h 30"/>
                <a:gd name="T6" fmla="*/ 78 w 79"/>
                <a:gd name="T7" fmla="*/ 2 h 30"/>
                <a:gd name="T8" fmla="*/ 79 w 79"/>
                <a:gd name="T9" fmla="*/ 5 h 30"/>
                <a:gd name="T10" fmla="*/ 79 w 79"/>
                <a:gd name="T11" fmla="*/ 25 h 30"/>
                <a:gd name="T12" fmla="*/ 78 w 79"/>
                <a:gd name="T13" fmla="*/ 28 h 30"/>
                <a:gd name="T14" fmla="*/ 76 w 79"/>
                <a:gd name="T15" fmla="*/ 30 h 30"/>
                <a:gd name="T16" fmla="*/ 74 w 79"/>
                <a:gd name="T17" fmla="*/ 30 h 30"/>
                <a:gd name="T18" fmla="*/ 67 w 79"/>
                <a:gd name="T19" fmla="*/ 30 h 30"/>
                <a:gd name="T20" fmla="*/ 67 w 79"/>
                <a:gd name="T21" fmla="*/ 18 h 30"/>
                <a:gd name="T22" fmla="*/ 67 w 79"/>
                <a:gd name="T23" fmla="*/ 16 h 30"/>
                <a:gd name="T24" fmla="*/ 65 w 79"/>
                <a:gd name="T25" fmla="*/ 14 h 30"/>
                <a:gd name="T26" fmla="*/ 64 w 79"/>
                <a:gd name="T27" fmla="*/ 13 h 30"/>
                <a:gd name="T28" fmla="*/ 62 w 79"/>
                <a:gd name="T29" fmla="*/ 12 h 30"/>
                <a:gd name="T30" fmla="*/ 17 w 79"/>
                <a:gd name="T31" fmla="*/ 12 h 30"/>
                <a:gd name="T32" fmla="*/ 15 w 79"/>
                <a:gd name="T33" fmla="*/ 13 h 30"/>
                <a:gd name="T34" fmla="*/ 13 w 79"/>
                <a:gd name="T35" fmla="*/ 14 h 30"/>
                <a:gd name="T36" fmla="*/ 12 w 79"/>
                <a:gd name="T37" fmla="*/ 16 h 30"/>
                <a:gd name="T38" fmla="*/ 11 w 79"/>
                <a:gd name="T39" fmla="*/ 18 h 30"/>
                <a:gd name="T40" fmla="*/ 11 w 79"/>
                <a:gd name="T41" fmla="*/ 30 h 30"/>
                <a:gd name="T42" fmla="*/ 5 w 79"/>
                <a:gd name="T43" fmla="*/ 30 h 30"/>
                <a:gd name="T44" fmla="*/ 2 w 79"/>
                <a:gd name="T45" fmla="*/ 30 h 30"/>
                <a:gd name="T46" fmla="*/ 0 w 79"/>
                <a:gd name="T47" fmla="*/ 28 h 30"/>
                <a:gd name="T48" fmla="*/ 0 w 79"/>
                <a:gd name="T49" fmla="*/ 25 h 30"/>
                <a:gd name="T50" fmla="*/ 0 w 79"/>
                <a:gd name="T51" fmla="*/ 5 h 30"/>
                <a:gd name="T52" fmla="*/ 0 w 79"/>
                <a:gd name="T53" fmla="*/ 2 h 30"/>
                <a:gd name="T54" fmla="*/ 2 w 79"/>
                <a:gd name="T55" fmla="*/ 0 h 30"/>
                <a:gd name="T56" fmla="*/ 5 w 79"/>
                <a:gd name="T5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30">
                  <a:moveTo>
                    <a:pt x="5" y="0"/>
                  </a:moveTo>
                  <a:lnTo>
                    <a:pt x="74" y="0"/>
                  </a:lnTo>
                  <a:lnTo>
                    <a:pt x="76" y="0"/>
                  </a:lnTo>
                  <a:lnTo>
                    <a:pt x="78" y="2"/>
                  </a:lnTo>
                  <a:lnTo>
                    <a:pt x="79" y="5"/>
                  </a:lnTo>
                  <a:lnTo>
                    <a:pt x="79" y="25"/>
                  </a:lnTo>
                  <a:lnTo>
                    <a:pt x="78" y="28"/>
                  </a:lnTo>
                  <a:lnTo>
                    <a:pt x="76" y="30"/>
                  </a:lnTo>
                  <a:lnTo>
                    <a:pt x="74" y="30"/>
                  </a:lnTo>
                  <a:lnTo>
                    <a:pt x="67" y="30"/>
                  </a:lnTo>
                  <a:lnTo>
                    <a:pt x="67" y="18"/>
                  </a:lnTo>
                  <a:lnTo>
                    <a:pt x="67" y="16"/>
                  </a:lnTo>
                  <a:lnTo>
                    <a:pt x="65" y="14"/>
                  </a:lnTo>
                  <a:lnTo>
                    <a:pt x="64" y="13"/>
                  </a:lnTo>
                  <a:lnTo>
                    <a:pt x="62" y="12"/>
                  </a:lnTo>
                  <a:lnTo>
                    <a:pt x="17" y="12"/>
                  </a:lnTo>
                  <a:lnTo>
                    <a:pt x="15" y="13"/>
                  </a:lnTo>
                  <a:lnTo>
                    <a:pt x="13" y="14"/>
                  </a:lnTo>
                  <a:lnTo>
                    <a:pt x="12" y="16"/>
                  </a:lnTo>
                  <a:lnTo>
                    <a:pt x="11" y="18"/>
                  </a:lnTo>
                  <a:lnTo>
                    <a:pt x="11" y="30"/>
                  </a:lnTo>
                  <a:lnTo>
                    <a:pt x="5" y="30"/>
                  </a:lnTo>
                  <a:lnTo>
                    <a:pt x="2" y="30"/>
                  </a:lnTo>
                  <a:lnTo>
                    <a:pt x="0" y="28"/>
                  </a:lnTo>
                  <a:lnTo>
                    <a:pt x="0" y="25"/>
                  </a:lnTo>
                  <a:lnTo>
                    <a:pt x="0" y="5"/>
                  </a:lnTo>
                  <a:lnTo>
                    <a:pt x="0" y="2"/>
                  </a:lnTo>
                  <a:lnTo>
                    <a:pt x="2" y="0"/>
                  </a:lnTo>
                  <a:lnTo>
                    <a:pt x="5" y="0"/>
                  </a:lnTo>
                  <a:close/>
                </a:path>
              </a:pathLst>
            </a:custGeom>
            <a:solidFill>
              <a:srgbClr val="5A7875"/>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54" name="Freeform 638">
              <a:extLst>
                <a:ext uri="{FF2B5EF4-FFF2-40B4-BE49-F238E27FC236}">
                  <a16:creationId xmlns:a16="http://schemas.microsoft.com/office/drawing/2014/main" id="{30F8BB76-284E-4801-B6B3-23C1885A2784}"/>
                </a:ext>
              </a:extLst>
            </p:cNvPr>
            <p:cNvSpPr>
              <a:spLocks/>
            </p:cNvSpPr>
            <p:nvPr/>
          </p:nvSpPr>
          <p:spPr bwMode="auto">
            <a:xfrm>
              <a:off x="4765676" y="1744664"/>
              <a:ext cx="41275" cy="42863"/>
            </a:xfrm>
            <a:custGeom>
              <a:avLst/>
              <a:gdLst>
                <a:gd name="T0" fmla="*/ 13 w 26"/>
                <a:gd name="T1" fmla="*/ 0 h 27"/>
                <a:gd name="T2" fmla="*/ 17 w 26"/>
                <a:gd name="T3" fmla="*/ 1 h 27"/>
                <a:gd name="T4" fmla="*/ 20 w 26"/>
                <a:gd name="T5" fmla="*/ 2 h 27"/>
                <a:gd name="T6" fmla="*/ 23 w 26"/>
                <a:gd name="T7" fmla="*/ 5 h 27"/>
                <a:gd name="T8" fmla="*/ 25 w 26"/>
                <a:gd name="T9" fmla="*/ 9 h 27"/>
                <a:gd name="T10" fmla="*/ 26 w 26"/>
                <a:gd name="T11" fmla="*/ 13 h 27"/>
                <a:gd name="T12" fmla="*/ 25 w 26"/>
                <a:gd name="T13" fmla="*/ 17 h 27"/>
                <a:gd name="T14" fmla="*/ 23 w 26"/>
                <a:gd name="T15" fmla="*/ 21 h 27"/>
                <a:gd name="T16" fmla="*/ 20 w 26"/>
                <a:gd name="T17" fmla="*/ 24 h 27"/>
                <a:gd name="T18" fmla="*/ 17 w 26"/>
                <a:gd name="T19" fmla="*/ 26 h 27"/>
                <a:gd name="T20" fmla="*/ 13 w 26"/>
                <a:gd name="T21" fmla="*/ 27 h 27"/>
                <a:gd name="T22" fmla="*/ 8 w 26"/>
                <a:gd name="T23" fmla="*/ 26 h 27"/>
                <a:gd name="T24" fmla="*/ 5 w 26"/>
                <a:gd name="T25" fmla="*/ 24 h 27"/>
                <a:gd name="T26" fmla="*/ 2 w 26"/>
                <a:gd name="T27" fmla="*/ 21 h 27"/>
                <a:gd name="T28" fmla="*/ 0 w 26"/>
                <a:gd name="T29" fmla="*/ 17 h 27"/>
                <a:gd name="T30" fmla="*/ 0 w 26"/>
                <a:gd name="T31" fmla="*/ 13 h 27"/>
                <a:gd name="T32" fmla="*/ 0 w 26"/>
                <a:gd name="T33" fmla="*/ 9 h 27"/>
                <a:gd name="T34" fmla="*/ 2 w 26"/>
                <a:gd name="T35" fmla="*/ 5 h 27"/>
                <a:gd name="T36" fmla="*/ 5 w 26"/>
                <a:gd name="T37" fmla="*/ 2 h 27"/>
                <a:gd name="T38" fmla="*/ 8 w 26"/>
                <a:gd name="T39" fmla="*/ 1 h 27"/>
                <a:gd name="T40" fmla="*/ 13 w 26"/>
                <a:gd name="T4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7">
                  <a:moveTo>
                    <a:pt x="13" y="0"/>
                  </a:moveTo>
                  <a:lnTo>
                    <a:pt x="17" y="1"/>
                  </a:lnTo>
                  <a:lnTo>
                    <a:pt x="20" y="2"/>
                  </a:lnTo>
                  <a:lnTo>
                    <a:pt x="23" y="5"/>
                  </a:lnTo>
                  <a:lnTo>
                    <a:pt x="25" y="9"/>
                  </a:lnTo>
                  <a:lnTo>
                    <a:pt x="26" y="13"/>
                  </a:lnTo>
                  <a:lnTo>
                    <a:pt x="25" y="17"/>
                  </a:lnTo>
                  <a:lnTo>
                    <a:pt x="23" y="21"/>
                  </a:lnTo>
                  <a:lnTo>
                    <a:pt x="20" y="24"/>
                  </a:lnTo>
                  <a:lnTo>
                    <a:pt x="17" y="26"/>
                  </a:lnTo>
                  <a:lnTo>
                    <a:pt x="13" y="27"/>
                  </a:lnTo>
                  <a:lnTo>
                    <a:pt x="8" y="26"/>
                  </a:lnTo>
                  <a:lnTo>
                    <a:pt x="5" y="24"/>
                  </a:lnTo>
                  <a:lnTo>
                    <a:pt x="2" y="21"/>
                  </a:lnTo>
                  <a:lnTo>
                    <a:pt x="0" y="17"/>
                  </a:lnTo>
                  <a:lnTo>
                    <a:pt x="0" y="13"/>
                  </a:lnTo>
                  <a:lnTo>
                    <a:pt x="0" y="9"/>
                  </a:lnTo>
                  <a:lnTo>
                    <a:pt x="2" y="5"/>
                  </a:lnTo>
                  <a:lnTo>
                    <a:pt x="5" y="2"/>
                  </a:lnTo>
                  <a:lnTo>
                    <a:pt x="8" y="1"/>
                  </a:lnTo>
                  <a:lnTo>
                    <a:pt x="13" y="0"/>
                  </a:lnTo>
                  <a:close/>
                </a:path>
              </a:pathLst>
            </a:custGeom>
            <a:solidFill>
              <a:srgbClr val="0B1F4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55" name="Freeform 639">
              <a:extLst>
                <a:ext uri="{FF2B5EF4-FFF2-40B4-BE49-F238E27FC236}">
                  <a16:creationId xmlns:a16="http://schemas.microsoft.com/office/drawing/2014/main" id="{BF2143DB-3923-4A26-B4E4-C58718B27237}"/>
                </a:ext>
              </a:extLst>
            </p:cNvPr>
            <p:cNvSpPr>
              <a:spLocks/>
            </p:cNvSpPr>
            <p:nvPr/>
          </p:nvSpPr>
          <p:spPr bwMode="auto">
            <a:xfrm>
              <a:off x="4819651" y="1744664"/>
              <a:ext cx="42863" cy="42863"/>
            </a:xfrm>
            <a:custGeom>
              <a:avLst/>
              <a:gdLst>
                <a:gd name="T0" fmla="*/ 14 w 27"/>
                <a:gd name="T1" fmla="*/ 0 h 27"/>
                <a:gd name="T2" fmla="*/ 18 w 27"/>
                <a:gd name="T3" fmla="*/ 1 h 27"/>
                <a:gd name="T4" fmla="*/ 21 w 27"/>
                <a:gd name="T5" fmla="*/ 2 h 27"/>
                <a:gd name="T6" fmla="*/ 24 w 27"/>
                <a:gd name="T7" fmla="*/ 5 h 27"/>
                <a:gd name="T8" fmla="*/ 26 w 27"/>
                <a:gd name="T9" fmla="*/ 9 h 27"/>
                <a:gd name="T10" fmla="*/ 27 w 27"/>
                <a:gd name="T11" fmla="*/ 13 h 27"/>
                <a:gd name="T12" fmla="*/ 26 w 27"/>
                <a:gd name="T13" fmla="*/ 17 h 27"/>
                <a:gd name="T14" fmla="*/ 24 w 27"/>
                <a:gd name="T15" fmla="*/ 21 h 27"/>
                <a:gd name="T16" fmla="*/ 21 w 27"/>
                <a:gd name="T17" fmla="*/ 24 h 27"/>
                <a:gd name="T18" fmla="*/ 18 w 27"/>
                <a:gd name="T19" fmla="*/ 26 h 27"/>
                <a:gd name="T20" fmla="*/ 14 w 27"/>
                <a:gd name="T21" fmla="*/ 27 h 27"/>
                <a:gd name="T22" fmla="*/ 8 w 27"/>
                <a:gd name="T23" fmla="*/ 26 h 27"/>
                <a:gd name="T24" fmla="*/ 5 w 27"/>
                <a:gd name="T25" fmla="*/ 24 h 27"/>
                <a:gd name="T26" fmla="*/ 2 w 27"/>
                <a:gd name="T27" fmla="*/ 21 h 27"/>
                <a:gd name="T28" fmla="*/ 0 w 27"/>
                <a:gd name="T29" fmla="*/ 17 h 27"/>
                <a:gd name="T30" fmla="*/ 0 w 27"/>
                <a:gd name="T31" fmla="*/ 13 h 27"/>
                <a:gd name="T32" fmla="*/ 0 w 27"/>
                <a:gd name="T33" fmla="*/ 9 h 27"/>
                <a:gd name="T34" fmla="*/ 2 w 27"/>
                <a:gd name="T35" fmla="*/ 5 h 27"/>
                <a:gd name="T36" fmla="*/ 5 w 27"/>
                <a:gd name="T37" fmla="*/ 2 h 27"/>
                <a:gd name="T38" fmla="*/ 8 w 27"/>
                <a:gd name="T39" fmla="*/ 1 h 27"/>
                <a:gd name="T40" fmla="*/ 14 w 27"/>
                <a:gd name="T4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27">
                  <a:moveTo>
                    <a:pt x="14" y="0"/>
                  </a:moveTo>
                  <a:lnTo>
                    <a:pt x="18" y="1"/>
                  </a:lnTo>
                  <a:lnTo>
                    <a:pt x="21" y="2"/>
                  </a:lnTo>
                  <a:lnTo>
                    <a:pt x="24" y="5"/>
                  </a:lnTo>
                  <a:lnTo>
                    <a:pt x="26" y="9"/>
                  </a:lnTo>
                  <a:lnTo>
                    <a:pt x="27" y="13"/>
                  </a:lnTo>
                  <a:lnTo>
                    <a:pt x="26" y="17"/>
                  </a:lnTo>
                  <a:lnTo>
                    <a:pt x="24" y="21"/>
                  </a:lnTo>
                  <a:lnTo>
                    <a:pt x="21" y="24"/>
                  </a:lnTo>
                  <a:lnTo>
                    <a:pt x="18" y="26"/>
                  </a:lnTo>
                  <a:lnTo>
                    <a:pt x="14" y="27"/>
                  </a:lnTo>
                  <a:lnTo>
                    <a:pt x="8" y="26"/>
                  </a:lnTo>
                  <a:lnTo>
                    <a:pt x="5" y="24"/>
                  </a:lnTo>
                  <a:lnTo>
                    <a:pt x="2" y="21"/>
                  </a:lnTo>
                  <a:lnTo>
                    <a:pt x="0" y="17"/>
                  </a:lnTo>
                  <a:lnTo>
                    <a:pt x="0" y="13"/>
                  </a:lnTo>
                  <a:lnTo>
                    <a:pt x="0" y="9"/>
                  </a:lnTo>
                  <a:lnTo>
                    <a:pt x="2" y="5"/>
                  </a:lnTo>
                  <a:lnTo>
                    <a:pt x="5" y="2"/>
                  </a:lnTo>
                  <a:lnTo>
                    <a:pt x="8" y="1"/>
                  </a:lnTo>
                  <a:lnTo>
                    <a:pt x="14" y="0"/>
                  </a:lnTo>
                  <a:close/>
                </a:path>
              </a:pathLst>
            </a:custGeom>
            <a:solidFill>
              <a:srgbClr val="0B1F4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56" name="Freeform 640">
              <a:extLst>
                <a:ext uri="{FF2B5EF4-FFF2-40B4-BE49-F238E27FC236}">
                  <a16:creationId xmlns:a16="http://schemas.microsoft.com/office/drawing/2014/main" id="{EB9BE464-E549-4ED0-A271-631938713A5E}"/>
                </a:ext>
              </a:extLst>
            </p:cNvPr>
            <p:cNvSpPr>
              <a:spLocks/>
            </p:cNvSpPr>
            <p:nvPr/>
          </p:nvSpPr>
          <p:spPr bwMode="auto">
            <a:xfrm>
              <a:off x="4875213" y="1744664"/>
              <a:ext cx="41275" cy="42863"/>
            </a:xfrm>
            <a:custGeom>
              <a:avLst/>
              <a:gdLst>
                <a:gd name="T0" fmla="*/ 13 w 26"/>
                <a:gd name="T1" fmla="*/ 0 h 27"/>
                <a:gd name="T2" fmla="*/ 17 w 26"/>
                <a:gd name="T3" fmla="*/ 1 h 27"/>
                <a:gd name="T4" fmla="*/ 20 w 26"/>
                <a:gd name="T5" fmla="*/ 2 h 27"/>
                <a:gd name="T6" fmla="*/ 23 w 26"/>
                <a:gd name="T7" fmla="*/ 5 h 27"/>
                <a:gd name="T8" fmla="*/ 25 w 26"/>
                <a:gd name="T9" fmla="*/ 9 h 27"/>
                <a:gd name="T10" fmla="*/ 26 w 26"/>
                <a:gd name="T11" fmla="*/ 13 h 27"/>
                <a:gd name="T12" fmla="*/ 25 w 26"/>
                <a:gd name="T13" fmla="*/ 17 h 27"/>
                <a:gd name="T14" fmla="*/ 23 w 26"/>
                <a:gd name="T15" fmla="*/ 21 h 27"/>
                <a:gd name="T16" fmla="*/ 20 w 26"/>
                <a:gd name="T17" fmla="*/ 24 h 27"/>
                <a:gd name="T18" fmla="*/ 17 w 26"/>
                <a:gd name="T19" fmla="*/ 26 h 27"/>
                <a:gd name="T20" fmla="*/ 13 w 26"/>
                <a:gd name="T21" fmla="*/ 27 h 27"/>
                <a:gd name="T22" fmla="*/ 8 w 26"/>
                <a:gd name="T23" fmla="*/ 26 h 27"/>
                <a:gd name="T24" fmla="*/ 5 w 26"/>
                <a:gd name="T25" fmla="*/ 24 h 27"/>
                <a:gd name="T26" fmla="*/ 2 w 26"/>
                <a:gd name="T27" fmla="*/ 21 h 27"/>
                <a:gd name="T28" fmla="*/ 0 w 26"/>
                <a:gd name="T29" fmla="*/ 17 h 27"/>
                <a:gd name="T30" fmla="*/ 0 w 26"/>
                <a:gd name="T31" fmla="*/ 13 h 27"/>
                <a:gd name="T32" fmla="*/ 0 w 26"/>
                <a:gd name="T33" fmla="*/ 9 h 27"/>
                <a:gd name="T34" fmla="*/ 2 w 26"/>
                <a:gd name="T35" fmla="*/ 5 h 27"/>
                <a:gd name="T36" fmla="*/ 5 w 26"/>
                <a:gd name="T37" fmla="*/ 2 h 27"/>
                <a:gd name="T38" fmla="*/ 8 w 26"/>
                <a:gd name="T39" fmla="*/ 1 h 27"/>
                <a:gd name="T40" fmla="*/ 13 w 26"/>
                <a:gd name="T4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7">
                  <a:moveTo>
                    <a:pt x="13" y="0"/>
                  </a:moveTo>
                  <a:lnTo>
                    <a:pt x="17" y="1"/>
                  </a:lnTo>
                  <a:lnTo>
                    <a:pt x="20" y="2"/>
                  </a:lnTo>
                  <a:lnTo>
                    <a:pt x="23" y="5"/>
                  </a:lnTo>
                  <a:lnTo>
                    <a:pt x="25" y="9"/>
                  </a:lnTo>
                  <a:lnTo>
                    <a:pt x="26" y="13"/>
                  </a:lnTo>
                  <a:lnTo>
                    <a:pt x="25" y="17"/>
                  </a:lnTo>
                  <a:lnTo>
                    <a:pt x="23" y="21"/>
                  </a:lnTo>
                  <a:lnTo>
                    <a:pt x="20" y="24"/>
                  </a:lnTo>
                  <a:lnTo>
                    <a:pt x="17" y="26"/>
                  </a:lnTo>
                  <a:lnTo>
                    <a:pt x="13" y="27"/>
                  </a:lnTo>
                  <a:lnTo>
                    <a:pt x="8" y="26"/>
                  </a:lnTo>
                  <a:lnTo>
                    <a:pt x="5" y="24"/>
                  </a:lnTo>
                  <a:lnTo>
                    <a:pt x="2" y="21"/>
                  </a:lnTo>
                  <a:lnTo>
                    <a:pt x="0" y="17"/>
                  </a:lnTo>
                  <a:lnTo>
                    <a:pt x="0" y="13"/>
                  </a:lnTo>
                  <a:lnTo>
                    <a:pt x="0" y="9"/>
                  </a:lnTo>
                  <a:lnTo>
                    <a:pt x="2" y="5"/>
                  </a:lnTo>
                  <a:lnTo>
                    <a:pt x="5" y="2"/>
                  </a:lnTo>
                  <a:lnTo>
                    <a:pt x="8" y="1"/>
                  </a:lnTo>
                  <a:lnTo>
                    <a:pt x="13" y="0"/>
                  </a:lnTo>
                  <a:close/>
                </a:path>
              </a:pathLst>
            </a:custGeom>
            <a:solidFill>
              <a:srgbClr val="0B1F4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57" name="Freeform 641">
              <a:extLst>
                <a:ext uri="{FF2B5EF4-FFF2-40B4-BE49-F238E27FC236}">
                  <a16:creationId xmlns:a16="http://schemas.microsoft.com/office/drawing/2014/main" id="{1BB756CC-1D93-4423-A486-587715463DA3}"/>
                </a:ext>
              </a:extLst>
            </p:cNvPr>
            <p:cNvSpPr>
              <a:spLocks/>
            </p:cNvSpPr>
            <p:nvPr/>
          </p:nvSpPr>
          <p:spPr bwMode="auto">
            <a:xfrm>
              <a:off x="4705351" y="1495426"/>
              <a:ext cx="58738" cy="77788"/>
            </a:xfrm>
            <a:custGeom>
              <a:avLst/>
              <a:gdLst>
                <a:gd name="T0" fmla="*/ 20 w 37"/>
                <a:gd name="T1" fmla="*/ 0 h 49"/>
                <a:gd name="T2" fmla="*/ 37 w 37"/>
                <a:gd name="T3" fmla="*/ 38 h 49"/>
                <a:gd name="T4" fmla="*/ 22 w 37"/>
                <a:gd name="T5" fmla="*/ 49 h 49"/>
                <a:gd name="T6" fmla="*/ 0 w 37"/>
                <a:gd name="T7" fmla="*/ 11 h 49"/>
                <a:gd name="T8" fmla="*/ 20 w 37"/>
                <a:gd name="T9" fmla="*/ 0 h 49"/>
              </a:gdLst>
              <a:ahLst/>
              <a:cxnLst>
                <a:cxn ang="0">
                  <a:pos x="T0" y="T1"/>
                </a:cxn>
                <a:cxn ang="0">
                  <a:pos x="T2" y="T3"/>
                </a:cxn>
                <a:cxn ang="0">
                  <a:pos x="T4" y="T5"/>
                </a:cxn>
                <a:cxn ang="0">
                  <a:pos x="T6" y="T7"/>
                </a:cxn>
                <a:cxn ang="0">
                  <a:pos x="T8" y="T9"/>
                </a:cxn>
              </a:cxnLst>
              <a:rect l="0" t="0" r="r" b="b"/>
              <a:pathLst>
                <a:path w="37" h="49">
                  <a:moveTo>
                    <a:pt x="20" y="0"/>
                  </a:moveTo>
                  <a:lnTo>
                    <a:pt x="37" y="38"/>
                  </a:lnTo>
                  <a:lnTo>
                    <a:pt x="22" y="49"/>
                  </a:lnTo>
                  <a:lnTo>
                    <a:pt x="0" y="11"/>
                  </a:lnTo>
                  <a:lnTo>
                    <a:pt x="20" y="0"/>
                  </a:lnTo>
                  <a:close/>
                </a:path>
              </a:pathLst>
            </a:custGeom>
            <a:solidFill>
              <a:srgbClr val="0B1F4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58" name="Freeform 642">
              <a:extLst>
                <a:ext uri="{FF2B5EF4-FFF2-40B4-BE49-F238E27FC236}">
                  <a16:creationId xmlns:a16="http://schemas.microsoft.com/office/drawing/2014/main" id="{25327D00-D401-455A-97F5-B8DED5ECFC3C}"/>
                </a:ext>
              </a:extLst>
            </p:cNvPr>
            <p:cNvSpPr>
              <a:spLocks/>
            </p:cNvSpPr>
            <p:nvPr/>
          </p:nvSpPr>
          <p:spPr bwMode="auto">
            <a:xfrm>
              <a:off x="4729163" y="1539876"/>
              <a:ext cx="228600" cy="60325"/>
            </a:xfrm>
            <a:custGeom>
              <a:avLst/>
              <a:gdLst>
                <a:gd name="T0" fmla="*/ 19 w 144"/>
                <a:gd name="T1" fmla="*/ 0 h 38"/>
                <a:gd name="T2" fmla="*/ 125 w 144"/>
                <a:gd name="T3" fmla="*/ 0 h 38"/>
                <a:gd name="T4" fmla="*/ 135 w 144"/>
                <a:gd name="T5" fmla="*/ 3 h 38"/>
                <a:gd name="T6" fmla="*/ 142 w 144"/>
                <a:gd name="T7" fmla="*/ 10 h 38"/>
                <a:gd name="T8" fmla="*/ 144 w 144"/>
                <a:gd name="T9" fmla="*/ 19 h 38"/>
                <a:gd name="T10" fmla="*/ 144 w 144"/>
                <a:gd name="T11" fmla="*/ 20 h 38"/>
                <a:gd name="T12" fmla="*/ 142 w 144"/>
                <a:gd name="T13" fmla="*/ 29 h 38"/>
                <a:gd name="T14" fmla="*/ 135 w 144"/>
                <a:gd name="T15" fmla="*/ 36 h 38"/>
                <a:gd name="T16" fmla="*/ 125 w 144"/>
                <a:gd name="T17" fmla="*/ 38 h 38"/>
                <a:gd name="T18" fmla="*/ 19 w 144"/>
                <a:gd name="T19" fmla="*/ 38 h 38"/>
                <a:gd name="T20" fmla="*/ 9 w 144"/>
                <a:gd name="T21" fmla="*/ 36 h 38"/>
                <a:gd name="T22" fmla="*/ 3 w 144"/>
                <a:gd name="T23" fmla="*/ 29 h 38"/>
                <a:gd name="T24" fmla="*/ 0 w 144"/>
                <a:gd name="T25" fmla="*/ 20 h 38"/>
                <a:gd name="T26" fmla="*/ 0 w 144"/>
                <a:gd name="T27" fmla="*/ 19 h 38"/>
                <a:gd name="T28" fmla="*/ 3 w 144"/>
                <a:gd name="T29" fmla="*/ 10 h 38"/>
                <a:gd name="T30" fmla="*/ 9 w 144"/>
                <a:gd name="T31" fmla="*/ 3 h 38"/>
                <a:gd name="T32" fmla="*/ 19 w 144"/>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38">
                  <a:moveTo>
                    <a:pt x="19" y="0"/>
                  </a:moveTo>
                  <a:lnTo>
                    <a:pt x="125" y="0"/>
                  </a:lnTo>
                  <a:lnTo>
                    <a:pt x="135" y="3"/>
                  </a:lnTo>
                  <a:lnTo>
                    <a:pt x="142" y="10"/>
                  </a:lnTo>
                  <a:lnTo>
                    <a:pt x="144" y="19"/>
                  </a:lnTo>
                  <a:lnTo>
                    <a:pt x="144" y="20"/>
                  </a:lnTo>
                  <a:lnTo>
                    <a:pt x="142" y="29"/>
                  </a:lnTo>
                  <a:lnTo>
                    <a:pt x="135" y="36"/>
                  </a:lnTo>
                  <a:lnTo>
                    <a:pt x="125" y="38"/>
                  </a:lnTo>
                  <a:lnTo>
                    <a:pt x="19" y="38"/>
                  </a:lnTo>
                  <a:lnTo>
                    <a:pt x="9" y="36"/>
                  </a:lnTo>
                  <a:lnTo>
                    <a:pt x="3" y="29"/>
                  </a:lnTo>
                  <a:lnTo>
                    <a:pt x="0" y="20"/>
                  </a:lnTo>
                  <a:lnTo>
                    <a:pt x="0" y="19"/>
                  </a:lnTo>
                  <a:lnTo>
                    <a:pt x="3" y="10"/>
                  </a:lnTo>
                  <a:lnTo>
                    <a:pt x="9" y="3"/>
                  </a:lnTo>
                  <a:lnTo>
                    <a:pt x="19" y="0"/>
                  </a:lnTo>
                  <a:close/>
                </a:path>
              </a:pathLst>
            </a:custGeom>
            <a:solidFill>
              <a:srgbClr val="7F9A96"/>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59" name="Freeform 643">
              <a:extLst>
                <a:ext uri="{FF2B5EF4-FFF2-40B4-BE49-F238E27FC236}">
                  <a16:creationId xmlns:a16="http://schemas.microsoft.com/office/drawing/2014/main" id="{298F86F4-95C5-4C75-ADC2-3D4E95A25960}"/>
                </a:ext>
              </a:extLst>
            </p:cNvPr>
            <p:cNvSpPr>
              <a:spLocks/>
            </p:cNvSpPr>
            <p:nvPr/>
          </p:nvSpPr>
          <p:spPr bwMode="auto">
            <a:xfrm>
              <a:off x="4665663" y="1295401"/>
              <a:ext cx="84138" cy="234950"/>
            </a:xfrm>
            <a:custGeom>
              <a:avLst/>
              <a:gdLst>
                <a:gd name="T0" fmla="*/ 17 w 53"/>
                <a:gd name="T1" fmla="*/ 0 h 148"/>
                <a:gd name="T2" fmla="*/ 27 w 53"/>
                <a:gd name="T3" fmla="*/ 1 h 148"/>
                <a:gd name="T4" fmla="*/ 34 w 53"/>
                <a:gd name="T5" fmla="*/ 6 h 148"/>
                <a:gd name="T6" fmla="*/ 38 w 53"/>
                <a:gd name="T7" fmla="*/ 15 h 148"/>
                <a:gd name="T8" fmla="*/ 53 w 53"/>
                <a:gd name="T9" fmla="*/ 128 h 148"/>
                <a:gd name="T10" fmla="*/ 52 w 53"/>
                <a:gd name="T11" fmla="*/ 137 h 148"/>
                <a:gd name="T12" fmla="*/ 46 w 53"/>
                <a:gd name="T13" fmla="*/ 145 h 148"/>
                <a:gd name="T14" fmla="*/ 36 w 53"/>
                <a:gd name="T15" fmla="*/ 148 h 148"/>
                <a:gd name="T16" fmla="*/ 36 w 53"/>
                <a:gd name="T17" fmla="*/ 148 h 148"/>
                <a:gd name="T18" fmla="*/ 26 w 53"/>
                <a:gd name="T19" fmla="*/ 147 h 148"/>
                <a:gd name="T20" fmla="*/ 18 w 53"/>
                <a:gd name="T21" fmla="*/ 142 h 148"/>
                <a:gd name="T22" fmla="*/ 15 w 53"/>
                <a:gd name="T23" fmla="*/ 133 h 148"/>
                <a:gd name="T24" fmla="*/ 0 w 53"/>
                <a:gd name="T25" fmla="*/ 20 h 148"/>
                <a:gd name="T26" fmla="*/ 1 w 53"/>
                <a:gd name="T27" fmla="*/ 11 h 148"/>
                <a:gd name="T28" fmla="*/ 7 w 53"/>
                <a:gd name="T29" fmla="*/ 4 h 148"/>
                <a:gd name="T30" fmla="*/ 16 w 53"/>
                <a:gd name="T31" fmla="*/ 0 h 148"/>
                <a:gd name="T32" fmla="*/ 17 w 53"/>
                <a:gd name="T3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48">
                  <a:moveTo>
                    <a:pt x="17" y="0"/>
                  </a:moveTo>
                  <a:lnTo>
                    <a:pt x="27" y="1"/>
                  </a:lnTo>
                  <a:lnTo>
                    <a:pt x="34" y="6"/>
                  </a:lnTo>
                  <a:lnTo>
                    <a:pt x="38" y="15"/>
                  </a:lnTo>
                  <a:lnTo>
                    <a:pt x="53" y="128"/>
                  </a:lnTo>
                  <a:lnTo>
                    <a:pt x="52" y="137"/>
                  </a:lnTo>
                  <a:lnTo>
                    <a:pt x="46" y="145"/>
                  </a:lnTo>
                  <a:lnTo>
                    <a:pt x="36" y="148"/>
                  </a:lnTo>
                  <a:lnTo>
                    <a:pt x="36" y="148"/>
                  </a:lnTo>
                  <a:lnTo>
                    <a:pt x="26" y="147"/>
                  </a:lnTo>
                  <a:lnTo>
                    <a:pt x="18" y="142"/>
                  </a:lnTo>
                  <a:lnTo>
                    <a:pt x="15" y="133"/>
                  </a:lnTo>
                  <a:lnTo>
                    <a:pt x="0" y="20"/>
                  </a:lnTo>
                  <a:lnTo>
                    <a:pt x="1" y="11"/>
                  </a:lnTo>
                  <a:lnTo>
                    <a:pt x="7" y="4"/>
                  </a:lnTo>
                  <a:lnTo>
                    <a:pt x="16" y="0"/>
                  </a:lnTo>
                  <a:lnTo>
                    <a:pt x="17" y="0"/>
                  </a:lnTo>
                  <a:close/>
                </a:path>
              </a:pathLst>
            </a:custGeom>
            <a:solidFill>
              <a:srgbClr val="7F9A96"/>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60" name="Freeform 644">
              <a:extLst>
                <a:ext uri="{FF2B5EF4-FFF2-40B4-BE49-F238E27FC236}">
                  <a16:creationId xmlns:a16="http://schemas.microsoft.com/office/drawing/2014/main" id="{F510A991-00DA-4634-A44A-271EF9B5C850}"/>
                </a:ext>
              </a:extLst>
            </p:cNvPr>
            <p:cNvSpPr>
              <a:spLocks/>
            </p:cNvSpPr>
            <p:nvPr/>
          </p:nvSpPr>
          <p:spPr bwMode="auto">
            <a:xfrm>
              <a:off x="4975226" y="1720851"/>
              <a:ext cx="112713" cy="61913"/>
            </a:xfrm>
            <a:custGeom>
              <a:avLst/>
              <a:gdLst>
                <a:gd name="T0" fmla="*/ 0 w 71"/>
                <a:gd name="T1" fmla="*/ 0 h 39"/>
                <a:gd name="T2" fmla="*/ 5 w 71"/>
                <a:gd name="T3" fmla="*/ 0 h 39"/>
                <a:gd name="T4" fmla="*/ 5 w 71"/>
                <a:gd name="T5" fmla="*/ 0 h 39"/>
                <a:gd name="T6" fmla="*/ 27 w 71"/>
                <a:gd name="T7" fmla="*/ 2 h 39"/>
                <a:gd name="T8" fmla="*/ 43 w 71"/>
                <a:gd name="T9" fmla="*/ 7 h 39"/>
                <a:gd name="T10" fmla="*/ 55 w 71"/>
                <a:gd name="T11" fmla="*/ 12 h 39"/>
                <a:gd name="T12" fmla="*/ 62 w 71"/>
                <a:gd name="T13" fmla="*/ 18 h 39"/>
                <a:gd name="T14" fmla="*/ 67 w 71"/>
                <a:gd name="T15" fmla="*/ 23 h 39"/>
                <a:gd name="T16" fmla="*/ 70 w 71"/>
                <a:gd name="T17" fmla="*/ 29 h 39"/>
                <a:gd name="T18" fmla="*/ 71 w 71"/>
                <a:gd name="T19" fmla="*/ 33 h 39"/>
                <a:gd name="T20" fmla="*/ 71 w 71"/>
                <a:gd name="T21" fmla="*/ 36 h 39"/>
                <a:gd name="T22" fmla="*/ 71 w 71"/>
                <a:gd name="T23" fmla="*/ 39 h 39"/>
                <a:gd name="T24" fmla="*/ 0 w 71"/>
                <a:gd name="T25" fmla="*/ 39 h 39"/>
                <a:gd name="T26" fmla="*/ 0 w 71"/>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39">
                  <a:moveTo>
                    <a:pt x="0" y="0"/>
                  </a:moveTo>
                  <a:lnTo>
                    <a:pt x="5" y="0"/>
                  </a:lnTo>
                  <a:lnTo>
                    <a:pt x="5" y="0"/>
                  </a:lnTo>
                  <a:lnTo>
                    <a:pt x="27" y="2"/>
                  </a:lnTo>
                  <a:lnTo>
                    <a:pt x="43" y="7"/>
                  </a:lnTo>
                  <a:lnTo>
                    <a:pt x="55" y="12"/>
                  </a:lnTo>
                  <a:lnTo>
                    <a:pt x="62" y="18"/>
                  </a:lnTo>
                  <a:lnTo>
                    <a:pt x="67" y="23"/>
                  </a:lnTo>
                  <a:lnTo>
                    <a:pt x="70" y="29"/>
                  </a:lnTo>
                  <a:lnTo>
                    <a:pt x="71" y="33"/>
                  </a:lnTo>
                  <a:lnTo>
                    <a:pt x="71" y="36"/>
                  </a:lnTo>
                  <a:lnTo>
                    <a:pt x="71" y="39"/>
                  </a:lnTo>
                  <a:lnTo>
                    <a:pt x="0" y="39"/>
                  </a:lnTo>
                  <a:lnTo>
                    <a:pt x="0"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61" name="Freeform 645">
              <a:extLst>
                <a:ext uri="{FF2B5EF4-FFF2-40B4-BE49-F238E27FC236}">
                  <a16:creationId xmlns:a16="http://schemas.microsoft.com/office/drawing/2014/main" id="{D3F36F6A-3547-4FD9-B8FE-883A66C04FCC}"/>
                </a:ext>
              </a:extLst>
            </p:cNvPr>
            <p:cNvSpPr>
              <a:spLocks/>
            </p:cNvSpPr>
            <p:nvPr/>
          </p:nvSpPr>
          <p:spPr bwMode="auto">
            <a:xfrm>
              <a:off x="4946651" y="1720851"/>
              <a:ext cx="112713" cy="61913"/>
            </a:xfrm>
            <a:custGeom>
              <a:avLst/>
              <a:gdLst>
                <a:gd name="T0" fmla="*/ 0 w 71"/>
                <a:gd name="T1" fmla="*/ 0 h 39"/>
                <a:gd name="T2" fmla="*/ 5 w 71"/>
                <a:gd name="T3" fmla="*/ 0 h 39"/>
                <a:gd name="T4" fmla="*/ 6 w 71"/>
                <a:gd name="T5" fmla="*/ 0 h 39"/>
                <a:gd name="T6" fmla="*/ 27 w 71"/>
                <a:gd name="T7" fmla="*/ 2 h 39"/>
                <a:gd name="T8" fmla="*/ 43 w 71"/>
                <a:gd name="T9" fmla="*/ 7 h 39"/>
                <a:gd name="T10" fmla="*/ 55 w 71"/>
                <a:gd name="T11" fmla="*/ 12 h 39"/>
                <a:gd name="T12" fmla="*/ 63 w 71"/>
                <a:gd name="T13" fmla="*/ 18 h 39"/>
                <a:gd name="T14" fmla="*/ 68 w 71"/>
                <a:gd name="T15" fmla="*/ 23 h 39"/>
                <a:gd name="T16" fmla="*/ 70 w 71"/>
                <a:gd name="T17" fmla="*/ 29 h 39"/>
                <a:gd name="T18" fmla="*/ 71 w 71"/>
                <a:gd name="T19" fmla="*/ 33 h 39"/>
                <a:gd name="T20" fmla="*/ 71 w 71"/>
                <a:gd name="T21" fmla="*/ 36 h 39"/>
                <a:gd name="T22" fmla="*/ 71 w 71"/>
                <a:gd name="T23" fmla="*/ 39 h 39"/>
                <a:gd name="T24" fmla="*/ 0 w 71"/>
                <a:gd name="T25" fmla="*/ 39 h 39"/>
                <a:gd name="T26" fmla="*/ 0 w 71"/>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39">
                  <a:moveTo>
                    <a:pt x="0" y="0"/>
                  </a:moveTo>
                  <a:lnTo>
                    <a:pt x="5" y="0"/>
                  </a:lnTo>
                  <a:lnTo>
                    <a:pt x="6" y="0"/>
                  </a:lnTo>
                  <a:lnTo>
                    <a:pt x="27" y="2"/>
                  </a:lnTo>
                  <a:lnTo>
                    <a:pt x="43" y="7"/>
                  </a:lnTo>
                  <a:lnTo>
                    <a:pt x="55" y="12"/>
                  </a:lnTo>
                  <a:lnTo>
                    <a:pt x="63" y="18"/>
                  </a:lnTo>
                  <a:lnTo>
                    <a:pt x="68" y="23"/>
                  </a:lnTo>
                  <a:lnTo>
                    <a:pt x="70" y="29"/>
                  </a:lnTo>
                  <a:lnTo>
                    <a:pt x="71" y="33"/>
                  </a:lnTo>
                  <a:lnTo>
                    <a:pt x="71" y="36"/>
                  </a:lnTo>
                  <a:lnTo>
                    <a:pt x="71" y="39"/>
                  </a:lnTo>
                  <a:lnTo>
                    <a:pt x="0" y="39"/>
                  </a:lnTo>
                  <a:lnTo>
                    <a:pt x="0"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62" name="Freeform 646">
              <a:extLst>
                <a:ext uri="{FF2B5EF4-FFF2-40B4-BE49-F238E27FC236}">
                  <a16:creationId xmlns:a16="http://schemas.microsoft.com/office/drawing/2014/main" id="{21E1A471-F4AF-4921-8A43-52BA0F6889CD}"/>
                </a:ext>
              </a:extLst>
            </p:cNvPr>
            <p:cNvSpPr>
              <a:spLocks/>
            </p:cNvSpPr>
            <p:nvPr/>
          </p:nvSpPr>
          <p:spPr bwMode="auto">
            <a:xfrm>
              <a:off x="4779963" y="1465264"/>
              <a:ext cx="276225" cy="276225"/>
            </a:xfrm>
            <a:custGeom>
              <a:avLst/>
              <a:gdLst>
                <a:gd name="T0" fmla="*/ 67 w 174"/>
                <a:gd name="T1" fmla="*/ 0 h 174"/>
                <a:gd name="T2" fmla="*/ 71 w 174"/>
                <a:gd name="T3" fmla="*/ 11 h 174"/>
                <a:gd name="T4" fmla="*/ 73 w 174"/>
                <a:gd name="T5" fmla="*/ 14 h 174"/>
                <a:gd name="T6" fmla="*/ 74 w 174"/>
                <a:gd name="T7" fmla="*/ 16 h 174"/>
                <a:gd name="T8" fmla="*/ 77 w 174"/>
                <a:gd name="T9" fmla="*/ 18 h 174"/>
                <a:gd name="T10" fmla="*/ 80 w 174"/>
                <a:gd name="T11" fmla="*/ 19 h 174"/>
                <a:gd name="T12" fmla="*/ 135 w 174"/>
                <a:gd name="T13" fmla="*/ 28 h 174"/>
                <a:gd name="T14" fmla="*/ 145 w 174"/>
                <a:gd name="T15" fmla="*/ 31 h 174"/>
                <a:gd name="T16" fmla="*/ 156 w 174"/>
                <a:gd name="T17" fmla="*/ 38 h 174"/>
                <a:gd name="T18" fmla="*/ 163 w 174"/>
                <a:gd name="T19" fmla="*/ 46 h 174"/>
                <a:gd name="T20" fmla="*/ 167 w 174"/>
                <a:gd name="T21" fmla="*/ 55 h 174"/>
                <a:gd name="T22" fmla="*/ 174 w 174"/>
                <a:gd name="T23" fmla="*/ 174 h 174"/>
                <a:gd name="T24" fmla="*/ 124 w 174"/>
                <a:gd name="T25" fmla="*/ 174 h 174"/>
                <a:gd name="T26" fmla="*/ 123 w 174"/>
                <a:gd name="T27" fmla="*/ 93 h 174"/>
                <a:gd name="T28" fmla="*/ 120 w 174"/>
                <a:gd name="T29" fmla="*/ 81 h 174"/>
                <a:gd name="T30" fmla="*/ 115 w 174"/>
                <a:gd name="T31" fmla="*/ 71 h 174"/>
                <a:gd name="T32" fmla="*/ 106 w 174"/>
                <a:gd name="T33" fmla="*/ 64 h 174"/>
                <a:gd name="T34" fmla="*/ 97 w 174"/>
                <a:gd name="T35" fmla="*/ 61 h 174"/>
                <a:gd name="T36" fmla="*/ 39 w 174"/>
                <a:gd name="T37" fmla="*/ 61 h 174"/>
                <a:gd name="T38" fmla="*/ 24 w 174"/>
                <a:gd name="T39" fmla="*/ 59 h 174"/>
                <a:gd name="T40" fmla="*/ 14 w 174"/>
                <a:gd name="T41" fmla="*/ 56 h 174"/>
                <a:gd name="T42" fmla="*/ 7 w 174"/>
                <a:gd name="T43" fmla="*/ 50 h 174"/>
                <a:gd name="T44" fmla="*/ 3 w 174"/>
                <a:gd name="T45" fmla="*/ 43 h 174"/>
                <a:gd name="T46" fmla="*/ 1 w 174"/>
                <a:gd name="T47" fmla="*/ 36 h 174"/>
                <a:gd name="T48" fmla="*/ 0 w 174"/>
                <a:gd name="T49" fmla="*/ 28 h 174"/>
                <a:gd name="T50" fmla="*/ 1 w 174"/>
                <a:gd name="T51" fmla="*/ 20 h 174"/>
                <a:gd name="T52" fmla="*/ 3 w 174"/>
                <a:gd name="T53" fmla="*/ 13 h 174"/>
                <a:gd name="T54" fmla="*/ 5 w 174"/>
                <a:gd name="T55" fmla="*/ 8 h 174"/>
                <a:gd name="T56" fmla="*/ 6 w 174"/>
                <a:gd name="T57" fmla="*/ 4 h 174"/>
                <a:gd name="T58" fmla="*/ 7 w 174"/>
                <a:gd name="T59" fmla="*/ 3 h 174"/>
                <a:gd name="T60" fmla="*/ 67 w 174"/>
                <a:gd name="T6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4" h="174">
                  <a:moveTo>
                    <a:pt x="67" y="0"/>
                  </a:moveTo>
                  <a:lnTo>
                    <a:pt x="71" y="11"/>
                  </a:lnTo>
                  <a:lnTo>
                    <a:pt x="73" y="14"/>
                  </a:lnTo>
                  <a:lnTo>
                    <a:pt x="74" y="16"/>
                  </a:lnTo>
                  <a:lnTo>
                    <a:pt x="77" y="18"/>
                  </a:lnTo>
                  <a:lnTo>
                    <a:pt x="80" y="19"/>
                  </a:lnTo>
                  <a:lnTo>
                    <a:pt x="135" y="28"/>
                  </a:lnTo>
                  <a:lnTo>
                    <a:pt x="145" y="31"/>
                  </a:lnTo>
                  <a:lnTo>
                    <a:pt x="156" y="38"/>
                  </a:lnTo>
                  <a:lnTo>
                    <a:pt x="163" y="46"/>
                  </a:lnTo>
                  <a:lnTo>
                    <a:pt x="167" y="55"/>
                  </a:lnTo>
                  <a:lnTo>
                    <a:pt x="174" y="174"/>
                  </a:lnTo>
                  <a:lnTo>
                    <a:pt x="124" y="174"/>
                  </a:lnTo>
                  <a:lnTo>
                    <a:pt x="123" y="93"/>
                  </a:lnTo>
                  <a:lnTo>
                    <a:pt x="120" y="81"/>
                  </a:lnTo>
                  <a:lnTo>
                    <a:pt x="115" y="71"/>
                  </a:lnTo>
                  <a:lnTo>
                    <a:pt x="106" y="64"/>
                  </a:lnTo>
                  <a:lnTo>
                    <a:pt x="97" y="61"/>
                  </a:lnTo>
                  <a:lnTo>
                    <a:pt x="39" y="61"/>
                  </a:lnTo>
                  <a:lnTo>
                    <a:pt x="24" y="59"/>
                  </a:lnTo>
                  <a:lnTo>
                    <a:pt x="14" y="56"/>
                  </a:lnTo>
                  <a:lnTo>
                    <a:pt x="7" y="50"/>
                  </a:lnTo>
                  <a:lnTo>
                    <a:pt x="3" y="43"/>
                  </a:lnTo>
                  <a:lnTo>
                    <a:pt x="1" y="36"/>
                  </a:lnTo>
                  <a:lnTo>
                    <a:pt x="0" y="28"/>
                  </a:lnTo>
                  <a:lnTo>
                    <a:pt x="1" y="20"/>
                  </a:lnTo>
                  <a:lnTo>
                    <a:pt x="3" y="13"/>
                  </a:lnTo>
                  <a:lnTo>
                    <a:pt x="5" y="8"/>
                  </a:lnTo>
                  <a:lnTo>
                    <a:pt x="6" y="4"/>
                  </a:lnTo>
                  <a:lnTo>
                    <a:pt x="7" y="3"/>
                  </a:lnTo>
                  <a:lnTo>
                    <a:pt x="67"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63" name="Freeform 647">
              <a:extLst>
                <a:ext uri="{FF2B5EF4-FFF2-40B4-BE49-F238E27FC236}">
                  <a16:creationId xmlns:a16="http://schemas.microsoft.com/office/drawing/2014/main" id="{AB88779F-3E79-491B-AD07-1CEA457887F7}"/>
                </a:ext>
              </a:extLst>
            </p:cNvPr>
            <p:cNvSpPr>
              <a:spLocks/>
            </p:cNvSpPr>
            <p:nvPr/>
          </p:nvSpPr>
          <p:spPr bwMode="auto">
            <a:xfrm>
              <a:off x="4751388" y="1465264"/>
              <a:ext cx="273050" cy="276225"/>
            </a:xfrm>
            <a:custGeom>
              <a:avLst/>
              <a:gdLst>
                <a:gd name="T0" fmla="*/ 75 w 172"/>
                <a:gd name="T1" fmla="*/ 0 h 174"/>
                <a:gd name="T2" fmla="*/ 78 w 172"/>
                <a:gd name="T3" fmla="*/ 8 h 174"/>
                <a:gd name="T4" fmla="*/ 81 w 172"/>
                <a:gd name="T5" fmla="*/ 12 h 174"/>
                <a:gd name="T6" fmla="*/ 85 w 172"/>
                <a:gd name="T7" fmla="*/ 16 h 174"/>
                <a:gd name="T8" fmla="*/ 89 w 172"/>
                <a:gd name="T9" fmla="*/ 18 h 174"/>
                <a:gd name="T10" fmla="*/ 94 w 172"/>
                <a:gd name="T11" fmla="*/ 20 h 174"/>
                <a:gd name="T12" fmla="*/ 138 w 172"/>
                <a:gd name="T13" fmla="*/ 26 h 174"/>
                <a:gd name="T14" fmla="*/ 147 w 172"/>
                <a:gd name="T15" fmla="*/ 30 h 174"/>
                <a:gd name="T16" fmla="*/ 155 w 172"/>
                <a:gd name="T17" fmla="*/ 37 h 174"/>
                <a:gd name="T18" fmla="*/ 162 w 172"/>
                <a:gd name="T19" fmla="*/ 46 h 174"/>
                <a:gd name="T20" fmla="*/ 165 w 172"/>
                <a:gd name="T21" fmla="*/ 55 h 174"/>
                <a:gd name="T22" fmla="*/ 172 w 172"/>
                <a:gd name="T23" fmla="*/ 174 h 174"/>
                <a:gd name="T24" fmla="*/ 122 w 172"/>
                <a:gd name="T25" fmla="*/ 174 h 174"/>
                <a:gd name="T26" fmla="*/ 122 w 172"/>
                <a:gd name="T27" fmla="*/ 93 h 174"/>
                <a:gd name="T28" fmla="*/ 121 w 172"/>
                <a:gd name="T29" fmla="*/ 83 h 174"/>
                <a:gd name="T30" fmla="*/ 120 w 172"/>
                <a:gd name="T31" fmla="*/ 75 h 174"/>
                <a:gd name="T32" fmla="*/ 118 w 172"/>
                <a:gd name="T33" fmla="*/ 69 h 174"/>
                <a:gd name="T34" fmla="*/ 115 w 172"/>
                <a:gd name="T35" fmla="*/ 64 h 174"/>
                <a:gd name="T36" fmla="*/ 108 w 172"/>
                <a:gd name="T37" fmla="*/ 62 h 174"/>
                <a:gd name="T38" fmla="*/ 39 w 172"/>
                <a:gd name="T39" fmla="*/ 60 h 174"/>
                <a:gd name="T40" fmla="*/ 25 w 172"/>
                <a:gd name="T41" fmla="*/ 59 h 174"/>
                <a:gd name="T42" fmla="*/ 14 w 172"/>
                <a:gd name="T43" fmla="*/ 55 h 174"/>
                <a:gd name="T44" fmla="*/ 7 w 172"/>
                <a:gd name="T45" fmla="*/ 50 h 174"/>
                <a:gd name="T46" fmla="*/ 3 w 172"/>
                <a:gd name="T47" fmla="*/ 43 h 174"/>
                <a:gd name="T48" fmla="*/ 0 w 172"/>
                <a:gd name="T49" fmla="*/ 35 h 174"/>
                <a:gd name="T50" fmla="*/ 0 w 172"/>
                <a:gd name="T51" fmla="*/ 28 h 174"/>
                <a:gd name="T52" fmla="*/ 0 w 172"/>
                <a:gd name="T53" fmla="*/ 20 h 174"/>
                <a:gd name="T54" fmla="*/ 2 w 172"/>
                <a:gd name="T55" fmla="*/ 13 h 174"/>
                <a:gd name="T56" fmla="*/ 3 w 172"/>
                <a:gd name="T57" fmla="*/ 8 h 174"/>
                <a:gd name="T58" fmla="*/ 5 w 172"/>
                <a:gd name="T59" fmla="*/ 4 h 174"/>
                <a:gd name="T60" fmla="*/ 5 w 172"/>
                <a:gd name="T61" fmla="*/ 3 h 174"/>
                <a:gd name="T62" fmla="*/ 75 w 172"/>
                <a:gd name="T63"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2" h="174">
                  <a:moveTo>
                    <a:pt x="75" y="0"/>
                  </a:moveTo>
                  <a:lnTo>
                    <a:pt x="78" y="8"/>
                  </a:lnTo>
                  <a:lnTo>
                    <a:pt x="81" y="12"/>
                  </a:lnTo>
                  <a:lnTo>
                    <a:pt x="85" y="16"/>
                  </a:lnTo>
                  <a:lnTo>
                    <a:pt x="89" y="18"/>
                  </a:lnTo>
                  <a:lnTo>
                    <a:pt x="94" y="20"/>
                  </a:lnTo>
                  <a:lnTo>
                    <a:pt x="138" y="26"/>
                  </a:lnTo>
                  <a:lnTo>
                    <a:pt x="147" y="30"/>
                  </a:lnTo>
                  <a:lnTo>
                    <a:pt x="155" y="37"/>
                  </a:lnTo>
                  <a:lnTo>
                    <a:pt x="162" y="46"/>
                  </a:lnTo>
                  <a:lnTo>
                    <a:pt x="165" y="55"/>
                  </a:lnTo>
                  <a:lnTo>
                    <a:pt x="172" y="174"/>
                  </a:lnTo>
                  <a:lnTo>
                    <a:pt x="122" y="174"/>
                  </a:lnTo>
                  <a:lnTo>
                    <a:pt x="122" y="93"/>
                  </a:lnTo>
                  <a:lnTo>
                    <a:pt x="121" y="83"/>
                  </a:lnTo>
                  <a:lnTo>
                    <a:pt x="120" y="75"/>
                  </a:lnTo>
                  <a:lnTo>
                    <a:pt x="118" y="69"/>
                  </a:lnTo>
                  <a:lnTo>
                    <a:pt x="115" y="64"/>
                  </a:lnTo>
                  <a:lnTo>
                    <a:pt x="108" y="62"/>
                  </a:lnTo>
                  <a:lnTo>
                    <a:pt x="39" y="60"/>
                  </a:lnTo>
                  <a:lnTo>
                    <a:pt x="25" y="59"/>
                  </a:lnTo>
                  <a:lnTo>
                    <a:pt x="14" y="55"/>
                  </a:lnTo>
                  <a:lnTo>
                    <a:pt x="7" y="50"/>
                  </a:lnTo>
                  <a:lnTo>
                    <a:pt x="3" y="43"/>
                  </a:lnTo>
                  <a:lnTo>
                    <a:pt x="0" y="35"/>
                  </a:lnTo>
                  <a:lnTo>
                    <a:pt x="0" y="28"/>
                  </a:lnTo>
                  <a:lnTo>
                    <a:pt x="0" y="20"/>
                  </a:lnTo>
                  <a:lnTo>
                    <a:pt x="2" y="13"/>
                  </a:lnTo>
                  <a:lnTo>
                    <a:pt x="3" y="8"/>
                  </a:lnTo>
                  <a:lnTo>
                    <a:pt x="5" y="4"/>
                  </a:lnTo>
                  <a:lnTo>
                    <a:pt x="5" y="3"/>
                  </a:lnTo>
                  <a:lnTo>
                    <a:pt x="75" y="0"/>
                  </a:lnTo>
                  <a:close/>
                </a:path>
              </a:pathLst>
            </a:custGeom>
            <a:solidFill>
              <a:srgbClr val="001315"/>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64" name="Freeform 648">
              <a:extLst>
                <a:ext uri="{FF2B5EF4-FFF2-40B4-BE49-F238E27FC236}">
                  <a16:creationId xmlns:a16="http://schemas.microsoft.com/office/drawing/2014/main" id="{2F45731E-55DE-4D61-9577-E8342F4C3904}"/>
                </a:ext>
              </a:extLst>
            </p:cNvPr>
            <p:cNvSpPr>
              <a:spLocks/>
            </p:cNvSpPr>
            <p:nvPr/>
          </p:nvSpPr>
          <p:spPr bwMode="auto">
            <a:xfrm>
              <a:off x="4859338" y="1319214"/>
              <a:ext cx="169863" cy="104775"/>
            </a:xfrm>
            <a:custGeom>
              <a:avLst/>
              <a:gdLst>
                <a:gd name="T0" fmla="*/ 5 w 107"/>
                <a:gd name="T1" fmla="*/ 0 h 66"/>
                <a:gd name="T2" fmla="*/ 7 w 107"/>
                <a:gd name="T3" fmla="*/ 1 h 66"/>
                <a:gd name="T4" fmla="*/ 11 w 107"/>
                <a:gd name="T5" fmla="*/ 6 h 66"/>
                <a:gd name="T6" fmla="*/ 17 w 107"/>
                <a:gd name="T7" fmla="*/ 13 h 66"/>
                <a:gd name="T8" fmla="*/ 24 w 107"/>
                <a:gd name="T9" fmla="*/ 20 h 66"/>
                <a:gd name="T10" fmla="*/ 31 w 107"/>
                <a:gd name="T11" fmla="*/ 27 h 66"/>
                <a:gd name="T12" fmla="*/ 37 w 107"/>
                <a:gd name="T13" fmla="*/ 32 h 66"/>
                <a:gd name="T14" fmla="*/ 41 w 107"/>
                <a:gd name="T15" fmla="*/ 35 h 66"/>
                <a:gd name="T16" fmla="*/ 107 w 107"/>
                <a:gd name="T17" fmla="*/ 36 h 66"/>
                <a:gd name="T18" fmla="*/ 103 w 107"/>
                <a:gd name="T19" fmla="*/ 66 h 66"/>
                <a:gd name="T20" fmla="*/ 31 w 107"/>
                <a:gd name="T21" fmla="*/ 62 h 66"/>
                <a:gd name="T22" fmla="*/ 19 w 107"/>
                <a:gd name="T23" fmla="*/ 57 h 66"/>
                <a:gd name="T24" fmla="*/ 9 w 107"/>
                <a:gd name="T25" fmla="*/ 48 h 66"/>
                <a:gd name="T26" fmla="*/ 2 w 107"/>
                <a:gd name="T27" fmla="*/ 37 h 66"/>
                <a:gd name="T28" fmla="*/ 1 w 107"/>
                <a:gd name="T29" fmla="*/ 24 h 66"/>
                <a:gd name="T30" fmla="*/ 1 w 107"/>
                <a:gd name="T31" fmla="*/ 22 h 66"/>
                <a:gd name="T32" fmla="*/ 0 w 107"/>
                <a:gd name="T33" fmla="*/ 17 h 66"/>
                <a:gd name="T34" fmla="*/ 0 w 107"/>
                <a:gd name="T35" fmla="*/ 11 h 66"/>
                <a:gd name="T36" fmla="*/ 1 w 107"/>
                <a:gd name="T37" fmla="*/ 6 h 66"/>
                <a:gd name="T38" fmla="*/ 2 w 107"/>
                <a:gd name="T39" fmla="*/ 1 h 66"/>
                <a:gd name="T40" fmla="*/ 5 w 107"/>
                <a:gd name="T4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66">
                  <a:moveTo>
                    <a:pt x="5" y="0"/>
                  </a:moveTo>
                  <a:lnTo>
                    <a:pt x="7" y="1"/>
                  </a:lnTo>
                  <a:lnTo>
                    <a:pt x="11" y="6"/>
                  </a:lnTo>
                  <a:lnTo>
                    <a:pt x="17" y="13"/>
                  </a:lnTo>
                  <a:lnTo>
                    <a:pt x="24" y="20"/>
                  </a:lnTo>
                  <a:lnTo>
                    <a:pt x="31" y="27"/>
                  </a:lnTo>
                  <a:lnTo>
                    <a:pt x="37" y="32"/>
                  </a:lnTo>
                  <a:lnTo>
                    <a:pt x="41" y="35"/>
                  </a:lnTo>
                  <a:lnTo>
                    <a:pt x="107" y="36"/>
                  </a:lnTo>
                  <a:lnTo>
                    <a:pt x="103" y="66"/>
                  </a:lnTo>
                  <a:lnTo>
                    <a:pt x="31" y="62"/>
                  </a:lnTo>
                  <a:lnTo>
                    <a:pt x="19" y="57"/>
                  </a:lnTo>
                  <a:lnTo>
                    <a:pt x="9" y="48"/>
                  </a:lnTo>
                  <a:lnTo>
                    <a:pt x="2" y="37"/>
                  </a:lnTo>
                  <a:lnTo>
                    <a:pt x="1" y="24"/>
                  </a:lnTo>
                  <a:lnTo>
                    <a:pt x="1" y="22"/>
                  </a:lnTo>
                  <a:lnTo>
                    <a:pt x="0" y="17"/>
                  </a:lnTo>
                  <a:lnTo>
                    <a:pt x="0" y="11"/>
                  </a:lnTo>
                  <a:lnTo>
                    <a:pt x="1" y="6"/>
                  </a:lnTo>
                  <a:lnTo>
                    <a:pt x="2" y="1"/>
                  </a:lnTo>
                  <a:lnTo>
                    <a:pt x="5"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65" name="Freeform 649">
              <a:extLst>
                <a:ext uri="{FF2B5EF4-FFF2-40B4-BE49-F238E27FC236}">
                  <a16:creationId xmlns:a16="http://schemas.microsoft.com/office/drawing/2014/main" id="{DF48C56B-3F7D-4461-B3F1-97D5281DBD60}"/>
                </a:ext>
              </a:extLst>
            </p:cNvPr>
            <p:cNvSpPr>
              <a:spLocks/>
            </p:cNvSpPr>
            <p:nvPr/>
          </p:nvSpPr>
          <p:spPr bwMode="auto">
            <a:xfrm>
              <a:off x="5022851" y="1376364"/>
              <a:ext cx="34925" cy="47625"/>
            </a:xfrm>
            <a:custGeom>
              <a:avLst/>
              <a:gdLst>
                <a:gd name="T0" fmla="*/ 4 w 22"/>
                <a:gd name="T1" fmla="*/ 0 h 30"/>
                <a:gd name="T2" fmla="*/ 4 w 22"/>
                <a:gd name="T3" fmla="*/ 0 h 30"/>
                <a:gd name="T4" fmla="*/ 9 w 22"/>
                <a:gd name="T5" fmla="*/ 1 h 30"/>
                <a:gd name="T6" fmla="*/ 14 w 22"/>
                <a:gd name="T7" fmla="*/ 3 h 30"/>
                <a:gd name="T8" fmla="*/ 19 w 22"/>
                <a:gd name="T9" fmla="*/ 6 h 30"/>
                <a:gd name="T10" fmla="*/ 22 w 22"/>
                <a:gd name="T11" fmla="*/ 11 h 30"/>
                <a:gd name="T12" fmla="*/ 22 w 22"/>
                <a:gd name="T13" fmla="*/ 19 h 30"/>
                <a:gd name="T14" fmla="*/ 20 w 22"/>
                <a:gd name="T15" fmla="*/ 25 h 30"/>
                <a:gd name="T16" fmla="*/ 16 w 22"/>
                <a:gd name="T17" fmla="*/ 28 h 30"/>
                <a:gd name="T18" fmla="*/ 11 w 22"/>
                <a:gd name="T19" fmla="*/ 30 h 30"/>
                <a:gd name="T20" fmla="*/ 5 w 22"/>
                <a:gd name="T21" fmla="*/ 30 h 30"/>
                <a:gd name="T22" fmla="*/ 0 w 22"/>
                <a:gd name="T23" fmla="*/ 30 h 30"/>
                <a:gd name="T24" fmla="*/ 0 w 22"/>
                <a:gd name="T25" fmla="*/ 30 h 30"/>
                <a:gd name="T26" fmla="*/ 4 w 22"/>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30">
                  <a:moveTo>
                    <a:pt x="4" y="0"/>
                  </a:moveTo>
                  <a:lnTo>
                    <a:pt x="4" y="0"/>
                  </a:lnTo>
                  <a:lnTo>
                    <a:pt x="9" y="1"/>
                  </a:lnTo>
                  <a:lnTo>
                    <a:pt x="14" y="3"/>
                  </a:lnTo>
                  <a:lnTo>
                    <a:pt x="19" y="6"/>
                  </a:lnTo>
                  <a:lnTo>
                    <a:pt x="22" y="11"/>
                  </a:lnTo>
                  <a:lnTo>
                    <a:pt x="22" y="19"/>
                  </a:lnTo>
                  <a:lnTo>
                    <a:pt x="20" y="25"/>
                  </a:lnTo>
                  <a:lnTo>
                    <a:pt x="16" y="28"/>
                  </a:lnTo>
                  <a:lnTo>
                    <a:pt x="11" y="30"/>
                  </a:lnTo>
                  <a:lnTo>
                    <a:pt x="5" y="30"/>
                  </a:lnTo>
                  <a:lnTo>
                    <a:pt x="0" y="30"/>
                  </a:lnTo>
                  <a:lnTo>
                    <a:pt x="0" y="30"/>
                  </a:lnTo>
                  <a:lnTo>
                    <a:pt x="4" y="0"/>
                  </a:lnTo>
                  <a:close/>
                </a:path>
              </a:pathLst>
            </a:custGeom>
            <a:solidFill>
              <a:srgbClr val="FFAD63"/>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66" name="Freeform 650">
              <a:extLst>
                <a:ext uri="{FF2B5EF4-FFF2-40B4-BE49-F238E27FC236}">
                  <a16:creationId xmlns:a16="http://schemas.microsoft.com/office/drawing/2014/main" id="{FA26D990-CBAA-4013-AAFA-FC210DF748ED}"/>
                </a:ext>
              </a:extLst>
            </p:cNvPr>
            <p:cNvSpPr>
              <a:spLocks/>
            </p:cNvSpPr>
            <p:nvPr/>
          </p:nvSpPr>
          <p:spPr bwMode="auto">
            <a:xfrm>
              <a:off x="4799013" y="1244601"/>
              <a:ext cx="53975" cy="74613"/>
            </a:xfrm>
            <a:custGeom>
              <a:avLst/>
              <a:gdLst>
                <a:gd name="T0" fmla="*/ 4 w 34"/>
                <a:gd name="T1" fmla="*/ 0 h 47"/>
                <a:gd name="T2" fmla="*/ 30 w 34"/>
                <a:gd name="T3" fmla="*/ 0 h 47"/>
                <a:gd name="T4" fmla="*/ 33 w 34"/>
                <a:gd name="T5" fmla="*/ 31 h 47"/>
                <a:gd name="T6" fmla="*/ 34 w 34"/>
                <a:gd name="T7" fmla="*/ 47 h 47"/>
                <a:gd name="T8" fmla="*/ 0 w 34"/>
                <a:gd name="T9" fmla="*/ 47 h 47"/>
                <a:gd name="T10" fmla="*/ 3 w 34"/>
                <a:gd name="T11" fmla="*/ 15 h 47"/>
                <a:gd name="T12" fmla="*/ 4 w 34"/>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34" h="47">
                  <a:moveTo>
                    <a:pt x="4" y="0"/>
                  </a:moveTo>
                  <a:lnTo>
                    <a:pt x="30" y="0"/>
                  </a:lnTo>
                  <a:lnTo>
                    <a:pt x="33" y="31"/>
                  </a:lnTo>
                  <a:lnTo>
                    <a:pt x="34" y="47"/>
                  </a:lnTo>
                  <a:lnTo>
                    <a:pt x="0" y="47"/>
                  </a:lnTo>
                  <a:lnTo>
                    <a:pt x="3" y="15"/>
                  </a:lnTo>
                  <a:lnTo>
                    <a:pt x="4" y="0"/>
                  </a:lnTo>
                  <a:close/>
                </a:path>
              </a:pathLst>
            </a:custGeom>
            <a:solidFill>
              <a:srgbClr val="FFB878"/>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67" name="Freeform 651">
              <a:extLst>
                <a:ext uri="{FF2B5EF4-FFF2-40B4-BE49-F238E27FC236}">
                  <a16:creationId xmlns:a16="http://schemas.microsoft.com/office/drawing/2014/main" id="{4CD18FBF-2C14-4747-A28B-5DDB86A5D8FC}"/>
                </a:ext>
              </a:extLst>
            </p:cNvPr>
            <p:cNvSpPr>
              <a:spLocks/>
            </p:cNvSpPr>
            <p:nvPr/>
          </p:nvSpPr>
          <p:spPr bwMode="auto">
            <a:xfrm>
              <a:off x="4802188" y="1244601"/>
              <a:ext cx="49213" cy="49213"/>
            </a:xfrm>
            <a:custGeom>
              <a:avLst/>
              <a:gdLst>
                <a:gd name="T0" fmla="*/ 2 w 31"/>
                <a:gd name="T1" fmla="*/ 0 h 31"/>
                <a:gd name="T2" fmla="*/ 28 w 31"/>
                <a:gd name="T3" fmla="*/ 0 h 31"/>
                <a:gd name="T4" fmla="*/ 31 w 31"/>
                <a:gd name="T5" fmla="*/ 31 h 31"/>
                <a:gd name="T6" fmla="*/ 28 w 31"/>
                <a:gd name="T7" fmla="*/ 31 h 31"/>
                <a:gd name="T8" fmla="*/ 22 w 31"/>
                <a:gd name="T9" fmla="*/ 31 h 31"/>
                <a:gd name="T10" fmla="*/ 13 w 31"/>
                <a:gd name="T11" fmla="*/ 31 h 31"/>
                <a:gd name="T12" fmla="*/ 5 w 31"/>
                <a:gd name="T13" fmla="*/ 30 h 31"/>
                <a:gd name="T14" fmla="*/ 0 w 31"/>
                <a:gd name="T15" fmla="*/ 28 h 31"/>
                <a:gd name="T16" fmla="*/ 2 w 31"/>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1">
                  <a:moveTo>
                    <a:pt x="2" y="0"/>
                  </a:moveTo>
                  <a:lnTo>
                    <a:pt x="28" y="0"/>
                  </a:lnTo>
                  <a:lnTo>
                    <a:pt x="31" y="31"/>
                  </a:lnTo>
                  <a:lnTo>
                    <a:pt x="28" y="31"/>
                  </a:lnTo>
                  <a:lnTo>
                    <a:pt x="22" y="31"/>
                  </a:lnTo>
                  <a:lnTo>
                    <a:pt x="13" y="31"/>
                  </a:lnTo>
                  <a:lnTo>
                    <a:pt x="5" y="30"/>
                  </a:lnTo>
                  <a:lnTo>
                    <a:pt x="0" y="28"/>
                  </a:lnTo>
                  <a:lnTo>
                    <a:pt x="2" y="0"/>
                  </a:lnTo>
                  <a:close/>
                </a:path>
              </a:pathLst>
            </a:custGeom>
            <a:solidFill>
              <a:srgbClr val="EBA44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68" name="Freeform 652">
              <a:extLst>
                <a:ext uri="{FF2B5EF4-FFF2-40B4-BE49-F238E27FC236}">
                  <a16:creationId xmlns:a16="http://schemas.microsoft.com/office/drawing/2014/main" id="{F47AE5D7-6D89-4E6C-BCD8-AB0F5E929ABC}"/>
                </a:ext>
              </a:extLst>
            </p:cNvPr>
            <p:cNvSpPr>
              <a:spLocks/>
            </p:cNvSpPr>
            <p:nvPr/>
          </p:nvSpPr>
          <p:spPr bwMode="auto">
            <a:xfrm>
              <a:off x="4791076" y="1141414"/>
              <a:ext cx="115888" cy="139700"/>
            </a:xfrm>
            <a:custGeom>
              <a:avLst/>
              <a:gdLst>
                <a:gd name="T0" fmla="*/ 55 w 73"/>
                <a:gd name="T1" fmla="*/ 0 h 88"/>
                <a:gd name="T2" fmla="*/ 62 w 73"/>
                <a:gd name="T3" fmla="*/ 0 h 88"/>
                <a:gd name="T4" fmla="*/ 68 w 73"/>
                <a:gd name="T5" fmla="*/ 2 h 88"/>
                <a:gd name="T6" fmla="*/ 72 w 73"/>
                <a:gd name="T7" fmla="*/ 5 h 88"/>
                <a:gd name="T8" fmla="*/ 73 w 73"/>
                <a:gd name="T9" fmla="*/ 12 h 88"/>
                <a:gd name="T10" fmla="*/ 73 w 73"/>
                <a:gd name="T11" fmla="*/ 21 h 88"/>
                <a:gd name="T12" fmla="*/ 73 w 73"/>
                <a:gd name="T13" fmla="*/ 32 h 88"/>
                <a:gd name="T14" fmla="*/ 73 w 73"/>
                <a:gd name="T15" fmla="*/ 44 h 88"/>
                <a:gd name="T16" fmla="*/ 71 w 73"/>
                <a:gd name="T17" fmla="*/ 58 h 88"/>
                <a:gd name="T18" fmla="*/ 66 w 73"/>
                <a:gd name="T19" fmla="*/ 70 h 88"/>
                <a:gd name="T20" fmla="*/ 59 w 73"/>
                <a:gd name="T21" fmla="*/ 80 h 88"/>
                <a:gd name="T22" fmla="*/ 49 w 73"/>
                <a:gd name="T23" fmla="*/ 86 h 88"/>
                <a:gd name="T24" fmla="*/ 38 w 73"/>
                <a:gd name="T25" fmla="*/ 88 h 88"/>
                <a:gd name="T26" fmla="*/ 25 w 73"/>
                <a:gd name="T27" fmla="*/ 86 h 88"/>
                <a:gd name="T28" fmla="*/ 15 w 73"/>
                <a:gd name="T29" fmla="*/ 80 h 88"/>
                <a:gd name="T30" fmla="*/ 7 w 73"/>
                <a:gd name="T31" fmla="*/ 70 h 88"/>
                <a:gd name="T32" fmla="*/ 2 w 73"/>
                <a:gd name="T33" fmla="*/ 58 h 88"/>
                <a:gd name="T34" fmla="*/ 0 w 73"/>
                <a:gd name="T35" fmla="*/ 44 h 88"/>
                <a:gd name="T36" fmla="*/ 2 w 73"/>
                <a:gd name="T37" fmla="*/ 31 h 88"/>
                <a:gd name="T38" fmla="*/ 7 w 73"/>
                <a:gd name="T39" fmla="*/ 19 h 88"/>
                <a:gd name="T40" fmla="*/ 15 w 73"/>
                <a:gd name="T41" fmla="*/ 9 h 88"/>
                <a:gd name="T42" fmla="*/ 25 w 73"/>
                <a:gd name="T43" fmla="*/ 3 h 88"/>
                <a:gd name="T44" fmla="*/ 38 w 73"/>
                <a:gd name="T45" fmla="*/ 1 h 88"/>
                <a:gd name="T46" fmla="*/ 46 w 73"/>
                <a:gd name="T47" fmla="*/ 1 h 88"/>
                <a:gd name="T48" fmla="*/ 55 w 73"/>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3" h="88">
                  <a:moveTo>
                    <a:pt x="55" y="0"/>
                  </a:moveTo>
                  <a:lnTo>
                    <a:pt x="62" y="0"/>
                  </a:lnTo>
                  <a:lnTo>
                    <a:pt x="68" y="2"/>
                  </a:lnTo>
                  <a:lnTo>
                    <a:pt x="72" y="5"/>
                  </a:lnTo>
                  <a:lnTo>
                    <a:pt x="73" y="12"/>
                  </a:lnTo>
                  <a:lnTo>
                    <a:pt x="73" y="21"/>
                  </a:lnTo>
                  <a:lnTo>
                    <a:pt x="73" y="32"/>
                  </a:lnTo>
                  <a:lnTo>
                    <a:pt x="73" y="44"/>
                  </a:lnTo>
                  <a:lnTo>
                    <a:pt x="71" y="58"/>
                  </a:lnTo>
                  <a:lnTo>
                    <a:pt x="66" y="70"/>
                  </a:lnTo>
                  <a:lnTo>
                    <a:pt x="59" y="80"/>
                  </a:lnTo>
                  <a:lnTo>
                    <a:pt x="49" y="86"/>
                  </a:lnTo>
                  <a:lnTo>
                    <a:pt x="38" y="88"/>
                  </a:lnTo>
                  <a:lnTo>
                    <a:pt x="25" y="86"/>
                  </a:lnTo>
                  <a:lnTo>
                    <a:pt x="15" y="80"/>
                  </a:lnTo>
                  <a:lnTo>
                    <a:pt x="7" y="70"/>
                  </a:lnTo>
                  <a:lnTo>
                    <a:pt x="2" y="58"/>
                  </a:lnTo>
                  <a:lnTo>
                    <a:pt x="0" y="44"/>
                  </a:lnTo>
                  <a:lnTo>
                    <a:pt x="2" y="31"/>
                  </a:lnTo>
                  <a:lnTo>
                    <a:pt x="7" y="19"/>
                  </a:lnTo>
                  <a:lnTo>
                    <a:pt x="15" y="9"/>
                  </a:lnTo>
                  <a:lnTo>
                    <a:pt x="25" y="3"/>
                  </a:lnTo>
                  <a:lnTo>
                    <a:pt x="38" y="1"/>
                  </a:lnTo>
                  <a:lnTo>
                    <a:pt x="46" y="1"/>
                  </a:lnTo>
                  <a:lnTo>
                    <a:pt x="55" y="0"/>
                  </a:lnTo>
                  <a:close/>
                </a:path>
              </a:pathLst>
            </a:custGeom>
            <a:solidFill>
              <a:srgbClr val="FFB878"/>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69" name="Freeform 653">
              <a:extLst>
                <a:ext uri="{FF2B5EF4-FFF2-40B4-BE49-F238E27FC236}">
                  <a16:creationId xmlns:a16="http://schemas.microsoft.com/office/drawing/2014/main" id="{31A15260-8E9C-4DDD-BC73-CBF25872D55B}"/>
                </a:ext>
              </a:extLst>
            </p:cNvPr>
            <p:cNvSpPr>
              <a:spLocks/>
            </p:cNvSpPr>
            <p:nvPr/>
          </p:nvSpPr>
          <p:spPr bwMode="auto">
            <a:xfrm>
              <a:off x="4772026" y="1108076"/>
              <a:ext cx="147638" cy="136525"/>
            </a:xfrm>
            <a:custGeom>
              <a:avLst/>
              <a:gdLst>
                <a:gd name="T0" fmla="*/ 45 w 93"/>
                <a:gd name="T1" fmla="*/ 0 h 86"/>
                <a:gd name="T2" fmla="*/ 57 w 93"/>
                <a:gd name="T3" fmla="*/ 4 h 86"/>
                <a:gd name="T4" fmla="*/ 66 w 93"/>
                <a:gd name="T5" fmla="*/ 7 h 86"/>
                <a:gd name="T6" fmla="*/ 74 w 93"/>
                <a:gd name="T7" fmla="*/ 8 h 86"/>
                <a:gd name="T8" fmla="*/ 82 w 93"/>
                <a:gd name="T9" fmla="*/ 7 h 86"/>
                <a:gd name="T10" fmla="*/ 91 w 93"/>
                <a:gd name="T11" fmla="*/ 5 h 86"/>
                <a:gd name="T12" fmla="*/ 91 w 93"/>
                <a:gd name="T13" fmla="*/ 6 h 86"/>
                <a:gd name="T14" fmla="*/ 92 w 93"/>
                <a:gd name="T15" fmla="*/ 9 h 86"/>
                <a:gd name="T16" fmla="*/ 92 w 93"/>
                <a:gd name="T17" fmla="*/ 13 h 86"/>
                <a:gd name="T18" fmla="*/ 93 w 93"/>
                <a:gd name="T19" fmla="*/ 19 h 86"/>
                <a:gd name="T20" fmla="*/ 92 w 93"/>
                <a:gd name="T21" fmla="*/ 25 h 86"/>
                <a:gd name="T22" fmla="*/ 90 w 93"/>
                <a:gd name="T23" fmla="*/ 30 h 86"/>
                <a:gd name="T24" fmla="*/ 87 w 93"/>
                <a:gd name="T25" fmla="*/ 36 h 86"/>
                <a:gd name="T26" fmla="*/ 81 w 93"/>
                <a:gd name="T27" fmla="*/ 40 h 86"/>
                <a:gd name="T28" fmla="*/ 73 w 93"/>
                <a:gd name="T29" fmla="*/ 44 h 86"/>
                <a:gd name="T30" fmla="*/ 63 w 93"/>
                <a:gd name="T31" fmla="*/ 45 h 86"/>
                <a:gd name="T32" fmla="*/ 49 w 93"/>
                <a:gd name="T33" fmla="*/ 44 h 86"/>
                <a:gd name="T34" fmla="*/ 31 w 93"/>
                <a:gd name="T35" fmla="*/ 40 h 86"/>
                <a:gd name="T36" fmla="*/ 30 w 93"/>
                <a:gd name="T37" fmla="*/ 43 h 86"/>
                <a:gd name="T38" fmla="*/ 29 w 93"/>
                <a:gd name="T39" fmla="*/ 50 h 86"/>
                <a:gd name="T40" fmla="*/ 27 w 93"/>
                <a:gd name="T41" fmla="*/ 60 h 86"/>
                <a:gd name="T42" fmla="*/ 23 w 93"/>
                <a:gd name="T43" fmla="*/ 70 h 86"/>
                <a:gd name="T44" fmla="*/ 18 w 93"/>
                <a:gd name="T45" fmla="*/ 80 h 86"/>
                <a:gd name="T46" fmla="*/ 12 w 93"/>
                <a:gd name="T47" fmla="*/ 86 h 86"/>
                <a:gd name="T48" fmla="*/ 11 w 93"/>
                <a:gd name="T49" fmla="*/ 84 h 86"/>
                <a:gd name="T50" fmla="*/ 9 w 93"/>
                <a:gd name="T51" fmla="*/ 80 h 86"/>
                <a:gd name="T52" fmla="*/ 7 w 93"/>
                <a:gd name="T53" fmla="*/ 73 h 86"/>
                <a:gd name="T54" fmla="*/ 4 w 93"/>
                <a:gd name="T55" fmla="*/ 65 h 86"/>
                <a:gd name="T56" fmla="*/ 1 w 93"/>
                <a:gd name="T57" fmla="*/ 55 h 86"/>
                <a:gd name="T58" fmla="*/ 0 w 93"/>
                <a:gd name="T59" fmla="*/ 46 h 86"/>
                <a:gd name="T60" fmla="*/ 0 w 93"/>
                <a:gd name="T61" fmla="*/ 36 h 86"/>
                <a:gd name="T62" fmla="*/ 3 w 93"/>
                <a:gd name="T63" fmla="*/ 28 h 86"/>
                <a:gd name="T64" fmla="*/ 8 w 93"/>
                <a:gd name="T65" fmla="*/ 21 h 86"/>
                <a:gd name="T66" fmla="*/ 16 w 93"/>
                <a:gd name="T67" fmla="*/ 16 h 86"/>
                <a:gd name="T68" fmla="*/ 16 w 93"/>
                <a:gd name="T69" fmla="*/ 15 h 86"/>
                <a:gd name="T70" fmla="*/ 18 w 93"/>
                <a:gd name="T71" fmla="*/ 11 h 86"/>
                <a:gd name="T72" fmla="*/ 22 w 93"/>
                <a:gd name="T73" fmla="*/ 7 h 86"/>
                <a:gd name="T74" fmla="*/ 27 w 93"/>
                <a:gd name="T75" fmla="*/ 3 h 86"/>
                <a:gd name="T76" fmla="*/ 35 w 93"/>
                <a:gd name="T77" fmla="*/ 0 h 86"/>
                <a:gd name="T78" fmla="*/ 45 w 93"/>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86">
                  <a:moveTo>
                    <a:pt x="45" y="0"/>
                  </a:moveTo>
                  <a:lnTo>
                    <a:pt x="57" y="4"/>
                  </a:lnTo>
                  <a:lnTo>
                    <a:pt x="66" y="7"/>
                  </a:lnTo>
                  <a:lnTo>
                    <a:pt x="74" y="8"/>
                  </a:lnTo>
                  <a:lnTo>
                    <a:pt x="82" y="7"/>
                  </a:lnTo>
                  <a:lnTo>
                    <a:pt x="91" y="5"/>
                  </a:lnTo>
                  <a:lnTo>
                    <a:pt x="91" y="6"/>
                  </a:lnTo>
                  <a:lnTo>
                    <a:pt x="92" y="9"/>
                  </a:lnTo>
                  <a:lnTo>
                    <a:pt x="92" y="13"/>
                  </a:lnTo>
                  <a:lnTo>
                    <a:pt x="93" y="19"/>
                  </a:lnTo>
                  <a:lnTo>
                    <a:pt x="92" y="25"/>
                  </a:lnTo>
                  <a:lnTo>
                    <a:pt x="90" y="30"/>
                  </a:lnTo>
                  <a:lnTo>
                    <a:pt x="87" y="36"/>
                  </a:lnTo>
                  <a:lnTo>
                    <a:pt x="81" y="40"/>
                  </a:lnTo>
                  <a:lnTo>
                    <a:pt x="73" y="44"/>
                  </a:lnTo>
                  <a:lnTo>
                    <a:pt x="63" y="45"/>
                  </a:lnTo>
                  <a:lnTo>
                    <a:pt x="49" y="44"/>
                  </a:lnTo>
                  <a:lnTo>
                    <a:pt x="31" y="40"/>
                  </a:lnTo>
                  <a:lnTo>
                    <a:pt x="30" y="43"/>
                  </a:lnTo>
                  <a:lnTo>
                    <a:pt x="29" y="50"/>
                  </a:lnTo>
                  <a:lnTo>
                    <a:pt x="27" y="60"/>
                  </a:lnTo>
                  <a:lnTo>
                    <a:pt x="23" y="70"/>
                  </a:lnTo>
                  <a:lnTo>
                    <a:pt x="18" y="80"/>
                  </a:lnTo>
                  <a:lnTo>
                    <a:pt x="12" y="86"/>
                  </a:lnTo>
                  <a:lnTo>
                    <a:pt x="11" y="84"/>
                  </a:lnTo>
                  <a:lnTo>
                    <a:pt x="9" y="80"/>
                  </a:lnTo>
                  <a:lnTo>
                    <a:pt x="7" y="73"/>
                  </a:lnTo>
                  <a:lnTo>
                    <a:pt x="4" y="65"/>
                  </a:lnTo>
                  <a:lnTo>
                    <a:pt x="1" y="55"/>
                  </a:lnTo>
                  <a:lnTo>
                    <a:pt x="0" y="46"/>
                  </a:lnTo>
                  <a:lnTo>
                    <a:pt x="0" y="36"/>
                  </a:lnTo>
                  <a:lnTo>
                    <a:pt x="3" y="28"/>
                  </a:lnTo>
                  <a:lnTo>
                    <a:pt x="8" y="21"/>
                  </a:lnTo>
                  <a:lnTo>
                    <a:pt x="16" y="16"/>
                  </a:lnTo>
                  <a:lnTo>
                    <a:pt x="16" y="15"/>
                  </a:lnTo>
                  <a:lnTo>
                    <a:pt x="18" y="11"/>
                  </a:lnTo>
                  <a:lnTo>
                    <a:pt x="22" y="7"/>
                  </a:lnTo>
                  <a:lnTo>
                    <a:pt x="27" y="3"/>
                  </a:lnTo>
                  <a:lnTo>
                    <a:pt x="35" y="0"/>
                  </a:lnTo>
                  <a:lnTo>
                    <a:pt x="45"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70" name="Freeform 654">
              <a:extLst>
                <a:ext uri="{FF2B5EF4-FFF2-40B4-BE49-F238E27FC236}">
                  <a16:creationId xmlns:a16="http://schemas.microsoft.com/office/drawing/2014/main" id="{B431E19E-1D0B-4E5A-BC50-1B9A4CCDF96F}"/>
                </a:ext>
              </a:extLst>
            </p:cNvPr>
            <p:cNvSpPr>
              <a:spLocks/>
            </p:cNvSpPr>
            <p:nvPr/>
          </p:nvSpPr>
          <p:spPr bwMode="auto">
            <a:xfrm>
              <a:off x="4748213" y="1295401"/>
              <a:ext cx="158750" cy="190500"/>
            </a:xfrm>
            <a:custGeom>
              <a:avLst/>
              <a:gdLst>
                <a:gd name="T0" fmla="*/ 33 w 100"/>
                <a:gd name="T1" fmla="*/ 0 h 120"/>
                <a:gd name="T2" fmla="*/ 41 w 100"/>
                <a:gd name="T3" fmla="*/ 4 h 120"/>
                <a:gd name="T4" fmla="*/ 51 w 100"/>
                <a:gd name="T5" fmla="*/ 6 h 120"/>
                <a:gd name="T6" fmla="*/ 57 w 100"/>
                <a:gd name="T7" fmla="*/ 5 h 120"/>
                <a:gd name="T8" fmla="*/ 62 w 100"/>
                <a:gd name="T9" fmla="*/ 4 h 120"/>
                <a:gd name="T10" fmla="*/ 66 w 100"/>
                <a:gd name="T11" fmla="*/ 2 h 120"/>
                <a:gd name="T12" fmla="*/ 73 w 100"/>
                <a:gd name="T13" fmla="*/ 7 h 120"/>
                <a:gd name="T14" fmla="*/ 78 w 100"/>
                <a:gd name="T15" fmla="*/ 15 h 120"/>
                <a:gd name="T16" fmla="*/ 81 w 100"/>
                <a:gd name="T17" fmla="*/ 25 h 120"/>
                <a:gd name="T18" fmla="*/ 85 w 100"/>
                <a:gd name="T19" fmla="*/ 36 h 120"/>
                <a:gd name="T20" fmla="*/ 86 w 100"/>
                <a:gd name="T21" fmla="*/ 43 h 120"/>
                <a:gd name="T22" fmla="*/ 87 w 100"/>
                <a:gd name="T23" fmla="*/ 51 h 120"/>
                <a:gd name="T24" fmla="*/ 100 w 100"/>
                <a:gd name="T25" fmla="*/ 117 h 120"/>
                <a:gd name="T26" fmla="*/ 0 w 100"/>
                <a:gd name="T27" fmla="*/ 120 h 120"/>
                <a:gd name="T28" fmla="*/ 3 w 100"/>
                <a:gd name="T29" fmla="*/ 61 h 120"/>
                <a:gd name="T30" fmla="*/ 5 w 100"/>
                <a:gd name="T31" fmla="*/ 50 h 120"/>
                <a:gd name="T32" fmla="*/ 7 w 100"/>
                <a:gd name="T33" fmla="*/ 37 h 120"/>
                <a:gd name="T34" fmla="*/ 10 w 100"/>
                <a:gd name="T35" fmla="*/ 25 h 120"/>
                <a:gd name="T36" fmla="*/ 15 w 100"/>
                <a:gd name="T37" fmla="*/ 15 h 120"/>
                <a:gd name="T38" fmla="*/ 24 w 100"/>
                <a:gd name="T39" fmla="*/ 6 h 120"/>
                <a:gd name="T40" fmla="*/ 33 w 100"/>
                <a:gd name="T4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 h="120">
                  <a:moveTo>
                    <a:pt x="33" y="0"/>
                  </a:moveTo>
                  <a:lnTo>
                    <a:pt x="41" y="4"/>
                  </a:lnTo>
                  <a:lnTo>
                    <a:pt x="51" y="6"/>
                  </a:lnTo>
                  <a:lnTo>
                    <a:pt x="57" y="5"/>
                  </a:lnTo>
                  <a:lnTo>
                    <a:pt x="62" y="4"/>
                  </a:lnTo>
                  <a:lnTo>
                    <a:pt x="66" y="2"/>
                  </a:lnTo>
                  <a:lnTo>
                    <a:pt x="73" y="7"/>
                  </a:lnTo>
                  <a:lnTo>
                    <a:pt x="78" y="15"/>
                  </a:lnTo>
                  <a:lnTo>
                    <a:pt x="81" y="25"/>
                  </a:lnTo>
                  <a:lnTo>
                    <a:pt x="85" y="36"/>
                  </a:lnTo>
                  <a:lnTo>
                    <a:pt x="86" y="43"/>
                  </a:lnTo>
                  <a:lnTo>
                    <a:pt x="87" y="51"/>
                  </a:lnTo>
                  <a:lnTo>
                    <a:pt x="100" y="117"/>
                  </a:lnTo>
                  <a:lnTo>
                    <a:pt x="0" y="120"/>
                  </a:lnTo>
                  <a:lnTo>
                    <a:pt x="3" y="61"/>
                  </a:lnTo>
                  <a:lnTo>
                    <a:pt x="5" y="50"/>
                  </a:lnTo>
                  <a:lnTo>
                    <a:pt x="7" y="37"/>
                  </a:lnTo>
                  <a:lnTo>
                    <a:pt x="10" y="25"/>
                  </a:lnTo>
                  <a:lnTo>
                    <a:pt x="15" y="15"/>
                  </a:lnTo>
                  <a:lnTo>
                    <a:pt x="24" y="6"/>
                  </a:lnTo>
                  <a:lnTo>
                    <a:pt x="33"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71" name="Rectangle 655">
              <a:extLst>
                <a:ext uri="{FF2B5EF4-FFF2-40B4-BE49-F238E27FC236}">
                  <a16:creationId xmlns:a16="http://schemas.microsoft.com/office/drawing/2014/main" id="{1A6EFB3A-3D1B-4F8A-A6FE-42D7463D68CF}"/>
                </a:ext>
              </a:extLst>
            </p:cNvPr>
            <p:cNvSpPr>
              <a:spLocks noChangeArrowheads="1"/>
            </p:cNvSpPr>
            <p:nvPr/>
          </p:nvSpPr>
          <p:spPr bwMode="auto">
            <a:xfrm>
              <a:off x="4892676" y="1481139"/>
              <a:ext cx="14288" cy="1588"/>
            </a:xfrm>
            <a:prstGeom prst="rect">
              <a:avLst/>
            </a:prstGeom>
            <a:solidFill>
              <a:srgbClr val="6E8484"/>
            </a:solidFill>
            <a:ln w="0">
              <a:solidFill>
                <a:schemeClr val="accent1"/>
              </a:solidFill>
              <a:prstDash val="solid"/>
              <a:miter lim="800000"/>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72" name="Freeform 656">
              <a:extLst>
                <a:ext uri="{FF2B5EF4-FFF2-40B4-BE49-F238E27FC236}">
                  <a16:creationId xmlns:a16="http://schemas.microsoft.com/office/drawing/2014/main" id="{13630E6B-B800-4608-B184-A20576D6FD26}"/>
                </a:ext>
              </a:extLst>
            </p:cNvPr>
            <p:cNvSpPr>
              <a:spLocks/>
            </p:cNvSpPr>
            <p:nvPr/>
          </p:nvSpPr>
          <p:spPr bwMode="auto">
            <a:xfrm>
              <a:off x="4878388" y="1481139"/>
              <a:ext cx="14288" cy="1588"/>
            </a:xfrm>
            <a:custGeom>
              <a:avLst/>
              <a:gdLst>
                <a:gd name="T0" fmla="*/ 9 w 9"/>
                <a:gd name="T1" fmla="*/ 0 h 1"/>
                <a:gd name="T2" fmla="*/ 9 w 9"/>
                <a:gd name="T3" fmla="*/ 0 h 1"/>
                <a:gd name="T4" fmla="*/ 0 w 9"/>
                <a:gd name="T5" fmla="*/ 1 h 1"/>
                <a:gd name="T6" fmla="*/ 0 w 9"/>
                <a:gd name="T7" fmla="*/ 0 h 1"/>
                <a:gd name="T8" fmla="*/ 9 w 9"/>
                <a:gd name="T9" fmla="*/ 0 h 1"/>
              </a:gdLst>
              <a:ahLst/>
              <a:cxnLst>
                <a:cxn ang="0">
                  <a:pos x="T0" y="T1"/>
                </a:cxn>
                <a:cxn ang="0">
                  <a:pos x="T2" y="T3"/>
                </a:cxn>
                <a:cxn ang="0">
                  <a:pos x="T4" y="T5"/>
                </a:cxn>
                <a:cxn ang="0">
                  <a:pos x="T6" y="T7"/>
                </a:cxn>
                <a:cxn ang="0">
                  <a:pos x="T8" y="T9"/>
                </a:cxn>
              </a:cxnLst>
              <a:rect l="0" t="0" r="r" b="b"/>
              <a:pathLst>
                <a:path w="9" h="1">
                  <a:moveTo>
                    <a:pt x="9" y="0"/>
                  </a:moveTo>
                  <a:lnTo>
                    <a:pt x="9" y="0"/>
                  </a:lnTo>
                  <a:lnTo>
                    <a:pt x="0" y="1"/>
                  </a:lnTo>
                  <a:lnTo>
                    <a:pt x="0" y="0"/>
                  </a:lnTo>
                  <a:lnTo>
                    <a:pt x="9"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73" name="Freeform 657">
              <a:extLst>
                <a:ext uri="{FF2B5EF4-FFF2-40B4-BE49-F238E27FC236}">
                  <a16:creationId xmlns:a16="http://schemas.microsoft.com/office/drawing/2014/main" id="{CC9496FD-26A5-4A42-B9DA-6A1C394E4A05}"/>
                </a:ext>
              </a:extLst>
            </p:cNvPr>
            <p:cNvSpPr>
              <a:spLocks/>
            </p:cNvSpPr>
            <p:nvPr/>
          </p:nvSpPr>
          <p:spPr bwMode="auto">
            <a:xfrm>
              <a:off x="4849813" y="1481139"/>
              <a:ext cx="28575" cy="3175"/>
            </a:xfrm>
            <a:custGeom>
              <a:avLst/>
              <a:gdLst>
                <a:gd name="T0" fmla="*/ 18 w 18"/>
                <a:gd name="T1" fmla="*/ 0 h 2"/>
                <a:gd name="T2" fmla="*/ 18 w 18"/>
                <a:gd name="T3" fmla="*/ 1 h 2"/>
                <a:gd name="T4" fmla="*/ 0 w 18"/>
                <a:gd name="T5" fmla="*/ 2 h 2"/>
                <a:gd name="T6" fmla="*/ 0 w 18"/>
                <a:gd name="T7" fmla="*/ 1 h 2"/>
                <a:gd name="T8" fmla="*/ 18 w 18"/>
                <a:gd name="T9" fmla="*/ 0 h 2"/>
              </a:gdLst>
              <a:ahLst/>
              <a:cxnLst>
                <a:cxn ang="0">
                  <a:pos x="T0" y="T1"/>
                </a:cxn>
                <a:cxn ang="0">
                  <a:pos x="T2" y="T3"/>
                </a:cxn>
                <a:cxn ang="0">
                  <a:pos x="T4" y="T5"/>
                </a:cxn>
                <a:cxn ang="0">
                  <a:pos x="T6" y="T7"/>
                </a:cxn>
                <a:cxn ang="0">
                  <a:pos x="T8" y="T9"/>
                </a:cxn>
              </a:cxnLst>
              <a:rect l="0" t="0" r="r" b="b"/>
              <a:pathLst>
                <a:path w="18" h="2">
                  <a:moveTo>
                    <a:pt x="18" y="0"/>
                  </a:moveTo>
                  <a:lnTo>
                    <a:pt x="18" y="1"/>
                  </a:lnTo>
                  <a:lnTo>
                    <a:pt x="0" y="2"/>
                  </a:lnTo>
                  <a:lnTo>
                    <a:pt x="0" y="1"/>
                  </a:lnTo>
                  <a:lnTo>
                    <a:pt x="18"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74" name="Freeform 658">
              <a:extLst>
                <a:ext uri="{FF2B5EF4-FFF2-40B4-BE49-F238E27FC236}">
                  <a16:creationId xmlns:a16="http://schemas.microsoft.com/office/drawing/2014/main" id="{40CCF493-C78F-49F3-B3C0-A4418A97005D}"/>
                </a:ext>
              </a:extLst>
            </p:cNvPr>
            <p:cNvSpPr>
              <a:spLocks/>
            </p:cNvSpPr>
            <p:nvPr/>
          </p:nvSpPr>
          <p:spPr bwMode="auto">
            <a:xfrm>
              <a:off x="4819651" y="1306514"/>
              <a:ext cx="87313" cy="176213"/>
            </a:xfrm>
            <a:custGeom>
              <a:avLst/>
              <a:gdLst>
                <a:gd name="T0" fmla="*/ 27 w 55"/>
                <a:gd name="T1" fmla="*/ 0 h 111"/>
                <a:gd name="T2" fmla="*/ 32 w 55"/>
                <a:gd name="T3" fmla="*/ 7 h 111"/>
                <a:gd name="T4" fmla="*/ 36 w 55"/>
                <a:gd name="T5" fmla="*/ 17 h 111"/>
                <a:gd name="T6" fmla="*/ 40 w 55"/>
                <a:gd name="T7" fmla="*/ 29 h 111"/>
                <a:gd name="T8" fmla="*/ 41 w 55"/>
                <a:gd name="T9" fmla="*/ 36 h 111"/>
                <a:gd name="T10" fmla="*/ 42 w 55"/>
                <a:gd name="T11" fmla="*/ 44 h 111"/>
                <a:gd name="T12" fmla="*/ 55 w 55"/>
                <a:gd name="T13" fmla="*/ 110 h 111"/>
                <a:gd name="T14" fmla="*/ 46 w 55"/>
                <a:gd name="T15" fmla="*/ 110 h 111"/>
                <a:gd name="T16" fmla="*/ 37 w 55"/>
                <a:gd name="T17" fmla="*/ 110 h 111"/>
                <a:gd name="T18" fmla="*/ 19 w 55"/>
                <a:gd name="T19" fmla="*/ 111 h 111"/>
                <a:gd name="T20" fmla="*/ 9 w 55"/>
                <a:gd name="T21" fmla="*/ 92 h 111"/>
                <a:gd name="T22" fmla="*/ 3 w 55"/>
                <a:gd name="T23" fmla="*/ 74 h 111"/>
                <a:gd name="T24" fmla="*/ 0 w 55"/>
                <a:gd name="T25" fmla="*/ 58 h 111"/>
                <a:gd name="T26" fmla="*/ 1 w 55"/>
                <a:gd name="T27" fmla="*/ 44 h 111"/>
                <a:gd name="T28" fmla="*/ 3 w 55"/>
                <a:gd name="T29" fmla="*/ 36 h 111"/>
                <a:gd name="T30" fmla="*/ 5 w 55"/>
                <a:gd name="T31" fmla="*/ 28 h 111"/>
                <a:gd name="T32" fmla="*/ 7 w 55"/>
                <a:gd name="T33" fmla="*/ 20 h 111"/>
                <a:gd name="T34" fmla="*/ 8 w 55"/>
                <a:gd name="T35" fmla="*/ 19 h 111"/>
                <a:gd name="T36" fmla="*/ 8 w 55"/>
                <a:gd name="T37" fmla="*/ 17 h 111"/>
                <a:gd name="T38" fmla="*/ 19 w 55"/>
                <a:gd name="T39" fmla="*/ 9 h 111"/>
                <a:gd name="T40" fmla="*/ 27 w 55"/>
                <a:gd name="T41"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5" h="111">
                  <a:moveTo>
                    <a:pt x="27" y="0"/>
                  </a:moveTo>
                  <a:lnTo>
                    <a:pt x="32" y="7"/>
                  </a:lnTo>
                  <a:lnTo>
                    <a:pt x="36" y="17"/>
                  </a:lnTo>
                  <a:lnTo>
                    <a:pt x="40" y="29"/>
                  </a:lnTo>
                  <a:lnTo>
                    <a:pt x="41" y="36"/>
                  </a:lnTo>
                  <a:lnTo>
                    <a:pt x="42" y="44"/>
                  </a:lnTo>
                  <a:lnTo>
                    <a:pt x="55" y="110"/>
                  </a:lnTo>
                  <a:lnTo>
                    <a:pt x="46" y="110"/>
                  </a:lnTo>
                  <a:lnTo>
                    <a:pt x="37" y="110"/>
                  </a:lnTo>
                  <a:lnTo>
                    <a:pt x="19" y="111"/>
                  </a:lnTo>
                  <a:lnTo>
                    <a:pt x="9" y="92"/>
                  </a:lnTo>
                  <a:lnTo>
                    <a:pt x="3" y="74"/>
                  </a:lnTo>
                  <a:lnTo>
                    <a:pt x="0" y="58"/>
                  </a:lnTo>
                  <a:lnTo>
                    <a:pt x="1" y="44"/>
                  </a:lnTo>
                  <a:lnTo>
                    <a:pt x="3" y="36"/>
                  </a:lnTo>
                  <a:lnTo>
                    <a:pt x="5" y="28"/>
                  </a:lnTo>
                  <a:lnTo>
                    <a:pt x="7" y="20"/>
                  </a:lnTo>
                  <a:lnTo>
                    <a:pt x="8" y="19"/>
                  </a:lnTo>
                  <a:lnTo>
                    <a:pt x="8" y="17"/>
                  </a:lnTo>
                  <a:lnTo>
                    <a:pt x="19" y="9"/>
                  </a:lnTo>
                  <a:lnTo>
                    <a:pt x="27"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75" name="Freeform 659">
              <a:extLst>
                <a:ext uri="{FF2B5EF4-FFF2-40B4-BE49-F238E27FC236}">
                  <a16:creationId xmlns:a16="http://schemas.microsoft.com/office/drawing/2014/main" id="{FD583343-2B90-4E1B-9C8D-1D44F8527211}"/>
                </a:ext>
              </a:extLst>
            </p:cNvPr>
            <p:cNvSpPr>
              <a:spLocks/>
            </p:cNvSpPr>
            <p:nvPr/>
          </p:nvSpPr>
          <p:spPr bwMode="auto">
            <a:xfrm>
              <a:off x="4841876" y="1298576"/>
              <a:ext cx="47625" cy="88900"/>
            </a:xfrm>
            <a:custGeom>
              <a:avLst/>
              <a:gdLst>
                <a:gd name="T0" fmla="*/ 7 w 30"/>
                <a:gd name="T1" fmla="*/ 0 h 56"/>
                <a:gd name="T2" fmla="*/ 14 w 30"/>
                <a:gd name="T3" fmla="*/ 5 h 56"/>
                <a:gd name="T4" fmla="*/ 19 w 30"/>
                <a:gd name="T5" fmla="*/ 13 h 56"/>
                <a:gd name="T6" fmla="*/ 22 w 30"/>
                <a:gd name="T7" fmla="*/ 23 h 56"/>
                <a:gd name="T8" fmla="*/ 26 w 30"/>
                <a:gd name="T9" fmla="*/ 34 h 56"/>
                <a:gd name="T10" fmla="*/ 27 w 30"/>
                <a:gd name="T11" fmla="*/ 41 h 56"/>
                <a:gd name="T12" fmla="*/ 28 w 30"/>
                <a:gd name="T13" fmla="*/ 49 h 56"/>
                <a:gd name="T14" fmla="*/ 30 w 30"/>
                <a:gd name="T15" fmla="*/ 56 h 56"/>
                <a:gd name="T16" fmla="*/ 10 w 30"/>
                <a:gd name="T17" fmla="*/ 23 h 56"/>
                <a:gd name="T18" fmla="*/ 5 w 30"/>
                <a:gd name="T19" fmla="*/ 14 h 56"/>
                <a:gd name="T20" fmla="*/ 0 w 30"/>
                <a:gd name="T21" fmla="*/ 3 h 56"/>
                <a:gd name="T22" fmla="*/ 4 w 30"/>
                <a:gd name="T23" fmla="*/ 2 h 56"/>
                <a:gd name="T24" fmla="*/ 7 w 30"/>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56">
                  <a:moveTo>
                    <a:pt x="7" y="0"/>
                  </a:moveTo>
                  <a:lnTo>
                    <a:pt x="14" y="5"/>
                  </a:lnTo>
                  <a:lnTo>
                    <a:pt x="19" y="13"/>
                  </a:lnTo>
                  <a:lnTo>
                    <a:pt x="22" y="23"/>
                  </a:lnTo>
                  <a:lnTo>
                    <a:pt x="26" y="34"/>
                  </a:lnTo>
                  <a:lnTo>
                    <a:pt x="27" y="41"/>
                  </a:lnTo>
                  <a:lnTo>
                    <a:pt x="28" y="49"/>
                  </a:lnTo>
                  <a:lnTo>
                    <a:pt x="30" y="56"/>
                  </a:lnTo>
                  <a:lnTo>
                    <a:pt x="10" y="23"/>
                  </a:lnTo>
                  <a:lnTo>
                    <a:pt x="5" y="14"/>
                  </a:lnTo>
                  <a:lnTo>
                    <a:pt x="0" y="3"/>
                  </a:lnTo>
                  <a:lnTo>
                    <a:pt x="4" y="2"/>
                  </a:lnTo>
                  <a:lnTo>
                    <a:pt x="7" y="0"/>
                  </a:lnTo>
                  <a:close/>
                </a:path>
              </a:pathLst>
            </a:custGeom>
            <a:solidFill>
              <a:srgbClr val="FAF7E1"/>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76" name="Freeform 660">
              <a:extLst>
                <a:ext uri="{FF2B5EF4-FFF2-40B4-BE49-F238E27FC236}">
                  <a16:creationId xmlns:a16="http://schemas.microsoft.com/office/drawing/2014/main" id="{87BCD85E-A0AD-4845-97EE-8C7790384B32}"/>
                </a:ext>
              </a:extLst>
            </p:cNvPr>
            <p:cNvSpPr>
              <a:spLocks/>
            </p:cNvSpPr>
            <p:nvPr/>
          </p:nvSpPr>
          <p:spPr bwMode="auto">
            <a:xfrm>
              <a:off x="5022851" y="1393826"/>
              <a:ext cx="38100" cy="52388"/>
            </a:xfrm>
            <a:custGeom>
              <a:avLst/>
              <a:gdLst>
                <a:gd name="T0" fmla="*/ 5 w 24"/>
                <a:gd name="T1" fmla="*/ 0 h 33"/>
                <a:gd name="T2" fmla="*/ 9 w 24"/>
                <a:gd name="T3" fmla="*/ 0 h 33"/>
                <a:gd name="T4" fmla="*/ 14 w 24"/>
                <a:gd name="T5" fmla="*/ 1 h 33"/>
                <a:gd name="T6" fmla="*/ 19 w 24"/>
                <a:gd name="T7" fmla="*/ 4 h 33"/>
                <a:gd name="T8" fmla="*/ 22 w 24"/>
                <a:gd name="T9" fmla="*/ 9 h 33"/>
                <a:gd name="T10" fmla="*/ 24 w 24"/>
                <a:gd name="T11" fmla="*/ 16 h 33"/>
                <a:gd name="T12" fmla="*/ 22 w 24"/>
                <a:gd name="T13" fmla="*/ 23 h 33"/>
                <a:gd name="T14" fmla="*/ 18 w 24"/>
                <a:gd name="T15" fmla="*/ 29 h 33"/>
                <a:gd name="T16" fmla="*/ 13 w 24"/>
                <a:gd name="T17" fmla="*/ 31 h 33"/>
                <a:gd name="T18" fmla="*/ 8 w 24"/>
                <a:gd name="T19" fmla="*/ 33 h 33"/>
                <a:gd name="T20" fmla="*/ 4 w 24"/>
                <a:gd name="T21" fmla="*/ 33 h 33"/>
                <a:gd name="T22" fmla="*/ 2 w 24"/>
                <a:gd name="T23" fmla="*/ 33 h 33"/>
                <a:gd name="T24" fmla="*/ 0 w 24"/>
                <a:gd name="T25" fmla="*/ 0 h 33"/>
                <a:gd name="T26" fmla="*/ 1 w 24"/>
                <a:gd name="T27" fmla="*/ 0 h 33"/>
                <a:gd name="T28" fmla="*/ 5 w 24"/>
                <a:gd name="T2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5" y="0"/>
                  </a:moveTo>
                  <a:lnTo>
                    <a:pt x="9" y="0"/>
                  </a:lnTo>
                  <a:lnTo>
                    <a:pt x="14" y="1"/>
                  </a:lnTo>
                  <a:lnTo>
                    <a:pt x="19" y="4"/>
                  </a:lnTo>
                  <a:lnTo>
                    <a:pt x="22" y="9"/>
                  </a:lnTo>
                  <a:lnTo>
                    <a:pt x="24" y="16"/>
                  </a:lnTo>
                  <a:lnTo>
                    <a:pt x="22" y="23"/>
                  </a:lnTo>
                  <a:lnTo>
                    <a:pt x="18" y="29"/>
                  </a:lnTo>
                  <a:lnTo>
                    <a:pt x="13" y="31"/>
                  </a:lnTo>
                  <a:lnTo>
                    <a:pt x="8" y="33"/>
                  </a:lnTo>
                  <a:lnTo>
                    <a:pt x="4" y="33"/>
                  </a:lnTo>
                  <a:lnTo>
                    <a:pt x="2" y="33"/>
                  </a:lnTo>
                  <a:lnTo>
                    <a:pt x="0" y="0"/>
                  </a:lnTo>
                  <a:lnTo>
                    <a:pt x="1" y="0"/>
                  </a:lnTo>
                  <a:lnTo>
                    <a:pt x="5" y="0"/>
                  </a:lnTo>
                  <a:close/>
                </a:path>
              </a:pathLst>
            </a:custGeom>
            <a:solidFill>
              <a:srgbClr val="FFB878"/>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77" name="Freeform 661">
              <a:extLst>
                <a:ext uri="{FF2B5EF4-FFF2-40B4-BE49-F238E27FC236}">
                  <a16:creationId xmlns:a16="http://schemas.microsoft.com/office/drawing/2014/main" id="{A8F7DFC6-A2D8-41F4-9DFC-1AA780705144}"/>
                </a:ext>
              </a:extLst>
            </p:cNvPr>
            <p:cNvSpPr>
              <a:spLocks/>
            </p:cNvSpPr>
            <p:nvPr/>
          </p:nvSpPr>
          <p:spPr bwMode="auto">
            <a:xfrm>
              <a:off x="4803776" y="1314451"/>
              <a:ext cx="222250" cy="131763"/>
            </a:xfrm>
            <a:custGeom>
              <a:avLst/>
              <a:gdLst>
                <a:gd name="T0" fmla="*/ 14 w 140"/>
                <a:gd name="T1" fmla="*/ 0 h 83"/>
                <a:gd name="T2" fmla="*/ 23 w 140"/>
                <a:gd name="T3" fmla="*/ 1 h 83"/>
                <a:gd name="T4" fmla="*/ 31 w 140"/>
                <a:gd name="T5" fmla="*/ 7 h 83"/>
                <a:gd name="T6" fmla="*/ 39 w 140"/>
                <a:gd name="T7" fmla="*/ 17 h 83"/>
                <a:gd name="T8" fmla="*/ 46 w 140"/>
                <a:gd name="T9" fmla="*/ 27 h 83"/>
                <a:gd name="T10" fmla="*/ 52 w 140"/>
                <a:gd name="T11" fmla="*/ 38 h 83"/>
                <a:gd name="T12" fmla="*/ 57 w 140"/>
                <a:gd name="T13" fmla="*/ 46 h 83"/>
                <a:gd name="T14" fmla="*/ 59 w 140"/>
                <a:gd name="T15" fmla="*/ 48 h 83"/>
                <a:gd name="T16" fmla="*/ 62 w 140"/>
                <a:gd name="T17" fmla="*/ 50 h 83"/>
                <a:gd name="T18" fmla="*/ 65 w 140"/>
                <a:gd name="T19" fmla="*/ 51 h 83"/>
                <a:gd name="T20" fmla="*/ 68 w 140"/>
                <a:gd name="T21" fmla="*/ 51 h 83"/>
                <a:gd name="T22" fmla="*/ 71 w 140"/>
                <a:gd name="T23" fmla="*/ 51 h 83"/>
                <a:gd name="T24" fmla="*/ 72 w 140"/>
                <a:gd name="T25" fmla="*/ 51 h 83"/>
                <a:gd name="T26" fmla="*/ 138 w 140"/>
                <a:gd name="T27" fmla="*/ 50 h 83"/>
                <a:gd name="T28" fmla="*/ 140 w 140"/>
                <a:gd name="T29" fmla="*/ 83 h 83"/>
                <a:gd name="T30" fmla="*/ 58 w 140"/>
                <a:gd name="T31" fmla="*/ 83 h 83"/>
                <a:gd name="T32" fmla="*/ 50 w 140"/>
                <a:gd name="T33" fmla="*/ 80 h 83"/>
                <a:gd name="T34" fmla="*/ 43 w 140"/>
                <a:gd name="T35" fmla="*/ 75 h 83"/>
                <a:gd name="T36" fmla="*/ 35 w 140"/>
                <a:gd name="T37" fmla="*/ 67 h 83"/>
                <a:gd name="T38" fmla="*/ 28 w 140"/>
                <a:gd name="T39" fmla="*/ 59 h 83"/>
                <a:gd name="T40" fmla="*/ 22 w 140"/>
                <a:gd name="T41" fmla="*/ 52 h 83"/>
                <a:gd name="T42" fmla="*/ 17 w 140"/>
                <a:gd name="T43" fmla="*/ 47 h 83"/>
                <a:gd name="T44" fmla="*/ 16 w 140"/>
                <a:gd name="T45" fmla="*/ 45 h 83"/>
                <a:gd name="T46" fmla="*/ 12 w 140"/>
                <a:gd name="T47" fmla="*/ 41 h 83"/>
                <a:gd name="T48" fmla="*/ 8 w 140"/>
                <a:gd name="T49" fmla="*/ 36 h 83"/>
                <a:gd name="T50" fmla="*/ 5 w 140"/>
                <a:gd name="T51" fmla="*/ 29 h 83"/>
                <a:gd name="T52" fmla="*/ 2 w 140"/>
                <a:gd name="T53" fmla="*/ 22 h 83"/>
                <a:gd name="T54" fmla="*/ 0 w 140"/>
                <a:gd name="T55" fmla="*/ 15 h 83"/>
                <a:gd name="T56" fmla="*/ 2 w 140"/>
                <a:gd name="T57" fmla="*/ 9 h 83"/>
                <a:gd name="T58" fmla="*/ 6 w 140"/>
                <a:gd name="T59" fmla="*/ 3 h 83"/>
                <a:gd name="T60" fmla="*/ 14 w 140"/>
                <a:gd name="T6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0" h="83">
                  <a:moveTo>
                    <a:pt x="14" y="0"/>
                  </a:moveTo>
                  <a:lnTo>
                    <a:pt x="23" y="1"/>
                  </a:lnTo>
                  <a:lnTo>
                    <a:pt x="31" y="7"/>
                  </a:lnTo>
                  <a:lnTo>
                    <a:pt x="39" y="17"/>
                  </a:lnTo>
                  <a:lnTo>
                    <a:pt x="46" y="27"/>
                  </a:lnTo>
                  <a:lnTo>
                    <a:pt x="52" y="38"/>
                  </a:lnTo>
                  <a:lnTo>
                    <a:pt x="57" y="46"/>
                  </a:lnTo>
                  <a:lnTo>
                    <a:pt x="59" y="48"/>
                  </a:lnTo>
                  <a:lnTo>
                    <a:pt x="62" y="50"/>
                  </a:lnTo>
                  <a:lnTo>
                    <a:pt x="65" y="51"/>
                  </a:lnTo>
                  <a:lnTo>
                    <a:pt x="68" y="51"/>
                  </a:lnTo>
                  <a:lnTo>
                    <a:pt x="71" y="51"/>
                  </a:lnTo>
                  <a:lnTo>
                    <a:pt x="72" y="51"/>
                  </a:lnTo>
                  <a:lnTo>
                    <a:pt x="138" y="50"/>
                  </a:lnTo>
                  <a:lnTo>
                    <a:pt x="140" y="83"/>
                  </a:lnTo>
                  <a:lnTo>
                    <a:pt x="58" y="83"/>
                  </a:lnTo>
                  <a:lnTo>
                    <a:pt x="50" y="80"/>
                  </a:lnTo>
                  <a:lnTo>
                    <a:pt x="43" y="75"/>
                  </a:lnTo>
                  <a:lnTo>
                    <a:pt x="35" y="67"/>
                  </a:lnTo>
                  <a:lnTo>
                    <a:pt x="28" y="59"/>
                  </a:lnTo>
                  <a:lnTo>
                    <a:pt x="22" y="52"/>
                  </a:lnTo>
                  <a:lnTo>
                    <a:pt x="17" y="47"/>
                  </a:lnTo>
                  <a:lnTo>
                    <a:pt x="16" y="45"/>
                  </a:lnTo>
                  <a:lnTo>
                    <a:pt x="12" y="41"/>
                  </a:lnTo>
                  <a:lnTo>
                    <a:pt x="8" y="36"/>
                  </a:lnTo>
                  <a:lnTo>
                    <a:pt x="5" y="29"/>
                  </a:lnTo>
                  <a:lnTo>
                    <a:pt x="2" y="22"/>
                  </a:lnTo>
                  <a:lnTo>
                    <a:pt x="0" y="15"/>
                  </a:lnTo>
                  <a:lnTo>
                    <a:pt x="2" y="9"/>
                  </a:lnTo>
                  <a:lnTo>
                    <a:pt x="6" y="3"/>
                  </a:lnTo>
                  <a:lnTo>
                    <a:pt x="14" y="0"/>
                  </a:lnTo>
                  <a:close/>
                </a:path>
              </a:pathLst>
            </a:custGeom>
            <a:solidFill>
              <a:srgbClr val="00162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78" name="Rectangle 662">
              <a:extLst>
                <a:ext uri="{FF2B5EF4-FFF2-40B4-BE49-F238E27FC236}">
                  <a16:creationId xmlns:a16="http://schemas.microsoft.com/office/drawing/2014/main" id="{36910640-5E4A-4B9C-BCAE-8EB9CEB483A3}"/>
                </a:ext>
              </a:extLst>
            </p:cNvPr>
            <p:cNvSpPr>
              <a:spLocks noChangeArrowheads="1"/>
            </p:cNvSpPr>
            <p:nvPr/>
          </p:nvSpPr>
          <p:spPr bwMode="auto">
            <a:xfrm>
              <a:off x="5772151" y="1573214"/>
              <a:ext cx="23813" cy="187325"/>
            </a:xfrm>
            <a:prstGeom prst="rect">
              <a:avLst/>
            </a:prstGeom>
            <a:solidFill>
              <a:srgbClr val="5A7875"/>
            </a:solidFill>
            <a:ln w="0">
              <a:solidFill>
                <a:schemeClr val="accent1"/>
              </a:solidFill>
              <a:prstDash val="solid"/>
              <a:miter lim="800000"/>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79" name="Freeform 663">
              <a:extLst>
                <a:ext uri="{FF2B5EF4-FFF2-40B4-BE49-F238E27FC236}">
                  <a16:creationId xmlns:a16="http://schemas.microsoft.com/office/drawing/2014/main" id="{F74B8660-AB05-4EE0-9C3A-773DCB2EA0C0}"/>
                </a:ext>
              </a:extLst>
            </p:cNvPr>
            <p:cNvSpPr>
              <a:spLocks/>
            </p:cNvSpPr>
            <p:nvPr/>
          </p:nvSpPr>
          <p:spPr bwMode="auto">
            <a:xfrm>
              <a:off x="5722938" y="1712914"/>
              <a:ext cx="122238" cy="47625"/>
            </a:xfrm>
            <a:custGeom>
              <a:avLst/>
              <a:gdLst>
                <a:gd name="T0" fmla="*/ 4 w 77"/>
                <a:gd name="T1" fmla="*/ 0 h 30"/>
                <a:gd name="T2" fmla="*/ 73 w 77"/>
                <a:gd name="T3" fmla="*/ 0 h 30"/>
                <a:gd name="T4" fmla="*/ 75 w 77"/>
                <a:gd name="T5" fmla="*/ 0 h 30"/>
                <a:gd name="T6" fmla="*/ 77 w 77"/>
                <a:gd name="T7" fmla="*/ 2 h 30"/>
                <a:gd name="T8" fmla="*/ 77 w 77"/>
                <a:gd name="T9" fmla="*/ 5 h 30"/>
                <a:gd name="T10" fmla="*/ 77 w 77"/>
                <a:gd name="T11" fmla="*/ 25 h 30"/>
                <a:gd name="T12" fmla="*/ 77 w 77"/>
                <a:gd name="T13" fmla="*/ 28 h 30"/>
                <a:gd name="T14" fmla="*/ 75 w 77"/>
                <a:gd name="T15" fmla="*/ 30 h 30"/>
                <a:gd name="T16" fmla="*/ 73 w 77"/>
                <a:gd name="T17" fmla="*/ 30 h 30"/>
                <a:gd name="T18" fmla="*/ 66 w 77"/>
                <a:gd name="T19" fmla="*/ 30 h 30"/>
                <a:gd name="T20" fmla="*/ 66 w 77"/>
                <a:gd name="T21" fmla="*/ 18 h 30"/>
                <a:gd name="T22" fmla="*/ 65 w 77"/>
                <a:gd name="T23" fmla="*/ 16 h 30"/>
                <a:gd name="T24" fmla="*/ 64 w 77"/>
                <a:gd name="T25" fmla="*/ 14 h 30"/>
                <a:gd name="T26" fmla="*/ 62 w 77"/>
                <a:gd name="T27" fmla="*/ 13 h 30"/>
                <a:gd name="T28" fmla="*/ 60 w 77"/>
                <a:gd name="T29" fmla="*/ 12 h 30"/>
                <a:gd name="T30" fmla="*/ 17 w 77"/>
                <a:gd name="T31" fmla="*/ 12 h 30"/>
                <a:gd name="T32" fmla="*/ 14 w 77"/>
                <a:gd name="T33" fmla="*/ 13 h 30"/>
                <a:gd name="T34" fmla="*/ 13 w 77"/>
                <a:gd name="T35" fmla="*/ 14 h 30"/>
                <a:gd name="T36" fmla="*/ 12 w 77"/>
                <a:gd name="T37" fmla="*/ 16 h 30"/>
                <a:gd name="T38" fmla="*/ 11 w 77"/>
                <a:gd name="T39" fmla="*/ 18 h 30"/>
                <a:gd name="T40" fmla="*/ 11 w 77"/>
                <a:gd name="T41" fmla="*/ 30 h 30"/>
                <a:gd name="T42" fmla="*/ 4 w 77"/>
                <a:gd name="T43" fmla="*/ 30 h 30"/>
                <a:gd name="T44" fmla="*/ 2 w 77"/>
                <a:gd name="T45" fmla="*/ 30 h 30"/>
                <a:gd name="T46" fmla="*/ 0 w 77"/>
                <a:gd name="T47" fmla="*/ 28 h 30"/>
                <a:gd name="T48" fmla="*/ 0 w 77"/>
                <a:gd name="T49" fmla="*/ 25 h 30"/>
                <a:gd name="T50" fmla="*/ 0 w 77"/>
                <a:gd name="T51" fmla="*/ 5 h 30"/>
                <a:gd name="T52" fmla="*/ 0 w 77"/>
                <a:gd name="T53" fmla="*/ 2 h 30"/>
                <a:gd name="T54" fmla="*/ 2 w 77"/>
                <a:gd name="T55" fmla="*/ 0 h 30"/>
                <a:gd name="T56" fmla="*/ 4 w 77"/>
                <a:gd name="T5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 h="30">
                  <a:moveTo>
                    <a:pt x="4" y="0"/>
                  </a:moveTo>
                  <a:lnTo>
                    <a:pt x="73" y="0"/>
                  </a:lnTo>
                  <a:lnTo>
                    <a:pt x="75" y="0"/>
                  </a:lnTo>
                  <a:lnTo>
                    <a:pt x="77" y="2"/>
                  </a:lnTo>
                  <a:lnTo>
                    <a:pt x="77" y="5"/>
                  </a:lnTo>
                  <a:lnTo>
                    <a:pt x="77" y="25"/>
                  </a:lnTo>
                  <a:lnTo>
                    <a:pt x="77" y="28"/>
                  </a:lnTo>
                  <a:lnTo>
                    <a:pt x="75" y="30"/>
                  </a:lnTo>
                  <a:lnTo>
                    <a:pt x="73" y="30"/>
                  </a:lnTo>
                  <a:lnTo>
                    <a:pt x="66" y="30"/>
                  </a:lnTo>
                  <a:lnTo>
                    <a:pt x="66" y="18"/>
                  </a:lnTo>
                  <a:lnTo>
                    <a:pt x="65" y="16"/>
                  </a:lnTo>
                  <a:lnTo>
                    <a:pt x="64" y="14"/>
                  </a:lnTo>
                  <a:lnTo>
                    <a:pt x="62" y="13"/>
                  </a:lnTo>
                  <a:lnTo>
                    <a:pt x="60" y="12"/>
                  </a:lnTo>
                  <a:lnTo>
                    <a:pt x="17" y="12"/>
                  </a:lnTo>
                  <a:lnTo>
                    <a:pt x="14" y="13"/>
                  </a:lnTo>
                  <a:lnTo>
                    <a:pt x="13" y="14"/>
                  </a:lnTo>
                  <a:lnTo>
                    <a:pt x="12" y="16"/>
                  </a:lnTo>
                  <a:lnTo>
                    <a:pt x="11" y="18"/>
                  </a:lnTo>
                  <a:lnTo>
                    <a:pt x="11" y="30"/>
                  </a:lnTo>
                  <a:lnTo>
                    <a:pt x="4" y="30"/>
                  </a:lnTo>
                  <a:lnTo>
                    <a:pt x="2" y="30"/>
                  </a:lnTo>
                  <a:lnTo>
                    <a:pt x="0" y="28"/>
                  </a:lnTo>
                  <a:lnTo>
                    <a:pt x="0" y="25"/>
                  </a:lnTo>
                  <a:lnTo>
                    <a:pt x="0" y="5"/>
                  </a:lnTo>
                  <a:lnTo>
                    <a:pt x="0" y="2"/>
                  </a:lnTo>
                  <a:lnTo>
                    <a:pt x="2" y="0"/>
                  </a:lnTo>
                  <a:lnTo>
                    <a:pt x="4" y="0"/>
                  </a:lnTo>
                  <a:close/>
                </a:path>
              </a:pathLst>
            </a:custGeom>
            <a:solidFill>
              <a:srgbClr val="5A7875"/>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80" name="Freeform 664">
              <a:extLst>
                <a:ext uri="{FF2B5EF4-FFF2-40B4-BE49-F238E27FC236}">
                  <a16:creationId xmlns:a16="http://schemas.microsoft.com/office/drawing/2014/main" id="{E5D03B5D-CF27-4700-AF3B-2EED9D24DEFC}"/>
                </a:ext>
              </a:extLst>
            </p:cNvPr>
            <p:cNvSpPr>
              <a:spLocks/>
            </p:cNvSpPr>
            <p:nvPr/>
          </p:nvSpPr>
          <p:spPr bwMode="auto">
            <a:xfrm>
              <a:off x="5818188" y="1744664"/>
              <a:ext cx="41275" cy="42863"/>
            </a:xfrm>
            <a:custGeom>
              <a:avLst/>
              <a:gdLst>
                <a:gd name="T0" fmla="*/ 13 w 26"/>
                <a:gd name="T1" fmla="*/ 0 h 27"/>
                <a:gd name="T2" fmla="*/ 17 w 26"/>
                <a:gd name="T3" fmla="*/ 1 h 27"/>
                <a:gd name="T4" fmla="*/ 20 w 26"/>
                <a:gd name="T5" fmla="*/ 2 h 27"/>
                <a:gd name="T6" fmla="*/ 23 w 26"/>
                <a:gd name="T7" fmla="*/ 5 h 27"/>
                <a:gd name="T8" fmla="*/ 25 w 26"/>
                <a:gd name="T9" fmla="*/ 9 h 27"/>
                <a:gd name="T10" fmla="*/ 26 w 26"/>
                <a:gd name="T11" fmla="*/ 13 h 27"/>
                <a:gd name="T12" fmla="*/ 25 w 26"/>
                <a:gd name="T13" fmla="*/ 17 h 27"/>
                <a:gd name="T14" fmla="*/ 23 w 26"/>
                <a:gd name="T15" fmla="*/ 21 h 27"/>
                <a:gd name="T16" fmla="*/ 20 w 26"/>
                <a:gd name="T17" fmla="*/ 24 h 27"/>
                <a:gd name="T18" fmla="*/ 17 w 26"/>
                <a:gd name="T19" fmla="*/ 26 h 27"/>
                <a:gd name="T20" fmla="*/ 13 w 26"/>
                <a:gd name="T21" fmla="*/ 27 h 27"/>
                <a:gd name="T22" fmla="*/ 9 w 26"/>
                <a:gd name="T23" fmla="*/ 26 h 27"/>
                <a:gd name="T24" fmla="*/ 5 w 26"/>
                <a:gd name="T25" fmla="*/ 24 h 27"/>
                <a:gd name="T26" fmla="*/ 2 w 26"/>
                <a:gd name="T27" fmla="*/ 21 h 27"/>
                <a:gd name="T28" fmla="*/ 0 w 26"/>
                <a:gd name="T29" fmla="*/ 17 h 27"/>
                <a:gd name="T30" fmla="*/ 0 w 26"/>
                <a:gd name="T31" fmla="*/ 13 h 27"/>
                <a:gd name="T32" fmla="*/ 0 w 26"/>
                <a:gd name="T33" fmla="*/ 9 h 27"/>
                <a:gd name="T34" fmla="*/ 2 w 26"/>
                <a:gd name="T35" fmla="*/ 5 h 27"/>
                <a:gd name="T36" fmla="*/ 5 w 26"/>
                <a:gd name="T37" fmla="*/ 2 h 27"/>
                <a:gd name="T38" fmla="*/ 9 w 26"/>
                <a:gd name="T39" fmla="*/ 1 h 27"/>
                <a:gd name="T40" fmla="*/ 13 w 26"/>
                <a:gd name="T4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7">
                  <a:moveTo>
                    <a:pt x="13" y="0"/>
                  </a:moveTo>
                  <a:lnTo>
                    <a:pt x="17" y="1"/>
                  </a:lnTo>
                  <a:lnTo>
                    <a:pt x="20" y="2"/>
                  </a:lnTo>
                  <a:lnTo>
                    <a:pt x="23" y="5"/>
                  </a:lnTo>
                  <a:lnTo>
                    <a:pt x="25" y="9"/>
                  </a:lnTo>
                  <a:lnTo>
                    <a:pt x="26" y="13"/>
                  </a:lnTo>
                  <a:lnTo>
                    <a:pt x="25" y="17"/>
                  </a:lnTo>
                  <a:lnTo>
                    <a:pt x="23" y="21"/>
                  </a:lnTo>
                  <a:lnTo>
                    <a:pt x="20" y="24"/>
                  </a:lnTo>
                  <a:lnTo>
                    <a:pt x="17" y="26"/>
                  </a:lnTo>
                  <a:lnTo>
                    <a:pt x="13" y="27"/>
                  </a:lnTo>
                  <a:lnTo>
                    <a:pt x="9" y="26"/>
                  </a:lnTo>
                  <a:lnTo>
                    <a:pt x="5" y="24"/>
                  </a:lnTo>
                  <a:lnTo>
                    <a:pt x="2" y="21"/>
                  </a:lnTo>
                  <a:lnTo>
                    <a:pt x="0" y="17"/>
                  </a:lnTo>
                  <a:lnTo>
                    <a:pt x="0" y="13"/>
                  </a:lnTo>
                  <a:lnTo>
                    <a:pt x="0" y="9"/>
                  </a:lnTo>
                  <a:lnTo>
                    <a:pt x="2" y="5"/>
                  </a:lnTo>
                  <a:lnTo>
                    <a:pt x="5" y="2"/>
                  </a:lnTo>
                  <a:lnTo>
                    <a:pt x="9" y="1"/>
                  </a:lnTo>
                  <a:lnTo>
                    <a:pt x="13" y="0"/>
                  </a:lnTo>
                  <a:close/>
                </a:path>
              </a:pathLst>
            </a:custGeom>
            <a:solidFill>
              <a:srgbClr val="0B1F4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81" name="Freeform 665">
              <a:extLst>
                <a:ext uri="{FF2B5EF4-FFF2-40B4-BE49-F238E27FC236}">
                  <a16:creationId xmlns:a16="http://schemas.microsoft.com/office/drawing/2014/main" id="{C76EEB4C-B5AF-4D84-B5C1-5AF0AC594E25}"/>
                </a:ext>
              </a:extLst>
            </p:cNvPr>
            <p:cNvSpPr>
              <a:spLocks/>
            </p:cNvSpPr>
            <p:nvPr/>
          </p:nvSpPr>
          <p:spPr bwMode="auto">
            <a:xfrm>
              <a:off x="5764213" y="1744664"/>
              <a:ext cx="41275" cy="42863"/>
            </a:xfrm>
            <a:custGeom>
              <a:avLst/>
              <a:gdLst>
                <a:gd name="T0" fmla="*/ 13 w 26"/>
                <a:gd name="T1" fmla="*/ 0 h 27"/>
                <a:gd name="T2" fmla="*/ 17 w 26"/>
                <a:gd name="T3" fmla="*/ 1 h 27"/>
                <a:gd name="T4" fmla="*/ 20 w 26"/>
                <a:gd name="T5" fmla="*/ 2 h 27"/>
                <a:gd name="T6" fmla="*/ 23 w 26"/>
                <a:gd name="T7" fmla="*/ 5 h 27"/>
                <a:gd name="T8" fmla="*/ 25 w 26"/>
                <a:gd name="T9" fmla="*/ 9 h 27"/>
                <a:gd name="T10" fmla="*/ 26 w 26"/>
                <a:gd name="T11" fmla="*/ 13 h 27"/>
                <a:gd name="T12" fmla="*/ 25 w 26"/>
                <a:gd name="T13" fmla="*/ 17 h 27"/>
                <a:gd name="T14" fmla="*/ 23 w 26"/>
                <a:gd name="T15" fmla="*/ 21 h 27"/>
                <a:gd name="T16" fmla="*/ 20 w 26"/>
                <a:gd name="T17" fmla="*/ 24 h 27"/>
                <a:gd name="T18" fmla="*/ 17 w 26"/>
                <a:gd name="T19" fmla="*/ 26 h 27"/>
                <a:gd name="T20" fmla="*/ 13 w 26"/>
                <a:gd name="T21" fmla="*/ 27 h 27"/>
                <a:gd name="T22" fmla="*/ 9 w 26"/>
                <a:gd name="T23" fmla="*/ 26 h 27"/>
                <a:gd name="T24" fmla="*/ 5 w 26"/>
                <a:gd name="T25" fmla="*/ 24 h 27"/>
                <a:gd name="T26" fmla="*/ 2 w 26"/>
                <a:gd name="T27" fmla="*/ 21 h 27"/>
                <a:gd name="T28" fmla="*/ 0 w 26"/>
                <a:gd name="T29" fmla="*/ 17 h 27"/>
                <a:gd name="T30" fmla="*/ 0 w 26"/>
                <a:gd name="T31" fmla="*/ 13 h 27"/>
                <a:gd name="T32" fmla="*/ 0 w 26"/>
                <a:gd name="T33" fmla="*/ 9 h 27"/>
                <a:gd name="T34" fmla="*/ 2 w 26"/>
                <a:gd name="T35" fmla="*/ 5 h 27"/>
                <a:gd name="T36" fmla="*/ 5 w 26"/>
                <a:gd name="T37" fmla="*/ 2 h 27"/>
                <a:gd name="T38" fmla="*/ 9 w 26"/>
                <a:gd name="T39" fmla="*/ 1 h 27"/>
                <a:gd name="T40" fmla="*/ 13 w 26"/>
                <a:gd name="T4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7">
                  <a:moveTo>
                    <a:pt x="13" y="0"/>
                  </a:moveTo>
                  <a:lnTo>
                    <a:pt x="17" y="1"/>
                  </a:lnTo>
                  <a:lnTo>
                    <a:pt x="20" y="2"/>
                  </a:lnTo>
                  <a:lnTo>
                    <a:pt x="23" y="5"/>
                  </a:lnTo>
                  <a:lnTo>
                    <a:pt x="25" y="9"/>
                  </a:lnTo>
                  <a:lnTo>
                    <a:pt x="26" y="13"/>
                  </a:lnTo>
                  <a:lnTo>
                    <a:pt x="25" y="17"/>
                  </a:lnTo>
                  <a:lnTo>
                    <a:pt x="23" y="21"/>
                  </a:lnTo>
                  <a:lnTo>
                    <a:pt x="20" y="24"/>
                  </a:lnTo>
                  <a:lnTo>
                    <a:pt x="17" y="26"/>
                  </a:lnTo>
                  <a:lnTo>
                    <a:pt x="13" y="27"/>
                  </a:lnTo>
                  <a:lnTo>
                    <a:pt x="9" y="26"/>
                  </a:lnTo>
                  <a:lnTo>
                    <a:pt x="5" y="24"/>
                  </a:lnTo>
                  <a:lnTo>
                    <a:pt x="2" y="21"/>
                  </a:lnTo>
                  <a:lnTo>
                    <a:pt x="0" y="17"/>
                  </a:lnTo>
                  <a:lnTo>
                    <a:pt x="0" y="13"/>
                  </a:lnTo>
                  <a:lnTo>
                    <a:pt x="0" y="9"/>
                  </a:lnTo>
                  <a:lnTo>
                    <a:pt x="2" y="5"/>
                  </a:lnTo>
                  <a:lnTo>
                    <a:pt x="5" y="2"/>
                  </a:lnTo>
                  <a:lnTo>
                    <a:pt x="9" y="1"/>
                  </a:lnTo>
                  <a:lnTo>
                    <a:pt x="13" y="0"/>
                  </a:lnTo>
                  <a:close/>
                </a:path>
              </a:pathLst>
            </a:custGeom>
            <a:solidFill>
              <a:srgbClr val="0B1F4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82" name="Freeform 666">
              <a:extLst>
                <a:ext uri="{FF2B5EF4-FFF2-40B4-BE49-F238E27FC236}">
                  <a16:creationId xmlns:a16="http://schemas.microsoft.com/office/drawing/2014/main" id="{C160C6C9-5BE7-440F-B3CE-B12C64C875F0}"/>
                </a:ext>
              </a:extLst>
            </p:cNvPr>
            <p:cNvSpPr>
              <a:spLocks/>
            </p:cNvSpPr>
            <p:nvPr/>
          </p:nvSpPr>
          <p:spPr bwMode="auto">
            <a:xfrm>
              <a:off x="5708651" y="1744664"/>
              <a:ext cx="42863" cy="42863"/>
            </a:xfrm>
            <a:custGeom>
              <a:avLst/>
              <a:gdLst>
                <a:gd name="T0" fmla="*/ 14 w 27"/>
                <a:gd name="T1" fmla="*/ 0 h 27"/>
                <a:gd name="T2" fmla="*/ 18 w 27"/>
                <a:gd name="T3" fmla="*/ 1 h 27"/>
                <a:gd name="T4" fmla="*/ 21 w 27"/>
                <a:gd name="T5" fmla="*/ 2 h 27"/>
                <a:gd name="T6" fmla="*/ 24 w 27"/>
                <a:gd name="T7" fmla="*/ 5 h 27"/>
                <a:gd name="T8" fmla="*/ 26 w 27"/>
                <a:gd name="T9" fmla="*/ 9 h 27"/>
                <a:gd name="T10" fmla="*/ 27 w 27"/>
                <a:gd name="T11" fmla="*/ 13 h 27"/>
                <a:gd name="T12" fmla="*/ 26 w 27"/>
                <a:gd name="T13" fmla="*/ 17 h 27"/>
                <a:gd name="T14" fmla="*/ 24 w 27"/>
                <a:gd name="T15" fmla="*/ 21 h 27"/>
                <a:gd name="T16" fmla="*/ 21 w 27"/>
                <a:gd name="T17" fmla="*/ 24 h 27"/>
                <a:gd name="T18" fmla="*/ 18 w 27"/>
                <a:gd name="T19" fmla="*/ 26 h 27"/>
                <a:gd name="T20" fmla="*/ 14 w 27"/>
                <a:gd name="T21" fmla="*/ 27 h 27"/>
                <a:gd name="T22" fmla="*/ 10 w 27"/>
                <a:gd name="T23" fmla="*/ 26 h 27"/>
                <a:gd name="T24" fmla="*/ 6 w 27"/>
                <a:gd name="T25" fmla="*/ 24 h 27"/>
                <a:gd name="T26" fmla="*/ 2 w 27"/>
                <a:gd name="T27" fmla="*/ 21 h 27"/>
                <a:gd name="T28" fmla="*/ 0 w 27"/>
                <a:gd name="T29" fmla="*/ 17 h 27"/>
                <a:gd name="T30" fmla="*/ 0 w 27"/>
                <a:gd name="T31" fmla="*/ 13 h 27"/>
                <a:gd name="T32" fmla="*/ 0 w 27"/>
                <a:gd name="T33" fmla="*/ 9 h 27"/>
                <a:gd name="T34" fmla="*/ 2 w 27"/>
                <a:gd name="T35" fmla="*/ 5 h 27"/>
                <a:gd name="T36" fmla="*/ 6 w 27"/>
                <a:gd name="T37" fmla="*/ 2 h 27"/>
                <a:gd name="T38" fmla="*/ 10 w 27"/>
                <a:gd name="T39" fmla="*/ 1 h 27"/>
                <a:gd name="T40" fmla="*/ 14 w 27"/>
                <a:gd name="T4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27">
                  <a:moveTo>
                    <a:pt x="14" y="0"/>
                  </a:moveTo>
                  <a:lnTo>
                    <a:pt x="18" y="1"/>
                  </a:lnTo>
                  <a:lnTo>
                    <a:pt x="21" y="2"/>
                  </a:lnTo>
                  <a:lnTo>
                    <a:pt x="24" y="5"/>
                  </a:lnTo>
                  <a:lnTo>
                    <a:pt x="26" y="9"/>
                  </a:lnTo>
                  <a:lnTo>
                    <a:pt x="27" y="13"/>
                  </a:lnTo>
                  <a:lnTo>
                    <a:pt x="26" y="17"/>
                  </a:lnTo>
                  <a:lnTo>
                    <a:pt x="24" y="21"/>
                  </a:lnTo>
                  <a:lnTo>
                    <a:pt x="21" y="24"/>
                  </a:lnTo>
                  <a:lnTo>
                    <a:pt x="18" y="26"/>
                  </a:lnTo>
                  <a:lnTo>
                    <a:pt x="14" y="27"/>
                  </a:lnTo>
                  <a:lnTo>
                    <a:pt x="10" y="26"/>
                  </a:lnTo>
                  <a:lnTo>
                    <a:pt x="6" y="24"/>
                  </a:lnTo>
                  <a:lnTo>
                    <a:pt x="2" y="21"/>
                  </a:lnTo>
                  <a:lnTo>
                    <a:pt x="0" y="17"/>
                  </a:lnTo>
                  <a:lnTo>
                    <a:pt x="0" y="13"/>
                  </a:lnTo>
                  <a:lnTo>
                    <a:pt x="0" y="9"/>
                  </a:lnTo>
                  <a:lnTo>
                    <a:pt x="2" y="5"/>
                  </a:lnTo>
                  <a:lnTo>
                    <a:pt x="6" y="2"/>
                  </a:lnTo>
                  <a:lnTo>
                    <a:pt x="10" y="1"/>
                  </a:lnTo>
                  <a:lnTo>
                    <a:pt x="14" y="0"/>
                  </a:lnTo>
                  <a:close/>
                </a:path>
              </a:pathLst>
            </a:custGeom>
            <a:solidFill>
              <a:srgbClr val="0B1F4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83" name="Freeform 667">
              <a:extLst>
                <a:ext uri="{FF2B5EF4-FFF2-40B4-BE49-F238E27FC236}">
                  <a16:creationId xmlns:a16="http://schemas.microsoft.com/office/drawing/2014/main" id="{9D284DB2-AE7A-4EF1-9594-50394C7A95D1}"/>
                </a:ext>
              </a:extLst>
            </p:cNvPr>
            <p:cNvSpPr>
              <a:spLocks/>
            </p:cNvSpPr>
            <p:nvPr/>
          </p:nvSpPr>
          <p:spPr bwMode="auto">
            <a:xfrm>
              <a:off x="5861051" y="1495426"/>
              <a:ext cx="58738" cy="77788"/>
            </a:xfrm>
            <a:custGeom>
              <a:avLst/>
              <a:gdLst>
                <a:gd name="T0" fmla="*/ 17 w 37"/>
                <a:gd name="T1" fmla="*/ 0 h 49"/>
                <a:gd name="T2" fmla="*/ 37 w 37"/>
                <a:gd name="T3" fmla="*/ 11 h 49"/>
                <a:gd name="T4" fmla="*/ 14 w 37"/>
                <a:gd name="T5" fmla="*/ 49 h 49"/>
                <a:gd name="T6" fmla="*/ 0 w 37"/>
                <a:gd name="T7" fmla="*/ 38 h 49"/>
                <a:gd name="T8" fmla="*/ 17 w 37"/>
                <a:gd name="T9" fmla="*/ 0 h 49"/>
              </a:gdLst>
              <a:ahLst/>
              <a:cxnLst>
                <a:cxn ang="0">
                  <a:pos x="T0" y="T1"/>
                </a:cxn>
                <a:cxn ang="0">
                  <a:pos x="T2" y="T3"/>
                </a:cxn>
                <a:cxn ang="0">
                  <a:pos x="T4" y="T5"/>
                </a:cxn>
                <a:cxn ang="0">
                  <a:pos x="T6" y="T7"/>
                </a:cxn>
                <a:cxn ang="0">
                  <a:pos x="T8" y="T9"/>
                </a:cxn>
              </a:cxnLst>
              <a:rect l="0" t="0" r="r" b="b"/>
              <a:pathLst>
                <a:path w="37" h="49">
                  <a:moveTo>
                    <a:pt x="17" y="0"/>
                  </a:moveTo>
                  <a:lnTo>
                    <a:pt x="37" y="11"/>
                  </a:lnTo>
                  <a:lnTo>
                    <a:pt x="14" y="49"/>
                  </a:lnTo>
                  <a:lnTo>
                    <a:pt x="0" y="38"/>
                  </a:lnTo>
                  <a:lnTo>
                    <a:pt x="17" y="0"/>
                  </a:lnTo>
                  <a:close/>
                </a:path>
              </a:pathLst>
            </a:custGeom>
            <a:solidFill>
              <a:srgbClr val="0B1F4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84" name="Freeform 668">
              <a:extLst>
                <a:ext uri="{FF2B5EF4-FFF2-40B4-BE49-F238E27FC236}">
                  <a16:creationId xmlns:a16="http://schemas.microsoft.com/office/drawing/2014/main" id="{B9FDE931-C7AF-4697-AF25-2D3757AECA2E}"/>
                </a:ext>
              </a:extLst>
            </p:cNvPr>
            <p:cNvSpPr>
              <a:spLocks/>
            </p:cNvSpPr>
            <p:nvPr/>
          </p:nvSpPr>
          <p:spPr bwMode="auto">
            <a:xfrm>
              <a:off x="5665788" y="1539876"/>
              <a:ext cx="230188" cy="60325"/>
            </a:xfrm>
            <a:custGeom>
              <a:avLst/>
              <a:gdLst>
                <a:gd name="T0" fmla="*/ 19 w 145"/>
                <a:gd name="T1" fmla="*/ 0 h 38"/>
                <a:gd name="T2" fmla="*/ 125 w 145"/>
                <a:gd name="T3" fmla="*/ 0 h 38"/>
                <a:gd name="T4" fmla="*/ 135 w 145"/>
                <a:gd name="T5" fmla="*/ 3 h 38"/>
                <a:gd name="T6" fmla="*/ 141 w 145"/>
                <a:gd name="T7" fmla="*/ 10 h 38"/>
                <a:gd name="T8" fmla="*/ 145 w 145"/>
                <a:gd name="T9" fmla="*/ 19 h 38"/>
                <a:gd name="T10" fmla="*/ 145 w 145"/>
                <a:gd name="T11" fmla="*/ 20 h 38"/>
                <a:gd name="T12" fmla="*/ 141 w 145"/>
                <a:gd name="T13" fmla="*/ 29 h 38"/>
                <a:gd name="T14" fmla="*/ 135 w 145"/>
                <a:gd name="T15" fmla="*/ 36 h 38"/>
                <a:gd name="T16" fmla="*/ 125 w 145"/>
                <a:gd name="T17" fmla="*/ 38 h 38"/>
                <a:gd name="T18" fmla="*/ 19 w 145"/>
                <a:gd name="T19" fmla="*/ 38 h 38"/>
                <a:gd name="T20" fmla="*/ 9 w 145"/>
                <a:gd name="T21" fmla="*/ 36 h 38"/>
                <a:gd name="T22" fmla="*/ 3 w 145"/>
                <a:gd name="T23" fmla="*/ 29 h 38"/>
                <a:gd name="T24" fmla="*/ 0 w 145"/>
                <a:gd name="T25" fmla="*/ 20 h 38"/>
                <a:gd name="T26" fmla="*/ 0 w 145"/>
                <a:gd name="T27" fmla="*/ 19 h 38"/>
                <a:gd name="T28" fmla="*/ 3 w 145"/>
                <a:gd name="T29" fmla="*/ 10 h 38"/>
                <a:gd name="T30" fmla="*/ 9 w 145"/>
                <a:gd name="T31" fmla="*/ 3 h 38"/>
                <a:gd name="T32" fmla="*/ 19 w 145"/>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5" h="38">
                  <a:moveTo>
                    <a:pt x="19" y="0"/>
                  </a:moveTo>
                  <a:lnTo>
                    <a:pt x="125" y="0"/>
                  </a:lnTo>
                  <a:lnTo>
                    <a:pt x="135" y="3"/>
                  </a:lnTo>
                  <a:lnTo>
                    <a:pt x="141" y="10"/>
                  </a:lnTo>
                  <a:lnTo>
                    <a:pt x="145" y="19"/>
                  </a:lnTo>
                  <a:lnTo>
                    <a:pt x="145" y="20"/>
                  </a:lnTo>
                  <a:lnTo>
                    <a:pt x="141" y="29"/>
                  </a:lnTo>
                  <a:lnTo>
                    <a:pt x="135" y="36"/>
                  </a:lnTo>
                  <a:lnTo>
                    <a:pt x="125" y="38"/>
                  </a:lnTo>
                  <a:lnTo>
                    <a:pt x="19" y="38"/>
                  </a:lnTo>
                  <a:lnTo>
                    <a:pt x="9" y="36"/>
                  </a:lnTo>
                  <a:lnTo>
                    <a:pt x="3" y="29"/>
                  </a:lnTo>
                  <a:lnTo>
                    <a:pt x="0" y="20"/>
                  </a:lnTo>
                  <a:lnTo>
                    <a:pt x="0" y="19"/>
                  </a:lnTo>
                  <a:lnTo>
                    <a:pt x="3" y="10"/>
                  </a:lnTo>
                  <a:lnTo>
                    <a:pt x="9" y="3"/>
                  </a:lnTo>
                  <a:lnTo>
                    <a:pt x="19" y="0"/>
                  </a:lnTo>
                  <a:close/>
                </a:path>
              </a:pathLst>
            </a:custGeom>
            <a:solidFill>
              <a:srgbClr val="7F9A96"/>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85" name="Freeform 669">
              <a:extLst>
                <a:ext uri="{FF2B5EF4-FFF2-40B4-BE49-F238E27FC236}">
                  <a16:creationId xmlns:a16="http://schemas.microsoft.com/office/drawing/2014/main" id="{FE59CD6A-58CC-443D-8315-B60D7ABB0A36}"/>
                </a:ext>
              </a:extLst>
            </p:cNvPr>
            <p:cNvSpPr>
              <a:spLocks/>
            </p:cNvSpPr>
            <p:nvPr/>
          </p:nvSpPr>
          <p:spPr bwMode="auto">
            <a:xfrm>
              <a:off x="5873751" y="1295401"/>
              <a:ext cx="87313" cy="234950"/>
            </a:xfrm>
            <a:custGeom>
              <a:avLst/>
              <a:gdLst>
                <a:gd name="T0" fmla="*/ 38 w 55"/>
                <a:gd name="T1" fmla="*/ 0 h 148"/>
                <a:gd name="T2" fmla="*/ 38 w 55"/>
                <a:gd name="T3" fmla="*/ 0 h 148"/>
                <a:gd name="T4" fmla="*/ 47 w 55"/>
                <a:gd name="T5" fmla="*/ 4 h 148"/>
                <a:gd name="T6" fmla="*/ 53 w 55"/>
                <a:gd name="T7" fmla="*/ 11 h 148"/>
                <a:gd name="T8" fmla="*/ 55 w 55"/>
                <a:gd name="T9" fmla="*/ 20 h 148"/>
                <a:gd name="T10" fmla="*/ 40 w 55"/>
                <a:gd name="T11" fmla="*/ 133 h 148"/>
                <a:gd name="T12" fmla="*/ 36 w 55"/>
                <a:gd name="T13" fmla="*/ 142 h 148"/>
                <a:gd name="T14" fmla="*/ 28 w 55"/>
                <a:gd name="T15" fmla="*/ 147 h 148"/>
                <a:gd name="T16" fmla="*/ 18 w 55"/>
                <a:gd name="T17" fmla="*/ 148 h 148"/>
                <a:gd name="T18" fmla="*/ 18 w 55"/>
                <a:gd name="T19" fmla="*/ 148 h 148"/>
                <a:gd name="T20" fmla="*/ 8 w 55"/>
                <a:gd name="T21" fmla="*/ 145 h 148"/>
                <a:gd name="T22" fmla="*/ 2 w 55"/>
                <a:gd name="T23" fmla="*/ 137 h 148"/>
                <a:gd name="T24" fmla="*/ 0 w 55"/>
                <a:gd name="T25" fmla="*/ 128 h 148"/>
                <a:gd name="T26" fmla="*/ 16 w 55"/>
                <a:gd name="T27" fmla="*/ 15 h 148"/>
                <a:gd name="T28" fmla="*/ 20 w 55"/>
                <a:gd name="T29" fmla="*/ 6 h 148"/>
                <a:gd name="T30" fmla="*/ 28 w 55"/>
                <a:gd name="T31" fmla="*/ 1 h 148"/>
                <a:gd name="T32" fmla="*/ 38 w 55"/>
                <a:gd name="T3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 h="148">
                  <a:moveTo>
                    <a:pt x="38" y="0"/>
                  </a:moveTo>
                  <a:lnTo>
                    <a:pt x="38" y="0"/>
                  </a:lnTo>
                  <a:lnTo>
                    <a:pt x="47" y="4"/>
                  </a:lnTo>
                  <a:lnTo>
                    <a:pt x="53" y="11"/>
                  </a:lnTo>
                  <a:lnTo>
                    <a:pt x="55" y="20"/>
                  </a:lnTo>
                  <a:lnTo>
                    <a:pt x="40" y="133"/>
                  </a:lnTo>
                  <a:lnTo>
                    <a:pt x="36" y="142"/>
                  </a:lnTo>
                  <a:lnTo>
                    <a:pt x="28" y="147"/>
                  </a:lnTo>
                  <a:lnTo>
                    <a:pt x="18" y="148"/>
                  </a:lnTo>
                  <a:lnTo>
                    <a:pt x="18" y="148"/>
                  </a:lnTo>
                  <a:lnTo>
                    <a:pt x="8" y="145"/>
                  </a:lnTo>
                  <a:lnTo>
                    <a:pt x="2" y="137"/>
                  </a:lnTo>
                  <a:lnTo>
                    <a:pt x="0" y="128"/>
                  </a:lnTo>
                  <a:lnTo>
                    <a:pt x="16" y="15"/>
                  </a:lnTo>
                  <a:lnTo>
                    <a:pt x="20" y="6"/>
                  </a:lnTo>
                  <a:lnTo>
                    <a:pt x="28" y="1"/>
                  </a:lnTo>
                  <a:lnTo>
                    <a:pt x="38" y="0"/>
                  </a:lnTo>
                  <a:close/>
                </a:path>
              </a:pathLst>
            </a:custGeom>
            <a:solidFill>
              <a:srgbClr val="7F9A96"/>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86" name="Freeform 670">
              <a:extLst>
                <a:ext uri="{FF2B5EF4-FFF2-40B4-BE49-F238E27FC236}">
                  <a16:creationId xmlns:a16="http://schemas.microsoft.com/office/drawing/2014/main" id="{5DE378F4-5AE8-42B6-A49A-C7C8FCA133B8}"/>
                </a:ext>
              </a:extLst>
            </p:cNvPr>
            <p:cNvSpPr>
              <a:spLocks/>
            </p:cNvSpPr>
            <p:nvPr/>
          </p:nvSpPr>
          <p:spPr bwMode="auto">
            <a:xfrm>
              <a:off x="5535613" y="1720851"/>
              <a:ext cx="112713" cy="61913"/>
            </a:xfrm>
            <a:custGeom>
              <a:avLst/>
              <a:gdLst>
                <a:gd name="T0" fmla="*/ 67 w 71"/>
                <a:gd name="T1" fmla="*/ 0 h 39"/>
                <a:gd name="T2" fmla="*/ 71 w 71"/>
                <a:gd name="T3" fmla="*/ 0 h 39"/>
                <a:gd name="T4" fmla="*/ 71 w 71"/>
                <a:gd name="T5" fmla="*/ 39 h 39"/>
                <a:gd name="T6" fmla="*/ 0 w 71"/>
                <a:gd name="T7" fmla="*/ 39 h 39"/>
                <a:gd name="T8" fmla="*/ 0 w 71"/>
                <a:gd name="T9" fmla="*/ 36 h 39"/>
                <a:gd name="T10" fmla="*/ 0 w 71"/>
                <a:gd name="T11" fmla="*/ 33 h 39"/>
                <a:gd name="T12" fmla="*/ 1 w 71"/>
                <a:gd name="T13" fmla="*/ 29 h 39"/>
                <a:gd name="T14" fmla="*/ 5 w 71"/>
                <a:gd name="T15" fmla="*/ 23 h 39"/>
                <a:gd name="T16" fmla="*/ 10 w 71"/>
                <a:gd name="T17" fmla="*/ 18 h 39"/>
                <a:gd name="T18" fmla="*/ 18 w 71"/>
                <a:gd name="T19" fmla="*/ 12 h 39"/>
                <a:gd name="T20" fmla="*/ 29 w 71"/>
                <a:gd name="T21" fmla="*/ 7 h 39"/>
                <a:gd name="T22" fmla="*/ 45 w 71"/>
                <a:gd name="T23" fmla="*/ 2 h 39"/>
                <a:gd name="T24" fmla="*/ 66 w 71"/>
                <a:gd name="T25" fmla="*/ 0 h 39"/>
                <a:gd name="T26" fmla="*/ 67 w 71"/>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39">
                  <a:moveTo>
                    <a:pt x="67" y="0"/>
                  </a:moveTo>
                  <a:lnTo>
                    <a:pt x="71" y="0"/>
                  </a:lnTo>
                  <a:lnTo>
                    <a:pt x="71" y="39"/>
                  </a:lnTo>
                  <a:lnTo>
                    <a:pt x="0" y="39"/>
                  </a:lnTo>
                  <a:lnTo>
                    <a:pt x="0" y="36"/>
                  </a:lnTo>
                  <a:lnTo>
                    <a:pt x="0" y="33"/>
                  </a:lnTo>
                  <a:lnTo>
                    <a:pt x="1" y="29"/>
                  </a:lnTo>
                  <a:lnTo>
                    <a:pt x="5" y="23"/>
                  </a:lnTo>
                  <a:lnTo>
                    <a:pt x="10" y="18"/>
                  </a:lnTo>
                  <a:lnTo>
                    <a:pt x="18" y="12"/>
                  </a:lnTo>
                  <a:lnTo>
                    <a:pt x="29" y="7"/>
                  </a:lnTo>
                  <a:lnTo>
                    <a:pt x="45" y="2"/>
                  </a:lnTo>
                  <a:lnTo>
                    <a:pt x="66" y="0"/>
                  </a:lnTo>
                  <a:lnTo>
                    <a:pt x="67"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87" name="Freeform 671">
              <a:extLst>
                <a:ext uri="{FF2B5EF4-FFF2-40B4-BE49-F238E27FC236}">
                  <a16:creationId xmlns:a16="http://schemas.microsoft.com/office/drawing/2014/main" id="{2041E235-CD52-45AC-84B0-BA41F99B2F70}"/>
                </a:ext>
              </a:extLst>
            </p:cNvPr>
            <p:cNvSpPr>
              <a:spLocks/>
            </p:cNvSpPr>
            <p:nvPr/>
          </p:nvSpPr>
          <p:spPr bwMode="auto">
            <a:xfrm>
              <a:off x="5565776" y="1720851"/>
              <a:ext cx="111125" cy="61913"/>
            </a:xfrm>
            <a:custGeom>
              <a:avLst/>
              <a:gdLst>
                <a:gd name="T0" fmla="*/ 65 w 70"/>
                <a:gd name="T1" fmla="*/ 0 h 39"/>
                <a:gd name="T2" fmla="*/ 70 w 70"/>
                <a:gd name="T3" fmla="*/ 0 h 39"/>
                <a:gd name="T4" fmla="*/ 70 w 70"/>
                <a:gd name="T5" fmla="*/ 39 h 39"/>
                <a:gd name="T6" fmla="*/ 0 w 70"/>
                <a:gd name="T7" fmla="*/ 39 h 39"/>
                <a:gd name="T8" fmla="*/ 0 w 70"/>
                <a:gd name="T9" fmla="*/ 36 h 39"/>
                <a:gd name="T10" fmla="*/ 0 w 70"/>
                <a:gd name="T11" fmla="*/ 33 h 39"/>
                <a:gd name="T12" fmla="*/ 1 w 70"/>
                <a:gd name="T13" fmla="*/ 29 h 39"/>
                <a:gd name="T14" fmla="*/ 4 w 70"/>
                <a:gd name="T15" fmla="*/ 23 h 39"/>
                <a:gd name="T16" fmla="*/ 8 w 70"/>
                <a:gd name="T17" fmla="*/ 18 h 39"/>
                <a:gd name="T18" fmla="*/ 16 w 70"/>
                <a:gd name="T19" fmla="*/ 12 h 39"/>
                <a:gd name="T20" fmla="*/ 28 w 70"/>
                <a:gd name="T21" fmla="*/ 7 h 39"/>
                <a:gd name="T22" fmla="*/ 44 w 70"/>
                <a:gd name="T23" fmla="*/ 2 h 39"/>
                <a:gd name="T24" fmla="*/ 64 w 70"/>
                <a:gd name="T25" fmla="*/ 0 h 39"/>
                <a:gd name="T26" fmla="*/ 65 w 70"/>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39">
                  <a:moveTo>
                    <a:pt x="65" y="0"/>
                  </a:moveTo>
                  <a:lnTo>
                    <a:pt x="70" y="0"/>
                  </a:lnTo>
                  <a:lnTo>
                    <a:pt x="70" y="39"/>
                  </a:lnTo>
                  <a:lnTo>
                    <a:pt x="0" y="39"/>
                  </a:lnTo>
                  <a:lnTo>
                    <a:pt x="0" y="36"/>
                  </a:lnTo>
                  <a:lnTo>
                    <a:pt x="0" y="33"/>
                  </a:lnTo>
                  <a:lnTo>
                    <a:pt x="1" y="29"/>
                  </a:lnTo>
                  <a:lnTo>
                    <a:pt x="4" y="23"/>
                  </a:lnTo>
                  <a:lnTo>
                    <a:pt x="8" y="18"/>
                  </a:lnTo>
                  <a:lnTo>
                    <a:pt x="16" y="12"/>
                  </a:lnTo>
                  <a:lnTo>
                    <a:pt x="28" y="7"/>
                  </a:lnTo>
                  <a:lnTo>
                    <a:pt x="44" y="2"/>
                  </a:lnTo>
                  <a:lnTo>
                    <a:pt x="64" y="0"/>
                  </a:lnTo>
                  <a:lnTo>
                    <a:pt x="65"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88" name="Freeform 672">
              <a:extLst>
                <a:ext uri="{FF2B5EF4-FFF2-40B4-BE49-F238E27FC236}">
                  <a16:creationId xmlns:a16="http://schemas.microsoft.com/office/drawing/2014/main" id="{D9677C9F-A15B-4745-8550-6523210222A5}"/>
                </a:ext>
              </a:extLst>
            </p:cNvPr>
            <p:cNvSpPr>
              <a:spLocks/>
            </p:cNvSpPr>
            <p:nvPr/>
          </p:nvSpPr>
          <p:spPr bwMode="auto">
            <a:xfrm>
              <a:off x="5570538" y="1465264"/>
              <a:ext cx="273050" cy="276225"/>
            </a:xfrm>
            <a:custGeom>
              <a:avLst/>
              <a:gdLst>
                <a:gd name="T0" fmla="*/ 107 w 172"/>
                <a:gd name="T1" fmla="*/ 0 h 174"/>
                <a:gd name="T2" fmla="*/ 165 w 172"/>
                <a:gd name="T3" fmla="*/ 3 h 174"/>
                <a:gd name="T4" fmla="*/ 166 w 172"/>
                <a:gd name="T5" fmla="*/ 4 h 174"/>
                <a:gd name="T6" fmla="*/ 168 w 172"/>
                <a:gd name="T7" fmla="*/ 8 h 174"/>
                <a:gd name="T8" fmla="*/ 169 w 172"/>
                <a:gd name="T9" fmla="*/ 13 h 174"/>
                <a:gd name="T10" fmla="*/ 171 w 172"/>
                <a:gd name="T11" fmla="*/ 20 h 174"/>
                <a:gd name="T12" fmla="*/ 172 w 172"/>
                <a:gd name="T13" fmla="*/ 28 h 174"/>
                <a:gd name="T14" fmla="*/ 172 w 172"/>
                <a:gd name="T15" fmla="*/ 36 h 174"/>
                <a:gd name="T16" fmla="*/ 170 w 172"/>
                <a:gd name="T17" fmla="*/ 43 h 174"/>
                <a:gd name="T18" fmla="*/ 165 w 172"/>
                <a:gd name="T19" fmla="*/ 50 h 174"/>
                <a:gd name="T20" fmla="*/ 158 w 172"/>
                <a:gd name="T21" fmla="*/ 56 h 174"/>
                <a:gd name="T22" fmla="*/ 148 w 172"/>
                <a:gd name="T23" fmla="*/ 59 h 174"/>
                <a:gd name="T24" fmla="*/ 134 w 172"/>
                <a:gd name="T25" fmla="*/ 61 h 174"/>
                <a:gd name="T26" fmla="*/ 75 w 172"/>
                <a:gd name="T27" fmla="*/ 61 h 174"/>
                <a:gd name="T28" fmla="*/ 66 w 172"/>
                <a:gd name="T29" fmla="*/ 64 h 174"/>
                <a:gd name="T30" fmla="*/ 58 w 172"/>
                <a:gd name="T31" fmla="*/ 71 h 174"/>
                <a:gd name="T32" fmla="*/ 52 w 172"/>
                <a:gd name="T33" fmla="*/ 81 h 174"/>
                <a:gd name="T34" fmla="*/ 49 w 172"/>
                <a:gd name="T35" fmla="*/ 93 h 174"/>
                <a:gd name="T36" fmla="*/ 48 w 172"/>
                <a:gd name="T37" fmla="*/ 174 h 174"/>
                <a:gd name="T38" fmla="*/ 0 w 172"/>
                <a:gd name="T39" fmla="*/ 174 h 174"/>
                <a:gd name="T40" fmla="*/ 7 w 172"/>
                <a:gd name="T41" fmla="*/ 55 h 174"/>
                <a:gd name="T42" fmla="*/ 10 w 172"/>
                <a:gd name="T43" fmla="*/ 46 h 174"/>
                <a:gd name="T44" fmla="*/ 17 w 172"/>
                <a:gd name="T45" fmla="*/ 38 h 174"/>
                <a:gd name="T46" fmla="*/ 27 w 172"/>
                <a:gd name="T47" fmla="*/ 31 h 174"/>
                <a:gd name="T48" fmla="*/ 37 w 172"/>
                <a:gd name="T49" fmla="*/ 28 h 174"/>
                <a:gd name="T50" fmla="*/ 93 w 172"/>
                <a:gd name="T51" fmla="*/ 19 h 174"/>
                <a:gd name="T52" fmla="*/ 97 w 172"/>
                <a:gd name="T53" fmla="*/ 18 h 174"/>
                <a:gd name="T54" fmla="*/ 99 w 172"/>
                <a:gd name="T55" fmla="*/ 16 h 174"/>
                <a:gd name="T56" fmla="*/ 101 w 172"/>
                <a:gd name="T57" fmla="*/ 14 h 174"/>
                <a:gd name="T58" fmla="*/ 102 w 172"/>
                <a:gd name="T59" fmla="*/ 11 h 174"/>
                <a:gd name="T60" fmla="*/ 107 w 172"/>
                <a:gd name="T6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2" h="174">
                  <a:moveTo>
                    <a:pt x="107" y="0"/>
                  </a:moveTo>
                  <a:lnTo>
                    <a:pt x="165" y="3"/>
                  </a:lnTo>
                  <a:lnTo>
                    <a:pt x="166" y="4"/>
                  </a:lnTo>
                  <a:lnTo>
                    <a:pt x="168" y="8"/>
                  </a:lnTo>
                  <a:lnTo>
                    <a:pt x="169" y="13"/>
                  </a:lnTo>
                  <a:lnTo>
                    <a:pt x="171" y="20"/>
                  </a:lnTo>
                  <a:lnTo>
                    <a:pt x="172" y="28"/>
                  </a:lnTo>
                  <a:lnTo>
                    <a:pt x="172" y="36"/>
                  </a:lnTo>
                  <a:lnTo>
                    <a:pt x="170" y="43"/>
                  </a:lnTo>
                  <a:lnTo>
                    <a:pt x="165" y="50"/>
                  </a:lnTo>
                  <a:lnTo>
                    <a:pt x="158" y="56"/>
                  </a:lnTo>
                  <a:lnTo>
                    <a:pt x="148" y="59"/>
                  </a:lnTo>
                  <a:lnTo>
                    <a:pt x="134" y="61"/>
                  </a:lnTo>
                  <a:lnTo>
                    <a:pt x="75" y="61"/>
                  </a:lnTo>
                  <a:lnTo>
                    <a:pt x="66" y="64"/>
                  </a:lnTo>
                  <a:lnTo>
                    <a:pt x="58" y="71"/>
                  </a:lnTo>
                  <a:lnTo>
                    <a:pt x="52" y="81"/>
                  </a:lnTo>
                  <a:lnTo>
                    <a:pt x="49" y="93"/>
                  </a:lnTo>
                  <a:lnTo>
                    <a:pt x="48" y="174"/>
                  </a:lnTo>
                  <a:lnTo>
                    <a:pt x="0" y="174"/>
                  </a:lnTo>
                  <a:lnTo>
                    <a:pt x="7" y="55"/>
                  </a:lnTo>
                  <a:lnTo>
                    <a:pt x="10" y="46"/>
                  </a:lnTo>
                  <a:lnTo>
                    <a:pt x="17" y="38"/>
                  </a:lnTo>
                  <a:lnTo>
                    <a:pt x="27" y="31"/>
                  </a:lnTo>
                  <a:lnTo>
                    <a:pt x="37" y="28"/>
                  </a:lnTo>
                  <a:lnTo>
                    <a:pt x="93" y="19"/>
                  </a:lnTo>
                  <a:lnTo>
                    <a:pt x="97" y="18"/>
                  </a:lnTo>
                  <a:lnTo>
                    <a:pt x="99" y="16"/>
                  </a:lnTo>
                  <a:lnTo>
                    <a:pt x="101" y="14"/>
                  </a:lnTo>
                  <a:lnTo>
                    <a:pt x="102" y="11"/>
                  </a:lnTo>
                  <a:lnTo>
                    <a:pt x="107"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89" name="Freeform 673">
              <a:extLst>
                <a:ext uri="{FF2B5EF4-FFF2-40B4-BE49-F238E27FC236}">
                  <a16:creationId xmlns:a16="http://schemas.microsoft.com/office/drawing/2014/main" id="{F9EC4630-C2D2-43DA-A23F-BFBB31D32802}"/>
                </a:ext>
              </a:extLst>
            </p:cNvPr>
            <p:cNvSpPr>
              <a:spLocks/>
            </p:cNvSpPr>
            <p:nvPr/>
          </p:nvSpPr>
          <p:spPr bwMode="auto">
            <a:xfrm>
              <a:off x="5600701" y="1465264"/>
              <a:ext cx="271463" cy="276225"/>
            </a:xfrm>
            <a:custGeom>
              <a:avLst/>
              <a:gdLst>
                <a:gd name="T0" fmla="*/ 97 w 171"/>
                <a:gd name="T1" fmla="*/ 0 h 174"/>
                <a:gd name="T2" fmla="*/ 166 w 171"/>
                <a:gd name="T3" fmla="*/ 3 h 174"/>
                <a:gd name="T4" fmla="*/ 166 w 171"/>
                <a:gd name="T5" fmla="*/ 4 h 174"/>
                <a:gd name="T6" fmla="*/ 168 w 171"/>
                <a:gd name="T7" fmla="*/ 8 h 174"/>
                <a:gd name="T8" fmla="*/ 169 w 171"/>
                <a:gd name="T9" fmla="*/ 13 h 174"/>
                <a:gd name="T10" fmla="*/ 171 w 171"/>
                <a:gd name="T11" fmla="*/ 20 h 174"/>
                <a:gd name="T12" fmla="*/ 171 w 171"/>
                <a:gd name="T13" fmla="*/ 28 h 174"/>
                <a:gd name="T14" fmla="*/ 171 w 171"/>
                <a:gd name="T15" fmla="*/ 35 h 174"/>
                <a:gd name="T16" fmla="*/ 169 w 171"/>
                <a:gd name="T17" fmla="*/ 43 h 174"/>
                <a:gd name="T18" fmla="*/ 164 w 171"/>
                <a:gd name="T19" fmla="*/ 50 h 174"/>
                <a:gd name="T20" fmla="*/ 157 w 171"/>
                <a:gd name="T21" fmla="*/ 55 h 174"/>
                <a:gd name="T22" fmla="*/ 146 w 171"/>
                <a:gd name="T23" fmla="*/ 59 h 174"/>
                <a:gd name="T24" fmla="*/ 132 w 171"/>
                <a:gd name="T25" fmla="*/ 60 h 174"/>
                <a:gd name="T26" fmla="*/ 63 w 171"/>
                <a:gd name="T27" fmla="*/ 62 h 174"/>
                <a:gd name="T28" fmla="*/ 56 w 171"/>
                <a:gd name="T29" fmla="*/ 64 h 174"/>
                <a:gd name="T30" fmla="*/ 53 w 171"/>
                <a:gd name="T31" fmla="*/ 69 h 174"/>
                <a:gd name="T32" fmla="*/ 51 w 171"/>
                <a:gd name="T33" fmla="*/ 75 h 174"/>
                <a:gd name="T34" fmla="*/ 50 w 171"/>
                <a:gd name="T35" fmla="*/ 83 h 174"/>
                <a:gd name="T36" fmla="*/ 49 w 171"/>
                <a:gd name="T37" fmla="*/ 93 h 174"/>
                <a:gd name="T38" fmla="*/ 49 w 171"/>
                <a:gd name="T39" fmla="*/ 174 h 174"/>
                <a:gd name="T40" fmla="*/ 0 w 171"/>
                <a:gd name="T41" fmla="*/ 174 h 174"/>
                <a:gd name="T42" fmla="*/ 7 w 171"/>
                <a:gd name="T43" fmla="*/ 55 h 174"/>
                <a:gd name="T44" fmla="*/ 10 w 171"/>
                <a:gd name="T45" fmla="*/ 46 h 174"/>
                <a:gd name="T46" fmla="*/ 16 w 171"/>
                <a:gd name="T47" fmla="*/ 37 h 174"/>
                <a:gd name="T48" fmla="*/ 24 w 171"/>
                <a:gd name="T49" fmla="*/ 30 h 174"/>
                <a:gd name="T50" fmla="*/ 33 w 171"/>
                <a:gd name="T51" fmla="*/ 26 h 174"/>
                <a:gd name="T52" fmla="*/ 78 w 171"/>
                <a:gd name="T53" fmla="*/ 20 h 174"/>
                <a:gd name="T54" fmla="*/ 83 w 171"/>
                <a:gd name="T55" fmla="*/ 18 h 174"/>
                <a:gd name="T56" fmla="*/ 88 w 171"/>
                <a:gd name="T57" fmla="*/ 16 h 174"/>
                <a:gd name="T58" fmla="*/ 91 w 171"/>
                <a:gd name="T59" fmla="*/ 12 h 174"/>
                <a:gd name="T60" fmla="*/ 94 w 171"/>
                <a:gd name="T61" fmla="*/ 8 h 174"/>
                <a:gd name="T62" fmla="*/ 97 w 171"/>
                <a:gd name="T63"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1" h="174">
                  <a:moveTo>
                    <a:pt x="97" y="0"/>
                  </a:moveTo>
                  <a:lnTo>
                    <a:pt x="166" y="3"/>
                  </a:lnTo>
                  <a:lnTo>
                    <a:pt x="166" y="4"/>
                  </a:lnTo>
                  <a:lnTo>
                    <a:pt x="168" y="8"/>
                  </a:lnTo>
                  <a:lnTo>
                    <a:pt x="169" y="13"/>
                  </a:lnTo>
                  <a:lnTo>
                    <a:pt x="171" y="20"/>
                  </a:lnTo>
                  <a:lnTo>
                    <a:pt x="171" y="28"/>
                  </a:lnTo>
                  <a:lnTo>
                    <a:pt x="171" y="35"/>
                  </a:lnTo>
                  <a:lnTo>
                    <a:pt x="169" y="43"/>
                  </a:lnTo>
                  <a:lnTo>
                    <a:pt x="164" y="50"/>
                  </a:lnTo>
                  <a:lnTo>
                    <a:pt x="157" y="55"/>
                  </a:lnTo>
                  <a:lnTo>
                    <a:pt x="146" y="59"/>
                  </a:lnTo>
                  <a:lnTo>
                    <a:pt x="132" y="60"/>
                  </a:lnTo>
                  <a:lnTo>
                    <a:pt x="63" y="62"/>
                  </a:lnTo>
                  <a:lnTo>
                    <a:pt x="56" y="64"/>
                  </a:lnTo>
                  <a:lnTo>
                    <a:pt x="53" y="69"/>
                  </a:lnTo>
                  <a:lnTo>
                    <a:pt x="51" y="75"/>
                  </a:lnTo>
                  <a:lnTo>
                    <a:pt x="50" y="83"/>
                  </a:lnTo>
                  <a:lnTo>
                    <a:pt x="49" y="93"/>
                  </a:lnTo>
                  <a:lnTo>
                    <a:pt x="49" y="174"/>
                  </a:lnTo>
                  <a:lnTo>
                    <a:pt x="0" y="174"/>
                  </a:lnTo>
                  <a:lnTo>
                    <a:pt x="7" y="55"/>
                  </a:lnTo>
                  <a:lnTo>
                    <a:pt x="10" y="46"/>
                  </a:lnTo>
                  <a:lnTo>
                    <a:pt x="16" y="37"/>
                  </a:lnTo>
                  <a:lnTo>
                    <a:pt x="24" y="30"/>
                  </a:lnTo>
                  <a:lnTo>
                    <a:pt x="33" y="26"/>
                  </a:lnTo>
                  <a:lnTo>
                    <a:pt x="78" y="20"/>
                  </a:lnTo>
                  <a:lnTo>
                    <a:pt x="83" y="18"/>
                  </a:lnTo>
                  <a:lnTo>
                    <a:pt x="88" y="16"/>
                  </a:lnTo>
                  <a:lnTo>
                    <a:pt x="91" y="12"/>
                  </a:lnTo>
                  <a:lnTo>
                    <a:pt x="94" y="8"/>
                  </a:lnTo>
                  <a:lnTo>
                    <a:pt x="97" y="0"/>
                  </a:lnTo>
                  <a:close/>
                </a:path>
              </a:pathLst>
            </a:custGeom>
            <a:solidFill>
              <a:srgbClr val="001315"/>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90" name="Freeform 674">
              <a:extLst>
                <a:ext uri="{FF2B5EF4-FFF2-40B4-BE49-F238E27FC236}">
                  <a16:creationId xmlns:a16="http://schemas.microsoft.com/office/drawing/2014/main" id="{AA97225A-6F59-4B92-9F14-EB1396E8768C}"/>
                </a:ext>
              </a:extLst>
            </p:cNvPr>
            <p:cNvSpPr>
              <a:spLocks/>
            </p:cNvSpPr>
            <p:nvPr/>
          </p:nvSpPr>
          <p:spPr bwMode="auto">
            <a:xfrm>
              <a:off x="5595938" y="1319214"/>
              <a:ext cx="169863" cy="104775"/>
            </a:xfrm>
            <a:custGeom>
              <a:avLst/>
              <a:gdLst>
                <a:gd name="T0" fmla="*/ 102 w 107"/>
                <a:gd name="T1" fmla="*/ 0 h 66"/>
                <a:gd name="T2" fmla="*/ 105 w 107"/>
                <a:gd name="T3" fmla="*/ 1 h 66"/>
                <a:gd name="T4" fmla="*/ 107 w 107"/>
                <a:gd name="T5" fmla="*/ 6 h 66"/>
                <a:gd name="T6" fmla="*/ 107 w 107"/>
                <a:gd name="T7" fmla="*/ 11 h 66"/>
                <a:gd name="T8" fmla="*/ 107 w 107"/>
                <a:gd name="T9" fmla="*/ 17 h 66"/>
                <a:gd name="T10" fmla="*/ 107 w 107"/>
                <a:gd name="T11" fmla="*/ 22 h 66"/>
                <a:gd name="T12" fmla="*/ 107 w 107"/>
                <a:gd name="T13" fmla="*/ 24 h 66"/>
                <a:gd name="T14" fmla="*/ 105 w 107"/>
                <a:gd name="T15" fmla="*/ 37 h 66"/>
                <a:gd name="T16" fmla="*/ 98 w 107"/>
                <a:gd name="T17" fmla="*/ 48 h 66"/>
                <a:gd name="T18" fmla="*/ 88 w 107"/>
                <a:gd name="T19" fmla="*/ 57 h 66"/>
                <a:gd name="T20" fmla="*/ 75 w 107"/>
                <a:gd name="T21" fmla="*/ 62 h 66"/>
                <a:gd name="T22" fmla="*/ 4 w 107"/>
                <a:gd name="T23" fmla="*/ 66 h 66"/>
                <a:gd name="T24" fmla="*/ 0 w 107"/>
                <a:gd name="T25" fmla="*/ 36 h 66"/>
                <a:gd name="T26" fmla="*/ 65 w 107"/>
                <a:gd name="T27" fmla="*/ 35 h 66"/>
                <a:gd name="T28" fmla="*/ 69 w 107"/>
                <a:gd name="T29" fmla="*/ 32 h 66"/>
                <a:gd name="T30" fmla="*/ 75 w 107"/>
                <a:gd name="T31" fmla="*/ 27 h 66"/>
                <a:gd name="T32" fmla="*/ 83 w 107"/>
                <a:gd name="T33" fmla="*/ 20 h 66"/>
                <a:gd name="T34" fmla="*/ 90 w 107"/>
                <a:gd name="T35" fmla="*/ 13 h 66"/>
                <a:gd name="T36" fmla="*/ 96 w 107"/>
                <a:gd name="T37" fmla="*/ 6 h 66"/>
                <a:gd name="T38" fmla="*/ 101 w 107"/>
                <a:gd name="T39" fmla="*/ 1 h 66"/>
                <a:gd name="T40" fmla="*/ 102 w 107"/>
                <a:gd name="T4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66">
                  <a:moveTo>
                    <a:pt x="102" y="0"/>
                  </a:moveTo>
                  <a:lnTo>
                    <a:pt x="105" y="1"/>
                  </a:lnTo>
                  <a:lnTo>
                    <a:pt x="107" y="6"/>
                  </a:lnTo>
                  <a:lnTo>
                    <a:pt x="107" y="11"/>
                  </a:lnTo>
                  <a:lnTo>
                    <a:pt x="107" y="17"/>
                  </a:lnTo>
                  <a:lnTo>
                    <a:pt x="107" y="22"/>
                  </a:lnTo>
                  <a:lnTo>
                    <a:pt x="107" y="24"/>
                  </a:lnTo>
                  <a:lnTo>
                    <a:pt x="105" y="37"/>
                  </a:lnTo>
                  <a:lnTo>
                    <a:pt x="98" y="48"/>
                  </a:lnTo>
                  <a:lnTo>
                    <a:pt x="88" y="57"/>
                  </a:lnTo>
                  <a:lnTo>
                    <a:pt x="75" y="62"/>
                  </a:lnTo>
                  <a:lnTo>
                    <a:pt x="4" y="66"/>
                  </a:lnTo>
                  <a:lnTo>
                    <a:pt x="0" y="36"/>
                  </a:lnTo>
                  <a:lnTo>
                    <a:pt x="65" y="35"/>
                  </a:lnTo>
                  <a:lnTo>
                    <a:pt x="69" y="32"/>
                  </a:lnTo>
                  <a:lnTo>
                    <a:pt x="75" y="27"/>
                  </a:lnTo>
                  <a:lnTo>
                    <a:pt x="83" y="20"/>
                  </a:lnTo>
                  <a:lnTo>
                    <a:pt x="90" y="13"/>
                  </a:lnTo>
                  <a:lnTo>
                    <a:pt x="96" y="6"/>
                  </a:lnTo>
                  <a:lnTo>
                    <a:pt x="101" y="1"/>
                  </a:lnTo>
                  <a:lnTo>
                    <a:pt x="102" y="0"/>
                  </a:lnTo>
                  <a:close/>
                </a:path>
              </a:pathLst>
            </a:custGeom>
            <a:solidFill>
              <a:srgbClr val="DEE1C9"/>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91" name="Freeform 675">
              <a:extLst>
                <a:ext uri="{FF2B5EF4-FFF2-40B4-BE49-F238E27FC236}">
                  <a16:creationId xmlns:a16="http://schemas.microsoft.com/office/drawing/2014/main" id="{EEBB3E48-FD88-4CED-940B-716CD7D8D8EC}"/>
                </a:ext>
              </a:extLst>
            </p:cNvPr>
            <p:cNvSpPr>
              <a:spLocks/>
            </p:cNvSpPr>
            <p:nvPr/>
          </p:nvSpPr>
          <p:spPr bwMode="auto">
            <a:xfrm>
              <a:off x="5567363" y="1376364"/>
              <a:ext cx="34925" cy="47625"/>
            </a:xfrm>
            <a:custGeom>
              <a:avLst/>
              <a:gdLst>
                <a:gd name="T0" fmla="*/ 19 w 22"/>
                <a:gd name="T1" fmla="*/ 0 h 30"/>
                <a:gd name="T2" fmla="*/ 19 w 22"/>
                <a:gd name="T3" fmla="*/ 0 h 30"/>
                <a:gd name="T4" fmla="*/ 22 w 22"/>
                <a:gd name="T5" fmla="*/ 30 h 30"/>
                <a:gd name="T6" fmla="*/ 22 w 22"/>
                <a:gd name="T7" fmla="*/ 30 h 30"/>
                <a:gd name="T8" fmla="*/ 17 w 22"/>
                <a:gd name="T9" fmla="*/ 30 h 30"/>
                <a:gd name="T10" fmla="*/ 11 w 22"/>
                <a:gd name="T11" fmla="*/ 30 h 30"/>
                <a:gd name="T12" fmla="*/ 6 w 22"/>
                <a:gd name="T13" fmla="*/ 28 h 30"/>
                <a:gd name="T14" fmla="*/ 2 w 22"/>
                <a:gd name="T15" fmla="*/ 25 h 30"/>
                <a:gd name="T16" fmla="*/ 0 w 22"/>
                <a:gd name="T17" fmla="*/ 19 h 30"/>
                <a:gd name="T18" fmla="*/ 0 w 22"/>
                <a:gd name="T19" fmla="*/ 11 h 30"/>
                <a:gd name="T20" fmla="*/ 3 w 22"/>
                <a:gd name="T21" fmla="*/ 6 h 30"/>
                <a:gd name="T22" fmla="*/ 8 w 22"/>
                <a:gd name="T23" fmla="*/ 3 h 30"/>
                <a:gd name="T24" fmla="*/ 13 w 22"/>
                <a:gd name="T25" fmla="*/ 1 h 30"/>
                <a:gd name="T26" fmla="*/ 19 w 22"/>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30">
                  <a:moveTo>
                    <a:pt x="19" y="0"/>
                  </a:moveTo>
                  <a:lnTo>
                    <a:pt x="19" y="0"/>
                  </a:lnTo>
                  <a:lnTo>
                    <a:pt x="22" y="30"/>
                  </a:lnTo>
                  <a:lnTo>
                    <a:pt x="22" y="30"/>
                  </a:lnTo>
                  <a:lnTo>
                    <a:pt x="17" y="30"/>
                  </a:lnTo>
                  <a:lnTo>
                    <a:pt x="11" y="30"/>
                  </a:lnTo>
                  <a:lnTo>
                    <a:pt x="6" y="28"/>
                  </a:lnTo>
                  <a:lnTo>
                    <a:pt x="2" y="25"/>
                  </a:lnTo>
                  <a:lnTo>
                    <a:pt x="0" y="19"/>
                  </a:lnTo>
                  <a:lnTo>
                    <a:pt x="0" y="11"/>
                  </a:lnTo>
                  <a:lnTo>
                    <a:pt x="3" y="6"/>
                  </a:lnTo>
                  <a:lnTo>
                    <a:pt x="8" y="3"/>
                  </a:lnTo>
                  <a:lnTo>
                    <a:pt x="13" y="1"/>
                  </a:lnTo>
                  <a:lnTo>
                    <a:pt x="19" y="0"/>
                  </a:lnTo>
                  <a:close/>
                </a:path>
              </a:pathLst>
            </a:custGeom>
            <a:solidFill>
              <a:srgbClr val="FFAD63"/>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92" name="Freeform 676">
              <a:extLst>
                <a:ext uri="{FF2B5EF4-FFF2-40B4-BE49-F238E27FC236}">
                  <a16:creationId xmlns:a16="http://schemas.microsoft.com/office/drawing/2014/main" id="{6B837DE0-6BF5-4E99-814B-B59B3E959BD4}"/>
                </a:ext>
              </a:extLst>
            </p:cNvPr>
            <p:cNvSpPr>
              <a:spLocks/>
            </p:cNvSpPr>
            <p:nvPr/>
          </p:nvSpPr>
          <p:spPr bwMode="auto">
            <a:xfrm>
              <a:off x="5772151" y="1244601"/>
              <a:ext cx="52388" cy="74613"/>
            </a:xfrm>
            <a:custGeom>
              <a:avLst/>
              <a:gdLst>
                <a:gd name="T0" fmla="*/ 4 w 33"/>
                <a:gd name="T1" fmla="*/ 0 h 47"/>
                <a:gd name="T2" fmla="*/ 29 w 33"/>
                <a:gd name="T3" fmla="*/ 0 h 47"/>
                <a:gd name="T4" fmla="*/ 30 w 33"/>
                <a:gd name="T5" fmla="*/ 15 h 47"/>
                <a:gd name="T6" fmla="*/ 33 w 33"/>
                <a:gd name="T7" fmla="*/ 47 h 47"/>
                <a:gd name="T8" fmla="*/ 0 w 33"/>
                <a:gd name="T9" fmla="*/ 47 h 47"/>
                <a:gd name="T10" fmla="*/ 2 w 33"/>
                <a:gd name="T11" fmla="*/ 31 h 47"/>
                <a:gd name="T12" fmla="*/ 4 w 33"/>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33" h="47">
                  <a:moveTo>
                    <a:pt x="4" y="0"/>
                  </a:moveTo>
                  <a:lnTo>
                    <a:pt x="29" y="0"/>
                  </a:lnTo>
                  <a:lnTo>
                    <a:pt x="30" y="15"/>
                  </a:lnTo>
                  <a:lnTo>
                    <a:pt x="33" y="47"/>
                  </a:lnTo>
                  <a:lnTo>
                    <a:pt x="0" y="47"/>
                  </a:lnTo>
                  <a:lnTo>
                    <a:pt x="2" y="31"/>
                  </a:lnTo>
                  <a:lnTo>
                    <a:pt x="4" y="0"/>
                  </a:lnTo>
                  <a:close/>
                </a:path>
              </a:pathLst>
            </a:custGeom>
            <a:solidFill>
              <a:srgbClr val="FFB878"/>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93" name="Freeform 677">
              <a:extLst>
                <a:ext uri="{FF2B5EF4-FFF2-40B4-BE49-F238E27FC236}">
                  <a16:creationId xmlns:a16="http://schemas.microsoft.com/office/drawing/2014/main" id="{E78DD61C-29E0-4C98-A100-5EBEEBA79BA3}"/>
                </a:ext>
              </a:extLst>
            </p:cNvPr>
            <p:cNvSpPr>
              <a:spLocks/>
            </p:cNvSpPr>
            <p:nvPr/>
          </p:nvSpPr>
          <p:spPr bwMode="auto">
            <a:xfrm>
              <a:off x="5775326" y="1244601"/>
              <a:ext cx="46038" cy="49213"/>
            </a:xfrm>
            <a:custGeom>
              <a:avLst/>
              <a:gdLst>
                <a:gd name="T0" fmla="*/ 2 w 29"/>
                <a:gd name="T1" fmla="*/ 0 h 31"/>
                <a:gd name="T2" fmla="*/ 27 w 29"/>
                <a:gd name="T3" fmla="*/ 0 h 31"/>
                <a:gd name="T4" fmla="*/ 29 w 29"/>
                <a:gd name="T5" fmla="*/ 28 h 31"/>
                <a:gd name="T6" fmla="*/ 24 w 29"/>
                <a:gd name="T7" fmla="*/ 30 h 31"/>
                <a:gd name="T8" fmla="*/ 16 w 29"/>
                <a:gd name="T9" fmla="*/ 31 h 31"/>
                <a:gd name="T10" fmla="*/ 8 w 29"/>
                <a:gd name="T11" fmla="*/ 31 h 31"/>
                <a:gd name="T12" fmla="*/ 2 w 29"/>
                <a:gd name="T13" fmla="*/ 31 h 31"/>
                <a:gd name="T14" fmla="*/ 0 w 29"/>
                <a:gd name="T15" fmla="*/ 31 h 31"/>
                <a:gd name="T16" fmla="*/ 2 w 29"/>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1">
                  <a:moveTo>
                    <a:pt x="2" y="0"/>
                  </a:moveTo>
                  <a:lnTo>
                    <a:pt x="27" y="0"/>
                  </a:lnTo>
                  <a:lnTo>
                    <a:pt x="29" y="28"/>
                  </a:lnTo>
                  <a:lnTo>
                    <a:pt x="24" y="30"/>
                  </a:lnTo>
                  <a:lnTo>
                    <a:pt x="16" y="31"/>
                  </a:lnTo>
                  <a:lnTo>
                    <a:pt x="8" y="31"/>
                  </a:lnTo>
                  <a:lnTo>
                    <a:pt x="2" y="31"/>
                  </a:lnTo>
                  <a:lnTo>
                    <a:pt x="0" y="31"/>
                  </a:lnTo>
                  <a:lnTo>
                    <a:pt x="2" y="0"/>
                  </a:lnTo>
                  <a:close/>
                </a:path>
              </a:pathLst>
            </a:custGeom>
            <a:solidFill>
              <a:srgbClr val="EBA44E"/>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94" name="Freeform 678">
              <a:extLst>
                <a:ext uri="{FF2B5EF4-FFF2-40B4-BE49-F238E27FC236}">
                  <a16:creationId xmlns:a16="http://schemas.microsoft.com/office/drawing/2014/main" id="{0659655E-E9FA-4345-BA5D-2DE4297B3EB0}"/>
                </a:ext>
              </a:extLst>
            </p:cNvPr>
            <p:cNvSpPr>
              <a:spLocks/>
            </p:cNvSpPr>
            <p:nvPr/>
          </p:nvSpPr>
          <p:spPr bwMode="auto">
            <a:xfrm>
              <a:off x="5718176" y="1141414"/>
              <a:ext cx="114300" cy="139700"/>
            </a:xfrm>
            <a:custGeom>
              <a:avLst/>
              <a:gdLst>
                <a:gd name="T0" fmla="*/ 18 w 72"/>
                <a:gd name="T1" fmla="*/ 0 h 88"/>
                <a:gd name="T2" fmla="*/ 27 w 72"/>
                <a:gd name="T3" fmla="*/ 1 h 88"/>
                <a:gd name="T4" fmla="*/ 35 w 72"/>
                <a:gd name="T5" fmla="*/ 1 h 88"/>
                <a:gd name="T6" fmla="*/ 47 w 72"/>
                <a:gd name="T7" fmla="*/ 3 h 88"/>
                <a:gd name="T8" fmla="*/ 57 w 72"/>
                <a:gd name="T9" fmla="*/ 9 h 88"/>
                <a:gd name="T10" fmla="*/ 65 w 72"/>
                <a:gd name="T11" fmla="*/ 19 h 88"/>
                <a:gd name="T12" fmla="*/ 70 w 72"/>
                <a:gd name="T13" fmla="*/ 31 h 88"/>
                <a:gd name="T14" fmla="*/ 72 w 72"/>
                <a:gd name="T15" fmla="*/ 44 h 88"/>
                <a:gd name="T16" fmla="*/ 70 w 72"/>
                <a:gd name="T17" fmla="*/ 58 h 88"/>
                <a:gd name="T18" fmla="*/ 65 w 72"/>
                <a:gd name="T19" fmla="*/ 70 h 88"/>
                <a:gd name="T20" fmla="*/ 57 w 72"/>
                <a:gd name="T21" fmla="*/ 80 h 88"/>
                <a:gd name="T22" fmla="*/ 47 w 72"/>
                <a:gd name="T23" fmla="*/ 86 h 88"/>
                <a:gd name="T24" fmla="*/ 35 w 72"/>
                <a:gd name="T25" fmla="*/ 88 h 88"/>
                <a:gd name="T26" fmla="*/ 24 w 72"/>
                <a:gd name="T27" fmla="*/ 86 h 88"/>
                <a:gd name="T28" fmla="*/ 15 w 72"/>
                <a:gd name="T29" fmla="*/ 80 h 88"/>
                <a:gd name="T30" fmla="*/ 7 w 72"/>
                <a:gd name="T31" fmla="*/ 70 h 88"/>
                <a:gd name="T32" fmla="*/ 3 w 72"/>
                <a:gd name="T33" fmla="*/ 58 h 88"/>
                <a:gd name="T34" fmla="*/ 0 w 72"/>
                <a:gd name="T35" fmla="*/ 44 h 88"/>
                <a:gd name="T36" fmla="*/ 0 w 72"/>
                <a:gd name="T37" fmla="*/ 32 h 88"/>
                <a:gd name="T38" fmla="*/ 0 w 72"/>
                <a:gd name="T39" fmla="*/ 21 h 88"/>
                <a:gd name="T40" fmla="*/ 0 w 72"/>
                <a:gd name="T41" fmla="*/ 12 h 88"/>
                <a:gd name="T42" fmla="*/ 1 w 72"/>
                <a:gd name="T43" fmla="*/ 5 h 88"/>
                <a:gd name="T44" fmla="*/ 5 w 72"/>
                <a:gd name="T45" fmla="*/ 2 h 88"/>
                <a:gd name="T46" fmla="*/ 11 w 72"/>
                <a:gd name="T47" fmla="*/ 0 h 88"/>
                <a:gd name="T48" fmla="*/ 18 w 72"/>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 h="88">
                  <a:moveTo>
                    <a:pt x="18" y="0"/>
                  </a:moveTo>
                  <a:lnTo>
                    <a:pt x="27" y="1"/>
                  </a:lnTo>
                  <a:lnTo>
                    <a:pt x="35" y="1"/>
                  </a:lnTo>
                  <a:lnTo>
                    <a:pt x="47" y="3"/>
                  </a:lnTo>
                  <a:lnTo>
                    <a:pt x="57" y="9"/>
                  </a:lnTo>
                  <a:lnTo>
                    <a:pt x="65" y="19"/>
                  </a:lnTo>
                  <a:lnTo>
                    <a:pt x="70" y="31"/>
                  </a:lnTo>
                  <a:lnTo>
                    <a:pt x="72" y="44"/>
                  </a:lnTo>
                  <a:lnTo>
                    <a:pt x="70" y="58"/>
                  </a:lnTo>
                  <a:lnTo>
                    <a:pt x="65" y="70"/>
                  </a:lnTo>
                  <a:lnTo>
                    <a:pt x="57" y="80"/>
                  </a:lnTo>
                  <a:lnTo>
                    <a:pt x="47" y="86"/>
                  </a:lnTo>
                  <a:lnTo>
                    <a:pt x="35" y="88"/>
                  </a:lnTo>
                  <a:lnTo>
                    <a:pt x="24" y="86"/>
                  </a:lnTo>
                  <a:lnTo>
                    <a:pt x="15" y="80"/>
                  </a:lnTo>
                  <a:lnTo>
                    <a:pt x="7" y="70"/>
                  </a:lnTo>
                  <a:lnTo>
                    <a:pt x="3" y="58"/>
                  </a:lnTo>
                  <a:lnTo>
                    <a:pt x="0" y="44"/>
                  </a:lnTo>
                  <a:lnTo>
                    <a:pt x="0" y="32"/>
                  </a:lnTo>
                  <a:lnTo>
                    <a:pt x="0" y="21"/>
                  </a:lnTo>
                  <a:lnTo>
                    <a:pt x="0" y="12"/>
                  </a:lnTo>
                  <a:lnTo>
                    <a:pt x="1" y="5"/>
                  </a:lnTo>
                  <a:lnTo>
                    <a:pt x="5" y="2"/>
                  </a:lnTo>
                  <a:lnTo>
                    <a:pt x="11" y="0"/>
                  </a:lnTo>
                  <a:lnTo>
                    <a:pt x="18" y="0"/>
                  </a:lnTo>
                  <a:close/>
                </a:path>
              </a:pathLst>
            </a:custGeom>
            <a:solidFill>
              <a:srgbClr val="FFB878"/>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95" name="Freeform 679">
              <a:extLst>
                <a:ext uri="{FF2B5EF4-FFF2-40B4-BE49-F238E27FC236}">
                  <a16:creationId xmlns:a16="http://schemas.microsoft.com/office/drawing/2014/main" id="{E0D5B722-9933-4038-BC74-3EBD96031C68}"/>
                </a:ext>
              </a:extLst>
            </p:cNvPr>
            <p:cNvSpPr>
              <a:spLocks/>
            </p:cNvSpPr>
            <p:nvPr/>
          </p:nvSpPr>
          <p:spPr bwMode="auto">
            <a:xfrm>
              <a:off x="5705476" y="1108076"/>
              <a:ext cx="146050" cy="136525"/>
            </a:xfrm>
            <a:custGeom>
              <a:avLst/>
              <a:gdLst>
                <a:gd name="T0" fmla="*/ 48 w 92"/>
                <a:gd name="T1" fmla="*/ 0 h 86"/>
                <a:gd name="T2" fmla="*/ 57 w 92"/>
                <a:gd name="T3" fmla="*/ 0 h 86"/>
                <a:gd name="T4" fmla="*/ 65 w 92"/>
                <a:gd name="T5" fmla="*/ 3 h 86"/>
                <a:gd name="T6" fmla="*/ 70 w 92"/>
                <a:gd name="T7" fmla="*/ 7 h 86"/>
                <a:gd name="T8" fmla="*/ 74 w 92"/>
                <a:gd name="T9" fmla="*/ 11 h 86"/>
                <a:gd name="T10" fmla="*/ 76 w 92"/>
                <a:gd name="T11" fmla="*/ 15 h 86"/>
                <a:gd name="T12" fmla="*/ 77 w 92"/>
                <a:gd name="T13" fmla="*/ 16 h 86"/>
                <a:gd name="T14" fmla="*/ 85 w 92"/>
                <a:gd name="T15" fmla="*/ 21 h 86"/>
                <a:gd name="T16" fmla="*/ 90 w 92"/>
                <a:gd name="T17" fmla="*/ 28 h 86"/>
                <a:gd name="T18" fmla="*/ 92 w 92"/>
                <a:gd name="T19" fmla="*/ 36 h 86"/>
                <a:gd name="T20" fmla="*/ 92 w 92"/>
                <a:gd name="T21" fmla="*/ 46 h 86"/>
                <a:gd name="T22" fmla="*/ 91 w 92"/>
                <a:gd name="T23" fmla="*/ 55 h 86"/>
                <a:gd name="T24" fmla="*/ 88 w 92"/>
                <a:gd name="T25" fmla="*/ 65 h 86"/>
                <a:gd name="T26" fmla="*/ 86 w 92"/>
                <a:gd name="T27" fmla="*/ 73 h 86"/>
                <a:gd name="T28" fmla="*/ 83 w 92"/>
                <a:gd name="T29" fmla="*/ 80 h 86"/>
                <a:gd name="T30" fmla="*/ 81 w 92"/>
                <a:gd name="T31" fmla="*/ 84 h 86"/>
                <a:gd name="T32" fmla="*/ 80 w 92"/>
                <a:gd name="T33" fmla="*/ 86 h 86"/>
                <a:gd name="T34" fmla="*/ 74 w 92"/>
                <a:gd name="T35" fmla="*/ 80 h 86"/>
                <a:gd name="T36" fmla="*/ 69 w 92"/>
                <a:gd name="T37" fmla="*/ 70 h 86"/>
                <a:gd name="T38" fmla="*/ 66 w 92"/>
                <a:gd name="T39" fmla="*/ 60 h 86"/>
                <a:gd name="T40" fmla="*/ 63 w 92"/>
                <a:gd name="T41" fmla="*/ 50 h 86"/>
                <a:gd name="T42" fmla="*/ 62 w 92"/>
                <a:gd name="T43" fmla="*/ 43 h 86"/>
                <a:gd name="T44" fmla="*/ 61 w 92"/>
                <a:gd name="T45" fmla="*/ 40 h 86"/>
                <a:gd name="T46" fmla="*/ 44 w 92"/>
                <a:gd name="T47" fmla="*/ 44 h 86"/>
                <a:gd name="T48" fmla="*/ 30 w 92"/>
                <a:gd name="T49" fmla="*/ 45 h 86"/>
                <a:gd name="T50" fmla="*/ 20 w 92"/>
                <a:gd name="T51" fmla="*/ 44 h 86"/>
                <a:gd name="T52" fmla="*/ 12 w 92"/>
                <a:gd name="T53" fmla="*/ 40 h 86"/>
                <a:gd name="T54" fmla="*/ 6 w 92"/>
                <a:gd name="T55" fmla="*/ 36 h 86"/>
                <a:gd name="T56" fmla="*/ 2 w 92"/>
                <a:gd name="T57" fmla="*/ 30 h 86"/>
                <a:gd name="T58" fmla="*/ 0 w 92"/>
                <a:gd name="T59" fmla="*/ 25 h 86"/>
                <a:gd name="T60" fmla="*/ 0 w 92"/>
                <a:gd name="T61" fmla="*/ 19 h 86"/>
                <a:gd name="T62" fmla="*/ 0 w 92"/>
                <a:gd name="T63" fmla="*/ 13 h 86"/>
                <a:gd name="T64" fmla="*/ 0 w 92"/>
                <a:gd name="T65" fmla="*/ 9 h 86"/>
                <a:gd name="T66" fmla="*/ 1 w 92"/>
                <a:gd name="T67" fmla="*/ 6 h 86"/>
                <a:gd name="T68" fmla="*/ 1 w 92"/>
                <a:gd name="T69" fmla="*/ 5 h 86"/>
                <a:gd name="T70" fmla="*/ 11 w 92"/>
                <a:gd name="T71" fmla="*/ 7 h 86"/>
                <a:gd name="T72" fmla="*/ 19 w 92"/>
                <a:gd name="T73" fmla="*/ 8 h 86"/>
                <a:gd name="T74" fmla="*/ 27 w 92"/>
                <a:gd name="T75" fmla="*/ 7 h 86"/>
                <a:gd name="T76" fmla="*/ 36 w 92"/>
                <a:gd name="T77" fmla="*/ 4 h 86"/>
                <a:gd name="T78" fmla="*/ 48 w 92"/>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2" h="86">
                  <a:moveTo>
                    <a:pt x="48" y="0"/>
                  </a:moveTo>
                  <a:lnTo>
                    <a:pt x="57" y="0"/>
                  </a:lnTo>
                  <a:lnTo>
                    <a:pt x="65" y="3"/>
                  </a:lnTo>
                  <a:lnTo>
                    <a:pt x="70" y="7"/>
                  </a:lnTo>
                  <a:lnTo>
                    <a:pt x="74" y="11"/>
                  </a:lnTo>
                  <a:lnTo>
                    <a:pt x="76" y="15"/>
                  </a:lnTo>
                  <a:lnTo>
                    <a:pt x="77" y="16"/>
                  </a:lnTo>
                  <a:lnTo>
                    <a:pt x="85" y="21"/>
                  </a:lnTo>
                  <a:lnTo>
                    <a:pt x="90" y="28"/>
                  </a:lnTo>
                  <a:lnTo>
                    <a:pt x="92" y="36"/>
                  </a:lnTo>
                  <a:lnTo>
                    <a:pt x="92" y="46"/>
                  </a:lnTo>
                  <a:lnTo>
                    <a:pt x="91" y="55"/>
                  </a:lnTo>
                  <a:lnTo>
                    <a:pt x="88" y="65"/>
                  </a:lnTo>
                  <a:lnTo>
                    <a:pt x="86" y="73"/>
                  </a:lnTo>
                  <a:lnTo>
                    <a:pt x="83" y="80"/>
                  </a:lnTo>
                  <a:lnTo>
                    <a:pt x="81" y="84"/>
                  </a:lnTo>
                  <a:lnTo>
                    <a:pt x="80" y="86"/>
                  </a:lnTo>
                  <a:lnTo>
                    <a:pt x="74" y="80"/>
                  </a:lnTo>
                  <a:lnTo>
                    <a:pt x="69" y="70"/>
                  </a:lnTo>
                  <a:lnTo>
                    <a:pt x="66" y="60"/>
                  </a:lnTo>
                  <a:lnTo>
                    <a:pt x="63" y="50"/>
                  </a:lnTo>
                  <a:lnTo>
                    <a:pt x="62" y="43"/>
                  </a:lnTo>
                  <a:lnTo>
                    <a:pt x="61" y="40"/>
                  </a:lnTo>
                  <a:lnTo>
                    <a:pt x="44" y="44"/>
                  </a:lnTo>
                  <a:lnTo>
                    <a:pt x="30" y="45"/>
                  </a:lnTo>
                  <a:lnTo>
                    <a:pt x="20" y="44"/>
                  </a:lnTo>
                  <a:lnTo>
                    <a:pt x="12" y="40"/>
                  </a:lnTo>
                  <a:lnTo>
                    <a:pt x="6" y="36"/>
                  </a:lnTo>
                  <a:lnTo>
                    <a:pt x="2" y="30"/>
                  </a:lnTo>
                  <a:lnTo>
                    <a:pt x="0" y="25"/>
                  </a:lnTo>
                  <a:lnTo>
                    <a:pt x="0" y="19"/>
                  </a:lnTo>
                  <a:lnTo>
                    <a:pt x="0" y="13"/>
                  </a:lnTo>
                  <a:lnTo>
                    <a:pt x="0" y="9"/>
                  </a:lnTo>
                  <a:lnTo>
                    <a:pt x="1" y="6"/>
                  </a:lnTo>
                  <a:lnTo>
                    <a:pt x="1" y="5"/>
                  </a:lnTo>
                  <a:lnTo>
                    <a:pt x="11" y="7"/>
                  </a:lnTo>
                  <a:lnTo>
                    <a:pt x="19" y="8"/>
                  </a:lnTo>
                  <a:lnTo>
                    <a:pt x="27" y="7"/>
                  </a:lnTo>
                  <a:lnTo>
                    <a:pt x="36" y="4"/>
                  </a:lnTo>
                  <a:lnTo>
                    <a:pt x="48" y="0"/>
                  </a:lnTo>
                  <a:close/>
                </a:path>
              </a:pathLst>
            </a:custGeom>
            <a:solidFill>
              <a:srgbClr val="680E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96" name="Freeform 680">
              <a:extLst>
                <a:ext uri="{FF2B5EF4-FFF2-40B4-BE49-F238E27FC236}">
                  <a16:creationId xmlns:a16="http://schemas.microsoft.com/office/drawing/2014/main" id="{D0106739-CF98-4A0E-AAE2-5D53C126FB8F}"/>
                </a:ext>
              </a:extLst>
            </p:cNvPr>
            <p:cNvSpPr>
              <a:spLocks/>
            </p:cNvSpPr>
            <p:nvPr/>
          </p:nvSpPr>
          <p:spPr bwMode="auto">
            <a:xfrm>
              <a:off x="5718176" y="1295401"/>
              <a:ext cx="157163" cy="190500"/>
            </a:xfrm>
            <a:custGeom>
              <a:avLst/>
              <a:gdLst>
                <a:gd name="T0" fmla="*/ 66 w 99"/>
                <a:gd name="T1" fmla="*/ 0 h 120"/>
                <a:gd name="T2" fmla="*/ 76 w 99"/>
                <a:gd name="T3" fmla="*/ 6 h 120"/>
                <a:gd name="T4" fmla="*/ 84 w 99"/>
                <a:gd name="T5" fmla="*/ 15 h 120"/>
                <a:gd name="T6" fmla="*/ 89 w 99"/>
                <a:gd name="T7" fmla="*/ 25 h 120"/>
                <a:gd name="T8" fmla="*/ 92 w 99"/>
                <a:gd name="T9" fmla="*/ 37 h 120"/>
                <a:gd name="T10" fmla="*/ 94 w 99"/>
                <a:gd name="T11" fmla="*/ 50 h 120"/>
                <a:gd name="T12" fmla="*/ 96 w 99"/>
                <a:gd name="T13" fmla="*/ 61 h 120"/>
                <a:gd name="T14" fmla="*/ 99 w 99"/>
                <a:gd name="T15" fmla="*/ 120 h 120"/>
                <a:gd name="T16" fmla="*/ 0 w 99"/>
                <a:gd name="T17" fmla="*/ 117 h 120"/>
                <a:gd name="T18" fmla="*/ 13 w 99"/>
                <a:gd name="T19" fmla="*/ 51 h 120"/>
                <a:gd name="T20" fmla="*/ 14 w 99"/>
                <a:gd name="T21" fmla="*/ 43 h 120"/>
                <a:gd name="T22" fmla="*/ 15 w 99"/>
                <a:gd name="T23" fmla="*/ 36 h 120"/>
                <a:gd name="T24" fmla="*/ 19 w 99"/>
                <a:gd name="T25" fmla="*/ 25 h 120"/>
                <a:gd name="T26" fmla="*/ 22 w 99"/>
                <a:gd name="T27" fmla="*/ 15 h 120"/>
                <a:gd name="T28" fmla="*/ 27 w 99"/>
                <a:gd name="T29" fmla="*/ 7 h 120"/>
                <a:gd name="T30" fmla="*/ 34 w 99"/>
                <a:gd name="T31" fmla="*/ 2 h 120"/>
                <a:gd name="T32" fmla="*/ 38 w 99"/>
                <a:gd name="T33" fmla="*/ 4 h 120"/>
                <a:gd name="T34" fmla="*/ 43 w 99"/>
                <a:gd name="T35" fmla="*/ 5 h 120"/>
                <a:gd name="T36" fmla="*/ 48 w 99"/>
                <a:gd name="T37" fmla="*/ 6 h 120"/>
                <a:gd name="T38" fmla="*/ 58 w 99"/>
                <a:gd name="T39" fmla="*/ 4 h 120"/>
                <a:gd name="T40" fmla="*/ 66 w 99"/>
                <a:gd name="T4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9" h="120">
                  <a:moveTo>
                    <a:pt x="66" y="0"/>
                  </a:moveTo>
                  <a:lnTo>
                    <a:pt x="76" y="6"/>
                  </a:lnTo>
                  <a:lnTo>
                    <a:pt x="84" y="15"/>
                  </a:lnTo>
                  <a:lnTo>
                    <a:pt x="89" y="25"/>
                  </a:lnTo>
                  <a:lnTo>
                    <a:pt x="92" y="37"/>
                  </a:lnTo>
                  <a:lnTo>
                    <a:pt x="94" y="50"/>
                  </a:lnTo>
                  <a:lnTo>
                    <a:pt x="96" y="61"/>
                  </a:lnTo>
                  <a:lnTo>
                    <a:pt x="99" y="120"/>
                  </a:lnTo>
                  <a:lnTo>
                    <a:pt x="0" y="117"/>
                  </a:lnTo>
                  <a:lnTo>
                    <a:pt x="13" y="51"/>
                  </a:lnTo>
                  <a:lnTo>
                    <a:pt x="14" y="43"/>
                  </a:lnTo>
                  <a:lnTo>
                    <a:pt x="15" y="36"/>
                  </a:lnTo>
                  <a:lnTo>
                    <a:pt x="19" y="25"/>
                  </a:lnTo>
                  <a:lnTo>
                    <a:pt x="22" y="15"/>
                  </a:lnTo>
                  <a:lnTo>
                    <a:pt x="27" y="7"/>
                  </a:lnTo>
                  <a:lnTo>
                    <a:pt x="34" y="2"/>
                  </a:lnTo>
                  <a:lnTo>
                    <a:pt x="38" y="4"/>
                  </a:lnTo>
                  <a:lnTo>
                    <a:pt x="43" y="5"/>
                  </a:lnTo>
                  <a:lnTo>
                    <a:pt x="48" y="6"/>
                  </a:lnTo>
                  <a:lnTo>
                    <a:pt x="58" y="4"/>
                  </a:lnTo>
                  <a:lnTo>
                    <a:pt x="66" y="0"/>
                  </a:lnTo>
                  <a:close/>
                </a:path>
              </a:pathLst>
            </a:custGeom>
            <a:solidFill>
              <a:srgbClr val="C4D1B4"/>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97" name="Rectangle 681">
              <a:extLst>
                <a:ext uri="{FF2B5EF4-FFF2-40B4-BE49-F238E27FC236}">
                  <a16:creationId xmlns:a16="http://schemas.microsoft.com/office/drawing/2014/main" id="{15C7F26C-4372-40BF-B89B-59F6FEB6ABBE}"/>
                </a:ext>
              </a:extLst>
            </p:cNvPr>
            <p:cNvSpPr>
              <a:spLocks noChangeArrowheads="1"/>
            </p:cNvSpPr>
            <p:nvPr/>
          </p:nvSpPr>
          <p:spPr bwMode="auto">
            <a:xfrm>
              <a:off x="5718176" y="1481139"/>
              <a:ext cx="14288" cy="1588"/>
            </a:xfrm>
            <a:prstGeom prst="rect">
              <a:avLst/>
            </a:prstGeom>
            <a:solidFill>
              <a:srgbClr val="DCECDB"/>
            </a:solidFill>
            <a:ln w="0">
              <a:solidFill>
                <a:schemeClr val="accent1"/>
              </a:solidFill>
              <a:prstDash val="solid"/>
              <a:miter lim="800000"/>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98" name="Freeform 682">
              <a:extLst>
                <a:ext uri="{FF2B5EF4-FFF2-40B4-BE49-F238E27FC236}">
                  <a16:creationId xmlns:a16="http://schemas.microsoft.com/office/drawing/2014/main" id="{1272731F-FB4F-4C67-872D-3B40ABFF2275}"/>
                </a:ext>
              </a:extLst>
            </p:cNvPr>
            <p:cNvSpPr>
              <a:spLocks/>
            </p:cNvSpPr>
            <p:nvPr/>
          </p:nvSpPr>
          <p:spPr bwMode="auto">
            <a:xfrm>
              <a:off x="5732463" y="1481139"/>
              <a:ext cx="14288" cy="1588"/>
            </a:xfrm>
            <a:custGeom>
              <a:avLst/>
              <a:gdLst>
                <a:gd name="T0" fmla="*/ 0 w 9"/>
                <a:gd name="T1" fmla="*/ 0 h 1"/>
                <a:gd name="T2" fmla="*/ 9 w 9"/>
                <a:gd name="T3" fmla="*/ 0 h 1"/>
                <a:gd name="T4" fmla="*/ 9 w 9"/>
                <a:gd name="T5" fmla="*/ 1 h 1"/>
                <a:gd name="T6" fmla="*/ 0 w 9"/>
                <a:gd name="T7" fmla="*/ 0 h 1"/>
                <a:gd name="T8" fmla="*/ 0 w 9"/>
                <a:gd name="T9" fmla="*/ 0 h 1"/>
              </a:gdLst>
              <a:ahLst/>
              <a:cxnLst>
                <a:cxn ang="0">
                  <a:pos x="T0" y="T1"/>
                </a:cxn>
                <a:cxn ang="0">
                  <a:pos x="T2" y="T3"/>
                </a:cxn>
                <a:cxn ang="0">
                  <a:pos x="T4" y="T5"/>
                </a:cxn>
                <a:cxn ang="0">
                  <a:pos x="T6" y="T7"/>
                </a:cxn>
                <a:cxn ang="0">
                  <a:pos x="T8" y="T9"/>
                </a:cxn>
              </a:cxnLst>
              <a:rect l="0" t="0" r="r" b="b"/>
              <a:pathLst>
                <a:path w="9" h="1">
                  <a:moveTo>
                    <a:pt x="0" y="0"/>
                  </a:moveTo>
                  <a:lnTo>
                    <a:pt x="9" y="0"/>
                  </a:lnTo>
                  <a:lnTo>
                    <a:pt x="9" y="1"/>
                  </a:lnTo>
                  <a:lnTo>
                    <a:pt x="0" y="0"/>
                  </a:lnTo>
                  <a:lnTo>
                    <a:pt x="0"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399" name="Freeform 683">
              <a:extLst>
                <a:ext uri="{FF2B5EF4-FFF2-40B4-BE49-F238E27FC236}">
                  <a16:creationId xmlns:a16="http://schemas.microsoft.com/office/drawing/2014/main" id="{30B12DF2-40E5-480E-A1AD-C597E64EA6AE}"/>
                </a:ext>
              </a:extLst>
            </p:cNvPr>
            <p:cNvSpPr>
              <a:spLocks/>
            </p:cNvSpPr>
            <p:nvPr/>
          </p:nvSpPr>
          <p:spPr bwMode="auto">
            <a:xfrm>
              <a:off x="5746751" y="1481139"/>
              <a:ext cx="28575" cy="3175"/>
            </a:xfrm>
            <a:custGeom>
              <a:avLst/>
              <a:gdLst>
                <a:gd name="T0" fmla="*/ 0 w 18"/>
                <a:gd name="T1" fmla="*/ 0 h 2"/>
                <a:gd name="T2" fmla="*/ 18 w 18"/>
                <a:gd name="T3" fmla="*/ 1 h 2"/>
                <a:gd name="T4" fmla="*/ 18 w 18"/>
                <a:gd name="T5" fmla="*/ 2 h 2"/>
                <a:gd name="T6" fmla="*/ 0 w 18"/>
                <a:gd name="T7" fmla="*/ 1 h 2"/>
                <a:gd name="T8" fmla="*/ 0 w 18"/>
                <a:gd name="T9" fmla="*/ 0 h 2"/>
              </a:gdLst>
              <a:ahLst/>
              <a:cxnLst>
                <a:cxn ang="0">
                  <a:pos x="T0" y="T1"/>
                </a:cxn>
                <a:cxn ang="0">
                  <a:pos x="T2" y="T3"/>
                </a:cxn>
                <a:cxn ang="0">
                  <a:pos x="T4" y="T5"/>
                </a:cxn>
                <a:cxn ang="0">
                  <a:pos x="T6" y="T7"/>
                </a:cxn>
                <a:cxn ang="0">
                  <a:pos x="T8" y="T9"/>
                </a:cxn>
              </a:cxnLst>
              <a:rect l="0" t="0" r="r" b="b"/>
              <a:pathLst>
                <a:path w="18" h="2">
                  <a:moveTo>
                    <a:pt x="0" y="0"/>
                  </a:moveTo>
                  <a:lnTo>
                    <a:pt x="18" y="1"/>
                  </a:lnTo>
                  <a:lnTo>
                    <a:pt x="18" y="2"/>
                  </a:lnTo>
                  <a:lnTo>
                    <a:pt x="0" y="1"/>
                  </a:lnTo>
                  <a:lnTo>
                    <a:pt x="0" y="0"/>
                  </a:lnTo>
                  <a:close/>
                </a:path>
              </a:pathLst>
            </a:custGeom>
            <a:solidFill>
              <a:srgbClr val="000000"/>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400" name="Freeform 684">
              <a:extLst>
                <a:ext uri="{FF2B5EF4-FFF2-40B4-BE49-F238E27FC236}">
                  <a16:creationId xmlns:a16="http://schemas.microsoft.com/office/drawing/2014/main" id="{42C5E28D-D2E9-4F26-8CD9-7176CE31E6D7}"/>
                </a:ext>
              </a:extLst>
            </p:cNvPr>
            <p:cNvSpPr>
              <a:spLocks/>
            </p:cNvSpPr>
            <p:nvPr/>
          </p:nvSpPr>
          <p:spPr bwMode="auto">
            <a:xfrm>
              <a:off x="5718176" y="1306514"/>
              <a:ext cx="87313" cy="176213"/>
            </a:xfrm>
            <a:custGeom>
              <a:avLst/>
              <a:gdLst>
                <a:gd name="T0" fmla="*/ 28 w 55"/>
                <a:gd name="T1" fmla="*/ 0 h 111"/>
                <a:gd name="T2" fmla="*/ 36 w 55"/>
                <a:gd name="T3" fmla="*/ 9 h 111"/>
                <a:gd name="T4" fmla="*/ 46 w 55"/>
                <a:gd name="T5" fmla="*/ 17 h 111"/>
                <a:gd name="T6" fmla="*/ 46 w 55"/>
                <a:gd name="T7" fmla="*/ 19 h 111"/>
                <a:gd name="T8" fmla="*/ 47 w 55"/>
                <a:gd name="T9" fmla="*/ 20 h 111"/>
                <a:gd name="T10" fmla="*/ 49 w 55"/>
                <a:gd name="T11" fmla="*/ 28 h 111"/>
                <a:gd name="T12" fmla="*/ 51 w 55"/>
                <a:gd name="T13" fmla="*/ 36 h 111"/>
                <a:gd name="T14" fmla="*/ 54 w 55"/>
                <a:gd name="T15" fmla="*/ 44 h 111"/>
                <a:gd name="T16" fmla="*/ 55 w 55"/>
                <a:gd name="T17" fmla="*/ 58 h 111"/>
                <a:gd name="T18" fmla="*/ 51 w 55"/>
                <a:gd name="T19" fmla="*/ 74 h 111"/>
                <a:gd name="T20" fmla="*/ 45 w 55"/>
                <a:gd name="T21" fmla="*/ 92 h 111"/>
                <a:gd name="T22" fmla="*/ 36 w 55"/>
                <a:gd name="T23" fmla="*/ 111 h 111"/>
                <a:gd name="T24" fmla="*/ 18 w 55"/>
                <a:gd name="T25" fmla="*/ 110 h 111"/>
                <a:gd name="T26" fmla="*/ 9 w 55"/>
                <a:gd name="T27" fmla="*/ 110 h 111"/>
                <a:gd name="T28" fmla="*/ 0 w 55"/>
                <a:gd name="T29" fmla="*/ 110 h 111"/>
                <a:gd name="T30" fmla="*/ 13 w 55"/>
                <a:gd name="T31" fmla="*/ 44 h 111"/>
                <a:gd name="T32" fmla="*/ 14 w 55"/>
                <a:gd name="T33" fmla="*/ 36 h 111"/>
                <a:gd name="T34" fmla="*/ 15 w 55"/>
                <a:gd name="T35" fmla="*/ 29 h 111"/>
                <a:gd name="T36" fmla="*/ 16 w 55"/>
                <a:gd name="T37" fmla="*/ 27 h 111"/>
                <a:gd name="T38" fmla="*/ 19 w 55"/>
                <a:gd name="T39" fmla="*/ 16 h 111"/>
                <a:gd name="T40" fmla="*/ 23 w 55"/>
                <a:gd name="T41" fmla="*/ 7 h 111"/>
                <a:gd name="T42" fmla="*/ 28 w 55"/>
                <a:gd name="T4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111">
                  <a:moveTo>
                    <a:pt x="28" y="0"/>
                  </a:moveTo>
                  <a:lnTo>
                    <a:pt x="36" y="9"/>
                  </a:lnTo>
                  <a:lnTo>
                    <a:pt x="46" y="17"/>
                  </a:lnTo>
                  <a:lnTo>
                    <a:pt x="46" y="19"/>
                  </a:lnTo>
                  <a:lnTo>
                    <a:pt x="47" y="20"/>
                  </a:lnTo>
                  <a:lnTo>
                    <a:pt x="49" y="28"/>
                  </a:lnTo>
                  <a:lnTo>
                    <a:pt x="51" y="36"/>
                  </a:lnTo>
                  <a:lnTo>
                    <a:pt x="54" y="44"/>
                  </a:lnTo>
                  <a:lnTo>
                    <a:pt x="55" y="58"/>
                  </a:lnTo>
                  <a:lnTo>
                    <a:pt x="51" y="74"/>
                  </a:lnTo>
                  <a:lnTo>
                    <a:pt x="45" y="92"/>
                  </a:lnTo>
                  <a:lnTo>
                    <a:pt x="36" y="111"/>
                  </a:lnTo>
                  <a:lnTo>
                    <a:pt x="18" y="110"/>
                  </a:lnTo>
                  <a:lnTo>
                    <a:pt x="9" y="110"/>
                  </a:lnTo>
                  <a:lnTo>
                    <a:pt x="0" y="110"/>
                  </a:lnTo>
                  <a:lnTo>
                    <a:pt x="13" y="44"/>
                  </a:lnTo>
                  <a:lnTo>
                    <a:pt x="14" y="36"/>
                  </a:lnTo>
                  <a:lnTo>
                    <a:pt x="15" y="29"/>
                  </a:lnTo>
                  <a:lnTo>
                    <a:pt x="16" y="27"/>
                  </a:lnTo>
                  <a:lnTo>
                    <a:pt x="19" y="16"/>
                  </a:lnTo>
                  <a:lnTo>
                    <a:pt x="23" y="7"/>
                  </a:lnTo>
                  <a:lnTo>
                    <a:pt x="28" y="0"/>
                  </a:lnTo>
                  <a:close/>
                </a:path>
              </a:pathLst>
            </a:custGeom>
            <a:solidFill>
              <a:srgbClr val="A3BA92"/>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401" name="Freeform 685">
              <a:extLst>
                <a:ext uri="{FF2B5EF4-FFF2-40B4-BE49-F238E27FC236}">
                  <a16:creationId xmlns:a16="http://schemas.microsoft.com/office/drawing/2014/main" id="{B86600C4-F8A0-4EC2-BAD3-DDE692452945}"/>
                </a:ext>
              </a:extLst>
            </p:cNvPr>
            <p:cNvSpPr>
              <a:spLocks/>
            </p:cNvSpPr>
            <p:nvPr/>
          </p:nvSpPr>
          <p:spPr bwMode="auto">
            <a:xfrm>
              <a:off x="5737226" y="1298576"/>
              <a:ext cx="46038" cy="88900"/>
            </a:xfrm>
            <a:custGeom>
              <a:avLst/>
              <a:gdLst>
                <a:gd name="T0" fmla="*/ 22 w 29"/>
                <a:gd name="T1" fmla="*/ 0 h 56"/>
                <a:gd name="T2" fmla="*/ 25 w 29"/>
                <a:gd name="T3" fmla="*/ 2 h 56"/>
                <a:gd name="T4" fmla="*/ 29 w 29"/>
                <a:gd name="T5" fmla="*/ 3 h 56"/>
                <a:gd name="T6" fmla="*/ 24 w 29"/>
                <a:gd name="T7" fmla="*/ 14 h 56"/>
                <a:gd name="T8" fmla="*/ 20 w 29"/>
                <a:gd name="T9" fmla="*/ 23 h 56"/>
                <a:gd name="T10" fmla="*/ 0 w 29"/>
                <a:gd name="T11" fmla="*/ 56 h 56"/>
                <a:gd name="T12" fmla="*/ 1 w 29"/>
                <a:gd name="T13" fmla="*/ 49 h 56"/>
                <a:gd name="T14" fmla="*/ 2 w 29"/>
                <a:gd name="T15" fmla="*/ 41 h 56"/>
                <a:gd name="T16" fmla="*/ 3 w 29"/>
                <a:gd name="T17" fmla="*/ 34 h 56"/>
                <a:gd name="T18" fmla="*/ 7 w 29"/>
                <a:gd name="T19" fmla="*/ 23 h 56"/>
                <a:gd name="T20" fmla="*/ 10 w 29"/>
                <a:gd name="T21" fmla="*/ 13 h 56"/>
                <a:gd name="T22" fmla="*/ 15 w 29"/>
                <a:gd name="T23" fmla="*/ 5 h 56"/>
                <a:gd name="T24" fmla="*/ 22 w 29"/>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56">
                  <a:moveTo>
                    <a:pt x="22" y="0"/>
                  </a:moveTo>
                  <a:lnTo>
                    <a:pt x="25" y="2"/>
                  </a:lnTo>
                  <a:lnTo>
                    <a:pt x="29" y="3"/>
                  </a:lnTo>
                  <a:lnTo>
                    <a:pt x="24" y="14"/>
                  </a:lnTo>
                  <a:lnTo>
                    <a:pt x="20" y="23"/>
                  </a:lnTo>
                  <a:lnTo>
                    <a:pt x="0" y="56"/>
                  </a:lnTo>
                  <a:lnTo>
                    <a:pt x="1" y="49"/>
                  </a:lnTo>
                  <a:lnTo>
                    <a:pt x="2" y="41"/>
                  </a:lnTo>
                  <a:lnTo>
                    <a:pt x="3" y="34"/>
                  </a:lnTo>
                  <a:lnTo>
                    <a:pt x="7" y="23"/>
                  </a:lnTo>
                  <a:lnTo>
                    <a:pt x="10" y="13"/>
                  </a:lnTo>
                  <a:lnTo>
                    <a:pt x="15" y="5"/>
                  </a:lnTo>
                  <a:lnTo>
                    <a:pt x="22" y="0"/>
                  </a:lnTo>
                  <a:close/>
                </a:path>
              </a:pathLst>
            </a:custGeom>
            <a:solidFill>
              <a:srgbClr val="FAF7E1"/>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402" name="Freeform 686">
              <a:extLst>
                <a:ext uri="{FF2B5EF4-FFF2-40B4-BE49-F238E27FC236}">
                  <a16:creationId xmlns:a16="http://schemas.microsoft.com/office/drawing/2014/main" id="{404D143F-96E9-4643-B78A-BCF61DA17274}"/>
                </a:ext>
              </a:extLst>
            </p:cNvPr>
            <p:cNvSpPr>
              <a:spLocks/>
            </p:cNvSpPr>
            <p:nvPr/>
          </p:nvSpPr>
          <p:spPr bwMode="auto">
            <a:xfrm>
              <a:off x="5564188" y="1393826"/>
              <a:ext cx="38100" cy="52388"/>
            </a:xfrm>
            <a:custGeom>
              <a:avLst/>
              <a:gdLst>
                <a:gd name="T0" fmla="*/ 20 w 24"/>
                <a:gd name="T1" fmla="*/ 0 h 33"/>
                <a:gd name="T2" fmla="*/ 23 w 24"/>
                <a:gd name="T3" fmla="*/ 0 h 33"/>
                <a:gd name="T4" fmla="*/ 24 w 24"/>
                <a:gd name="T5" fmla="*/ 0 h 33"/>
                <a:gd name="T6" fmla="*/ 22 w 24"/>
                <a:gd name="T7" fmla="*/ 33 h 33"/>
                <a:gd name="T8" fmla="*/ 21 w 24"/>
                <a:gd name="T9" fmla="*/ 33 h 33"/>
                <a:gd name="T10" fmla="*/ 17 w 24"/>
                <a:gd name="T11" fmla="*/ 33 h 33"/>
                <a:gd name="T12" fmla="*/ 11 w 24"/>
                <a:gd name="T13" fmla="*/ 31 h 33"/>
                <a:gd name="T14" fmla="*/ 6 w 24"/>
                <a:gd name="T15" fmla="*/ 29 h 33"/>
                <a:gd name="T16" fmla="*/ 2 w 24"/>
                <a:gd name="T17" fmla="*/ 23 h 33"/>
                <a:gd name="T18" fmla="*/ 0 w 24"/>
                <a:gd name="T19" fmla="*/ 16 h 33"/>
                <a:gd name="T20" fmla="*/ 2 w 24"/>
                <a:gd name="T21" fmla="*/ 9 h 33"/>
                <a:gd name="T22" fmla="*/ 5 w 24"/>
                <a:gd name="T23" fmla="*/ 4 h 33"/>
                <a:gd name="T24" fmla="*/ 10 w 24"/>
                <a:gd name="T25" fmla="*/ 1 h 33"/>
                <a:gd name="T26" fmla="*/ 15 w 24"/>
                <a:gd name="T27" fmla="*/ 0 h 33"/>
                <a:gd name="T28" fmla="*/ 20 w 24"/>
                <a:gd name="T2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20" y="0"/>
                  </a:moveTo>
                  <a:lnTo>
                    <a:pt x="23" y="0"/>
                  </a:lnTo>
                  <a:lnTo>
                    <a:pt x="24" y="0"/>
                  </a:lnTo>
                  <a:lnTo>
                    <a:pt x="22" y="33"/>
                  </a:lnTo>
                  <a:lnTo>
                    <a:pt x="21" y="33"/>
                  </a:lnTo>
                  <a:lnTo>
                    <a:pt x="17" y="33"/>
                  </a:lnTo>
                  <a:lnTo>
                    <a:pt x="11" y="31"/>
                  </a:lnTo>
                  <a:lnTo>
                    <a:pt x="6" y="29"/>
                  </a:lnTo>
                  <a:lnTo>
                    <a:pt x="2" y="23"/>
                  </a:lnTo>
                  <a:lnTo>
                    <a:pt x="0" y="16"/>
                  </a:lnTo>
                  <a:lnTo>
                    <a:pt x="2" y="9"/>
                  </a:lnTo>
                  <a:lnTo>
                    <a:pt x="5" y="4"/>
                  </a:lnTo>
                  <a:lnTo>
                    <a:pt x="10" y="1"/>
                  </a:lnTo>
                  <a:lnTo>
                    <a:pt x="15" y="0"/>
                  </a:lnTo>
                  <a:lnTo>
                    <a:pt x="20" y="0"/>
                  </a:lnTo>
                  <a:close/>
                </a:path>
              </a:pathLst>
            </a:custGeom>
            <a:solidFill>
              <a:srgbClr val="FFB878"/>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403" name="Freeform 687">
              <a:extLst>
                <a:ext uri="{FF2B5EF4-FFF2-40B4-BE49-F238E27FC236}">
                  <a16:creationId xmlns:a16="http://schemas.microsoft.com/office/drawing/2014/main" id="{A42A196C-82B5-45EB-9BAF-79C5875F7580}"/>
                </a:ext>
              </a:extLst>
            </p:cNvPr>
            <p:cNvSpPr>
              <a:spLocks/>
            </p:cNvSpPr>
            <p:nvPr/>
          </p:nvSpPr>
          <p:spPr bwMode="auto">
            <a:xfrm>
              <a:off x="5599113" y="1314451"/>
              <a:ext cx="220663" cy="131763"/>
            </a:xfrm>
            <a:custGeom>
              <a:avLst/>
              <a:gdLst>
                <a:gd name="T0" fmla="*/ 126 w 139"/>
                <a:gd name="T1" fmla="*/ 0 h 83"/>
                <a:gd name="T2" fmla="*/ 133 w 139"/>
                <a:gd name="T3" fmla="*/ 3 h 83"/>
                <a:gd name="T4" fmla="*/ 138 w 139"/>
                <a:gd name="T5" fmla="*/ 9 h 83"/>
                <a:gd name="T6" fmla="*/ 139 w 139"/>
                <a:gd name="T7" fmla="*/ 15 h 83"/>
                <a:gd name="T8" fmla="*/ 138 w 139"/>
                <a:gd name="T9" fmla="*/ 22 h 83"/>
                <a:gd name="T10" fmla="*/ 135 w 139"/>
                <a:gd name="T11" fmla="*/ 29 h 83"/>
                <a:gd name="T12" fmla="*/ 131 w 139"/>
                <a:gd name="T13" fmla="*/ 36 h 83"/>
                <a:gd name="T14" fmla="*/ 127 w 139"/>
                <a:gd name="T15" fmla="*/ 41 h 83"/>
                <a:gd name="T16" fmla="*/ 123 w 139"/>
                <a:gd name="T17" fmla="*/ 45 h 83"/>
                <a:gd name="T18" fmla="*/ 122 w 139"/>
                <a:gd name="T19" fmla="*/ 47 h 83"/>
                <a:gd name="T20" fmla="*/ 118 w 139"/>
                <a:gd name="T21" fmla="*/ 52 h 83"/>
                <a:gd name="T22" fmla="*/ 112 w 139"/>
                <a:gd name="T23" fmla="*/ 59 h 83"/>
                <a:gd name="T24" fmla="*/ 105 w 139"/>
                <a:gd name="T25" fmla="*/ 67 h 83"/>
                <a:gd name="T26" fmla="*/ 98 w 139"/>
                <a:gd name="T27" fmla="*/ 75 h 83"/>
                <a:gd name="T28" fmla="*/ 90 w 139"/>
                <a:gd name="T29" fmla="*/ 80 h 83"/>
                <a:gd name="T30" fmla="*/ 82 w 139"/>
                <a:gd name="T31" fmla="*/ 83 h 83"/>
                <a:gd name="T32" fmla="*/ 0 w 139"/>
                <a:gd name="T33" fmla="*/ 83 h 83"/>
                <a:gd name="T34" fmla="*/ 2 w 139"/>
                <a:gd name="T35" fmla="*/ 50 h 83"/>
                <a:gd name="T36" fmla="*/ 67 w 139"/>
                <a:gd name="T37" fmla="*/ 51 h 83"/>
                <a:gd name="T38" fmla="*/ 69 w 139"/>
                <a:gd name="T39" fmla="*/ 51 h 83"/>
                <a:gd name="T40" fmla="*/ 71 w 139"/>
                <a:gd name="T41" fmla="*/ 51 h 83"/>
                <a:gd name="T42" fmla="*/ 75 w 139"/>
                <a:gd name="T43" fmla="*/ 51 h 83"/>
                <a:gd name="T44" fmla="*/ 78 w 139"/>
                <a:gd name="T45" fmla="*/ 50 h 83"/>
                <a:gd name="T46" fmla="*/ 81 w 139"/>
                <a:gd name="T47" fmla="*/ 48 h 83"/>
                <a:gd name="T48" fmla="*/ 83 w 139"/>
                <a:gd name="T49" fmla="*/ 46 h 83"/>
                <a:gd name="T50" fmla="*/ 88 w 139"/>
                <a:gd name="T51" fmla="*/ 38 h 83"/>
                <a:gd name="T52" fmla="*/ 95 w 139"/>
                <a:gd name="T53" fmla="*/ 27 h 83"/>
                <a:gd name="T54" fmla="*/ 102 w 139"/>
                <a:gd name="T55" fmla="*/ 17 h 83"/>
                <a:gd name="T56" fmla="*/ 109 w 139"/>
                <a:gd name="T57" fmla="*/ 7 h 83"/>
                <a:gd name="T58" fmla="*/ 117 w 139"/>
                <a:gd name="T59" fmla="*/ 1 h 83"/>
                <a:gd name="T60" fmla="*/ 126 w 139"/>
                <a:gd name="T6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9" h="83">
                  <a:moveTo>
                    <a:pt x="126" y="0"/>
                  </a:moveTo>
                  <a:lnTo>
                    <a:pt x="133" y="3"/>
                  </a:lnTo>
                  <a:lnTo>
                    <a:pt x="138" y="9"/>
                  </a:lnTo>
                  <a:lnTo>
                    <a:pt x="139" y="15"/>
                  </a:lnTo>
                  <a:lnTo>
                    <a:pt x="138" y="22"/>
                  </a:lnTo>
                  <a:lnTo>
                    <a:pt x="135" y="29"/>
                  </a:lnTo>
                  <a:lnTo>
                    <a:pt x="131" y="36"/>
                  </a:lnTo>
                  <a:lnTo>
                    <a:pt x="127" y="41"/>
                  </a:lnTo>
                  <a:lnTo>
                    <a:pt x="123" y="45"/>
                  </a:lnTo>
                  <a:lnTo>
                    <a:pt x="122" y="47"/>
                  </a:lnTo>
                  <a:lnTo>
                    <a:pt x="118" y="52"/>
                  </a:lnTo>
                  <a:lnTo>
                    <a:pt x="112" y="59"/>
                  </a:lnTo>
                  <a:lnTo>
                    <a:pt x="105" y="67"/>
                  </a:lnTo>
                  <a:lnTo>
                    <a:pt x="98" y="75"/>
                  </a:lnTo>
                  <a:lnTo>
                    <a:pt x="90" y="80"/>
                  </a:lnTo>
                  <a:lnTo>
                    <a:pt x="82" y="83"/>
                  </a:lnTo>
                  <a:lnTo>
                    <a:pt x="0" y="83"/>
                  </a:lnTo>
                  <a:lnTo>
                    <a:pt x="2" y="50"/>
                  </a:lnTo>
                  <a:lnTo>
                    <a:pt x="67" y="51"/>
                  </a:lnTo>
                  <a:lnTo>
                    <a:pt x="69" y="51"/>
                  </a:lnTo>
                  <a:lnTo>
                    <a:pt x="71" y="51"/>
                  </a:lnTo>
                  <a:lnTo>
                    <a:pt x="75" y="51"/>
                  </a:lnTo>
                  <a:lnTo>
                    <a:pt x="78" y="50"/>
                  </a:lnTo>
                  <a:lnTo>
                    <a:pt x="81" y="48"/>
                  </a:lnTo>
                  <a:lnTo>
                    <a:pt x="83" y="46"/>
                  </a:lnTo>
                  <a:lnTo>
                    <a:pt x="88" y="38"/>
                  </a:lnTo>
                  <a:lnTo>
                    <a:pt x="95" y="27"/>
                  </a:lnTo>
                  <a:lnTo>
                    <a:pt x="102" y="17"/>
                  </a:lnTo>
                  <a:lnTo>
                    <a:pt x="109" y="7"/>
                  </a:lnTo>
                  <a:lnTo>
                    <a:pt x="117" y="1"/>
                  </a:lnTo>
                  <a:lnTo>
                    <a:pt x="126" y="0"/>
                  </a:lnTo>
                  <a:close/>
                </a:path>
              </a:pathLst>
            </a:custGeom>
            <a:solidFill>
              <a:srgbClr val="EDF0E4"/>
            </a:solidFill>
            <a:ln w="0">
              <a:solidFill>
                <a:schemeClr val="accent1"/>
              </a:solidFill>
              <a:prstDash val="solid"/>
              <a:round/>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404" name="Rectangle 688">
              <a:extLst>
                <a:ext uri="{FF2B5EF4-FFF2-40B4-BE49-F238E27FC236}">
                  <a16:creationId xmlns:a16="http://schemas.microsoft.com/office/drawing/2014/main" id="{AD8A2DA5-8259-4098-AAD9-8BBB21CE6DB4}"/>
                </a:ext>
              </a:extLst>
            </p:cNvPr>
            <p:cNvSpPr>
              <a:spLocks noChangeArrowheads="1"/>
            </p:cNvSpPr>
            <p:nvPr/>
          </p:nvSpPr>
          <p:spPr bwMode="auto">
            <a:xfrm>
              <a:off x="5083176" y="1452564"/>
              <a:ext cx="412750" cy="187325"/>
            </a:xfrm>
            <a:prstGeom prst="rect">
              <a:avLst/>
            </a:prstGeom>
            <a:solidFill>
              <a:srgbClr val="617D7B"/>
            </a:solidFill>
            <a:ln w="0">
              <a:solidFill>
                <a:schemeClr val="accent1"/>
              </a:solidFill>
              <a:prstDash val="solid"/>
              <a:miter lim="800000"/>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405" name="Rectangle 689">
              <a:extLst>
                <a:ext uri="{FF2B5EF4-FFF2-40B4-BE49-F238E27FC236}">
                  <a16:creationId xmlns:a16="http://schemas.microsoft.com/office/drawing/2014/main" id="{17819CFF-037F-487D-BC33-496F9DEBC14F}"/>
                </a:ext>
              </a:extLst>
            </p:cNvPr>
            <p:cNvSpPr>
              <a:spLocks noChangeArrowheads="1"/>
            </p:cNvSpPr>
            <p:nvPr/>
          </p:nvSpPr>
          <p:spPr bwMode="auto">
            <a:xfrm>
              <a:off x="5060951" y="1458914"/>
              <a:ext cx="42863" cy="325438"/>
            </a:xfrm>
            <a:prstGeom prst="rect">
              <a:avLst/>
            </a:prstGeom>
            <a:solidFill>
              <a:srgbClr val="001315"/>
            </a:solidFill>
            <a:ln w="0">
              <a:solidFill>
                <a:schemeClr val="accent1"/>
              </a:solidFill>
              <a:prstDash val="solid"/>
              <a:miter lim="800000"/>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406" name="Rectangle 690">
              <a:extLst>
                <a:ext uri="{FF2B5EF4-FFF2-40B4-BE49-F238E27FC236}">
                  <a16:creationId xmlns:a16="http://schemas.microsoft.com/office/drawing/2014/main" id="{84C1E59A-DBA1-4BFA-8FF8-297A5D019A5F}"/>
                </a:ext>
              </a:extLst>
            </p:cNvPr>
            <p:cNvSpPr>
              <a:spLocks noChangeArrowheads="1"/>
            </p:cNvSpPr>
            <p:nvPr/>
          </p:nvSpPr>
          <p:spPr bwMode="auto">
            <a:xfrm>
              <a:off x="5483226" y="1458914"/>
              <a:ext cx="42863" cy="325438"/>
            </a:xfrm>
            <a:prstGeom prst="rect">
              <a:avLst/>
            </a:prstGeom>
            <a:solidFill>
              <a:srgbClr val="001315"/>
            </a:solidFill>
            <a:ln w="0">
              <a:solidFill>
                <a:schemeClr val="accent1"/>
              </a:solidFill>
              <a:prstDash val="solid"/>
              <a:miter lim="800000"/>
              <a:headEnd/>
              <a:tailEnd/>
            </a:ln>
          </p:spPr>
          <p:txBody>
            <a:bodyPr vert="horz" wrap="square" lIns="91435" tIns="45717" rIns="91435" bIns="45717" numCol="1" anchor="t" anchorCtr="0" compatLnSpc="1">
              <a:prstTxWarp prst="textNoShape">
                <a:avLst/>
              </a:prstTxWarp>
            </a:bodyPr>
            <a:lstStyle/>
            <a:p>
              <a:endParaRPr lang="en-US" sz="1333" dirty="0"/>
            </a:p>
          </p:txBody>
        </p:sp>
        <p:sp>
          <p:nvSpPr>
            <p:cNvPr id="407" name="Rectangle 691">
              <a:extLst>
                <a:ext uri="{FF2B5EF4-FFF2-40B4-BE49-F238E27FC236}">
                  <a16:creationId xmlns:a16="http://schemas.microsoft.com/office/drawing/2014/main" id="{BDE98AF4-0E51-4666-B52B-BA5DC0BEE056}"/>
                </a:ext>
              </a:extLst>
            </p:cNvPr>
            <p:cNvSpPr>
              <a:spLocks noChangeArrowheads="1"/>
            </p:cNvSpPr>
            <p:nvPr/>
          </p:nvSpPr>
          <p:spPr bwMode="auto">
            <a:xfrm>
              <a:off x="4932363" y="1436689"/>
              <a:ext cx="712788" cy="42863"/>
            </a:xfrm>
            <a:prstGeom prst="rect">
              <a:avLst/>
            </a:prstGeom>
            <a:solidFill>
              <a:srgbClr val="001315"/>
            </a:solidFill>
            <a:ln w="0">
              <a:solidFill>
                <a:schemeClr val="accent1"/>
              </a:solidFill>
              <a:prstDash val="solid"/>
              <a:miter lim="800000"/>
              <a:headEnd/>
              <a:tailEnd/>
            </a:ln>
          </p:spPr>
          <p:txBody>
            <a:bodyPr vert="horz" wrap="square" lIns="91435" tIns="45717" rIns="91435" bIns="45717" numCol="1" anchor="t" anchorCtr="0" compatLnSpc="1">
              <a:prstTxWarp prst="textNoShape">
                <a:avLst/>
              </a:prstTxWarp>
            </a:bodyPr>
            <a:lstStyle/>
            <a:p>
              <a:endParaRPr lang="en-US" sz="1333" dirty="0"/>
            </a:p>
          </p:txBody>
        </p:sp>
      </p:grpSp>
      <p:sp>
        <p:nvSpPr>
          <p:cNvPr id="4" name="TextBox 3">
            <a:extLst>
              <a:ext uri="{FF2B5EF4-FFF2-40B4-BE49-F238E27FC236}">
                <a16:creationId xmlns:a16="http://schemas.microsoft.com/office/drawing/2014/main" id="{3F54742C-5D57-45CB-B205-21912DBA7E9D}"/>
              </a:ext>
            </a:extLst>
          </p:cNvPr>
          <p:cNvSpPr txBox="1"/>
          <p:nvPr/>
        </p:nvSpPr>
        <p:spPr>
          <a:xfrm>
            <a:off x="1426865" y="2824511"/>
            <a:ext cx="1730768" cy="615361"/>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333" dirty="0"/>
              <a:t>Process model suggests process parameters</a:t>
            </a:r>
          </a:p>
        </p:txBody>
      </p:sp>
      <p:sp>
        <p:nvSpPr>
          <p:cNvPr id="413" name="TextBox 412">
            <a:extLst>
              <a:ext uri="{FF2B5EF4-FFF2-40B4-BE49-F238E27FC236}">
                <a16:creationId xmlns:a16="http://schemas.microsoft.com/office/drawing/2014/main" id="{49DE5E93-3839-478E-A4FE-FB1673A0C60E}"/>
              </a:ext>
            </a:extLst>
          </p:cNvPr>
          <p:cNvSpPr txBox="1"/>
          <p:nvPr/>
        </p:nvSpPr>
        <p:spPr>
          <a:xfrm>
            <a:off x="7207462" y="2855858"/>
            <a:ext cx="2489732" cy="410241"/>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333" dirty="0"/>
              <a:t>Profit model suggests production mix (grades) to produce</a:t>
            </a:r>
          </a:p>
        </p:txBody>
      </p:sp>
      <p:sp>
        <p:nvSpPr>
          <p:cNvPr id="415" name="TextBox 414">
            <a:extLst>
              <a:ext uri="{FF2B5EF4-FFF2-40B4-BE49-F238E27FC236}">
                <a16:creationId xmlns:a16="http://schemas.microsoft.com/office/drawing/2014/main" id="{9744079E-B7F8-493F-ABAB-F7E9BC557272}"/>
              </a:ext>
            </a:extLst>
          </p:cNvPr>
          <p:cNvSpPr txBox="1"/>
          <p:nvPr/>
        </p:nvSpPr>
        <p:spPr>
          <a:xfrm>
            <a:off x="2986637" y="5735604"/>
            <a:ext cx="1787209" cy="820737"/>
          </a:xfrm>
          <a:prstGeom prst="rect">
            <a:avLst/>
          </a:prstGeom>
        </p:spPr>
        <p:txBody>
          <a:bodyPr vert="horz" wrap="square" lIns="0" tIns="0" rIns="0" bIns="0" rtlCol="0">
            <a:no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333" dirty="0"/>
              <a:t>Control room and field operators use </a:t>
            </a:r>
            <a:r>
              <a:rPr lang="en-US" sz="1333" b="1" dirty="0">
                <a:solidFill>
                  <a:schemeClr val="accent2"/>
                </a:solidFill>
              </a:rPr>
              <a:t>real-time optimized parameters </a:t>
            </a:r>
            <a:r>
              <a:rPr lang="en-US" sz="1333" dirty="0"/>
              <a:t>to run the process</a:t>
            </a:r>
          </a:p>
        </p:txBody>
      </p:sp>
      <p:sp>
        <p:nvSpPr>
          <p:cNvPr id="15" name="TextBox 14">
            <a:extLst>
              <a:ext uri="{FF2B5EF4-FFF2-40B4-BE49-F238E27FC236}">
                <a16:creationId xmlns:a16="http://schemas.microsoft.com/office/drawing/2014/main" id="{64ABBE5F-8643-4991-BB5A-52F216C00051}"/>
              </a:ext>
            </a:extLst>
          </p:cNvPr>
          <p:cNvSpPr txBox="1">
            <a:spLocks/>
          </p:cNvSpPr>
          <p:nvPr/>
        </p:nvSpPr>
        <p:spPr bwMode="gray">
          <a:xfrm>
            <a:off x="299689" y="5476297"/>
            <a:ext cx="2165465" cy="205184"/>
          </a:xfrm>
          <a:prstGeom prst="rect">
            <a:avLst/>
          </a:prstGeom>
        </p:spPr>
        <p:txBody>
          <a:bodyPr vert="horz" wrap="square" lIns="0" tIns="0" rIns="0" bIns="0" rtlCol="0" anchor="ctr" anchorCtr="0">
            <a:noAutofit/>
          </a:bodyPr>
          <a:lstStyle>
            <a:defPPr>
              <a:defRPr lang="en-US"/>
            </a:defPPr>
            <a:lvl1pPr marL="0" lvl="0" indent="0" defTabSz="913041" eaLnBrk="1" hangingPunct="1">
              <a:buClr>
                <a:schemeClr val="tx2"/>
              </a:buClr>
              <a:defRPr sz="1400" b="1" baseline="0">
                <a:solidFill>
                  <a:schemeClr val="tx2"/>
                </a:solidFill>
                <a:latin typeface="+mn-lt"/>
              </a:defRPr>
            </a:lvl1pPr>
            <a:lvl2pPr marL="197503" indent="-195884" defTabSz="913041" eaLnBrk="1" hangingPunct="1">
              <a:buClr>
                <a:schemeClr val="tx2"/>
              </a:buClr>
              <a:buSzPct val="125000"/>
              <a:buFont typeface="Arial" charset="0"/>
              <a:buChar char="▪"/>
              <a:defRPr baseline="0">
                <a:latin typeface="+mn-lt"/>
              </a:defRPr>
            </a:lvl2pPr>
            <a:lvl3pPr marL="466231" indent="-267114" defTabSz="913041" eaLnBrk="1" hangingPunct="1">
              <a:buClr>
                <a:schemeClr val="tx2"/>
              </a:buClr>
              <a:buSzPct val="120000"/>
              <a:buFont typeface="Arial" charset="0"/>
              <a:buChar char="–"/>
              <a:defRPr baseline="0">
                <a:latin typeface="+mn-lt"/>
              </a:defRPr>
            </a:lvl3pPr>
            <a:lvl4pPr marL="626503" indent="-158650" defTabSz="913041" eaLnBrk="1" hangingPunct="1">
              <a:buClr>
                <a:schemeClr val="tx2"/>
              </a:buClr>
              <a:buSzPct val="120000"/>
              <a:buFont typeface="Arial" charset="0"/>
              <a:buChar char="▫"/>
              <a:defRPr baseline="0">
                <a:latin typeface="+mn-lt"/>
              </a:defRPr>
            </a:lvl4pPr>
            <a:lvl5pPr marL="764623" indent="-132747" defTabSz="913041" eaLnBrk="1" hangingPunct="1">
              <a:buClr>
                <a:schemeClr val="tx2"/>
              </a:buClr>
              <a:buSzPct val="89000"/>
              <a:buFont typeface="Arial" charset="0"/>
              <a:buChar char="-"/>
              <a:defRPr baseline="0">
                <a:latin typeface="+mn-lt"/>
              </a:defRPr>
            </a:lvl5pPr>
            <a:lvl6pPr marL="764623" indent="-132747" defTabSz="913041" fontAlgn="base">
              <a:spcBef>
                <a:spcPct val="0"/>
              </a:spcBef>
              <a:spcAft>
                <a:spcPct val="0"/>
              </a:spcAft>
              <a:buClr>
                <a:schemeClr val="tx2"/>
              </a:buClr>
              <a:buSzPct val="89000"/>
              <a:buFont typeface="Arial" charset="0"/>
              <a:buChar char="-"/>
              <a:defRPr baseline="0">
                <a:latin typeface="+mn-lt"/>
              </a:defRPr>
            </a:lvl6pPr>
            <a:lvl7pPr marL="764623" indent="-132747" defTabSz="913041" fontAlgn="base">
              <a:spcBef>
                <a:spcPct val="0"/>
              </a:spcBef>
              <a:spcAft>
                <a:spcPct val="0"/>
              </a:spcAft>
              <a:buClr>
                <a:schemeClr val="tx2"/>
              </a:buClr>
              <a:buSzPct val="89000"/>
              <a:buFont typeface="Arial" charset="0"/>
              <a:buChar char="-"/>
              <a:defRPr baseline="0">
                <a:latin typeface="+mn-lt"/>
              </a:defRPr>
            </a:lvl7pPr>
            <a:lvl8pPr marL="764623" indent="-132747" defTabSz="913041" fontAlgn="base">
              <a:spcBef>
                <a:spcPct val="0"/>
              </a:spcBef>
              <a:spcAft>
                <a:spcPct val="0"/>
              </a:spcAft>
              <a:buClr>
                <a:schemeClr val="tx2"/>
              </a:buClr>
              <a:buSzPct val="89000"/>
              <a:buFont typeface="Arial" charset="0"/>
              <a:buChar char="-"/>
              <a:defRPr baseline="0">
                <a:latin typeface="+mn-lt"/>
              </a:defRPr>
            </a:lvl8pPr>
            <a:lvl9pPr marL="764623" indent="-132747" defTabSz="913041" fontAlgn="base">
              <a:spcBef>
                <a:spcPct val="0"/>
              </a:spcBef>
              <a:spcAft>
                <a:spcPct val="0"/>
              </a:spcAft>
              <a:buClr>
                <a:schemeClr val="tx2"/>
              </a:buClr>
              <a:buSzPct val="89000"/>
              <a:buFont typeface="Arial" charset="0"/>
              <a:buChar char="-"/>
              <a:defRPr baseline="0">
                <a:latin typeface="+mn-lt"/>
              </a:defRPr>
            </a:lvl9pPr>
          </a:lstStyle>
          <a:p>
            <a:r>
              <a:rPr lang="en-US" sz="1333" dirty="0">
                <a:solidFill>
                  <a:schemeClr val="accent2"/>
                </a:solidFill>
              </a:rPr>
              <a:t>Digital Performance mgmt.</a:t>
            </a:r>
          </a:p>
        </p:txBody>
      </p:sp>
      <p:sp>
        <p:nvSpPr>
          <p:cNvPr id="417" name="TextBox 416">
            <a:extLst>
              <a:ext uri="{FF2B5EF4-FFF2-40B4-BE49-F238E27FC236}">
                <a16:creationId xmlns:a16="http://schemas.microsoft.com/office/drawing/2014/main" id="{53016972-FDBF-4273-AF7A-FB682B669367}"/>
              </a:ext>
            </a:extLst>
          </p:cNvPr>
          <p:cNvSpPr txBox="1">
            <a:spLocks/>
          </p:cNvSpPr>
          <p:nvPr/>
        </p:nvSpPr>
        <p:spPr>
          <a:xfrm>
            <a:off x="299689" y="5735604"/>
            <a:ext cx="2165465" cy="615553"/>
          </a:xfrm>
          <a:prstGeom prst="rect">
            <a:avLst/>
          </a:prstGeom>
        </p:spPr>
        <p:txBody>
          <a:bodyPr vert="horz" wrap="square" lIns="0" tIns="0" rIns="0" bIns="0" rtlCol="0">
            <a:no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333" dirty="0"/>
              <a:t>Production teams debrief shift performance on </a:t>
            </a:r>
            <a:r>
              <a:rPr lang="en-US" sz="1333" b="1" dirty="0">
                <a:solidFill>
                  <a:schemeClr val="accent2"/>
                </a:solidFill>
              </a:rPr>
              <a:t>digital whiteboards</a:t>
            </a:r>
          </a:p>
        </p:txBody>
      </p:sp>
      <p:sp>
        <p:nvSpPr>
          <p:cNvPr id="421" name="TextBox 420">
            <a:extLst>
              <a:ext uri="{FF2B5EF4-FFF2-40B4-BE49-F238E27FC236}">
                <a16:creationId xmlns:a16="http://schemas.microsoft.com/office/drawing/2014/main" id="{4BF2DE8D-A773-4321-99BD-D140E354144E}"/>
              </a:ext>
            </a:extLst>
          </p:cNvPr>
          <p:cNvSpPr txBox="1"/>
          <p:nvPr/>
        </p:nvSpPr>
        <p:spPr>
          <a:xfrm>
            <a:off x="9817671" y="5735604"/>
            <a:ext cx="2237596" cy="820737"/>
          </a:xfrm>
          <a:prstGeom prst="rect">
            <a:avLst/>
          </a:prstGeom>
        </p:spPr>
        <p:txBody>
          <a:bodyPr vert="horz" wrap="square" lIns="0" tIns="0" rIns="0" bIns="0" rtlCol="0">
            <a:no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333" dirty="0"/>
              <a:t>Commercial representative makes </a:t>
            </a:r>
            <a:r>
              <a:rPr lang="en-US" sz="1333" b="1" dirty="0">
                <a:solidFill>
                  <a:schemeClr val="accent2"/>
                </a:solidFill>
              </a:rPr>
              <a:t>price / volume simulation </a:t>
            </a:r>
            <a:r>
              <a:rPr lang="en-US" sz="1333" dirty="0"/>
              <a:t>during negotiation</a:t>
            </a:r>
          </a:p>
        </p:txBody>
      </p:sp>
      <p:sp>
        <p:nvSpPr>
          <p:cNvPr id="422" name="TextBox 421">
            <a:extLst>
              <a:ext uri="{FF2B5EF4-FFF2-40B4-BE49-F238E27FC236}">
                <a16:creationId xmlns:a16="http://schemas.microsoft.com/office/drawing/2014/main" id="{5F6FE1E9-E89E-4B99-BF1C-FEBD386478F4}"/>
              </a:ext>
            </a:extLst>
          </p:cNvPr>
          <p:cNvSpPr txBox="1"/>
          <p:nvPr/>
        </p:nvSpPr>
        <p:spPr>
          <a:xfrm>
            <a:off x="7607928" y="5735604"/>
            <a:ext cx="1961569" cy="820737"/>
          </a:xfrm>
          <a:prstGeom prst="rect">
            <a:avLst/>
          </a:prstGeom>
        </p:spPr>
        <p:txBody>
          <a:bodyPr vert="horz" wrap="square" lIns="0" tIns="0" rIns="0" bIns="0" rtlCol="0">
            <a:no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333" dirty="0"/>
              <a:t>Product manager makes </a:t>
            </a:r>
            <a:r>
              <a:rPr lang="en-US" sz="1333" b="1" dirty="0">
                <a:solidFill>
                  <a:schemeClr val="accent2"/>
                </a:solidFill>
              </a:rPr>
              <a:t>volume allocation simulations </a:t>
            </a:r>
            <a:r>
              <a:rPr lang="en-US" sz="1333" dirty="0"/>
              <a:t>to maximize asset utilization</a:t>
            </a:r>
          </a:p>
        </p:txBody>
      </p:sp>
      <p:sp>
        <p:nvSpPr>
          <p:cNvPr id="423" name="TextBox 422">
            <a:extLst>
              <a:ext uri="{FF2B5EF4-FFF2-40B4-BE49-F238E27FC236}">
                <a16:creationId xmlns:a16="http://schemas.microsoft.com/office/drawing/2014/main" id="{DEA65107-7C84-4634-A158-6E9D178BFD44}"/>
              </a:ext>
            </a:extLst>
          </p:cNvPr>
          <p:cNvSpPr txBox="1"/>
          <p:nvPr/>
        </p:nvSpPr>
        <p:spPr>
          <a:xfrm>
            <a:off x="5107850" y="5735604"/>
            <a:ext cx="2163273" cy="820737"/>
          </a:xfrm>
          <a:prstGeom prst="rect">
            <a:avLst/>
          </a:prstGeom>
        </p:spPr>
        <p:txBody>
          <a:bodyPr vert="horz" wrap="square" lIns="0" tIns="0" rIns="0" bIns="0" rtlCol="0">
            <a:no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333" dirty="0"/>
              <a:t>Digital S&amp;OP meeting btwn production, product and planner to </a:t>
            </a:r>
            <a:r>
              <a:rPr lang="en-US" sz="1333" b="1" dirty="0">
                <a:solidFill>
                  <a:schemeClr val="accent2"/>
                </a:solidFill>
              </a:rPr>
              <a:t>test scenarios &amp; validate production mix</a:t>
            </a:r>
          </a:p>
        </p:txBody>
      </p:sp>
      <p:sp>
        <p:nvSpPr>
          <p:cNvPr id="5" name="TextBox 4">
            <a:extLst>
              <a:ext uri="{FF2B5EF4-FFF2-40B4-BE49-F238E27FC236}">
                <a16:creationId xmlns:a16="http://schemas.microsoft.com/office/drawing/2014/main" id="{D67F2900-7BA5-4DBE-A7C4-7884871AA30D}"/>
              </a:ext>
            </a:extLst>
          </p:cNvPr>
          <p:cNvSpPr txBox="1"/>
          <p:nvPr/>
        </p:nvSpPr>
        <p:spPr>
          <a:xfrm>
            <a:off x="97825" y="91381"/>
            <a:ext cx="5853024" cy="219740"/>
          </a:xfrm>
          <a:prstGeom prst="rect">
            <a:avLst/>
          </a:prstGeom>
        </p:spPr>
        <p:txBody>
          <a:bodyPr vert="horz" lIns="0" tIns="0" rIns="0" bIns="0" rtlCol="0">
            <a:spAutoFit/>
          </a:bodyPr>
          <a:lstStyle>
            <a:defPPr>
              <a:defRPr lang="en-US"/>
            </a:defPPr>
            <a:lvl1pPr marL="368300" lvl="0" indent="0" defTabSz="685156" eaLnBrk="1" latinLnBrk="0" hangingPunct="1">
              <a:buClr>
                <a:schemeClr val="tx2"/>
              </a:buClr>
              <a:buSzPct val="100000"/>
              <a:defRPr sz="1071" baseline="0">
                <a:solidFill>
                  <a:schemeClr val="bg1">
                    <a:lumMod val="50000"/>
                  </a:schemeClr>
                </a:solidFill>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428" dirty="0"/>
              <a:t>E2E ANALYTICS BASED NETWORK OPTIMIZATION </a:t>
            </a:r>
          </a:p>
        </p:txBody>
      </p:sp>
      <p:pic>
        <p:nvPicPr>
          <p:cNvPr id="408" name="Content Placeholder 1">
            <a:extLst>
              <a:ext uri="{FF2B5EF4-FFF2-40B4-BE49-F238E27FC236}">
                <a16:creationId xmlns:a16="http://schemas.microsoft.com/office/drawing/2014/main" id="{02C1BAA0-CD49-4B29-878A-01B7A779DEDF}"/>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3267787416"/>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2" hidden="1">
            <a:extLst>
              <a:ext uri="{FF2B5EF4-FFF2-40B4-BE49-F238E27FC236}">
                <a16:creationId xmlns:a16="http://schemas.microsoft.com/office/drawing/2014/main" id="{7A209C5E-B055-42FF-A768-AEDEE7D2C36A}"/>
              </a:ext>
            </a:extLst>
          </p:cNvPr>
          <p:cNvGraphicFramePr>
            <a:graphicFrameLocks noChangeAspect="1"/>
          </p:cNvGraphicFramePr>
          <p:nvPr>
            <p:custDataLst>
              <p:tags r:id="rId2"/>
            </p:custDataLst>
            <p:extLst>
              <p:ext uri="{D42A27DB-BD31-4B8C-83A1-F6EECF244321}">
                <p14:modId xmlns:p14="http://schemas.microsoft.com/office/powerpoint/2010/main" val="1174745927"/>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2234" name="think-cell Slide" r:id="rId4" imgW="473" imgH="473" progId="TCLayout.ActiveDocument.1">
                  <p:embed/>
                </p:oleObj>
              </mc:Choice>
              <mc:Fallback>
                <p:oleObj name="think-cell Slide" r:id="rId4" imgW="473" imgH="473" progId="TCLayout.ActiveDocument.1">
                  <p:embed/>
                  <p:pic>
                    <p:nvPicPr>
                      <p:cNvPr id="15" name="Object 14" hidden="1">
                        <a:extLst>
                          <a:ext uri="{FF2B5EF4-FFF2-40B4-BE49-F238E27FC236}">
                            <a16:creationId xmlns:a16="http://schemas.microsoft.com/office/drawing/2014/main" id="{7A209C5E-B055-42FF-A768-AEDEE7D2C36A}"/>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D9F0DAC0-05AE-49B7-815E-2F08FD2F4A71}"/>
              </a:ext>
            </a:extLst>
          </p:cNvPr>
          <p:cNvSpPr>
            <a:spLocks noGrp="1"/>
          </p:cNvSpPr>
          <p:nvPr>
            <p:ph type="title"/>
          </p:nvPr>
        </p:nvSpPr>
        <p:spPr/>
        <p:txBody>
          <a:bodyPr vert="horz"/>
          <a:lstStyle/>
          <a:p>
            <a:r>
              <a:rPr lang="en-US" dirty="0"/>
              <a:t>BASF targets E2E Supply Chain transparency with Kinaxis</a:t>
            </a:r>
          </a:p>
        </p:txBody>
      </p:sp>
      <p:pic>
        <p:nvPicPr>
          <p:cNvPr id="4" name="Picture 3">
            <a:extLst>
              <a:ext uri="{FF2B5EF4-FFF2-40B4-BE49-F238E27FC236}">
                <a16:creationId xmlns:a16="http://schemas.microsoft.com/office/drawing/2014/main" id="{4D35E6AF-56BC-4B7E-A9B3-2A2D8DDA63E4}"/>
              </a:ext>
            </a:extLst>
          </p:cNvPr>
          <p:cNvPicPr>
            <a:picLocks noChangeAspect="1"/>
          </p:cNvPicPr>
          <p:nvPr/>
        </p:nvPicPr>
        <p:blipFill rotWithShape="1">
          <a:blip r:embed="rId6"/>
          <a:srcRect l="12994" t="33619" r="12994" b="28939"/>
          <a:stretch/>
        </p:blipFill>
        <p:spPr>
          <a:xfrm>
            <a:off x="9629193" y="619144"/>
            <a:ext cx="1657666" cy="838583"/>
          </a:xfrm>
          <a:prstGeom prst="rect">
            <a:avLst/>
          </a:prstGeom>
        </p:spPr>
      </p:pic>
      <p:pic>
        <p:nvPicPr>
          <p:cNvPr id="6" name="Picture 5">
            <a:extLst>
              <a:ext uri="{FF2B5EF4-FFF2-40B4-BE49-F238E27FC236}">
                <a16:creationId xmlns:a16="http://schemas.microsoft.com/office/drawing/2014/main" id="{9D6BFD7E-EBDA-44A4-BA71-C3DF8DDE091F}"/>
              </a:ext>
            </a:extLst>
          </p:cNvPr>
          <p:cNvPicPr>
            <a:picLocks noChangeAspect="1"/>
          </p:cNvPicPr>
          <p:nvPr/>
        </p:nvPicPr>
        <p:blipFill rotWithShape="1">
          <a:blip r:embed="rId7"/>
          <a:srcRect l="4705" t="19689" r="10000" b="26390"/>
          <a:stretch/>
        </p:blipFill>
        <p:spPr>
          <a:xfrm>
            <a:off x="9629193" y="1413706"/>
            <a:ext cx="2114939" cy="889732"/>
          </a:xfrm>
          <a:prstGeom prst="rect">
            <a:avLst/>
          </a:prstGeom>
        </p:spPr>
      </p:pic>
      <p:sp>
        <p:nvSpPr>
          <p:cNvPr id="8" name="TextBox 7">
            <a:extLst>
              <a:ext uri="{FF2B5EF4-FFF2-40B4-BE49-F238E27FC236}">
                <a16:creationId xmlns:a16="http://schemas.microsoft.com/office/drawing/2014/main" id="{D1B89E51-DB3E-4E41-A14A-EB73D3193F11}"/>
              </a:ext>
            </a:extLst>
          </p:cNvPr>
          <p:cNvSpPr txBox="1"/>
          <p:nvPr/>
        </p:nvSpPr>
        <p:spPr>
          <a:xfrm>
            <a:off x="382911" y="1071826"/>
            <a:ext cx="8975579" cy="2011256"/>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pPr marL="380990" indent="-380990">
              <a:buClr>
                <a:schemeClr val="accent2"/>
              </a:buClr>
              <a:buFont typeface="Wingdings" panose="05000000000000000000" pitchFamily="2" charset="2"/>
              <a:buChar char="§"/>
            </a:pPr>
            <a:r>
              <a:rPr lang="en-US" sz="1867" dirty="0"/>
              <a:t>BASF recently piloted Kinaxis RapidResponse</a:t>
            </a:r>
            <a:r>
              <a:rPr lang="en-US" sz="1867" baseline="30000" dirty="0"/>
              <a:t>®</a:t>
            </a:r>
            <a:r>
              <a:rPr lang="en-US" sz="1867" dirty="0"/>
              <a:t>, a leading cloud-based supply chain management solution based on concurrent planning</a:t>
            </a:r>
          </a:p>
          <a:p>
            <a:pPr marL="380990" indent="-380990">
              <a:buClr>
                <a:schemeClr val="accent2"/>
              </a:buClr>
              <a:buFont typeface="Wingdings" panose="05000000000000000000" pitchFamily="2" charset="2"/>
              <a:buChar char="§"/>
            </a:pPr>
            <a:endParaRPr lang="en-US" sz="1867" dirty="0"/>
          </a:p>
          <a:p>
            <a:pPr marL="380990" indent="-380990">
              <a:buClr>
                <a:schemeClr val="accent2"/>
              </a:buClr>
              <a:buFont typeface="Wingdings" panose="05000000000000000000" pitchFamily="2" charset="2"/>
              <a:buChar char="§"/>
            </a:pPr>
            <a:r>
              <a:rPr lang="en-US" sz="1867" dirty="0"/>
              <a:t>RapidResponse uses a single cloud-based planning platform that lets users plan concurrently (via advanced analytics and machine learning) for every part of the supply chain – from sales and operations planning (S&amp;OP) to demand, inventory, supply, capacity</a:t>
            </a:r>
          </a:p>
        </p:txBody>
      </p:sp>
      <p:sp>
        <p:nvSpPr>
          <p:cNvPr id="9" name="Rectangle 8">
            <a:extLst>
              <a:ext uri="{FF2B5EF4-FFF2-40B4-BE49-F238E27FC236}">
                <a16:creationId xmlns:a16="http://schemas.microsoft.com/office/drawing/2014/main" id="{F45D3785-EBA0-48CE-8EF6-83BD4502E05A}"/>
              </a:ext>
            </a:extLst>
          </p:cNvPr>
          <p:cNvSpPr/>
          <p:nvPr/>
        </p:nvSpPr>
        <p:spPr>
          <a:xfrm>
            <a:off x="373196" y="3510846"/>
            <a:ext cx="6875131" cy="2636940"/>
          </a:xfrm>
          <a:prstGeom prst="rect">
            <a:avLst/>
          </a:prstGeom>
        </p:spPr>
        <p:txBody>
          <a:bodyPr wrap="square">
            <a:spAutoFit/>
          </a:bodyPr>
          <a:lstStyle/>
          <a:p>
            <a:r>
              <a:rPr lang="en-US" sz="1867" dirty="0">
                <a:solidFill>
                  <a:schemeClr val="accent6"/>
                </a:solidFill>
              </a:rPr>
              <a:t>Creating a transparent and connected business process is key to our supply chain operations. Kinaxis provides us with the E2E planning platform, reducing planning latency, improving alignment of dependent processes, and fostering transparency between all functional elements of our business</a:t>
            </a:r>
          </a:p>
          <a:p>
            <a:endParaRPr lang="en-US" sz="2400" dirty="0">
              <a:solidFill>
                <a:schemeClr val="accent6"/>
              </a:solidFill>
              <a:latin typeface="myriad-pro"/>
            </a:endParaRPr>
          </a:p>
          <a:p>
            <a:r>
              <a:rPr lang="en-US" sz="2400" dirty="0">
                <a:solidFill>
                  <a:schemeClr val="accent6"/>
                </a:solidFill>
                <a:latin typeface="myriad-pro"/>
              </a:rPr>
              <a:t>- Mr. Jan Brüning, Smart Supply Chain Cluster Lead, BASF</a:t>
            </a:r>
          </a:p>
        </p:txBody>
      </p:sp>
      <p:sp>
        <p:nvSpPr>
          <p:cNvPr id="13" name="5. Source">
            <a:extLst>
              <a:ext uri="{FF2B5EF4-FFF2-40B4-BE49-F238E27FC236}">
                <a16:creationId xmlns:a16="http://schemas.microsoft.com/office/drawing/2014/main" id="{68E0A277-3284-4A28-991B-B6636E140216}"/>
              </a:ext>
            </a:extLst>
          </p:cNvPr>
          <p:cNvSpPr>
            <a:spLocks noChangeArrowheads="1"/>
          </p:cNvSpPr>
          <p:nvPr/>
        </p:nvSpPr>
        <p:spPr bwMode="gray">
          <a:xfrm>
            <a:off x="161988" y="6601867"/>
            <a:ext cx="9795571"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1" indent="-621971" defTabSz="913518">
              <a:tabLst>
                <a:tab pos="643027" algn="l"/>
              </a:tabLst>
            </a:pPr>
            <a:r>
              <a:rPr lang="en-US" sz="1067" dirty="0">
                <a:solidFill>
                  <a:srgbClr val="808080"/>
                </a:solidFill>
                <a:latin typeface="Arial"/>
              </a:rPr>
              <a:t>SOURCE: http://info.kinaxis.com/request-for-demo?campaign=70139000000ee8J&amp;ls=ii</a:t>
            </a:r>
          </a:p>
        </p:txBody>
      </p:sp>
      <p:pic>
        <p:nvPicPr>
          <p:cNvPr id="21" name="Picture 20">
            <a:extLst>
              <a:ext uri="{FF2B5EF4-FFF2-40B4-BE49-F238E27FC236}">
                <a16:creationId xmlns:a16="http://schemas.microsoft.com/office/drawing/2014/main" id="{8B471E8B-A452-4D25-A419-825C418D76C2}"/>
              </a:ext>
            </a:extLst>
          </p:cNvPr>
          <p:cNvPicPr>
            <a:picLocks noChangeAspect="1"/>
          </p:cNvPicPr>
          <p:nvPr/>
        </p:nvPicPr>
        <p:blipFill rotWithShape="1">
          <a:blip r:embed="rId8"/>
          <a:srcRect r="1071"/>
          <a:stretch/>
        </p:blipFill>
        <p:spPr>
          <a:xfrm>
            <a:off x="7574299" y="3636411"/>
            <a:ext cx="4169832" cy="2498339"/>
          </a:xfrm>
          <a:prstGeom prst="rect">
            <a:avLst/>
          </a:prstGeom>
          <a:ln>
            <a:solidFill>
              <a:schemeClr val="accent2"/>
            </a:solidFill>
          </a:ln>
        </p:spPr>
      </p:pic>
      <p:sp>
        <p:nvSpPr>
          <p:cNvPr id="22" name="TextBox 21">
            <a:extLst>
              <a:ext uri="{FF2B5EF4-FFF2-40B4-BE49-F238E27FC236}">
                <a16:creationId xmlns:a16="http://schemas.microsoft.com/office/drawing/2014/main" id="{B5F7438F-76F2-45A8-B898-266595F86547}"/>
              </a:ext>
            </a:extLst>
          </p:cNvPr>
          <p:cNvSpPr txBox="1"/>
          <p:nvPr/>
        </p:nvSpPr>
        <p:spPr>
          <a:xfrm>
            <a:off x="283997" y="3424246"/>
            <a:ext cx="281569" cy="656655"/>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4267" dirty="0">
                <a:solidFill>
                  <a:schemeClr val="accent6"/>
                </a:solidFill>
              </a:rPr>
              <a:t>“</a:t>
            </a:r>
          </a:p>
        </p:txBody>
      </p:sp>
      <p:sp>
        <p:nvSpPr>
          <p:cNvPr id="23" name="TextBox 22">
            <a:extLst>
              <a:ext uri="{FF2B5EF4-FFF2-40B4-BE49-F238E27FC236}">
                <a16:creationId xmlns:a16="http://schemas.microsoft.com/office/drawing/2014/main" id="{42F3778E-343F-4AE3-A151-2F6769B2731E}"/>
              </a:ext>
            </a:extLst>
          </p:cNvPr>
          <p:cNvSpPr txBox="1"/>
          <p:nvPr/>
        </p:nvSpPr>
        <p:spPr>
          <a:xfrm>
            <a:off x="5498549" y="4591153"/>
            <a:ext cx="281569" cy="656655"/>
          </a:xfrm>
          <a:prstGeom prst="rect">
            <a:avLst/>
          </a:prstGeom>
        </p:spPr>
        <p:txBody>
          <a:bodyPr vert="horz" wrap="square"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4267" dirty="0">
                <a:solidFill>
                  <a:schemeClr val="accent6"/>
                </a:solidFill>
              </a:rPr>
              <a:t>”</a:t>
            </a:r>
          </a:p>
        </p:txBody>
      </p:sp>
      <p:sp>
        <p:nvSpPr>
          <p:cNvPr id="12" name="TextBox 11">
            <a:extLst>
              <a:ext uri="{FF2B5EF4-FFF2-40B4-BE49-F238E27FC236}">
                <a16:creationId xmlns:a16="http://schemas.microsoft.com/office/drawing/2014/main" id="{AB260BE7-2269-4E00-A5A0-0CB2DCBE986F}"/>
              </a:ext>
            </a:extLst>
          </p:cNvPr>
          <p:cNvSpPr txBox="1"/>
          <p:nvPr/>
        </p:nvSpPr>
        <p:spPr>
          <a:xfrm>
            <a:off x="376564" y="16039"/>
            <a:ext cx="5853024" cy="219740"/>
          </a:xfrm>
          <a:prstGeom prst="rect">
            <a:avLst/>
          </a:prstGeom>
        </p:spPr>
        <p:txBody>
          <a:bodyPr vert="horz" lIns="0" tIns="0" rIns="0" bIns="0" rtlCol="0">
            <a:spAutoFit/>
          </a:bodyPr>
          <a:lstStyle>
            <a:lvl1pPr marL="0" lvl="0" indent="0" defTabSz="685156" eaLnBrk="1" latinLnBrk="0" hangingPunct="1">
              <a:buClr>
                <a:schemeClr val="tx2"/>
              </a:buClr>
              <a:buSzPct val="100000"/>
              <a:defRPr sz="1071" baseline="0">
                <a:latin typeface="+mn-lt"/>
              </a:defRPr>
            </a:lvl1pPr>
            <a:lvl2pPr marL="148208" lvl="1" indent="-146993" defTabSz="685156" eaLnBrk="1" latinLnBrk="0" hangingPunct="1">
              <a:buClr>
                <a:schemeClr val="accent5"/>
              </a:buClr>
              <a:buSzPct val="125000"/>
              <a:buFont typeface="Arial" charset="0"/>
              <a:buChar char="▪"/>
              <a:defRPr sz="1071" baseline="0">
                <a:latin typeface="+mn-lt"/>
              </a:defRPr>
            </a:lvl2pPr>
            <a:lvl3pPr marL="349867" lvl="2" indent="-200445" defTabSz="685156" eaLnBrk="1" latinLnBrk="0" hangingPunct="1">
              <a:buClr>
                <a:schemeClr val="accent5"/>
              </a:buClr>
              <a:buSzPct val="120000"/>
              <a:buFont typeface="Arial" charset="0"/>
              <a:buChar char="–"/>
              <a:defRPr sz="1071" baseline="0">
                <a:latin typeface="+mn-lt"/>
              </a:defRPr>
            </a:lvl3pPr>
            <a:lvl4pPr marL="470134" lvl="3" indent="-119052" defTabSz="685156" eaLnBrk="1" latinLnBrk="0" hangingPunct="1">
              <a:buClr>
                <a:schemeClr val="accent5"/>
              </a:buClr>
              <a:buSzPct val="120000"/>
              <a:buFont typeface="Arial" charset="0"/>
              <a:buChar char="▫"/>
              <a:defRPr sz="1071" baseline="0">
                <a:latin typeface="+mn-lt"/>
              </a:defRPr>
            </a:lvl4pPr>
            <a:lvl5pPr marL="573782" lvl="4" indent="-99615" defTabSz="685156" eaLnBrk="1" latinLnBrk="0" hangingPunct="1">
              <a:buClr>
                <a:schemeClr val="accent5"/>
              </a:buClr>
              <a:buSzPct val="89000"/>
              <a:buFont typeface="Arial" charset="0"/>
              <a:buChar char="-"/>
              <a:defRPr sz="1071" baseline="0">
                <a:latin typeface="+mn-lt"/>
              </a:defRPr>
            </a:lvl5pPr>
            <a:lvl6pPr marL="573782" indent="-99615" defTabSz="685156" fontAlgn="base">
              <a:spcBef>
                <a:spcPct val="0"/>
              </a:spcBef>
              <a:spcAft>
                <a:spcPct val="0"/>
              </a:spcAft>
              <a:buClr>
                <a:schemeClr val="tx2"/>
              </a:buClr>
              <a:buSzPct val="89000"/>
              <a:buFont typeface="Arial" charset="0"/>
              <a:buChar char="-"/>
              <a:defRPr sz="1224" baseline="0">
                <a:latin typeface="+mn-lt"/>
              </a:defRPr>
            </a:lvl6pPr>
            <a:lvl7pPr marL="573782" indent="-99615" defTabSz="685156" fontAlgn="base">
              <a:spcBef>
                <a:spcPct val="0"/>
              </a:spcBef>
              <a:spcAft>
                <a:spcPct val="0"/>
              </a:spcAft>
              <a:buClr>
                <a:schemeClr val="tx2"/>
              </a:buClr>
              <a:buSzPct val="89000"/>
              <a:buFont typeface="Arial" charset="0"/>
              <a:buChar char="-"/>
              <a:defRPr sz="1224" baseline="0">
                <a:latin typeface="+mn-lt"/>
              </a:defRPr>
            </a:lvl7pPr>
            <a:lvl8pPr marL="573782" indent="-99615" defTabSz="685156" fontAlgn="base">
              <a:spcBef>
                <a:spcPct val="0"/>
              </a:spcBef>
              <a:spcAft>
                <a:spcPct val="0"/>
              </a:spcAft>
              <a:buClr>
                <a:schemeClr val="tx2"/>
              </a:buClr>
              <a:buSzPct val="89000"/>
              <a:buFont typeface="Arial" charset="0"/>
              <a:buChar char="-"/>
              <a:defRPr sz="1224" baseline="0">
                <a:latin typeface="+mn-lt"/>
              </a:defRPr>
            </a:lvl8pPr>
            <a:lvl9pPr marL="573782" indent="-99615" defTabSz="685156" fontAlgn="base">
              <a:spcBef>
                <a:spcPct val="0"/>
              </a:spcBef>
              <a:spcAft>
                <a:spcPct val="0"/>
              </a:spcAft>
              <a:buClr>
                <a:schemeClr val="tx2"/>
              </a:buClr>
              <a:buSzPct val="89000"/>
              <a:buFont typeface="Arial" charset="0"/>
              <a:buChar char="-"/>
              <a:defRPr sz="1224" baseline="0">
                <a:latin typeface="+mn-lt"/>
              </a:defRPr>
            </a:lvl9pPr>
          </a:lstStyle>
          <a:p>
            <a:r>
              <a:rPr lang="en-US" sz="1428" dirty="0">
                <a:solidFill>
                  <a:schemeClr val="bg1">
                    <a:lumMod val="50000"/>
                  </a:schemeClr>
                </a:solidFill>
              </a:rPr>
              <a:t>ADDITIONAL EXTERNAL EXAMPLES</a:t>
            </a:r>
          </a:p>
        </p:txBody>
      </p:sp>
      <p:pic>
        <p:nvPicPr>
          <p:cNvPr id="14" name="Content Placeholder 1">
            <a:extLst>
              <a:ext uri="{FF2B5EF4-FFF2-40B4-BE49-F238E27FC236}">
                <a16:creationId xmlns:a16="http://schemas.microsoft.com/office/drawing/2014/main" id="{435F1CBF-C412-42FD-A8EC-71C3850B984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22689357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861914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3"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731A480-28B5-49FA-8D72-CDE6B30B143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b="1"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33" name="Text Placeholder 2">
            <a:hlinkClick r:id="rId14" action="ppaction://hlinksldjump"/>
            <a:extLst>
              <a:ext uri="{FF2B5EF4-FFF2-40B4-BE49-F238E27FC236}">
                <a16:creationId xmlns:a16="http://schemas.microsoft.com/office/drawing/2014/main" id="{94FEEBEE-E986-468C-AD0D-CC5428A1561D}"/>
              </a:ext>
            </a:extLst>
          </p:cNvPr>
          <p:cNvSpPr>
            <a:spLocks noGrp="1"/>
          </p:cNvSpPr>
          <p:nvPr>
            <p:custDataLst>
              <p:tags r:id="rId7"/>
            </p:custDataLst>
          </p:nvPr>
        </p:nvSpPr>
        <p:spPr bwMode="auto">
          <a:xfrm>
            <a:off x="4978399" y="2817813"/>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dirty="0"/>
              <a:t>Is India the </a:t>
            </a:r>
            <a:r>
              <a:rPr lang="en-US"/>
              <a:t>next destination?</a:t>
            </a:r>
            <a:endParaRPr lang="en-US" dirty="0"/>
          </a:p>
        </p:txBody>
      </p:sp>
      <p:sp>
        <p:nvSpPr>
          <p:cNvPr id="11" name="Text Placeholder 2">
            <a:hlinkClick r:id="rId15" action="ppaction://hlinksldjump"/>
            <a:extLst>
              <a:ext uri="{FF2B5EF4-FFF2-40B4-BE49-F238E27FC236}">
                <a16:creationId xmlns:a16="http://schemas.microsoft.com/office/drawing/2014/main" id="{8BB73715-FCA1-42D3-B6C0-50FBFD036673}"/>
              </a:ext>
            </a:extLst>
          </p:cNvPr>
          <p:cNvSpPr>
            <a:spLocks noGrp="1"/>
          </p:cNvSpPr>
          <p:nvPr>
            <p:custDataLst>
              <p:tags r:id="rId8"/>
            </p:custDataLst>
          </p:nvPr>
        </p:nvSpPr>
        <p:spPr bwMode="auto">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isruption is the name of the game</a:t>
            </a:r>
            <a:endParaRPr lang="en-US" dirty="0"/>
          </a:p>
        </p:txBody>
      </p:sp>
      <p:sp>
        <p:nvSpPr>
          <p:cNvPr id="26" name="Text Placeholder 2">
            <a:extLst>
              <a:ext uri="{FF2B5EF4-FFF2-40B4-BE49-F238E27FC236}">
                <a16:creationId xmlns:a16="http://schemas.microsoft.com/office/drawing/2014/main" id="{D91D7050-EC07-468B-ADEF-8D582D58240D}"/>
              </a:ext>
            </a:extLst>
          </p:cNvPr>
          <p:cNvSpPr>
            <a:spLocks noGrp="1"/>
          </p:cNvSpPr>
          <p:nvPr>
            <p:custDataLst>
              <p:tags r:id="rId9"/>
            </p:custDataLst>
          </p:nvPr>
        </p:nvSpPr>
        <p:spPr bwMode="auto">
          <a:xfrm>
            <a:off x="4978400" y="3632200"/>
            <a:ext cx="6661150" cy="407988"/>
          </a:xfrm>
          <a:prstGeom prst="rect">
            <a:avLst/>
          </a:prstGeom>
          <a:solidFill>
            <a:schemeClr val="accent1"/>
          </a:solidFill>
          <a:ln>
            <a:noFill/>
          </a:ln>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rPr>
              <a:t>Current affairs</a:t>
            </a:r>
            <a:endParaRPr lang="en-US" b="1" dirty="0">
              <a:solidFill>
                <a:schemeClr val="tx2"/>
              </a:solidFill>
            </a:endParaRPr>
          </a:p>
        </p:txBody>
      </p:sp>
      <p:pic>
        <p:nvPicPr>
          <p:cNvPr id="10" name="Content Placeholder 1">
            <a:extLst>
              <a:ext uri="{FF2B5EF4-FFF2-40B4-BE49-F238E27FC236}">
                <a16:creationId xmlns:a16="http://schemas.microsoft.com/office/drawing/2014/main" id="{EE56188D-8270-4FF6-86B1-C3A7C088E490}"/>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178201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501233A8-3F5F-46E0-84E3-E53DB1650CE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2" name="think-cell Slide" r:id="rId30" imgW="592" imgH="595" progId="TCLayout.ActiveDocument.1">
                  <p:embed/>
                </p:oleObj>
              </mc:Choice>
              <mc:Fallback>
                <p:oleObj name="think-cell Slide" r:id="rId30" imgW="592" imgH="595" progId="TCLayout.ActiveDocument.1">
                  <p:embed/>
                  <p:pic>
                    <p:nvPicPr>
                      <p:cNvPr id="6" name="Object 2" hidden="1">
                        <a:extLst>
                          <a:ext uri="{FF2B5EF4-FFF2-40B4-BE49-F238E27FC236}">
                            <a16:creationId xmlns:a16="http://schemas.microsoft.com/office/drawing/2014/main" id="{501233A8-3F5F-46E0-84E3-E53DB1650CEB}"/>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pic>
        <p:nvPicPr>
          <p:cNvPr id="4" name="Rectangle 1">
            <a:extLst>
              <a:ext uri="{FF2B5EF4-FFF2-40B4-BE49-F238E27FC236}">
                <a16:creationId xmlns:a16="http://schemas.microsoft.com/office/drawing/2014/main" id="{C59888FA-37EF-449B-A8CF-1E1B397B8167}"/>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2. Slide Title">
            <a:extLst>
              <a:ext uri="{FF2B5EF4-FFF2-40B4-BE49-F238E27FC236}">
                <a16:creationId xmlns:a16="http://schemas.microsoft.com/office/drawing/2014/main" id="{989E6A52-57AA-4276-A135-47B8BE0E4584}"/>
              </a:ext>
            </a:extLst>
          </p:cNvPr>
          <p:cNvSpPr>
            <a:spLocks noGrp="1"/>
          </p:cNvSpPr>
          <p:nvPr>
            <p:ph type="title"/>
            <p:custDataLst>
              <p:tags r:id="rId3"/>
            </p:custDataLst>
          </p:nvPr>
        </p:nvSpPr>
        <p:spPr/>
        <p:txBody>
          <a:bodyPr vert="horz"/>
          <a:lstStyle/>
          <a:p>
            <a:pPr>
              <a:tabLst>
                <a:tab pos="8162925" algn="l"/>
              </a:tabLst>
            </a:pPr>
            <a:r>
              <a:rPr lang="en-GB" dirty="0"/>
              <a:t>Rates have surged</a:t>
            </a:r>
            <a:endParaRPr lang="de-DE" dirty="0"/>
          </a:p>
        </p:txBody>
      </p:sp>
      <p:sp>
        <p:nvSpPr>
          <p:cNvPr id="66" name="3. Subtitle">
            <a:extLst>
              <a:ext uri="{FF2B5EF4-FFF2-40B4-BE49-F238E27FC236}">
                <a16:creationId xmlns:a16="http://schemas.microsoft.com/office/drawing/2014/main" id="{DEC8E784-3D7A-4395-84E5-B688078DFFBB}"/>
              </a:ext>
            </a:extLst>
          </p:cNvPr>
          <p:cNvSpPr>
            <a:spLocks noGrp="1"/>
          </p:cNvSpPr>
          <p:nvPr>
            <p:ph type="subTitle" idx="1"/>
            <p:custDataLst>
              <p:tags r:id="rId4"/>
            </p:custDataLst>
          </p:nvPr>
        </p:nvSpPr>
        <p:spPr/>
        <p:txBody>
          <a:bodyPr/>
          <a:lstStyle/>
          <a:p>
            <a:r>
              <a:rPr lang="en-US" dirty="0"/>
              <a:t>Rate development by trade lane, USD / FEU</a:t>
            </a:r>
            <a:endParaRPr lang="de-DE" dirty="0"/>
          </a:p>
        </p:txBody>
      </p:sp>
      <p:sp>
        <p:nvSpPr>
          <p:cNvPr id="117" name="Rectangle 1" hidden="1">
            <a:extLst>
              <a:ext uri="{FF2B5EF4-FFF2-40B4-BE49-F238E27FC236}">
                <a16:creationId xmlns:a16="http://schemas.microsoft.com/office/drawing/2014/main" id="{2DD3AE59-AA73-4427-9B95-08D4A43840EB}"/>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sym typeface="+mn-lt"/>
            </a:endParaRPr>
          </a:p>
        </p:txBody>
      </p:sp>
      <p:sp>
        <p:nvSpPr>
          <p:cNvPr id="103" name="5. Source">
            <a:extLst>
              <a:ext uri="{FF2B5EF4-FFF2-40B4-BE49-F238E27FC236}">
                <a16:creationId xmlns:a16="http://schemas.microsoft.com/office/drawing/2014/main" id="{E5013411-E93B-4886-AD39-211752C35589}"/>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SCFI data sourced from SIN Clarksons</a:t>
            </a:r>
          </a:p>
        </p:txBody>
      </p:sp>
      <p:graphicFrame>
        <p:nvGraphicFramePr>
          <p:cNvPr id="35" name="Chart 34">
            <a:extLst>
              <a:ext uri="{FF2B5EF4-FFF2-40B4-BE49-F238E27FC236}">
                <a16:creationId xmlns:a16="http://schemas.microsoft.com/office/drawing/2014/main" id="{98960D8F-7D95-4A47-99ED-F03CC9420112}"/>
              </a:ext>
            </a:extLst>
          </p:cNvPr>
          <p:cNvGraphicFramePr/>
          <p:nvPr>
            <p:custDataLst>
              <p:tags r:id="rId6"/>
            </p:custDataLst>
          </p:nvPr>
        </p:nvGraphicFramePr>
        <p:xfrm>
          <a:off x="1049338" y="1557338"/>
          <a:ext cx="10085387" cy="4119562"/>
        </p:xfrm>
        <a:graphic>
          <a:graphicData uri="http://schemas.openxmlformats.org/drawingml/2006/chart">
            <c:chart xmlns:c="http://schemas.openxmlformats.org/drawingml/2006/chart" xmlns:r="http://schemas.openxmlformats.org/officeDocument/2006/relationships" r:id="rId33"/>
          </a:graphicData>
        </a:graphic>
      </p:graphicFrame>
      <p:sp>
        <p:nvSpPr>
          <p:cNvPr id="605"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650875" y="4514850"/>
            <a:ext cx="3794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B7D99B78-FB27-4F8A-8869-F0409627B72F}" type="datetime'4'''''''''''''''''''''''''',0''0''''''''''''''''''''''''''0'">
              <a:rPr kumimoji="0" lang="de-DE"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sym typeface="+mn-lt"/>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4,000</a:t>
            </a:fld>
            <a:endParaRPr kumimoji="0" lang="de-DE"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261" name="Text Placeholder 2">
            <a:extLst>
              <a:ext uri="{FF2B5EF4-FFF2-40B4-BE49-F238E27FC236}">
                <a16:creationId xmlns:a16="http://schemas.microsoft.com/office/drawing/2014/main" id="{192DB789-515B-4504-BE53-6445F2427687}"/>
              </a:ext>
            </a:extLst>
          </p:cNvPr>
          <p:cNvSpPr>
            <a:spLocks noGrp="1"/>
          </p:cNvSpPr>
          <p:nvPr>
            <p:custDataLst>
              <p:tags r:id="rId8"/>
            </p:custDataLst>
          </p:nvPr>
        </p:nvSpPr>
        <p:spPr bwMode="gray">
          <a:xfrm>
            <a:off x="946150" y="5503863"/>
            <a:ext cx="841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C17BBF6-D56C-4E8C-B57A-55D5D20B5626}" type="datetime'''0'''''''''''''">
              <a:rPr kumimoji="0" lang="de-DE"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sym typeface="+mn-lt"/>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a:t>
            </a:fld>
            <a:endParaRPr kumimoji="0" lang="de-DE"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606" name="Text Placeholder 2">
            <a:extLst>
              <a:ext uri="{FF2B5EF4-FFF2-40B4-BE49-F238E27FC236}">
                <a16:creationId xmlns:a16="http://schemas.microsoft.com/office/drawing/2014/main" id="{192DB789-515B-4504-BE53-6445F2427687}"/>
              </a:ext>
            </a:extLst>
          </p:cNvPr>
          <p:cNvSpPr>
            <a:spLocks noGrp="1"/>
          </p:cNvSpPr>
          <p:nvPr>
            <p:custDataLst>
              <p:tags r:id="rId9"/>
            </p:custDataLst>
          </p:nvPr>
        </p:nvSpPr>
        <p:spPr bwMode="gray">
          <a:xfrm>
            <a:off x="650875" y="3527425"/>
            <a:ext cx="3794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C635853B-3ED3-4FD4-890F-2370C80E4252}" type="datetime'8,''''''''''''''''''''''0''''''''''''''''''''''00'''''''''''''">
              <a:rPr kumimoji="0" lang="de-DE"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sym typeface="+mn-lt"/>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8,000</a:t>
            </a:fld>
            <a:endParaRPr kumimoji="0" lang="de-DE"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607" name="Text Placeholder 2">
            <a:extLst>
              <a:ext uri="{FF2B5EF4-FFF2-40B4-BE49-F238E27FC236}">
                <a16:creationId xmlns:a16="http://schemas.microsoft.com/office/drawing/2014/main" id="{192DB789-515B-4504-BE53-6445F2427687}"/>
              </a:ext>
            </a:extLst>
          </p:cNvPr>
          <p:cNvSpPr>
            <a:spLocks noGrp="1"/>
          </p:cNvSpPr>
          <p:nvPr>
            <p:custDataLst>
              <p:tags r:id="rId10"/>
            </p:custDataLst>
          </p:nvPr>
        </p:nvSpPr>
        <p:spPr bwMode="gray">
          <a:xfrm>
            <a:off x="566738" y="2538413"/>
            <a:ext cx="4635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6227FEEA-5AA9-45E6-9E8F-0BD5978B738B}" type="datetime'''''''1''''2'''''',''''0''''0''0'">
              <a:rPr kumimoji="0" lang="de-DE"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sym typeface="+mn-lt"/>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2,000</a:t>
            </a:fld>
            <a:endParaRPr kumimoji="0" lang="de-DE"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608" name="Text Placeholder 2">
            <a:extLst>
              <a:ext uri="{FF2B5EF4-FFF2-40B4-BE49-F238E27FC236}">
                <a16:creationId xmlns:a16="http://schemas.microsoft.com/office/drawing/2014/main" id="{192DB789-515B-4504-BE53-6445F2427687}"/>
              </a:ext>
            </a:extLst>
          </p:cNvPr>
          <p:cNvSpPr>
            <a:spLocks noGrp="1"/>
          </p:cNvSpPr>
          <p:nvPr>
            <p:custDataLst>
              <p:tags r:id="rId11"/>
            </p:custDataLst>
          </p:nvPr>
        </p:nvSpPr>
        <p:spPr bwMode="gray">
          <a:xfrm>
            <a:off x="566738" y="1549400"/>
            <a:ext cx="4635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A7FDA62D-446F-4B6E-BE32-01D6B4A5DF67}" type="datetime'''''''1''''6'''''''',''0''0''''''''''''0'''''''''''''''">
              <a:rPr kumimoji="0" lang="de-DE"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sym typeface="+mn-lt"/>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6,000</a:t>
            </a:fld>
            <a:endParaRPr kumimoji="0" lang="de-DE"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cxnSp>
        <p:nvCxnSpPr>
          <p:cNvPr id="5" name="Straight Connector 4">
            <a:extLst>
              <a:ext uri="{FF2B5EF4-FFF2-40B4-BE49-F238E27FC236}">
                <a16:creationId xmlns:a16="http://schemas.microsoft.com/office/drawing/2014/main" id="{520F6E9C-B51A-48C2-9F77-F46178C75D52}"/>
              </a:ext>
            </a:extLst>
          </p:cNvPr>
          <p:cNvCxnSpPr/>
          <p:nvPr>
            <p:custDataLst>
              <p:tags r:id="rId12"/>
            </p:custDataLst>
          </p:nvPr>
        </p:nvCxnSpPr>
        <p:spPr bwMode="auto">
          <a:xfrm>
            <a:off x="1131888" y="5102225"/>
            <a:ext cx="1003458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219C1A28-4374-4948-A22E-8AFD8327838F}"/>
              </a:ext>
            </a:extLst>
          </p:cNvPr>
          <p:cNvCxnSpPr/>
          <p:nvPr>
            <p:custDataLst>
              <p:tags r:id="rId13"/>
            </p:custDataLst>
          </p:nvPr>
        </p:nvCxnSpPr>
        <p:spPr bwMode="auto">
          <a:xfrm>
            <a:off x="10509250" y="1868488"/>
            <a:ext cx="6572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E9EFC2A3-523D-4E56-A513-955F17199E95}"/>
              </a:ext>
            </a:extLst>
          </p:cNvPr>
          <p:cNvCxnSpPr>
            <a:cxnSpLocks/>
          </p:cNvCxnSpPr>
          <p:nvPr>
            <p:custDataLst>
              <p:tags r:id="rId14"/>
            </p:custDataLst>
          </p:nvPr>
        </p:nvCxnSpPr>
        <p:spPr bwMode="auto">
          <a:xfrm flipV="1">
            <a:off x="11128375" y="1865313"/>
            <a:ext cx="0" cy="3240088"/>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00" name="Text Placeholder 2">
            <a:extLst>
              <a:ext uri="{FF2B5EF4-FFF2-40B4-BE49-F238E27FC236}">
                <a16:creationId xmlns:a16="http://schemas.microsoft.com/office/drawing/2014/main" id="{192DB789-515B-4504-BE53-6445F2427687}"/>
              </a:ext>
            </a:extLst>
          </p:cNvPr>
          <p:cNvSpPr>
            <a:spLocks noGrp="1"/>
          </p:cNvSpPr>
          <p:nvPr>
            <p:custDataLst>
              <p:tags r:id="rId15"/>
            </p:custDataLst>
          </p:nvPr>
        </p:nvSpPr>
        <p:spPr bwMode="auto">
          <a:xfrm>
            <a:off x="855663" y="5645150"/>
            <a:ext cx="552450"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January </a:t>
            </a:r>
            <a:fld id="{E80322AB-745B-497D-B8B1-BB5F373A621D}" type="datetime'''''''''2''''''''''''0''''1''''9'''">
              <a:rPr kumimoji="0" lang="de-DE"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sym typeface="+mn-lt"/>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9</a:t>
            </a:fld>
            <a:endParaRPr kumimoji="0" lang="de-DE"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76" name="Text Placeholder 2">
            <a:extLst>
              <a:ext uri="{FF2B5EF4-FFF2-40B4-BE49-F238E27FC236}">
                <a16:creationId xmlns:a16="http://schemas.microsoft.com/office/drawing/2014/main" id="{CC09B23B-8BD0-4A3C-A293-7F7FCF982E0D}"/>
              </a:ext>
            </a:extLst>
          </p:cNvPr>
          <p:cNvSpPr>
            <a:spLocks noGrp="1"/>
          </p:cNvSpPr>
          <p:nvPr>
            <p:custDataLst>
              <p:tags r:id="rId16"/>
            </p:custDataLst>
          </p:nvPr>
        </p:nvSpPr>
        <p:spPr bwMode="auto">
          <a:xfrm>
            <a:off x="10153650" y="5645150"/>
            <a:ext cx="7127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ovember </a:t>
            </a:r>
            <a:endParaRPr kumimoji="0" lang="de-DE" sz="1200" b="0" i="0" strike="noStrike" kern="1200" cap="none" spc="0" normalizeH="0" baseline="0" noProof="0" dirty="0">
              <a:ln>
                <a:noFill/>
              </a:ln>
              <a:solidFill>
                <a:srgbClr val="000000"/>
              </a:solidFill>
              <a:effectLst/>
              <a:uLnTx/>
              <a:uFillTx/>
              <a:cs typeface="+mn-cs"/>
              <a:sym typeface="+mn-lt"/>
            </a:endParaRPr>
          </a:p>
        </p:txBody>
      </p:sp>
      <p:sp>
        <p:nvSpPr>
          <p:cNvPr id="39" name="Text Placeholder 2">
            <a:extLst>
              <a:ext uri="{FF2B5EF4-FFF2-40B4-BE49-F238E27FC236}">
                <a16:creationId xmlns:a16="http://schemas.microsoft.com/office/drawing/2014/main" id="{6C3B9E93-5D5E-4C79-AB11-B3227DB77D50}"/>
              </a:ext>
            </a:extLst>
          </p:cNvPr>
          <p:cNvSpPr>
            <a:spLocks noGrp="1"/>
          </p:cNvSpPr>
          <p:nvPr>
            <p:custDataLst>
              <p:tags r:id="rId17"/>
            </p:custDataLst>
          </p:nvPr>
        </p:nvSpPr>
        <p:spPr bwMode="auto">
          <a:xfrm>
            <a:off x="10877550" y="5645150"/>
            <a:ext cx="3492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defRPr/>
            </a:pPr>
            <a:fld id="{562E11A7-327B-42AB-BDB3-1A9366B3C484}" type="datetime'''''''''''''''''''''''''''2''''0''''2''''''''''''1'">
              <a:rPr lang="de-DE" altLang="en-US" sz="1200" smtClean="0">
                <a:solidFill>
                  <a:srgbClr val="000000"/>
                </a:solidFill>
                <a:cs typeface="+mn-cs"/>
              </a:rPr>
              <a:pPr/>
              <a:t>2021</a:t>
            </a:fld>
            <a:endParaRPr kumimoji="0" lang="de-DE" sz="1200" b="0" i="0" strike="noStrike" kern="1200" cap="none" spc="0" normalizeH="0" baseline="0" noProof="0" dirty="0">
              <a:ln>
                <a:noFill/>
              </a:ln>
              <a:solidFill>
                <a:srgbClr val="000000"/>
              </a:solidFill>
              <a:effectLst/>
              <a:uLnTx/>
              <a:uFillTx/>
              <a:cs typeface="+mn-cs"/>
              <a:sym typeface="+mn-lt"/>
            </a:endParaRPr>
          </a:p>
        </p:txBody>
      </p:sp>
      <p:sp>
        <p:nvSpPr>
          <p:cNvPr id="29" name="Text Placeholder 2">
            <a:extLst>
              <a:ext uri="{FF2B5EF4-FFF2-40B4-BE49-F238E27FC236}">
                <a16:creationId xmlns:a16="http://schemas.microsoft.com/office/drawing/2014/main" id="{192DB789-515B-4504-BE53-6445F2427687}"/>
              </a:ext>
            </a:extLst>
          </p:cNvPr>
          <p:cNvSpPr>
            <a:spLocks noGrp="1"/>
          </p:cNvSpPr>
          <p:nvPr>
            <p:custDataLst>
              <p:tags r:id="rId18"/>
            </p:custDataLst>
          </p:nvPr>
        </p:nvSpPr>
        <p:spPr bwMode="auto">
          <a:xfrm>
            <a:off x="10856913" y="3394075"/>
            <a:ext cx="544513" cy="258763"/>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de-DE" alt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7.6x</a:t>
            </a:r>
            <a:endParaRPr kumimoji="0" lang="de-DE"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cxnSp>
        <p:nvCxnSpPr>
          <p:cNvPr id="97" name="Straight Connector 96">
            <a:extLst>
              <a:ext uri="{FF2B5EF4-FFF2-40B4-BE49-F238E27FC236}">
                <a16:creationId xmlns:a16="http://schemas.microsoft.com/office/drawing/2014/main" id="{2846637C-885A-42DA-A4A1-EF0D754F25B8}"/>
              </a:ext>
            </a:extLst>
          </p:cNvPr>
          <p:cNvCxnSpPr/>
          <p:nvPr>
            <p:custDataLst>
              <p:tags r:id="rId19"/>
            </p:custDataLst>
          </p:nvPr>
        </p:nvCxnSpPr>
        <p:spPr bwMode="auto">
          <a:xfrm>
            <a:off x="5126038" y="1658938"/>
            <a:ext cx="139700" cy="0"/>
          </a:xfrm>
          <a:prstGeom prst="line">
            <a:avLst/>
          </a:prstGeom>
          <a:ln w="25400" cap="rnd"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1297F1D-CD4D-4C44-B7AA-711C7AB7FE50}"/>
              </a:ext>
            </a:extLst>
          </p:cNvPr>
          <p:cNvCxnSpPr/>
          <p:nvPr>
            <p:custDataLst>
              <p:tags r:id="rId20"/>
            </p:custDataLst>
          </p:nvPr>
        </p:nvCxnSpPr>
        <p:spPr bwMode="gray">
          <a:xfrm>
            <a:off x="7013575" y="1658938"/>
            <a:ext cx="139700" cy="0"/>
          </a:xfrm>
          <a:prstGeom prst="line">
            <a:avLst/>
          </a:prstGeom>
          <a:ln w="25400" cap="rnd" cmpd="sng" algn="ctr">
            <a:solidFill>
              <a:schemeClr val="accen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1B2E195-E3DE-4A85-BE0B-A6D6C0AF2C3B}"/>
              </a:ext>
            </a:extLst>
          </p:cNvPr>
          <p:cNvCxnSpPr/>
          <p:nvPr>
            <p:custDataLst>
              <p:tags r:id="rId21"/>
            </p:custDataLst>
          </p:nvPr>
        </p:nvCxnSpPr>
        <p:spPr bwMode="gray">
          <a:xfrm>
            <a:off x="9258300" y="1658938"/>
            <a:ext cx="139700" cy="0"/>
          </a:xfrm>
          <a:prstGeom prst="line">
            <a:avLst/>
          </a:prstGeom>
          <a:ln w="25400" cap="rnd" cmpd="sng" algn="ctr">
            <a:solidFill>
              <a:schemeClr val="accent3"/>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99" name="Text Placeholder 2">
            <a:extLst>
              <a:ext uri="{FF2B5EF4-FFF2-40B4-BE49-F238E27FC236}">
                <a16:creationId xmlns:a16="http://schemas.microsoft.com/office/drawing/2014/main" id="{571D4F9E-93EA-4E46-8CC4-3FB8978C42D4}"/>
              </a:ext>
            </a:extLst>
          </p:cNvPr>
          <p:cNvSpPr>
            <a:spLocks noGrp="1"/>
          </p:cNvSpPr>
          <p:nvPr>
            <p:custDataLst>
              <p:tags r:id="rId22"/>
            </p:custDataLst>
          </p:nvPr>
        </p:nvSpPr>
        <p:spPr bwMode="auto">
          <a:xfrm>
            <a:off x="7216775" y="1574800"/>
            <a:ext cx="19272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C36BE4FD-F004-4BF3-A6B1-454206115927}" type="datetime'S''C''''FI ''Shan''gha''''''i''-W''C ''''A''me''ric''''''''a'">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SCFI Shanghai-WC America</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98" name="Text Placeholder 2">
            <a:extLst>
              <a:ext uri="{FF2B5EF4-FFF2-40B4-BE49-F238E27FC236}">
                <a16:creationId xmlns:a16="http://schemas.microsoft.com/office/drawing/2014/main" id="{76F7CE0D-B36A-4504-B737-62D22DD4C875}"/>
              </a:ext>
            </a:extLst>
          </p:cNvPr>
          <p:cNvSpPr>
            <a:spLocks noGrp="1"/>
          </p:cNvSpPr>
          <p:nvPr>
            <p:custDataLst>
              <p:tags r:id="rId23"/>
            </p:custDataLst>
          </p:nvPr>
        </p:nvSpPr>
        <p:spPr bwMode="auto">
          <a:xfrm>
            <a:off x="5329238" y="1574800"/>
            <a:ext cx="15700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90BE79A-E768-45AD-9B11-8ACF3086BB2D}" type="datetime'''''SC''FI ''''''''S''h''''''''a''ng''ha''i-E''ur''op''e'">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SCFI Shanghai-Europe</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260" name="Text Placeholder 2">
            <a:extLst>
              <a:ext uri="{FF2B5EF4-FFF2-40B4-BE49-F238E27FC236}">
                <a16:creationId xmlns:a16="http://schemas.microsoft.com/office/drawing/2014/main" id="{98F4AECE-FB4C-42A5-86AF-019D588B161B}"/>
              </a:ext>
            </a:extLst>
          </p:cNvPr>
          <p:cNvSpPr>
            <a:spLocks noGrp="1"/>
          </p:cNvSpPr>
          <p:nvPr>
            <p:custDataLst>
              <p:tags r:id="rId24"/>
            </p:custDataLst>
          </p:nvPr>
        </p:nvSpPr>
        <p:spPr bwMode="auto">
          <a:xfrm>
            <a:off x="9461500" y="1574800"/>
            <a:ext cx="18843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026F7235-44CC-486E-8C60-2F96AFD883EC}" type="datetime'S''''CFI Sha''''n''g''ha''i''-E''''''C'' A''m''''er''ica'">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SCFI Shanghai-EC America</a:t>
            </a:fld>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cxnSp>
        <p:nvCxnSpPr>
          <p:cNvPr id="101" name="Straight Connector 100">
            <a:extLst>
              <a:ext uri="{FF2B5EF4-FFF2-40B4-BE49-F238E27FC236}">
                <a16:creationId xmlns:a16="http://schemas.microsoft.com/office/drawing/2014/main" id="{4E05FEAE-24AC-4CC6-B6C0-505AC7FE9B17}"/>
              </a:ext>
            </a:extLst>
          </p:cNvPr>
          <p:cNvCxnSpPr>
            <a:cxnSpLocks/>
          </p:cNvCxnSpPr>
          <p:nvPr/>
        </p:nvCxnSpPr>
        <p:spPr>
          <a:xfrm>
            <a:off x="3388043" y="6118940"/>
            <a:ext cx="1920240"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D64D034D-7A7E-4AE6-8443-4D93CDA483A4}"/>
              </a:ext>
            </a:extLst>
          </p:cNvPr>
          <p:cNvCxnSpPr>
            <a:cxnSpLocks/>
          </p:cNvCxnSpPr>
          <p:nvPr/>
        </p:nvCxnSpPr>
        <p:spPr>
          <a:xfrm>
            <a:off x="5726114" y="6118940"/>
            <a:ext cx="1920240"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Rectangle 1" hidden="1">
            <a:extLst>
              <a:ext uri="{FF2B5EF4-FFF2-40B4-BE49-F238E27FC236}">
                <a16:creationId xmlns:a16="http://schemas.microsoft.com/office/drawing/2014/main" id="{F888A767-53CF-488E-B9EB-6B25CEAAEF7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200" b="0" i="0" u="none" strike="noStrike" kern="1200" cap="none" spc="0" normalizeH="0" baseline="0" noProof="0" dirty="0">
              <a:ln>
                <a:noFill/>
              </a:ln>
              <a:solidFill>
                <a:srgbClr val="FFFFFF"/>
              </a:solidFill>
              <a:effectLst/>
              <a:uLnTx/>
              <a:uFillTx/>
              <a:latin typeface="Arial"/>
              <a:ea typeface="+mn-ea"/>
              <a:cs typeface="+mn-cs"/>
              <a:sym typeface="+mn-lt"/>
            </a:endParaRPr>
          </a:p>
        </p:txBody>
      </p:sp>
      <p:sp>
        <p:nvSpPr>
          <p:cNvPr id="27" name="SlideLogoText">
            <a:extLst>
              <a:ext uri="{FF2B5EF4-FFF2-40B4-BE49-F238E27FC236}">
                <a16:creationId xmlns:a16="http://schemas.microsoft.com/office/drawing/2014/main" id="{AE8ABAAC-95D6-45C4-AC60-973AF76E2806}"/>
              </a:ext>
            </a:extLst>
          </p:cNvPr>
          <p:cNvSpPr txBox="1"/>
          <p:nvPr>
            <p:custDataLst>
              <p:tags r:id="rId25"/>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28" name="Slide Number">
            <a:extLst>
              <a:ext uri="{FF2B5EF4-FFF2-40B4-BE49-F238E27FC236}">
                <a16:creationId xmlns:a16="http://schemas.microsoft.com/office/drawing/2014/main" id="{C28910E7-EAE6-4E17-89FB-28733E99A5B7}"/>
              </a:ext>
            </a:extLst>
          </p:cNvPr>
          <p:cNvSpPr>
            <a:spLocks noChangeArrowheads="1"/>
          </p:cNvSpPr>
          <p:nvPr>
            <p:custDataLst>
              <p:tags r:id="rId2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19</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6" name="4. Footnote">
            <a:extLst>
              <a:ext uri="{FF2B5EF4-FFF2-40B4-BE49-F238E27FC236}">
                <a16:creationId xmlns:a16="http://schemas.microsoft.com/office/drawing/2014/main" id="{3ACEFA0F-5DA2-4B6A-9E30-A9A4524CF9C2}"/>
              </a:ext>
            </a:extLst>
          </p:cNvPr>
          <p:cNvSpPr txBox="1"/>
          <p:nvPr>
            <p:custDataLst>
              <p:tags r:id="rId27"/>
            </p:custDataLst>
          </p:nvPr>
        </p:nvSpPr>
        <p:spPr>
          <a:xfrm>
            <a:off x="553972" y="6279028"/>
            <a:ext cx="7278624" cy="123111"/>
          </a:xfrm>
          <a:prstGeom prst="rect">
            <a:avLst/>
          </a:prstGeom>
          <a:noFill/>
        </p:spPr>
        <p:txBody>
          <a:bodyPr wrap="square" lIns="0" tIns="0" rIns="0" bIns="0" rtlCol="0" anchor="b">
            <a:spAutoFit/>
          </a:body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	Additional surcharges putting it more than quoted prices</a:t>
            </a:r>
          </a:p>
        </p:txBody>
      </p:sp>
      <p:pic>
        <p:nvPicPr>
          <p:cNvPr id="33" name="Content Placeholder 1">
            <a:extLst>
              <a:ext uri="{FF2B5EF4-FFF2-40B4-BE49-F238E27FC236}">
                <a16:creationId xmlns:a16="http://schemas.microsoft.com/office/drawing/2014/main" id="{96E44383-A72F-4AB9-B91D-433DBBC04B7A}"/>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39026044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 hidden="1">
            <a:extLst>
              <a:ext uri="{FF2B5EF4-FFF2-40B4-BE49-F238E27FC236}">
                <a16:creationId xmlns:a16="http://schemas.microsoft.com/office/drawing/2014/main" id="{B5470BE9-AD07-4555-9C89-668FAD5EFF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8" name="think-cell Slide" r:id="rId6" imgW="395" imgH="396" progId="TCLayout.ActiveDocument.1">
                  <p:embed/>
                </p:oleObj>
              </mc:Choice>
              <mc:Fallback>
                <p:oleObj name="think-cell Slide" r:id="rId6" imgW="395" imgH="396" progId="TCLayout.ActiveDocument.1">
                  <p:embed/>
                  <p:pic>
                    <p:nvPicPr>
                      <p:cNvPr id="19" name="Object 18" hidden="1">
                        <a:extLst>
                          <a:ext uri="{FF2B5EF4-FFF2-40B4-BE49-F238E27FC236}">
                            <a16:creationId xmlns:a16="http://schemas.microsoft.com/office/drawing/2014/main" id="{B5470BE9-AD07-4555-9C89-668FAD5EFF4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233DAAA2-0C35-48EC-A4AB-04EEC37F1DC1}"/>
              </a:ext>
            </a:extLst>
          </p:cNvPr>
          <p:cNvSpPr txBox="1"/>
          <p:nvPr/>
        </p:nvSpPr>
        <p:spPr>
          <a:xfrm>
            <a:off x="387820" y="3105013"/>
            <a:ext cx="4104667" cy="295465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200" b="1" dirty="0">
                <a:latin typeface="+mj-lt"/>
              </a:rPr>
              <a:t>Did we learn </a:t>
            </a:r>
            <a:br>
              <a:rPr lang="en-US" sz="3200" b="1" dirty="0">
                <a:latin typeface="+mj-lt"/>
              </a:rPr>
            </a:br>
            <a:r>
              <a:rPr lang="en-US" sz="3200" b="1" dirty="0">
                <a:latin typeface="+mj-lt"/>
              </a:rPr>
              <a:t>anything from the </a:t>
            </a:r>
            <a:r>
              <a:rPr lang="en-US" sz="3200" b="1" dirty="0">
                <a:solidFill>
                  <a:schemeClr val="accent3"/>
                </a:solidFill>
                <a:latin typeface="+mj-lt"/>
              </a:rPr>
              <a:t>global disruptions</a:t>
            </a:r>
            <a:r>
              <a:rPr lang="en-US" sz="3200" b="1" dirty="0">
                <a:solidFill>
                  <a:schemeClr val="accent2"/>
                </a:solidFill>
                <a:latin typeface="+mj-lt"/>
              </a:rPr>
              <a:t> </a:t>
            </a:r>
            <a:r>
              <a:rPr lang="en-US" sz="3200" b="1" dirty="0">
                <a:latin typeface="+mj-lt"/>
              </a:rPr>
              <a:t>and </a:t>
            </a:r>
            <a:r>
              <a:rPr lang="en-US" sz="3200" b="1" dirty="0">
                <a:solidFill>
                  <a:schemeClr val="accent3"/>
                </a:solidFill>
                <a:latin typeface="+mj-lt"/>
              </a:rPr>
              <a:t>climate change </a:t>
            </a:r>
            <a:r>
              <a:rPr lang="en-US" sz="3200" b="1" dirty="0">
                <a:latin typeface="+mj-lt"/>
              </a:rPr>
              <a:t>impact </a:t>
            </a:r>
            <a:r>
              <a:rPr lang="en-US" sz="3200" b="1" dirty="0">
                <a:solidFill>
                  <a:schemeClr val="accent1"/>
                </a:solidFill>
                <a:latin typeface="+mj-lt"/>
              </a:rPr>
              <a:t>over the </a:t>
            </a:r>
            <a:r>
              <a:rPr lang="en-US" sz="3200" b="1" dirty="0">
                <a:latin typeface="+mj-lt"/>
              </a:rPr>
              <a:t>last year?</a:t>
            </a:r>
          </a:p>
        </p:txBody>
      </p:sp>
      <p:grpSp>
        <p:nvGrpSpPr>
          <p:cNvPr id="4" name="Group 3">
            <a:extLst>
              <a:ext uri="{FF2B5EF4-FFF2-40B4-BE49-F238E27FC236}">
                <a16:creationId xmlns:a16="http://schemas.microsoft.com/office/drawing/2014/main" id="{118EE74E-9223-4095-ACEC-D9A5A1BF01B3}"/>
              </a:ext>
            </a:extLst>
          </p:cNvPr>
          <p:cNvGrpSpPr/>
          <p:nvPr/>
        </p:nvGrpSpPr>
        <p:grpSpPr>
          <a:xfrm>
            <a:off x="5114809" y="497403"/>
            <a:ext cx="6511809" cy="5748788"/>
            <a:chOff x="5114809" y="497403"/>
            <a:chExt cx="6511809" cy="5748788"/>
          </a:xfrm>
        </p:grpSpPr>
        <p:grpSp>
          <p:nvGrpSpPr>
            <p:cNvPr id="38" name="Group 37">
              <a:extLst>
                <a:ext uri="{FF2B5EF4-FFF2-40B4-BE49-F238E27FC236}">
                  <a16:creationId xmlns:a16="http://schemas.microsoft.com/office/drawing/2014/main" id="{02A86D3A-A32E-4424-B921-0CC1154721A1}"/>
                </a:ext>
              </a:extLst>
            </p:cNvPr>
            <p:cNvGrpSpPr/>
            <p:nvPr/>
          </p:nvGrpSpPr>
          <p:grpSpPr>
            <a:xfrm>
              <a:off x="5114809" y="3982629"/>
              <a:ext cx="3213934" cy="1275476"/>
              <a:chOff x="7848948" y="4348561"/>
              <a:chExt cx="3789078" cy="1503727"/>
            </a:xfrm>
          </p:grpSpPr>
          <p:sp>
            <p:nvSpPr>
              <p:cNvPr id="39" name="Rectangle 38">
                <a:extLst>
                  <a:ext uri="{FF2B5EF4-FFF2-40B4-BE49-F238E27FC236}">
                    <a16:creationId xmlns:a16="http://schemas.microsoft.com/office/drawing/2014/main" id="{F0570EA0-BC6B-4C7F-9567-C616B0EFA8D1}"/>
                  </a:ext>
                </a:extLst>
              </p:cNvPr>
              <p:cNvSpPr/>
              <p:nvPr/>
            </p:nvSpPr>
            <p:spPr>
              <a:xfrm>
                <a:off x="7848948" y="4348561"/>
                <a:ext cx="3789078" cy="1503727"/>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Picture 20">
                <a:extLst>
                  <a:ext uri="{FF2B5EF4-FFF2-40B4-BE49-F238E27FC236}">
                    <a16:creationId xmlns:a16="http://schemas.microsoft.com/office/drawing/2014/main" id="{9D393685-4AB5-4179-9AC0-16AD869FAAFB}"/>
                  </a:ext>
                </a:extLst>
              </p:cNvPr>
              <p:cNvPicPr>
                <a:picLocks noChangeAspect="1"/>
              </p:cNvPicPr>
              <p:nvPr/>
            </p:nvPicPr>
            <p:blipFill>
              <a:blip r:embed="rId8"/>
              <a:stretch>
                <a:fillRect/>
              </a:stretch>
            </p:blipFill>
            <p:spPr>
              <a:xfrm>
                <a:off x="7942820" y="4379051"/>
                <a:ext cx="3484277" cy="1410303"/>
              </a:xfrm>
              <a:prstGeom prst="rect">
                <a:avLst/>
              </a:prstGeom>
            </p:spPr>
          </p:pic>
        </p:grpSp>
        <p:grpSp>
          <p:nvGrpSpPr>
            <p:cNvPr id="35" name="Group 34">
              <a:extLst>
                <a:ext uri="{FF2B5EF4-FFF2-40B4-BE49-F238E27FC236}">
                  <a16:creationId xmlns:a16="http://schemas.microsoft.com/office/drawing/2014/main" id="{0BF2C653-4D1D-4BD6-86A2-288A38B12883}"/>
                </a:ext>
              </a:extLst>
            </p:cNvPr>
            <p:cNvGrpSpPr/>
            <p:nvPr/>
          </p:nvGrpSpPr>
          <p:grpSpPr>
            <a:xfrm>
              <a:off x="5114809" y="1431326"/>
              <a:ext cx="3213934" cy="2389416"/>
              <a:chOff x="244697" y="3094558"/>
              <a:chExt cx="3976783" cy="2956560"/>
            </a:xfrm>
          </p:grpSpPr>
          <p:sp>
            <p:nvSpPr>
              <p:cNvPr id="2" name="Rectangle 1">
                <a:extLst>
                  <a:ext uri="{FF2B5EF4-FFF2-40B4-BE49-F238E27FC236}">
                    <a16:creationId xmlns:a16="http://schemas.microsoft.com/office/drawing/2014/main" id="{A56E36CB-591A-4164-8E52-639121F01882}"/>
                  </a:ext>
                </a:extLst>
              </p:cNvPr>
              <p:cNvSpPr/>
              <p:nvPr/>
            </p:nvSpPr>
            <p:spPr>
              <a:xfrm>
                <a:off x="244697" y="3094558"/>
                <a:ext cx="3976783" cy="295656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 name="Picture 8">
                <a:extLst>
                  <a:ext uri="{FF2B5EF4-FFF2-40B4-BE49-F238E27FC236}">
                    <a16:creationId xmlns:a16="http://schemas.microsoft.com/office/drawing/2014/main" id="{ABF7CDC5-0B25-4227-ACF0-FF9738A364D9}"/>
                  </a:ext>
                </a:extLst>
              </p:cNvPr>
              <p:cNvPicPr>
                <a:picLocks noChangeAspect="1"/>
              </p:cNvPicPr>
              <p:nvPr/>
            </p:nvPicPr>
            <p:blipFill rotWithShape="1">
              <a:blip r:embed="rId9"/>
              <a:srcRect r="3586"/>
              <a:stretch/>
            </p:blipFill>
            <p:spPr>
              <a:xfrm>
                <a:off x="276294" y="3198103"/>
                <a:ext cx="3809832" cy="947286"/>
              </a:xfrm>
              <a:prstGeom prst="rect">
                <a:avLst/>
              </a:prstGeom>
            </p:spPr>
          </p:pic>
          <p:pic>
            <p:nvPicPr>
              <p:cNvPr id="11" name="Picture 10">
                <a:extLst>
                  <a:ext uri="{FF2B5EF4-FFF2-40B4-BE49-F238E27FC236}">
                    <a16:creationId xmlns:a16="http://schemas.microsoft.com/office/drawing/2014/main" id="{7EC38C1B-5581-4535-B4CB-C5D8395CE83C}"/>
                  </a:ext>
                </a:extLst>
              </p:cNvPr>
              <p:cNvPicPr>
                <a:picLocks noChangeAspect="1"/>
              </p:cNvPicPr>
              <p:nvPr/>
            </p:nvPicPr>
            <p:blipFill>
              <a:blip r:embed="rId10"/>
              <a:stretch>
                <a:fillRect/>
              </a:stretch>
            </p:blipFill>
            <p:spPr>
              <a:xfrm>
                <a:off x="352493" y="4221249"/>
                <a:ext cx="3746498" cy="1699059"/>
              </a:xfrm>
              <a:prstGeom prst="rect">
                <a:avLst/>
              </a:prstGeom>
              <a:ln>
                <a:solidFill>
                  <a:srgbClr val="D0D0D0"/>
                </a:solidFill>
              </a:ln>
            </p:spPr>
          </p:pic>
        </p:grpSp>
        <p:grpSp>
          <p:nvGrpSpPr>
            <p:cNvPr id="34" name="Group 33">
              <a:extLst>
                <a:ext uri="{FF2B5EF4-FFF2-40B4-BE49-F238E27FC236}">
                  <a16:creationId xmlns:a16="http://schemas.microsoft.com/office/drawing/2014/main" id="{ACB9EA89-CBD6-46C4-B76F-BE1A5DCD8F08}"/>
                </a:ext>
              </a:extLst>
            </p:cNvPr>
            <p:cNvGrpSpPr/>
            <p:nvPr/>
          </p:nvGrpSpPr>
          <p:grpSpPr>
            <a:xfrm>
              <a:off x="5114809" y="497403"/>
              <a:ext cx="3213934" cy="772036"/>
              <a:chOff x="244697" y="1639844"/>
              <a:chExt cx="5368703" cy="1289645"/>
            </a:xfrm>
          </p:grpSpPr>
          <p:sp>
            <p:nvSpPr>
              <p:cNvPr id="23" name="Rectangle 22">
                <a:extLst>
                  <a:ext uri="{FF2B5EF4-FFF2-40B4-BE49-F238E27FC236}">
                    <a16:creationId xmlns:a16="http://schemas.microsoft.com/office/drawing/2014/main" id="{A68503B6-DB9C-40E3-B659-2762BE9ECF9E}"/>
                  </a:ext>
                </a:extLst>
              </p:cNvPr>
              <p:cNvSpPr/>
              <p:nvPr/>
            </p:nvSpPr>
            <p:spPr>
              <a:xfrm>
                <a:off x="244697" y="1639844"/>
                <a:ext cx="5368703" cy="128964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8" name="Picture 17">
                <a:extLst>
                  <a:ext uri="{FF2B5EF4-FFF2-40B4-BE49-F238E27FC236}">
                    <a16:creationId xmlns:a16="http://schemas.microsoft.com/office/drawing/2014/main" id="{E52F3AD3-48FA-4DEF-A9F9-DB9D639666A3}"/>
                  </a:ext>
                </a:extLst>
              </p:cNvPr>
              <p:cNvPicPr>
                <a:picLocks noChangeAspect="1"/>
              </p:cNvPicPr>
              <p:nvPr/>
            </p:nvPicPr>
            <p:blipFill>
              <a:blip r:embed="rId11"/>
              <a:stretch>
                <a:fillRect/>
              </a:stretch>
            </p:blipFill>
            <p:spPr>
              <a:xfrm>
                <a:off x="305088" y="1722413"/>
                <a:ext cx="5279138" cy="1124816"/>
              </a:xfrm>
              <a:prstGeom prst="rect">
                <a:avLst/>
              </a:prstGeom>
              <a:ln>
                <a:noFill/>
              </a:ln>
            </p:spPr>
          </p:pic>
        </p:grpSp>
        <p:grpSp>
          <p:nvGrpSpPr>
            <p:cNvPr id="31" name="Group 30">
              <a:extLst>
                <a:ext uri="{FF2B5EF4-FFF2-40B4-BE49-F238E27FC236}">
                  <a16:creationId xmlns:a16="http://schemas.microsoft.com/office/drawing/2014/main" id="{78F63A7B-9871-472B-8098-A480D6D6E743}"/>
                </a:ext>
              </a:extLst>
            </p:cNvPr>
            <p:cNvGrpSpPr/>
            <p:nvPr/>
          </p:nvGrpSpPr>
          <p:grpSpPr>
            <a:xfrm>
              <a:off x="8517320" y="497403"/>
              <a:ext cx="3109297" cy="1088331"/>
              <a:chOff x="4367807" y="3082746"/>
              <a:chExt cx="3505616" cy="1227053"/>
            </a:xfrm>
          </p:grpSpPr>
          <p:sp>
            <p:nvSpPr>
              <p:cNvPr id="24" name="Rectangle 23">
                <a:extLst>
                  <a:ext uri="{FF2B5EF4-FFF2-40B4-BE49-F238E27FC236}">
                    <a16:creationId xmlns:a16="http://schemas.microsoft.com/office/drawing/2014/main" id="{4B1C5E24-F752-495A-81F0-65D134CAD253}"/>
                  </a:ext>
                </a:extLst>
              </p:cNvPr>
              <p:cNvSpPr/>
              <p:nvPr/>
            </p:nvSpPr>
            <p:spPr>
              <a:xfrm>
                <a:off x="4367807" y="3082746"/>
                <a:ext cx="3505616" cy="1227053"/>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 name="Picture 2">
                <a:extLst>
                  <a:ext uri="{FF2B5EF4-FFF2-40B4-BE49-F238E27FC236}">
                    <a16:creationId xmlns:a16="http://schemas.microsoft.com/office/drawing/2014/main" id="{D1645B06-155E-4C02-B7DA-6DC896FDF41B}"/>
                  </a:ext>
                </a:extLst>
              </p:cNvPr>
              <p:cNvPicPr>
                <a:picLocks noChangeAspect="1"/>
              </p:cNvPicPr>
              <p:nvPr/>
            </p:nvPicPr>
            <p:blipFill rotWithShape="1">
              <a:blip r:embed="rId12"/>
              <a:srcRect r="10222" b="26923"/>
              <a:stretch/>
            </p:blipFill>
            <p:spPr>
              <a:xfrm>
                <a:off x="4452041" y="3153645"/>
                <a:ext cx="2724079" cy="1067604"/>
              </a:xfrm>
              <a:prstGeom prst="rect">
                <a:avLst/>
              </a:prstGeom>
            </p:spPr>
          </p:pic>
        </p:grpSp>
        <p:grpSp>
          <p:nvGrpSpPr>
            <p:cNvPr id="17" name="Group 16">
              <a:extLst>
                <a:ext uri="{FF2B5EF4-FFF2-40B4-BE49-F238E27FC236}">
                  <a16:creationId xmlns:a16="http://schemas.microsoft.com/office/drawing/2014/main" id="{A522E8E1-6D31-4CED-8D0E-FF08DF81481C}"/>
                </a:ext>
              </a:extLst>
            </p:cNvPr>
            <p:cNvGrpSpPr/>
            <p:nvPr/>
          </p:nvGrpSpPr>
          <p:grpSpPr>
            <a:xfrm>
              <a:off x="5114809" y="5419991"/>
              <a:ext cx="3213934" cy="826200"/>
              <a:chOff x="5943822" y="1639845"/>
              <a:chExt cx="3873279" cy="995696"/>
            </a:xfrm>
          </p:grpSpPr>
          <p:sp>
            <p:nvSpPr>
              <p:cNvPr id="29" name="Rectangle 28">
                <a:extLst>
                  <a:ext uri="{FF2B5EF4-FFF2-40B4-BE49-F238E27FC236}">
                    <a16:creationId xmlns:a16="http://schemas.microsoft.com/office/drawing/2014/main" id="{AD62F126-3EE2-4594-91D6-F419025CBCAA}"/>
                  </a:ext>
                </a:extLst>
              </p:cNvPr>
              <p:cNvSpPr/>
              <p:nvPr/>
            </p:nvSpPr>
            <p:spPr>
              <a:xfrm>
                <a:off x="5943822" y="1639845"/>
                <a:ext cx="3873279" cy="99569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6" name="Picture 15">
                <a:extLst>
                  <a:ext uri="{FF2B5EF4-FFF2-40B4-BE49-F238E27FC236}">
                    <a16:creationId xmlns:a16="http://schemas.microsoft.com/office/drawing/2014/main" id="{ADB1AE2A-B966-433E-916A-BE3298069D11}"/>
                  </a:ext>
                </a:extLst>
              </p:cNvPr>
              <p:cNvPicPr>
                <a:picLocks noChangeAspect="1"/>
              </p:cNvPicPr>
              <p:nvPr/>
            </p:nvPicPr>
            <p:blipFill>
              <a:blip r:embed="rId13"/>
              <a:stretch>
                <a:fillRect/>
              </a:stretch>
            </p:blipFill>
            <p:spPr>
              <a:xfrm>
                <a:off x="6016279" y="1657063"/>
                <a:ext cx="3800822" cy="885836"/>
              </a:xfrm>
              <a:prstGeom prst="rect">
                <a:avLst/>
              </a:prstGeom>
              <a:ln>
                <a:noFill/>
              </a:ln>
            </p:spPr>
          </p:pic>
        </p:grpSp>
        <p:grpSp>
          <p:nvGrpSpPr>
            <p:cNvPr id="40" name="Group 39">
              <a:extLst>
                <a:ext uri="{FF2B5EF4-FFF2-40B4-BE49-F238E27FC236}">
                  <a16:creationId xmlns:a16="http://schemas.microsoft.com/office/drawing/2014/main" id="{5BFF5ABB-344D-4DD0-8B5C-594D081B91C2}"/>
                </a:ext>
              </a:extLst>
            </p:cNvPr>
            <p:cNvGrpSpPr/>
            <p:nvPr/>
          </p:nvGrpSpPr>
          <p:grpSpPr>
            <a:xfrm>
              <a:off x="8517321" y="1768748"/>
              <a:ext cx="3109296" cy="2389416"/>
              <a:chOff x="7848948" y="1266094"/>
              <a:chExt cx="3789078" cy="2911812"/>
            </a:xfrm>
          </p:grpSpPr>
          <p:sp>
            <p:nvSpPr>
              <p:cNvPr id="30" name="Rectangle 29">
                <a:extLst>
                  <a:ext uri="{FF2B5EF4-FFF2-40B4-BE49-F238E27FC236}">
                    <a16:creationId xmlns:a16="http://schemas.microsoft.com/office/drawing/2014/main" id="{BF263D6C-E226-4D26-BBC3-1660B8E7FB12}"/>
                  </a:ext>
                </a:extLst>
              </p:cNvPr>
              <p:cNvSpPr/>
              <p:nvPr/>
            </p:nvSpPr>
            <p:spPr>
              <a:xfrm>
                <a:off x="7848948" y="1266094"/>
                <a:ext cx="3789078" cy="291181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026" name="Picture 2" descr="Coal">
                <a:extLst>
                  <a:ext uri="{FF2B5EF4-FFF2-40B4-BE49-F238E27FC236}">
                    <a16:creationId xmlns:a16="http://schemas.microsoft.com/office/drawing/2014/main" id="{CD85596D-CA81-4532-BE34-09050B0CACE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42820" y="2172461"/>
                <a:ext cx="3619005" cy="1913390"/>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86366F23-68AB-41C0-AE3B-B60E0785B0B3}"/>
                  </a:ext>
                </a:extLst>
              </p:cNvPr>
              <p:cNvPicPr>
                <a:picLocks noChangeAspect="1"/>
              </p:cNvPicPr>
              <p:nvPr/>
            </p:nvPicPr>
            <p:blipFill rotWithShape="1">
              <a:blip r:embed="rId15"/>
              <a:srcRect r="4222"/>
              <a:stretch/>
            </p:blipFill>
            <p:spPr>
              <a:xfrm>
                <a:off x="7923770" y="1306302"/>
                <a:ext cx="3638055" cy="749222"/>
              </a:xfrm>
              <a:prstGeom prst="rect">
                <a:avLst/>
              </a:prstGeom>
            </p:spPr>
          </p:pic>
        </p:grpSp>
        <p:grpSp>
          <p:nvGrpSpPr>
            <p:cNvPr id="32" name="Group 31">
              <a:extLst>
                <a:ext uri="{FF2B5EF4-FFF2-40B4-BE49-F238E27FC236}">
                  <a16:creationId xmlns:a16="http://schemas.microsoft.com/office/drawing/2014/main" id="{8977873C-DE08-406D-8B3F-0F422A8A4F25}"/>
                </a:ext>
              </a:extLst>
            </p:cNvPr>
            <p:cNvGrpSpPr/>
            <p:nvPr/>
          </p:nvGrpSpPr>
          <p:grpSpPr>
            <a:xfrm>
              <a:off x="8517321" y="4341178"/>
              <a:ext cx="3109296" cy="791525"/>
              <a:chOff x="4367809" y="4415357"/>
              <a:chExt cx="3861792" cy="983087"/>
            </a:xfrm>
          </p:grpSpPr>
          <p:sp>
            <p:nvSpPr>
              <p:cNvPr id="25" name="Rectangle 24">
                <a:extLst>
                  <a:ext uri="{FF2B5EF4-FFF2-40B4-BE49-F238E27FC236}">
                    <a16:creationId xmlns:a16="http://schemas.microsoft.com/office/drawing/2014/main" id="{BDFE8C3C-C272-4010-BBAE-7F1D8F181404}"/>
                  </a:ext>
                </a:extLst>
              </p:cNvPr>
              <p:cNvSpPr/>
              <p:nvPr/>
            </p:nvSpPr>
            <p:spPr>
              <a:xfrm>
                <a:off x="4367809" y="4415357"/>
                <a:ext cx="3861792" cy="983087"/>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 name="Picture 7">
                <a:extLst>
                  <a:ext uri="{FF2B5EF4-FFF2-40B4-BE49-F238E27FC236}">
                    <a16:creationId xmlns:a16="http://schemas.microsoft.com/office/drawing/2014/main" id="{B2D04921-77B2-4BE6-B968-2CAA65E34580}"/>
                  </a:ext>
                </a:extLst>
              </p:cNvPr>
              <p:cNvPicPr>
                <a:picLocks noChangeAspect="1"/>
              </p:cNvPicPr>
              <p:nvPr/>
            </p:nvPicPr>
            <p:blipFill>
              <a:blip r:embed="rId16"/>
              <a:stretch>
                <a:fillRect/>
              </a:stretch>
            </p:blipFill>
            <p:spPr>
              <a:xfrm>
                <a:off x="4396509" y="4520915"/>
                <a:ext cx="3747366" cy="794210"/>
              </a:xfrm>
              <a:prstGeom prst="rect">
                <a:avLst/>
              </a:prstGeom>
            </p:spPr>
          </p:pic>
        </p:grpSp>
        <p:grpSp>
          <p:nvGrpSpPr>
            <p:cNvPr id="14" name="Group 13">
              <a:extLst>
                <a:ext uri="{FF2B5EF4-FFF2-40B4-BE49-F238E27FC236}">
                  <a16:creationId xmlns:a16="http://schemas.microsoft.com/office/drawing/2014/main" id="{5F6A3AED-BD48-48E1-BBAC-96D9632C486F}"/>
                </a:ext>
              </a:extLst>
            </p:cNvPr>
            <p:cNvGrpSpPr/>
            <p:nvPr/>
          </p:nvGrpSpPr>
          <p:grpSpPr>
            <a:xfrm>
              <a:off x="8521478" y="5315718"/>
              <a:ext cx="3105140" cy="930473"/>
              <a:chOff x="4367808" y="5602018"/>
              <a:chExt cx="4004667" cy="1200020"/>
            </a:xfrm>
          </p:grpSpPr>
          <p:sp>
            <p:nvSpPr>
              <p:cNvPr id="28" name="Rectangle 27">
                <a:extLst>
                  <a:ext uri="{FF2B5EF4-FFF2-40B4-BE49-F238E27FC236}">
                    <a16:creationId xmlns:a16="http://schemas.microsoft.com/office/drawing/2014/main" id="{011E7964-A0E1-492B-A74D-ECE911235553}"/>
                  </a:ext>
                </a:extLst>
              </p:cNvPr>
              <p:cNvSpPr/>
              <p:nvPr/>
            </p:nvSpPr>
            <p:spPr>
              <a:xfrm>
                <a:off x="4367808" y="5602018"/>
                <a:ext cx="4004667" cy="120002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3" name="Picture 32">
                <a:extLst>
                  <a:ext uri="{FF2B5EF4-FFF2-40B4-BE49-F238E27FC236}">
                    <a16:creationId xmlns:a16="http://schemas.microsoft.com/office/drawing/2014/main" id="{C2A4B5F2-C502-4698-A251-07C42D1D325B}"/>
                  </a:ext>
                </a:extLst>
              </p:cNvPr>
              <p:cNvPicPr>
                <a:picLocks noChangeAspect="1"/>
              </p:cNvPicPr>
              <p:nvPr/>
            </p:nvPicPr>
            <p:blipFill rotWithShape="1">
              <a:blip r:embed="rId17"/>
              <a:srcRect r="7015" b="66427"/>
              <a:stretch/>
            </p:blipFill>
            <p:spPr>
              <a:xfrm>
                <a:off x="4423466" y="5709452"/>
                <a:ext cx="3833092" cy="1004628"/>
              </a:xfrm>
              <a:prstGeom prst="rect">
                <a:avLst/>
              </a:prstGeom>
            </p:spPr>
          </p:pic>
        </p:grpSp>
      </p:grpSp>
      <p:sp>
        <p:nvSpPr>
          <p:cNvPr id="20" name="SlideLogoText">
            <a:extLst>
              <a:ext uri="{FF2B5EF4-FFF2-40B4-BE49-F238E27FC236}">
                <a16:creationId xmlns:a16="http://schemas.microsoft.com/office/drawing/2014/main" id="{0B722826-06B9-41D3-BCD5-65EF52EF890F}"/>
              </a:ext>
            </a:extLst>
          </p:cNvPr>
          <p:cNvSpPr txBox="1"/>
          <p:nvPr>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22" name="Slide Number">
            <a:extLst>
              <a:ext uri="{FF2B5EF4-FFF2-40B4-BE49-F238E27FC236}">
                <a16:creationId xmlns:a16="http://schemas.microsoft.com/office/drawing/2014/main" id="{A2FDDEC3-322A-43B5-B82E-12125E6FC2E5}"/>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2</a:t>
            </a:fld>
            <a:endParaRPr lang="en-US" sz="900">
              <a:solidFill>
                <a:schemeClr val="tx1"/>
              </a:solidFill>
              <a:latin typeface="+mn-lt"/>
              <a:ea typeface="+mn-ea"/>
              <a:cs typeface="Arial" panose="020B0604020202020204" pitchFamily="34" charset="0"/>
            </a:endParaRPr>
          </a:p>
        </p:txBody>
      </p:sp>
      <p:pic>
        <p:nvPicPr>
          <p:cNvPr id="36" name="Content Placeholder 1">
            <a:extLst>
              <a:ext uri="{FF2B5EF4-FFF2-40B4-BE49-F238E27FC236}">
                <a16:creationId xmlns:a16="http://schemas.microsoft.com/office/drawing/2014/main" id="{80542B53-FD54-43D7-8E82-8FDD6B42BF82}"/>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33834088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8FE47C5-EABB-4000-8EE9-5BDAD3B7FAE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6" name="think-cell Slide" r:id="rId44" imgW="592" imgH="595" progId="TCLayout.ActiveDocument.1">
                  <p:embed/>
                </p:oleObj>
              </mc:Choice>
              <mc:Fallback>
                <p:oleObj name="think-cell Slide" r:id="rId44" imgW="592" imgH="595" progId="TCLayout.ActiveDocument.1">
                  <p:embed/>
                  <p:pic>
                    <p:nvPicPr>
                      <p:cNvPr id="5" name="Object 2" hidden="1">
                        <a:extLst>
                          <a:ext uri="{FF2B5EF4-FFF2-40B4-BE49-F238E27FC236}">
                            <a16:creationId xmlns:a16="http://schemas.microsoft.com/office/drawing/2014/main" id="{F8FE47C5-EABB-4000-8EE9-5BDAD3B7FAE0}"/>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B3281F3-C139-4C65-94F5-C745C926A574}"/>
              </a:ext>
            </a:extLst>
          </p:cNvPr>
          <p:cNvSpPr>
            <a:spLocks noGrp="1"/>
          </p:cNvSpPr>
          <p:nvPr>
            <p:ph type="title"/>
            <p:custDataLst>
              <p:tags r:id="rId3"/>
            </p:custDataLst>
          </p:nvPr>
        </p:nvSpPr>
        <p:spPr>
          <a:xfrm>
            <a:off x="554736" y="198311"/>
            <a:ext cx="11082528" cy="71558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GB" dirty="0"/>
              <a:t>But it’s not driven by global demand – only North America sees a peak</a:t>
            </a:r>
            <a:endParaRPr lang="de-DE" dirty="0"/>
          </a:p>
        </p:txBody>
      </p:sp>
      <p:sp>
        <p:nvSpPr>
          <p:cNvPr id="9" name="3. Subtitle">
            <a:extLst>
              <a:ext uri="{FF2B5EF4-FFF2-40B4-BE49-F238E27FC236}">
                <a16:creationId xmlns:a16="http://schemas.microsoft.com/office/drawing/2014/main" id="{87FCFEBC-7851-4D09-9DDB-3DF97F45828C}"/>
              </a:ext>
            </a:extLst>
          </p:cNvPr>
          <p:cNvSpPr>
            <a:spLocks noGrp="1"/>
          </p:cNvSpPr>
          <p:nvPr>
            <p:ph type="subTitle" idx="1"/>
            <p:custDataLst>
              <p:tags r:id="rId4"/>
            </p:custDataLst>
          </p:nvPr>
        </p:nvSpPr>
        <p:spPr>
          <a:xfrm>
            <a:off x="554736" y="927874"/>
            <a:ext cx="11082528" cy="228973"/>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pPr marL="0" marR="0" lvl="0" indent="0" algn="l" defTabSz="914400" rtl="0" eaLnBrk="1" fontAlgn="auto" latinLnBrk="0" hangingPunct="1">
              <a:lnSpc>
                <a:spcPct val="93000"/>
              </a:lnSpc>
              <a:spcBef>
                <a:spcPct val="0"/>
              </a:spcBef>
              <a:spcAft>
                <a:spcPts val="0"/>
              </a:spcAft>
              <a:buClrTx/>
              <a:buSzTx/>
              <a:buFontTx/>
              <a:buNone/>
              <a:tabLst/>
              <a:defRPr/>
            </a:pPr>
            <a:r>
              <a:rPr lang="en-US" sz="1600" b="0" dirty="0">
                <a:latin typeface="Arial"/>
              </a:rPr>
              <a:t>Cumulative average growth rate vs. 2 years before</a:t>
            </a:r>
            <a:r>
              <a:rPr kumimoji="0" lang="en-US" sz="1600" b="0" i="0" u="none" strike="noStrike" kern="1200" cap="none" spc="0" normalizeH="0" baseline="0" noProof="0" dirty="0">
                <a:ln w="6350" cap="flat">
                  <a:noFill/>
                  <a:miter lim="800000"/>
                </a:ln>
                <a:effectLst/>
                <a:uLnTx/>
                <a:uFillTx/>
                <a:latin typeface="Arial"/>
                <a:ea typeface="+mj-ea"/>
                <a:cs typeface="+mj-cs"/>
              </a:rPr>
              <a:t>, % </a:t>
            </a:r>
          </a:p>
        </p:txBody>
      </p:sp>
      <p:sp>
        <p:nvSpPr>
          <p:cNvPr id="238" name="5. Source">
            <a:extLst>
              <a:ext uri="{FF2B5EF4-FFF2-40B4-BE49-F238E27FC236}">
                <a16:creationId xmlns:a16="http://schemas.microsoft.com/office/drawing/2014/main" id="{285A2871-EC58-4DF3-AF57-79ED68148764}"/>
              </a:ext>
            </a:extLst>
          </p:cNvPr>
          <p:cNvSpPr txBox="1"/>
          <p:nvPr>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effectLst/>
                <a:uLnTx/>
                <a:uFillTx/>
                <a:latin typeface="Arial"/>
                <a:ea typeface="+mn-ea"/>
                <a:cs typeface="Arial" panose="020B0604020202020204" pitchFamily="34" charset="0"/>
              </a:rPr>
              <a:t>Source: Container Trade Statistics</a:t>
            </a:r>
          </a:p>
        </p:txBody>
      </p:sp>
      <p:sp>
        <p:nvSpPr>
          <p:cNvPr id="4" name="Rectangle 1" hidden="1">
            <a:extLst>
              <a:ext uri="{FF2B5EF4-FFF2-40B4-BE49-F238E27FC236}">
                <a16:creationId xmlns:a16="http://schemas.microsoft.com/office/drawing/2014/main" id="{1501314C-19CB-4795-9689-778B349E932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47" name="Chart 46">
            <a:extLst>
              <a:ext uri="{FF2B5EF4-FFF2-40B4-BE49-F238E27FC236}">
                <a16:creationId xmlns:a16="http://schemas.microsoft.com/office/drawing/2014/main" id="{8A1DBD71-A778-4451-B930-3E6709AB71B0}"/>
              </a:ext>
            </a:extLst>
          </p:cNvPr>
          <p:cNvGraphicFramePr/>
          <p:nvPr>
            <p:custDataLst>
              <p:tags r:id="rId6"/>
            </p:custDataLst>
          </p:nvPr>
        </p:nvGraphicFramePr>
        <p:xfrm>
          <a:off x="830263" y="1336675"/>
          <a:ext cx="9615487" cy="4394200"/>
        </p:xfrm>
        <a:graphic>
          <a:graphicData uri="http://schemas.openxmlformats.org/drawingml/2006/chart">
            <c:chart xmlns:c="http://schemas.openxmlformats.org/drawingml/2006/chart" xmlns:r="http://schemas.openxmlformats.org/officeDocument/2006/relationships" r:id="rId46"/>
          </a:graphicData>
        </a:graphic>
      </p:graphicFrame>
      <p:sp>
        <p:nvSpPr>
          <p:cNvPr id="259" name="Text Placeholder 2">
            <a:extLst>
              <a:ext uri="{FF2B5EF4-FFF2-40B4-BE49-F238E27FC236}">
                <a16:creationId xmlns:a16="http://schemas.microsoft.com/office/drawing/2014/main" id="{AF81F0E4-68FA-4DF2-9BB1-D7DC3099EA34}"/>
              </a:ext>
            </a:extLst>
          </p:cNvPr>
          <p:cNvSpPr>
            <a:spLocks noGrp="1"/>
          </p:cNvSpPr>
          <p:nvPr>
            <p:custDataLst>
              <p:tags r:id="rId7"/>
            </p:custDataLst>
          </p:nvPr>
        </p:nvSpPr>
        <p:spPr bwMode="gray">
          <a:xfrm>
            <a:off x="598488" y="1312863"/>
            <a:ext cx="1968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102028B5-5748-47AA-B180-581400859278}" type="datetime'''''''''''''2''''''''''''''''''''''''''''''''''''''''''0'''''">
              <a:rPr lang="de-DE" altLang="en-US" sz="1400" smtClean="0">
                <a:cs typeface="+mn-cs"/>
              </a:rPr>
              <a:pPr/>
              <a:t>20</a:t>
            </a:fld>
            <a:endParaRPr lang="en-US" sz="1400" dirty="0">
              <a:cs typeface="+mn-cs"/>
            </a:endParaRPr>
          </a:p>
        </p:txBody>
      </p:sp>
      <p:sp>
        <p:nvSpPr>
          <p:cNvPr id="263" name="Text Placeholder 2">
            <a:extLst>
              <a:ext uri="{FF2B5EF4-FFF2-40B4-BE49-F238E27FC236}">
                <a16:creationId xmlns:a16="http://schemas.microsoft.com/office/drawing/2014/main" id="{195134C3-04BC-432D-82E6-E4B487A6673E}"/>
              </a:ext>
            </a:extLst>
          </p:cNvPr>
          <p:cNvSpPr>
            <a:spLocks noGrp="1"/>
          </p:cNvSpPr>
          <p:nvPr>
            <p:custDataLst>
              <p:tags r:id="rId8"/>
            </p:custDataLst>
          </p:nvPr>
        </p:nvSpPr>
        <p:spPr bwMode="gray">
          <a:xfrm>
            <a:off x="539750" y="5541963"/>
            <a:ext cx="2555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51BA2EDF-8AE4-4AC4-B864-ACF6D0CB2339}" type="datetime'''''''''''''''-1''''''5'''''''''''''''''''''''''''''">
              <a:rPr lang="de-DE" altLang="en-US" sz="1400" smtClean="0">
                <a:cs typeface="+mn-cs"/>
              </a:rPr>
              <a:pPr/>
              <a:t>-15</a:t>
            </a:fld>
            <a:endParaRPr lang="en-US" sz="1400" dirty="0">
              <a:cs typeface="+mn-cs"/>
            </a:endParaRPr>
          </a:p>
        </p:txBody>
      </p:sp>
      <p:sp>
        <p:nvSpPr>
          <p:cNvPr id="260" name="Text Placeholder 2">
            <a:extLst>
              <a:ext uri="{FF2B5EF4-FFF2-40B4-BE49-F238E27FC236}">
                <a16:creationId xmlns:a16="http://schemas.microsoft.com/office/drawing/2014/main" id="{53E646FC-7779-463F-B04E-3BCE9F429315}"/>
              </a:ext>
            </a:extLst>
          </p:cNvPr>
          <p:cNvSpPr>
            <a:spLocks noGrp="1"/>
          </p:cNvSpPr>
          <p:nvPr>
            <p:custDataLst>
              <p:tags r:id="rId9"/>
            </p:custDataLst>
          </p:nvPr>
        </p:nvSpPr>
        <p:spPr bwMode="gray">
          <a:xfrm>
            <a:off x="598488" y="1917700"/>
            <a:ext cx="1968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1FA5ACA2-D85D-4141-BCA6-A95EAC1DE98A}" type="datetime'''15'''''''''''''''''''">
              <a:rPr lang="de-DE" altLang="en-US" sz="1400" smtClean="0">
                <a:cs typeface="+mn-cs"/>
              </a:rPr>
              <a:pPr/>
              <a:t>15</a:t>
            </a:fld>
            <a:endParaRPr lang="en-US" sz="1400" dirty="0">
              <a:cs typeface="+mn-cs"/>
            </a:endParaRPr>
          </a:p>
        </p:txBody>
      </p:sp>
      <p:sp>
        <p:nvSpPr>
          <p:cNvPr id="261" name="Text Placeholder 2">
            <a:extLst>
              <a:ext uri="{FF2B5EF4-FFF2-40B4-BE49-F238E27FC236}">
                <a16:creationId xmlns:a16="http://schemas.microsoft.com/office/drawing/2014/main" id="{E1743A3E-72A7-42C6-B0EB-C54588D3D041}"/>
              </a:ext>
            </a:extLst>
          </p:cNvPr>
          <p:cNvSpPr>
            <a:spLocks noGrp="1"/>
          </p:cNvSpPr>
          <p:nvPr>
            <p:custDataLst>
              <p:tags r:id="rId10"/>
            </p:custDataLst>
          </p:nvPr>
        </p:nvSpPr>
        <p:spPr bwMode="gray">
          <a:xfrm>
            <a:off x="539750" y="4937125"/>
            <a:ext cx="2555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C28C0DB2-F1CC-4F41-8E9C-115530637E13}" type="datetime'''''-''''''''''''1''''''''''''''''''''''''''''''''''''0'''''''">
              <a:rPr lang="de-DE" altLang="en-US" sz="1400" smtClean="0">
                <a:cs typeface="+mn-cs"/>
              </a:rPr>
              <a:pPr/>
              <a:t>-10</a:t>
            </a:fld>
            <a:endParaRPr lang="en-US" sz="1400" dirty="0">
              <a:cs typeface="+mn-cs"/>
            </a:endParaRPr>
          </a:p>
        </p:txBody>
      </p:sp>
      <p:sp>
        <p:nvSpPr>
          <p:cNvPr id="264" name="Text Placeholder 2">
            <a:extLst>
              <a:ext uri="{FF2B5EF4-FFF2-40B4-BE49-F238E27FC236}">
                <a16:creationId xmlns:a16="http://schemas.microsoft.com/office/drawing/2014/main" id="{5BA2F9E9-BE0B-4735-85BB-CCD43EF74CFF}"/>
              </a:ext>
            </a:extLst>
          </p:cNvPr>
          <p:cNvSpPr>
            <a:spLocks noGrp="1"/>
          </p:cNvSpPr>
          <p:nvPr>
            <p:custDataLst>
              <p:tags r:id="rId11"/>
            </p:custDataLst>
          </p:nvPr>
        </p:nvSpPr>
        <p:spPr bwMode="gray">
          <a:xfrm>
            <a:off x="598488" y="2520950"/>
            <a:ext cx="1968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E03CE6C3-B513-4F4B-948E-9627E8B48069}" type="datetime'''''''1''''''''0'''''''''''''">
              <a:rPr lang="de-DE" altLang="en-US" sz="1400" smtClean="0">
                <a:cs typeface="+mn-cs"/>
              </a:rPr>
              <a:pPr/>
              <a:t>10</a:t>
            </a:fld>
            <a:endParaRPr lang="en-US" sz="1400" dirty="0">
              <a:cs typeface="+mn-cs"/>
            </a:endParaRPr>
          </a:p>
        </p:txBody>
      </p:sp>
      <p:sp>
        <p:nvSpPr>
          <p:cNvPr id="258" name="Text Placeholder 2">
            <a:extLst>
              <a:ext uri="{FF2B5EF4-FFF2-40B4-BE49-F238E27FC236}">
                <a16:creationId xmlns:a16="http://schemas.microsoft.com/office/drawing/2014/main" id="{95E63B35-564A-4B2E-97E9-09D31678B571}"/>
              </a:ext>
            </a:extLst>
          </p:cNvPr>
          <p:cNvSpPr>
            <a:spLocks noGrp="1"/>
          </p:cNvSpPr>
          <p:nvPr>
            <p:custDataLst>
              <p:tags r:id="rId12"/>
            </p:custDataLst>
          </p:nvPr>
        </p:nvSpPr>
        <p:spPr bwMode="gray">
          <a:xfrm>
            <a:off x="696913" y="3729038"/>
            <a:ext cx="984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742379E6-9C42-4781-A696-9EAD76FC0D30}" type="datetime'''''''''''''''''''''''''''''''''''''''''''''''''''''''''0'''">
              <a:rPr lang="de-DE" altLang="en-US" sz="1400" smtClean="0">
                <a:cs typeface="+mn-cs"/>
              </a:rPr>
              <a:pPr/>
              <a:t>0</a:t>
            </a:fld>
            <a:endParaRPr lang="en-US" sz="1400" dirty="0">
              <a:cs typeface="+mn-cs"/>
            </a:endParaRPr>
          </a:p>
        </p:txBody>
      </p:sp>
      <p:sp>
        <p:nvSpPr>
          <p:cNvPr id="257" name="Text Placeholder 2">
            <a:extLst>
              <a:ext uri="{FF2B5EF4-FFF2-40B4-BE49-F238E27FC236}">
                <a16:creationId xmlns:a16="http://schemas.microsoft.com/office/drawing/2014/main" id="{6D915270-121B-47E0-9C05-F8DE0A28F211}"/>
              </a:ext>
            </a:extLst>
          </p:cNvPr>
          <p:cNvSpPr>
            <a:spLocks noGrp="1"/>
          </p:cNvSpPr>
          <p:nvPr>
            <p:custDataLst>
              <p:tags r:id="rId13"/>
            </p:custDataLst>
          </p:nvPr>
        </p:nvSpPr>
        <p:spPr bwMode="gray">
          <a:xfrm>
            <a:off x="696913" y="3125788"/>
            <a:ext cx="984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2991CD2F-C244-4842-9050-5CBCBC5E5B81}" type="datetime'''''''''''''''''''''''''''''''''''''''5'''''''''''">
              <a:rPr lang="de-DE" altLang="en-US" sz="1400" smtClean="0">
                <a:cs typeface="+mn-cs"/>
              </a:rPr>
              <a:pPr/>
              <a:t>5</a:t>
            </a:fld>
            <a:endParaRPr lang="en-US" sz="1400" dirty="0">
              <a:cs typeface="+mn-cs"/>
            </a:endParaRPr>
          </a:p>
        </p:txBody>
      </p:sp>
      <p:sp>
        <p:nvSpPr>
          <p:cNvPr id="262" name="Text Placeholder 2">
            <a:extLst>
              <a:ext uri="{FF2B5EF4-FFF2-40B4-BE49-F238E27FC236}">
                <a16:creationId xmlns:a16="http://schemas.microsoft.com/office/drawing/2014/main" id="{528A0F3A-DB2E-410F-ACF9-9174899A86F5}"/>
              </a:ext>
            </a:extLst>
          </p:cNvPr>
          <p:cNvSpPr>
            <a:spLocks noGrp="1"/>
          </p:cNvSpPr>
          <p:nvPr>
            <p:custDataLst>
              <p:tags r:id="rId14"/>
            </p:custDataLst>
          </p:nvPr>
        </p:nvSpPr>
        <p:spPr bwMode="gray">
          <a:xfrm>
            <a:off x="638175" y="4333875"/>
            <a:ext cx="1571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26054361-C5F2-4DAE-9BDC-FBD4CF3198D7}" type="datetime'-''''''5'''''''''''''''''''''''''''''''''''''''''''''''''''">
              <a:rPr lang="de-DE" altLang="en-US" sz="1400" smtClean="0">
                <a:cs typeface="+mn-cs"/>
              </a:rPr>
              <a:pPr/>
              <a:t>-5</a:t>
            </a:fld>
            <a:endParaRPr lang="en-US" sz="1400" dirty="0">
              <a:cs typeface="+mn-cs"/>
            </a:endParaRPr>
          </a:p>
        </p:txBody>
      </p:sp>
      <p:cxnSp>
        <p:nvCxnSpPr>
          <p:cNvPr id="265" name="Straight Connector 264">
            <a:extLst>
              <a:ext uri="{FF2B5EF4-FFF2-40B4-BE49-F238E27FC236}">
                <a16:creationId xmlns:a16="http://schemas.microsoft.com/office/drawing/2014/main" id="{03A81364-13DA-47A0-A3AA-68405225F372}"/>
              </a:ext>
            </a:extLst>
          </p:cNvPr>
          <p:cNvCxnSpPr/>
          <p:nvPr>
            <p:custDataLst>
              <p:tags r:id="rId15"/>
            </p:custDataLst>
          </p:nvPr>
        </p:nvCxnSpPr>
        <p:spPr bwMode="auto">
          <a:xfrm flipH="1">
            <a:off x="10401300" y="3176588"/>
            <a:ext cx="79375" cy="1857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90F7E6F0-4C7F-4FF0-BAB7-5297BFB2C31B}"/>
              </a:ext>
            </a:extLst>
          </p:cNvPr>
          <p:cNvCxnSpPr/>
          <p:nvPr>
            <p:custDataLst>
              <p:tags r:id="rId16"/>
            </p:custDataLst>
          </p:nvPr>
        </p:nvCxnSpPr>
        <p:spPr bwMode="auto">
          <a:xfrm flipH="1">
            <a:off x="10401300" y="3440113"/>
            <a:ext cx="79375" cy="1635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9" name="Text Placeholder 2">
            <a:extLst>
              <a:ext uri="{FF2B5EF4-FFF2-40B4-BE49-F238E27FC236}">
                <a16:creationId xmlns:a16="http://schemas.microsoft.com/office/drawing/2014/main" id="{368D1F5B-4D5E-4456-A1F1-756442FD0B1F}"/>
              </a:ext>
            </a:extLst>
          </p:cNvPr>
          <p:cNvSpPr>
            <a:spLocks noGrp="1"/>
          </p:cNvSpPr>
          <p:nvPr>
            <p:custDataLst>
              <p:tags r:id="rId17"/>
            </p:custDataLst>
          </p:nvPr>
        </p:nvSpPr>
        <p:spPr bwMode="auto">
          <a:xfrm>
            <a:off x="10506075" y="3333750"/>
            <a:ext cx="5715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18CA917-FBF2-484D-8212-208B2F220431}" type="datetime'''''''E''''''''''''u''''''''''''''''r''o''p''e'''''''''">
              <a:rPr lang="en-US" altLang="en-US" sz="1400" smtClean="0">
                <a:cs typeface="+mn-cs"/>
              </a:rPr>
              <a:pPr/>
              <a:t>Europe</a:t>
            </a:fld>
            <a:endParaRPr lang="en-US" sz="1400" dirty="0">
              <a:cs typeface="+mn-cs"/>
            </a:endParaRPr>
          </a:p>
        </p:txBody>
      </p:sp>
      <p:sp>
        <p:nvSpPr>
          <p:cNvPr id="288" name="Text Placeholder 2">
            <a:extLst>
              <a:ext uri="{FF2B5EF4-FFF2-40B4-BE49-F238E27FC236}">
                <a16:creationId xmlns:a16="http://schemas.microsoft.com/office/drawing/2014/main" id="{F4F4797A-18A7-47E9-B668-390AA27333A1}"/>
              </a:ext>
            </a:extLst>
          </p:cNvPr>
          <p:cNvSpPr>
            <a:spLocks noGrp="1"/>
          </p:cNvSpPr>
          <p:nvPr>
            <p:custDataLst>
              <p:tags r:id="rId18"/>
            </p:custDataLst>
          </p:nvPr>
        </p:nvSpPr>
        <p:spPr bwMode="auto">
          <a:xfrm>
            <a:off x="10506075" y="2224088"/>
            <a:ext cx="11239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5FB0DD6-F7A3-4479-A073-5BCDB8DEC920}" type="datetime'''''N''''ort''''''''''''''''''h'''''' Am''eri''''c''''''''a'''">
              <a:rPr lang="en-US" altLang="en-US" sz="1400" smtClean="0">
                <a:cs typeface="+mn-cs"/>
              </a:rPr>
              <a:pPr/>
              <a:t>North America</a:t>
            </a:fld>
            <a:endParaRPr lang="en-US" sz="1400" dirty="0">
              <a:cs typeface="+mn-cs"/>
            </a:endParaRPr>
          </a:p>
        </p:txBody>
      </p:sp>
      <p:sp>
        <p:nvSpPr>
          <p:cNvPr id="270" name="Text Placeholder 2">
            <a:extLst>
              <a:ext uri="{FF2B5EF4-FFF2-40B4-BE49-F238E27FC236}">
                <a16:creationId xmlns:a16="http://schemas.microsoft.com/office/drawing/2014/main" id="{1D2042CE-0054-4B9E-81CB-818C05E8DE3A}"/>
              </a:ext>
            </a:extLst>
          </p:cNvPr>
          <p:cNvSpPr>
            <a:spLocks noGrp="1"/>
          </p:cNvSpPr>
          <p:nvPr>
            <p:custDataLst>
              <p:tags r:id="rId19"/>
            </p:custDataLst>
          </p:nvPr>
        </p:nvSpPr>
        <p:spPr bwMode="auto">
          <a:xfrm>
            <a:off x="763588" y="5707063"/>
            <a:ext cx="2984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8C6E05D-31F7-474A-9778-EC862BCC6AF4}" type="datetime'''Ja''''''''''''n'">
              <a:rPr lang="en-US" altLang="en-US" sz="1400" smtClean="0">
                <a:cs typeface="+mn-cs"/>
              </a:rPr>
              <a:pPr/>
              <a:t>Jan</a:t>
            </a:fld>
            <a:endParaRPr lang="en-US" sz="1400" dirty="0">
              <a:cs typeface="+mn-cs"/>
            </a:endParaRPr>
          </a:p>
        </p:txBody>
      </p:sp>
      <p:sp>
        <p:nvSpPr>
          <p:cNvPr id="271" name="Text Placeholder 2">
            <a:extLst>
              <a:ext uri="{FF2B5EF4-FFF2-40B4-BE49-F238E27FC236}">
                <a16:creationId xmlns:a16="http://schemas.microsoft.com/office/drawing/2014/main" id="{C34FA6E5-9545-44C4-AD51-D9DA5716FD9A}"/>
              </a:ext>
            </a:extLst>
          </p:cNvPr>
          <p:cNvSpPr>
            <a:spLocks noGrp="1"/>
          </p:cNvSpPr>
          <p:nvPr>
            <p:custDataLst>
              <p:tags r:id="rId20"/>
            </p:custDataLst>
          </p:nvPr>
        </p:nvSpPr>
        <p:spPr bwMode="auto">
          <a:xfrm>
            <a:off x="1227138" y="5707063"/>
            <a:ext cx="3175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3D981A2-EACD-43BE-B656-E478E15AFC36}" type="datetime'''''F''''''''e''b'''''''''''''''''">
              <a:rPr lang="en-US" altLang="en-US" sz="1400" smtClean="0">
                <a:cs typeface="+mn-cs"/>
              </a:rPr>
              <a:pPr/>
              <a:t>Feb</a:t>
            </a:fld>
            <a:endParaRPr lang="en-US" sz="1400" dirty="0">
              <a:cs typeface="+mn-cs"/>
            </a:endParaRPr>
          </a:p>
        </p:txBody>
      </p:sp>
      <p:sp>
        <p:nvSpPr>
          <p:cNvPr id="268" name="Text Placeholder 2">
            <a:extLst>
              <a:ext uri="{FF2B5EF4-FFF2-40B4-BE49-F238E27FC236}">
                <a16:creationId xmlns:a16="http://schemas.microsoft.com/office/drawing/2014/main" id="{12D4E6F9-EDB5-453D-9E00-9A46C6D31DCE}"/>
              </a:ext>
            </a:extLst>
          </p:cNvPr>
          <p:cNvSpPr>
            <a:spLocks noGrp="1"/>
          </p:cNvSpPr>
          <p:nvPr>
            <p:custDataLst>
              <p:tags r:id="rId21"/>
            </p:custDataLst>
          </p:nvPr>
        </p:nvSpPr>
        <p:spPr bwMode="auto">
          <a:xfrm>
            <a:off x="1698625" y="5707063"/>
            <a:ext cx="3175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86C6309-ACF5-4BE4-9849-526FF16619AC}" type="datetime'M''''''''''''''''''''''a''''''''''''''''r'''''''''''">
              <a:rPr lang="en-US" altLang="en-US" sz="1400" smtClean="0">
                <a:cs typeface="+mn-cs"/>
              </a:rPr>
              <a:pPr/>
              <a:t>Mar</a:t>
            </a:fld>
            <a:endParaRPr lang="en-US" sz="1400" dirty="0">
              <a:cs typeface="+mn-cs"/>
            </a:endParaRPr>
          </a:p>
        </p:txBody>
      </p:sp>
      <p:sp>
        <p:nvSpPr>
          <p:cNvPr id="275" name="Text Placeholder 2">
            <a:extLst>
              <a:ext uri="{FF2B5EF4-FFF2-40B4-BE49-F238E27FC236}">
                <a16:creationId xmlns:a16="http://schemas.microsoft.com/office/drawing/2014/main" id="{93039B3D-B65F-491E-AB31-E64E1D880AB9}"/>
              </a:ext>
            </a:extLst>
          </p:cNvPr>
          <p:cNvSpPr>
            <a:spLocks noGrp="1"/>
          </p:cNvSpPr>
          <p:nvPr>
            <p:custDataLst>
              <p:tags r:id="rId22"/>
            </p:custDataLst>
          </p:nvPr>
        </p:nvSpPr>
        <p:spPr bwMode="auto">
          <a:xfrm>
            <a:off x="4057650" y="5707063"/>
            <a:ext cx="3286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C67AF34-0E5A-4DBC-B699-773FFB208570}" type="datetime'''''''''''''''''''''''''''''A''''''''''u''''''''g'''''''''''''">
              <a:rPr lang="en-US" altLang="en-US" sz="1400" smtClean="0">
                <a:cs typeface="+mn-cs"/>
              </a:rPr>
              <a:pPr/>
              <a:t>Aug</a:t>
            </a:fld>
            <a:endParaRPr lang="en-US" sz="1400" dirty="0">
              <a:cs typeface="+mn-cs"/>
            </a:endParaRPr>
          </a:p>
        </p:txBody>
      </p:sp>
      <p:sp>
        <p:nvSpPr>
          <p:cNvPr id="272" name="Text Placeholder 2">
            <a:extLst>
              <a:ext uri="{FF2B5EF4-FFF2-40B4-BE49-F238E27FC236}">
                <a16:creationId xmlns:a16="http://schemas.microsoft.com/office/drawing/2014/main" id="{9E57D9FA-A023-4AA1-AE83-ACA6D13558B5}"/>
              </a:ext>
            </a:extLst>
          </p:cNvPr>
          <p:cNvSpPr>
            <a:spLocks noGrp="1"/>
          </p:cNvSpPr>
          <p:nvPr>
            <p:custDataLst>
              <p:tags r:id="rId23"/>
            </p:custDataLst>
          </p:nvPr>
        </p:nvSpPr>
        <p:spPr bwMode="auto">
          <a:xfrm>
            <a:off x="2185988" y="5707063"/>
            <a:ext cx="2889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06BE227-325F-4B22-B6D3-62A412C99010}" type="datetime'''''''''''''''''''''''A''''''''''''''''''''''''''p''''r'''">
              <a:rPr lang="en-US" altLang="en-US" sz="1400" smtClean="0">
                <a:cs typeface="+mn-cs"/>
              </a:rPr>
              <a:pPr/>
              <a:t>Apr</a:t>
            </a:fld>
            <a:endParaRPr lang="en-US" sz="1400" dirty="0">
              <a:cs typeface="+mn-cs"/>
            </a:endParaRPr>
          </a:p>
        </p:txBody>
      </p:sp>
      <p:sp>
        <p:nvSpPr>
          <p:cNvPr id="267" name="Text Placeholder 2">
            <a:extLst>
              <a:ext uri="{FF2B5EF4-FFF2-40B4-BE49-F238E27FC236}">
                <a16:creationId xmlns:a16="http://schemas.microsoft.com/office/drawing/2014/main" id="{0FC20B68-0DCB-4877-89E9-4D2E0D529BAE}"/>
              </a:ext>
            </a:extLst>
          </p:cNvPr>
          <p:cNvSpPr>
            <a:spLocks noGrp="1"/>
          </p:cNvSpPr>
          <p:nvPr>
            <p:custDataLst>
              <p:tags r:id="rId24"/>
            </p:custDataLst>
          </p:nvPr>
        </p:nvSpPr>
        <p:spPr bwMode="auto">
          <a:xfrm>
            <a:off x="2630488" y="5707063"/>
            <a:ext cx="3476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B06D24E-8BB5-4870-82DF-6DAE1C7FF74A}" type="datetime'''''''''''''''''M''''''a''''''''y'''''''''''''''''''''''">
              <a:rPr lang="en-US" altLang="en-US" sz="1400" smtClean="0">
                <a:cs typeface="+mn-cs"/>
              </a:rPr>
              <a:pPr/>
              <a:t>May</a:t>
            </a:fld>
            <a:endParaRPr lang="en-US" sz="1400" dirty="0">
              <a:cs typeface="+mn-cs"/>
            </a:endParaRPr>
          </a:p>
        </p:txBody>
      </p:sp>
      <p:sp>
        <p:nvSpPr>
          <p:cNvPr id="273" name="Text Placeholder 2">
            <a:extLst>
              <a:ext uri="{FF2B5EF4-FFF2-40B4-BE49-F238E27FC236}">
                <a16:creationId xmlns:a16="http://schemas.microsoft.com/office/drawing/2014/main" id="{7D6EBE4F-6005-4700-96CD-EAB22DED950B}"/>
              </a:ext>
            </a:extLst>
          </p:cNvPr>
          <p:cNvSpPr>
            <a:spLocks noGrp="1"/>
          </p:cNvSpPr>
          <p:nvPr>
            <p:custDataLst>
              <p:tags r:id="rId25"/>
            </p:custDataLst>
          </p:nvPr>
        </p:nvSpPr>
        <p:spPr bwMode="auto">
          <a:xfrm>
            <a:off x="3125788" y="5707063"/>
            <a:ext cx="2984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C788EE2-B113-4038-B936-FB1D392C6EAE}" type="datetime'''''''''J''''''''u''''n'">
              <a:rPr lang="en-US" altLang="en-US" sz="1400" smtClean="0">
                <a:cs typeface="+mn-cs"/>
              </a:rPr>
              <a:pPr/>
              <a:t>Jun</a:t>
            </a:fld>
            <a:endParaRPr lang="en-US" sz="1400" dirty="0">
              <a:cs typeface="+mn-cs"/>
            </a:endParaRPr>
          </a:p>
        </p:txBody>
      </p:sp>
      <p:sp>
        <p:nvSpPr>
          <p:cNvPr id="290" name="Text Placeholder 2">
            <a:extLst>
              <a:ext uri="{FF2B5EF4-FFF2-40B4-BE49-F238E27FC236}">
                <a16:creationId xmlns:a16="http://schemas.microsoft.com/office/drawing/2014/main" id="{6F3A15DF-59F1-4927-8CF4-B29CDE8FC89B}"/>
              </a:ext>
            </a:extLst>
          </p:cNvPr>
          <p:cNvSpPr>
            <a:spLocks noGrp="1"/>
          </p:cNvSpPr>
          <p:nvPr>
            <p:custDataLst>
              <p:tags r:id="rId26"/>
            </p:custDataLst>
          </p:nvPr>
        </p:nvSpPr>
        <p:spPr bwMode="auto">
          <a:xfrm>
            <a:off x="10506075" y="3597275"/>
            <a:ext cx="10731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28842C7-CDD7-4934-94F2-6D1312B01701}" type="datetime'''''O''''th''''''e''r'' reg''''i''''''''''''o''''ns'">
              <a:rPr lang="en-US" altLang="en-US" sz="1400" smtClean="0">
                <a:cs typeface="+mn-cs"/>
              </a:rPr>
              <a:pPr/>
              <a:t>Other regions</a:t>
            </a:fld>
            <a:endParaRPr lang="en-US" sz="1400" dirty="0">
              <a:cs typeface="+mn-cs"/>
            </a:endParaRPr>
          </a:p>
        </p:txBody>
      </p:sp>
      <p:sp>
        <p:nvSpPr>
          <p:cNvPr id="286" name="Text Placeholder 2">
            <a:extLst>
              <a:ext uri="{FF2B5EF4-FFF2-40B4-BE49-F238E27FC236}">
                <a16:creationId xmlns:a16="http://schemas.microsoft.com/office/drawing/2014/main" id="{ABFF6211-D212-4D5F-A934-EB7E93D57C36}"/>
              </a:ext>
            </a:extLst>
          </p:cNvPr>
          <p:cNvSpPr>
            <a:spLocks noGrp="1"/>
          </p:cNvSpPr>
          <p:nvPr>
            <p:custDataLst>
              <p:tags r:id="rId27"/>
            </p:custDataLst>
          </p:nvPr>
        </p:nvSpPr>
        <p:spPr bwMode="auto">
          <a:xfrm>
            <a:off x="10199688" y="5707063"/>
            <a:ext cx="3286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F7AAE35-61F2-4621-8718-0BA56B1AB682}" type="datetime'''''''''''''''''Se''p'''''">
              <a:rPr lang="en-US" altLang="en-US" sz="1400" smtClean="0">
                <a:cs typeface="+mn-cs"/>
              </a:rPr>
              <a:pPr/>
              <a:t>Sep</a:t>
            </a:fld>
            <a:endParaRPr lang="en-US" sz="1400" dirty="0">
              <a:cs typeface="+mn-cs"/>
            </a:endParaRPr>
          </a:p>
        </p:txBody>
      </p:sp>
      <p:sp>
        <p:nvSpPr>
          <p:cNvPr id="291" name="Text Placeholder 2">
            <a:extLst>
              <a:ext uri="{FF2B5EF4-FFF2-40B4-BE49-F238E27FC236}">
                <a16:creationId xmlns:a16="http://schemas.microsoft.com/office/drawing/2014/main" id="{C11460C6-AD8B-488C-9937-AA1AD72793FE}"/>
              </a:ext>
            </a:extLst>
          </p:cNvPr>
          <p:cNvSpPr>
            <a:spLocks noGrp="1"/>
          </p:cNvSpPr>
          <p:nvPr>
            <p:custDataLst>
              <p:tags r:id="rId28"/>
            </p:custDataLst>
          </p:nvPr>
        </p:nvSpPr>
        <p:spPr bwMode="auto">
          <a:xfrm>
            <a:off x="4529138" y="5707063"/>
            <a:ext cx="3286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252C69F-DC8F-42CF-8384-78FDF83B638B}" type="datetime'''''''''''''S''''e''''''''''p'''''''''">
              <a:rPr lang="en-US" altLang="en-US" sz="1400" smtClean="0">
                <a:cs typeface="+mn-cs"/>
              </a:rPr>
              <a:pPr/>
              <a:t>Sep</a:t>
            </a:fld>
            <a:endParaRPr lang="en-US" sz="1400" dirty="0">
              <a:cs typeface="+mn-cs"/>
            </a:endParaRPr>
          </a:p>
        </p:txBody>
      </p:sp>
      <p:sp>
        <p:nvSpPr>
          <p:cNvPr id="276" name="Text Placeholder 2">
            <a:extLst>
              <a:ext uri="{FF2B5EF4-FFF2-40B4-BE49-F238E27FC236}">
                <a16:creationId xmlns:a16="http://schemas.microsoft.com/office/drawing/2014/main" id="{601CB36A-A8C3-47FB-981B-7BF7B4705C35}"/>
              </a:ext>
            </a:extLst>
          </p:cNvPr>
          <p:cNvSpPr>
            <a:spLocks noGrp="1"/>
          </p:cNvSpPr>
          <p:nvPr>
            <p:custDataLst>
              <p:tags r:id="rId29"/>
            </p:custDataLst>
          </p:nvPr>
        </p:nvSpPr>
        <p:spPr bwMode="auto">
          <a:xfrm>
            <a:off x="5021263" y="5707063"/>
            <a:ext cx="2889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005FA59-96B1-454D-A5AB-66FCEBFBA176}" type="datetime'''''''''''''O''c''''t'''''''''''''''''''''''''''''''''''">
              <a:rPr lang="en-US" altLang="en-US" sz="1400" smtClean="0">
                <a:cs typeface="+mn-cs"/>
              </a:rPr>
              <a:pPr/>
              <a:t>Oct</a:t>
            </a:fld>
            <a:endParaRPr lang="en-US" sz="1400" dirty="0">
              <a:cs typeface="+mn-cs"/>
            </a:endParaRPr>
          </a:p>
        </p:txBody>
      </p:sp>
      <p:sp>
        <p:nvSpPr>
          <p:cNvPr id="277" name="Text Placeholder 2">
            <a:extLst>
              <a:ext uri="{FF2B5EF4-FFF2-40B4-BE49-F238E27FC236}">
                <a16:creationId xmlns:a16="http://schemas.microsoft.com/office/drawing/2014/main" id="{066875F4-5CBD-40F5-8A1B-6016AC1B9A61}"/>
              </a:ext>
            </a:extLst>
          </p:cNvPr>
          <p:cNvSpPr>
            <a:spLocks noGrp="1"/>
          </p:cNvSpPr>
          <p:nvPr>
            <p:custDataLst>
              <p:tags r:id="rId30"/>
            </p:custDataLst>
          </p:nvPr>
        </p:nvSpPr>
        <p:spPr bwMode="auto">
          <a:xfrm>
            <a:off x="5475288" y="5707063"/>
            <a:ext cx="3286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34031C0-853A-4A5A-AE9A-120AD7C2A9B4}" type="datetime'''''''''''''''''''''''N''''o''''v'''''''''''''''''''">
              <a:rPr lang="en-US" altLang="en-US" sz="1400" smtClean="0">
                <a:cs typeface="+mn-cs"/>
              </a:rPr>
              <a:pPr/>
              <a:t>Nov</a:t>
            </a:fld>
            <a:endParaRPr lang="en-US" sz="1400" dirty="0">
              <a:cs typeface="+mn-cs"/>
            </a:endParaRPr>
          </a:p>
        </p:txBody>
      </p:sp>
      <p:sp>
        <p:nvSpPr>
          <p:cNvPr id="278" name="Text Placeholder 2">
            <a:extLst>
              <a:ext uri="{FF2B5EF4-FFF2-40B4-BE49-F238E27FC236}">
                <a16:creationId xmlns:a16="http://schemas.microsoft.com/office/drawing/2014/main" id="{9ED2136D-F05A-4658-A32A-ECC8F5BD780B}"/>
              </a:ext>
            </a:extLst>
          </p:cNvPr>
          <p:cNvSpPr>
            <a:spLocks noGrp="1"/>
          </p:cNvSpPr>
          <p:nvPr>
            <p:custDataLst>
              <p:tags r:id="rId31"/>
            </p:custDataLst>
          </p:nvPr>
        </p:nvSpPr>
        <p:spPr bwMode="auto">
          <a:xfrm>
            <a:off x="5946775" y="5707063"/>
            <a:ext cx="3286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AEECB5E-756D-4C3D-81EB-858C09BEAAC8}" type="datetime'''''''''''''''D''''''''''''''''''''''''''''e''c'''''">
              <a:rPr lang="en-US" altLang="en-US" sz="1400" smtClean="0">
                <a:cs typeface="+mn-cs"/>
              </a:rPr>
              <a:pPr/>
              <a:t>Dec</a:t>
            </a:fld>
            <a:endParaRPr lang="en-US" sz="1400" dirty="0">
              <a:cs typeface="+mn-cs"/>
            </a:endParaRPr>
          </a:p>
        </p:txBody>
      </p:sp>
      <p:sp>
        <p:nvSpPr>
          <p:cNvPr id="269" name="Text Placeholder 2">
            <a:extLst>
              <a:ext uri="{FF2B5EF4-FFF2-40B4-BE49-F238E27FC236}">
                <a16:creationId xmlns:a16="http://schemas.microsoft.com/office/drawing/2014/main" id="{A990E594-9846-4F90-A6EE-B76B46DFF75D}"/>
              </a:ext>
            </a:extLst>
          </p:cNvPr>
          <p:cNvSpPr>
            <a:spLocks noGrp="1"/>
          </p:cNvSpPr>
          <p:nvPr>
            <p:custDataLst>
              <p:tags r:id="rId32"/>
            </p:custDataLst>
          </p:nvPr>
        </p:nvSpPr>
        <p:spPr bwMode="auto">
          <a:xfrm>
            <a:off x="6434138" y="5707063"/>
            <a:ext cx="2984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BBE9FE8-9CF9-40C9-99F7-A68D7DFFC30E}" type="datetime'''J''''''''''''''''''''a''n'''''''''''''''''''''''''''''''''''">
              <a:rPr lang="en-US" altLang="en-US" sz="1400" smtClean="0">
                <a:cs typeface="+mn-cs"/>
              </a:rPr>
              <a:pPr/>
              <a:t>Jan</a:t>
            </a:fld>
            <a:endParaRPr lang="en-US" sz="1400" dirty="0">
              <a:cs typeface="+mn-cs"/>
            </a:endParaRPr>
          </a:p>
        </p:txBody>
      </p:sp>
      <p:sp>
        <p:nvSpPr>
          <p:cNvPr id="279" name="Text Placeholder 2">
            <a:extLst>
              <a:ext uri="{FF2B5EF4-FFF2-40B4-BE49-F238E27FC236}">
                <a16:creationId xmlns:a16="http://schemas.microsoft.com/office/drawing/2014/main" id="{4D4D163B-A628-4AE7-B287-94C0589D08E5}"/>
              </a:ext>
            </a:extLst>
          </p:cNvPr>
          <p:cNvSpPr>
            <a:spLocks noGrp="1"/>
          </p:cNvSpPr>
          <p:nvPr>
            <p:custDataLst>
              <p:tags r:id="rId33"/>
            </p:custDataLst>
          </p:nvPr>
        </p:nvSpPr>
        <p:spPr bwMode="auto">
          <a:xfrm>
            <a:off x="6896100" y="5707063"/>
            <a:ext cx="3175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F11CA04-F419-43E1-B397-10CB9B5B79F6}" type="datetime'''''''F''e''''''''''''''''''''''''''''b'''''''''''">
              <a:rPr lang="en-US" altLang="en-US" sz="1400" smtClean="0">
                <a:cs typeface="+mn-cs"/>
              </a:rPr>
              <a:pPr/>
              <a:t>Feb</a:t>
            </a:fld>
            <a:endParaRPr lang="en-US" sz="1400" dirty="0">
              <a:cs typeface="+mn-cs"/>
            </a:endParaRPr>
          </a:p>
        </p:txBody>
      </p:sp>
      <p:sp>
        <p:nvSpPr>
          <p:cNvPr id="280" name="Text Placeholder 2">
            <a:extLst>
              <a:ext uri="{FF2B5EF4-FFF2-40B4-BE49-F238E27FC236}">
                <a16:creationId xmlns:a16="http://schemas.microsoft.com/office/drawing/2014/main" id="{FC8CA947-60AE-4E87-8B0F-6CAAB9D4572E}"/>
              </a:ext>
            </a:extLst>
          </p:cNvPr>
          <p:cNvSpPr>
            <a:spLocks noGrp="1"/>
          </p:cNvSpPr>
          <p:nvPr>
            <p:custDataLst>
              <p:tags r:id="rId34"/>
            </p:custDataLst>
          </p:nvPr>
        </p:nvSpPr>
        <p:spPr bwMode="auto">
          <a:xfrm>
            <a:off x="7369175" y="5707063"/>
            <a:ext cx="3175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B6021C7-46EE-4B7A-A993-F44E3D1A972B}" type="datetime'M''''''''''a''''''''''''''''''''''''''''''''r'''''">
              <a:rPr lang="en-US" altLang="en-US" sz="1400" smtClean="0">
                <a:cs typeface="+mn-cs"/>
              </a:rPr>
              <a:pPr/>
              <a:t>Mar</a:t>
            </a:fld>
            <a:endParaRPr lang="en-US" sz="1400" dirty="0">
              <a:cs typeface="+mn-cs"/>
            </a:endParaRPr>
          </a:p>
        </p:txBody>
      </p:sp>
      <p:sp>
        <p:nvSpPr>
          <p:cNvPr id="281" name="Text Placeholder 2">
            <a:extLst>
              <a:ext uri="{FF2B5EF4-FFF2-40B4-BE49-F238E27FC236}">
                <a16:creationId xmlns:a16="http://schemas.microsoft.com/office/drawing/2014/main" id="{A55F2243-B982-4813-AB02-81A5ED87BAF1}"/>
              </a:ext>
            </a:extLst>
          </p:cNvPr>
          <p:cNvSpPr>
            <a:spLocks noGrp="1"/>
          </p:cNvSpPr>
          <p:nvPr>
            <p:custDataLst>
              <p:tags r:id="rId35"/>
            </p:custDataLst>
          </p:nvPr>
        </p:nvSpPr>
        <p:spPr bwMode="auto">
          <a:xfrm>
            <a:off x="7856538" y="5707063"/>
            <a:ext cx="2889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A905B3A-CEC7-4873-AA89-F0223B4A585E}" type="datetime'''''''''''''A''''''''''''''''''''p''''''r'''">
              <a:rPr lang="en-US" altLang="en-US" sz="1400" smtClean="0">
                <a:cs typeface="+mn-cs"/>
              </a:rPr>
              <a:pPr/>
              <a:t>Apr</a:t>
            </a:fld>
            <a:endParaRPr lang="en-US" sz="1400" dirty="0">
              <a:cs typeface="+mn-cs"/>
            </a:endParaRPr>
          </a:p>
        </p:txBody>
      </p:sp>
      <p:sp>
        <p:nvSpPr>
          <p:cNvPr id="283" name="Text Placeholder 2">
            <a:extLst>
              <a:ext uri="{FF2B5EF4-FFF2-40B4-BE49-F238E27FC236}">
                <a16:creationId xmlns:a16="http://schemas.microsoft.com/office/drawing/2014/main" id="{890386F2-6B9E-4ADC-AB16-E1BC899355CF}"/>
              </a:ext>
            </a:extLst>
          </p:cNvPr>
          <p:cNvSpPr>
            <a:spLocks noGrp="1"/>
          </p:cNvSpPr>
          <p:nvPr>
            <p:custDataLst>
              <p:tags r:id="rId36"/>
            </p:custDataLst>
          </p:nvPr>
        </p:nvSpPr>
        <p:spPr bwMode="auto">
          <a:xfrm>
            <a:off x="8299450" y="5707063"/>
            <a:ext cx="3476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26D8896-00D3-4B53-9F1C-9DCBBF9543D9}" type="datetime'M''''''''''''''''''''''ay'''''''''''''''''''''''''''''">
              <a:rPr lang="en-US" altLang="en-US" sz="1400" smtClean="0">
                <a:cs typeface="+mn-cs"/>
              </a:rPr>
              <a:pPr/>
              <a:t>May</a:t>
            </a:fld>
            <a:endParaRPr lang="en-US" sz="1400" dirty="0">
              <a:cs typeface="+mn-cs"/>
            </a:endParaRPr>
          </a:p>
        </p:txBody>
      </p:sp>
      <p:sp>
        <p:nvSpPr>
          <p:cNvPr id="284" name="Text Placeholder 2">
            <a:extLst>
              <a:ext uri="{FF2B5EF4-FFF2-40B4-BE49-F238E27FC236}">
                <a16:creationId xmlns:a16="http://schemas.microsoft.com/office/drawing/2014/main" id="{354523D6-275C-443E-9D16-DE946BBADBD0}"/>
              </a:ext>
            </a:extLst>
          </p:cNvPr>
          <p:cNvSpPr>
            <a:spLocks noGrp="1"/>
          </p:cNvSpPr>
          <p:nvPr>
            <p:custDataLst>
              <p:tags r:id="rId37"/>
            </p:custDataLst>
          </p:nvPr>
        </p:nvSpPr>
        <p:spPr bwMode="auto">
          <a:xfrm>
            <a:off x="8796338" y="5707063"/>
            <a:ext cx="2984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9738100-7BE8-4183-80A1-6F8937090524}" type="datetime'''''''''''''''''J''''''''''u''n'''">
              <a:rPr lang="en-US" altLang="en-US" sz="1400" smtClean="0">
                <a:cs typeface="+mn-cs"/>
              </a:rPr>
              <a:pPr/>
              <a:t>Jun</a:t>
            </a:fld>
            <a:endParaRPr lang="en-US" sz="1400" dirty="0">
              <a:cs typeface="+mn-cs"/>
            </a:endParaRPr>
          </a:p>
        </p:txBody>
      </p:sp>
      <p:sp>
        <p:nvSpPr>
          <p:cNvPr id="285" name="Text Placeholder 2">
            <a:extLst>
              <a:ext uri="{FF2B5EF4-FFF2-40B4-BE49-F238E27FC236}">
                <a16:creationId xmlns:a16="http://schemas.microsoft.com/office/drawing/2014/main" id="{5297A981-CC9D-433B-97EC-9D8BEBD8CDD2}"/>
              </a:ext>
            </a:extLst>
          </p:cNvPr>
          <p:cNvSpPr>
            <a:spLocks noGrp="1"/>
          </p:cNvSpPr>
          <p:nvPr>
            <p:custDataLst>
              <p:tags r:id="rId38"/>
            </p:custDataLst>
          </p:nvPr>
        </p:nvSpPr>
        <p:spPr bwMode="auto">
          <a:xfrm>
            <a:off x="9299575" y="5707063"/>
            <a:ext cx="239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D81C715-6133-4FB1-81F1-A99A66E1C28B}" type="datetime'J''''''''''''''''''''''''''''''''''''''''''''''''''ul'''''''''">
              <a:rPr lang="en-US" altLang="en-US" sz="1400" smtClean="0">
                <a:cs typeface="+mn-cs"/>
              </a:rPr>
              <a:pPr/>
              <a:t>Jul</a:t>
            </a:fld>
            <a:endParaRPr lang="en-US" sz="1400" dirty="0">
              <a:cs typeface="+mn-cs"/>
            </a:endParaRPr>
          </a:p>
        </p:txBody>
      </p:sp>
      <p:sp>
        <p:nvSpPr>
          <p:cNvPr id="287" name="Text Placeholder 2">
            <a:extLst>
              <a:ext uri="{FF2B5EF4-FFF2-40B4-BE49-F238E27FC236}">
                <a16:creationId xmlns:a16="http://schemas.microsoft.com/office/drawing/2014/main" id="{2742094C-CA1A-4EE3-9EFD-8E81B4C7C37F}"/>
              </a:ext>
            </a:extLst>
          </p:cNvPr>
          <p:cNvSpPr>
            <a:spLocks noGrp="1"/>
          </p:cNvSpPr>
          <p:nvPr>
            <p:custDataLst>
              <p:tags r:id="rId39"/>
            </p:custDataLst>
          </p:nvPr>
        </p:nvSpPr>
        <p:spPr bwMode="auto">
          <a:xfrm>
            <a:off x="10506075" y="3070225"/>
            <a:ext cx="5127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D26EE6D-2B9E-4F44-9112-D61C753C29D4}" type="datetime'''''''G''''''''''''''''''l''''''o''''''''''''''''b''al'">
              <a:rPr lang="en-US" altLang="en-US" sz="1400" smtClean="0">
                <a:cs typeface="+mn-cs"/>
              </a:rPr>
              <a:pPr/>
              <a:t>Global</a:t>
            </a:fld>
            <a:endParaRPr lang="en-US" sz="1400" dirty="0">
              <a:cs typeface="+mn-cs"/>
            </a:endParaRPr>
          </a:p>
        </p:txBody>
      </p:sp>
      <p:sp>
        <p:nvSpPr>
          <p:cNvPr id="282" name="Text Placeholder 2">
            <a:extLst>
              <a:ext uri="{FF2B5EF4-FFF2-40B4-BE49-F238E27FC236}">
                <a16:creationId xmlns:a16="http://schemas.microsoft.com/office/drawing/2014/main" id="{2AA52338-90D7-4903-8003-AEE5BE2D1661}"/>
              </a:ext>
            </a:extLst>
          </p:cNvPr>
          <p:cNvSpPr>
            <a:spLocks noGrp="1"/>
          </p:cNvSpPr>
          <p:nvPr>
            <p:custDataLst>
              <p:tags r:id="rId40"/>
            </p:custDataLst>
          </p:nvPr>
        </p:nvSpPr>
        <p:spPr bwMode="auto">
          <a:xfrm>
            <a:off x="9726613" y="5707063"/>
            <a:ext cx="3286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A2F675C-A43D-45C1-8D88-24FFC8815318}" type="datetime'''''''Au''''''''''''''''''''''''''g'''''''''''''''''">
              <a:rPr lang="en-US" altLang="en-US" sz="1400" smtClean="0">
                <a:cs typeface="+mn-cs"/>
              </a:rPr>
              <a:pPr/>
              <a:t>Aug</a:t>
            </a:fld>
            <a:endParaRPr lang="en-US" sz="1400" dirty="0">
              <a:cs typeface="+mn-cs"/>
            </a:endParaRPr>
          </a:p>
        </p:txBody>
      </p:sp>
      <p:sp>
        <p:nvSpPr>
          <p:cNvPr id="274" name="Text Placeholder 2">
            <a:extLst>
              <a:ext uri="{FF2B5EF4-FFF2-40B4-BE49-F238E27FC236}">
                <a16:creationId xmlns:a16="http://schemas.microsoft.com/office/drawing/2014/main" id="{83F6F81B-29A6-4F00-B929-8A820C78B9B4}"/>
              </a:ext>
            </a:extLst>
          </p:cNvPr>
          <p:cNvSpPr>
            <a:spLocks noGrp="1"/>
          </p:cNvSpPr>
          <p:nvPr>
            <p:custDataLst>
              <p:tags r:id="rId41"/>
            </p:custDataLst>
          </p:nvPr>
        </p:nvSpPr>
        <p:spPr bwMode="auto">
          <a:xfrm>
            <a:off x="3629025" y="5707063"/>
            <a:ext cx="239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8AC88F4-214B-4A76-9ECC-0E1B86405CCD}" type="datetime'''''''''''''J''''''''''''''''''u''''''''''''''''''l'''''''''">
              <a:rPr lang="en-US" altLang="en-US" sz="1400" smtClean="0">
                <a:cs typeface="+mn-cs"/>
              </a:rPr>
              <a:pPr/>
              <a:t>Jul</a:t>
            </a:fld>
            <a:endParaRPr lang="en-US" sz="1400" dirty="0">
              <a:cs typeface="+mn-cs"/>
            </a:endParaRPr>
          </a:p>
        </p:txBody>
      </p:sp>
      <p:sp>
        <p:nvSpPr>
          <p:cNvPr id="299" name="TextBox 298">
            <a:extLst>
              <a:ext uri="{FF2B5EF4-FFF2-40B4-BE49-F238E27FC236}">
                <a16:creationId xmlns:a16="http://schemas.microsoft.com/office/drawing/2014/main" id="{43EBAFD3-0248-41E9-8EE6-DE7C871F0259}"/>
              </a:ext>
            </a:extLst>
          </p:cNvPr>
          <p:cNvSpPr txBox="1"/>
          <p:nvPr/>
        </p:nvSpPr>
        <p:spPr>
          <a:xfrm>
            <a:off x="745236" y="6019800"/>
            <a:ext cx="455253"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2020</a:t>
            </a:r>
          </a:p>
        </p:txBody>
      </p:sp>
      <p:sp>
        <p:nvSpPr>
          <p:cNvPr id="300" name="TextBox 299">
            <a:extLst>
              <a:ext uri="{FF2B5EF4-FFF2-40B4-BE49-F238E27FC236}">
                <a16:creationId xmlns:a16="http://schemas.microsoft.com/office/drawing/2014/main" id="{53C524BD-0381-4637-9470-A461C2651A20}"/>
              </a:ext>
            </a:extLst>
          </p:cNvPr>
          <p:cNvSpPr txBox="1"/>
          <p:nvPr/>
        </p:nvSpPr>
        <p:spPr>
          <a:xfrm>
            <a:off x="6442711" y="6019800"/>
            <a:ext cx="455253"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2021</a:t>
            </a:r>
          </a:p>
        </p:txBody>
      </p:sp>
      <p:pic>
        <p:nvPicPr>
          <p:cNvPr id="45" name="Content Placeholder 1">
            <a:extLst>
              <a:ext uri="{FF2B5EF4-FFF2-40B4-BE49-F238E27FC236}">
                <a16:creationId xmlns:a16="http://schemas.microsoft.com/office/drawing/2014/main" id="{CED1896B-3455-42DB-AA69-7AD13610BBF2}"/>
              </a:ext>
            </a:extLst>
          </p:cNvPr>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17978763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0E149B92-DD71-4295-8981-071969FC90E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0" name="think-cell Slide" r:id="rId35" imgW="395" imgH="396" progId="TCLayout.ActiveDocument.1">
                  <p:embed/>
                </p:oleObj>
              </mc:Choice>
              <mc:Fallback>
                <p:oleObj name="think-cell Slide" r:id="rId35" imgW="395" imgH="396" progId="TCLayout.ActiveDocument.1">
                  <p:embed/>
                  <p:pic>
                    <p:nvPicPr>
                      <p:cNvPr id="5" name="Object 2" hidden="1">
                        <a:extLst>
                          <a:ext uri="{FF2B5EF4-FFF2-40B4-BE49-F238E27FC236}">
                            <a16:creationId xmlns:a16="http://schemas.microsoft.com/office/drawing/2014/main" id="{0E149B92-DD71-4295-8981-071969FC90E0}"/>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36" name="Rectangle 1" hidden="1">
            <a:extLst>
              <a:ext uri="{FF2B5EF4-FFF2-40B4-BE49-F238E27FC236}">
                <a16:creationId xmlns:a16="http://schemas.microsoft.com/office/drawing/2014/main" id="{2BF6FA9A-A7A8-408D-8FF1-96CB8B4329C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a:ea typeface="+mn-ea"/>
              <a:cs typeface="Arial" panose="020B0604020202020204" pitchFamily="34" charset="0"/>
              <a:sym typeface="+mn-lt"/>
            </a:endParaRPr>
          </a:p>
        </p:txBody>
      </p:sp>
      <p:sp>
        <p:nvSpPr>
          <p:cNvPr id="2" name="1. On-page tracker">
            <a:extLst>
              <a:ext uri="{FF2B5EF4-FFF2-40B4-BE49-F238E27FC236}">
                <a16:creationId xmlns:a16="http://schemas.microsoft.com/office/drawing/2014/main" id="{D1E6E965-82EE-4CFA-A54F-3D2639BFAEDF}"/>
              </a:ext>
            </a:extLst>
          </p:cNvPr>
          <p:cNvSpPr>
            <a:spLocks noGrp="1"/>
          </p:cNvSpPr>
          <p:nvPr>
            <p:ph type="body" sz="quarter" idx="17"/>
            <p:custDataLst>
              <p:tags r:id="rId4"/>
            </p:custDataLst>
          </p:nvPr>
        </p:nvSpPr>
        <p:spPr/>
        <p:txBody>
          <a:bodyPr/>
          <a:lstStyle/>
          <a:p>
            <a:endParaRPr lang="en-US"/>
          </a:p>
        </p:txBody>
      </p:sp>
      <p:sp>
        <p:nvSpPr>
          <p:cNvPr id="6" name="2. Slide Title">
            <a:extLst>
              <a:ext uri="{FF2B5EF4-FFF2-40B4-BE49-F238E27FC236}">
                <a16:creationId xmlns:a16="http://schemas.microsoft.com/office/drawing/2014/main" id="{B7F56E19-37BE-48FF-9E1C-82C37C4A4991}"/>
              </a:ext>
            </a:extLst>
          </p:cNvPr>
          <p:cNvSpPr>
            <a:spLocks noGrp="1"/>
          </p:cNvSpPr>
          <p:nvPr>
            <p:ph type="title"/>
            <p:custDataLst>
              <p:tags r:id="rId5"/>
            </p:custDataLst>
          </p:nvPr>
        </p:nvSpPr>
        <p:spPr>
          <a:xfrm>
            <a:off x="559602" y="455137"/>
            <a:ext cx="7927150" cy="731520"/>
          </a:xfrm>
        </p:spPr>
        <p:txBody>
          <a:bodyPr vert="horz"/>
          <a:lstStyle/>
          <a:p>
            <a:r>
              <a:rPr lang="en-US" dirty="0"/>
              <a:t>Container liners and other owners are expected to continue investing in new  boxes to solve the equipment shortage </a:t>
            </a:r>
          </a:p>
        </p:txBody>
      </p:sp>
      <p:sp>
        <p:nvSpPr>
          <p:cNvPr id="7" name="1. On-page tracker">
            <a:extLst>
              <a:ext uri="{FF2B5EF4-FFF2-40B4-BE49-F238E27FC236}">
                <a16:creationId xmlns:a16="http://schemas.microsoft.com/office/drawing/2014/main" id="{A75C6777-F280-49C2-8CF9-797B1EF16A14}"/>
              </a:ext>
            </a:extLst>
          </p:cNvPr>
          <p:cNvSpPr txBox="1">
            <a:spLocks/>
          </p:cNvSpPr>
          <p:nvPr>
            <p:custDataLst>
              <p:tags r:id="rId6"/>
            </p:custDataLst>
          </p:nvPr>
        </p:nvSpPr>
        <p:spPr>
          <a:xfrm>
            <a:off x="7159752" y="78768"/>
            <a:ext cx="4480560" cy="123111"/>
          </a:xfrm>
          <a:prstGeom prst="rect">
            <a:avLst/>
          </a:prstGeom>
        </p:spPr>
        <p:txBody>
          <a:bodyPr vert="horz" wrap="square" lIns="0" tIns="0" rIns="0" bIns="0" rtlCol="0" anchor="ctr" anchorCtr="0">
            <a:spAutoFit/>
          </a:bodyPr>
          <a:lstStyle>
            <a:lvl1pPr marL="0" indent="0" algn="r" defTabSz="914400" rtl="0" eaLnBrk="1" latinLnBrk="0" hangingPunct="1">
              <a:lnSpc>
                <a:spcPct val="100000"/>
              </a:lnSpc>
              <a:spcBef>
                <a:spcPts val="300"/>
              </a:spcBef>
              <a:spcAft>
                <a:spcPts val="300"/>
              </a:spcAft>
              <a:buFont typeface="Segoe UI" panose="020B0502040204020203" pitchFamily="34" charset="0"/>
              <a:buChar char="​"/>
              <a:defRPr sz="8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endPar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 name="Rectangle 8">
            <a:extLst>
              <a:ext uri="{FF2B5EF4-FFF2-40B4-BE49-F238E27FC236}">
                <a16:creationId xmlns:a16="http://schemas.microsoft.com/office/drawing/2014/main" id="{6B622D66-C5F2-435A-9BF8-A6AD3B5E6C28}"/>
              </a:ext>
            </a:extLst>
          </p:cNvPr>
          <p:cNvSpPr/>
          <p:nvPr/>
        </p:nvSpPr>
        <p:spPr>
          <a:xfrm>
            <a:off x="4572000" y="2668588"/>
            <a:ext cx="3697288" cy="3121025"/>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40" name="Chart 39">
            <a:extLst>
              <a:ext uri="{FF2B5EF4-FFF2-40B4-BE49-F238E27FC236}">
                <a16:creationId xmlns:a16="http://schemas.microsoft.com/office/drawing/2014/main" id="{DC30AE7C-16D7-4B46-8502-CAAA4E19EA83}"/>
              </a:ext>
            </a:extLst>
          </p:cNvPr>
          <p:cNvGraphicFramePr/>
          <p:nvPr>
            <p:custDataLst>
              <p:tags r:id="rId7"/>
            </p:custDataLst>
          </p:nvPr>
        </p:nvGraphicFramePr>
        <p:xfrm>
          <a:off x="831850" y="2586038"/>
          <a:ext cx="7499350" cy="3286125"/>
        </p:xfrm>
        <a:graphic>
          <a:graphicData uri="http://schemas.openxmlformats.org/drawingml/2006/chart">
            <c:chart xmlns:c="http://schemas.openxmlformats.org/drawingml/2006/chart" xmlns:r="http://schemas.openxmlformats.org/officeDocument/2006/relationships" r:id="rId37"/>
          </a:graphicData>
        </a:graphic>
      </p:graphicFrame>
      <p:sp>
        <p:nvSpPr>
          <p:cNvPr id="11" name="Text Placeholder 2">
            <a:extLst>
              <a:ext uri="{FF2B5EF4-FFF2-40B4-BE49-F238E27FC236}">
                <a16:creationId xmlns:a16="http://schemas.microsoft.com/office/drawing/2014/main" id="{FB4CC459-91FA-4BAD-B1C9-0E350E4D3DC1}"/>
              </a:ext>
            </a:extLst>
          </p:cNvPr>
          <p:cNvSpPr>
            <a:spLocks noGrp="1"/>
          </p:cNvSpPr>
          <p:nvPr>
            <p:custDataLst>
              <p:tags r:id="rId8"/>
            </p:custDataLst>
          </p:nvPr>
        </p:nvSpPr>
        <p:spPr bwMode="gray">
          <a:xfrm>
            <a:off x="8366125" y="3602038"/>
            <a:ext cx="3556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0AC7D2A0-88E0-481B-AB48-2B658DB07B2C}" type="datetime'''''''''''''''''''''''''5''''''''''''''4%'">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4%</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14" name="Text Placeholder 2">
            <a:extLst>
              <a:ext uri="{FF2B5EF4-FFF2-40B4-BE49-F238E27FC236}">
                <a16:creationId xmlns:a16="http://schemas.microsoft.com/office/drawing/2014/main" id="{D216B405-A9F9-4E4F-BBF3-7B48F082CDD7}"/>
              </a:ext>
            </a:extLst>
          </p:cNvPr>
          <p:cNvSpPr>
            <a:spLocks noGrp="1"/>
          </p:cNvSpPr>
          <p:nvPr>
            <p:custDataLst>
              <p:tags r:id="rId9"/>
            </p:custDataLst>
          </p:nvPr>
        </p:nvSpPr>
        <p:spPr bwMode="gray">
          <a:xfrm>
            <a:off x="600075" y="4643438"/>
            <a:ext cx="196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9B2772E-BFC4-4C81-B028-15856F494E45}" type="datetime'''''''''1''''''''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13" name="Text Placeholder 2">
            <a:extLst>
              <a:ext uri="{FF2B5EF4-FFF2-40B4-BE49-F238E27FC236}">
                <a16:creationId xmlns:a16="http://schemas.microsoft.com/office/drawing/2014/main" id="{0CC0B322-D6A6-45AF-8218-B0EBCAE469BA}"/>
              </a:ext>
            </a:extLst>
          </p:cNvPr>
          <p:cNvSpPr>
            <a:spLocks noGrp="1"/>
          </p:cNvSpPr>
          <p:nvPr>
            <p:custDataLst>
              <p:tags r:id="rId10"/>
            </p:custDataLst>
          </p:nvPr>
        </p:nvSpPr>
        <p:spPr bwMode="gray">
          <a:xfrm>
            <a:off x="698500" y="5683250"/>
            <a:ext cx="984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A9B3FB7-23A0-4AA1-9188-B5077897E05B}" type="datetime'''''''''''''''''''''''''''''''''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12" name="Text Placeholder 2">
            <a:extLst>
              <a:ext uri="{FF2B5EF4-FFF2-40B4-BE49-F238E27FC236}">
                <a16:creationId xmlns:a16="http://schemas.microsoft.com/office/drawing/2014/main" id="{DBE315B1-DA24-447D-B8F5-710E4FA3A2F7}"/>
              </a:ext>
            </a:extLst>
          </p:cNvPr>
          <p:cNvSpPr>
            <a:spLocks noGrp="1"/>
          </p:cNvSpPr>
          <p:nvPr>
            <p:custDataLst>
              <p:tags r:id="rId11"/>
            </p:custDataLst>
          </p:nvPr>
        </p:nvSpPr>
        <p:spPr bwMode="gray">
          <a:xfrm>
            <a:off x="600075" y="3602038"/>
            <a:ext cx="196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CA4EF63A-440F-4BF8-8277-769112CEFC7C}" type="datetime'''''''''''''''''''2''''''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17" name="Text Placeholder 2">
            <a:extLst>
              <a:ext uri="{FF2B5EF4-FFF2-40B4-BE49-F238E27FC236}">
                <a16:creationId xmlns:a16="http://schemas.microsoft.com/office/drawing/2014/main" id="{8BE915C1-18FE-4E5A-88C0-3143EFA88E2E}"/>
              </a:ext>
            </a:extLst>
          </p:cNvPr>
          <p:cNvSpPr>
            <a:spLocks noGrp="1"/>
          </p:cNvSpPr>
          <p:nvPr>
            <p:custDataLst>
              <p:tags r:id="rId12"/>
            </p:custDataLst>
          </p:nvPr>
        </p:nvSpPr>
        <p:spPr bwMode="gray">
          <a:xfrm>
            <a:off x="8366125" y="4643438"/>
            <a:ext cx="3556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7407157D-C0ED-4989-AB5D-433F445446C7}" type="datetime'''''''''''''''''''''''''''''5''''''''''''2''''%'''">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2%</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15" name="Text Placeholder 2">
            <a:extLst>
              <a:ext uri="{FF2B5EF4-FFF2-40B4-BE49-F238E27FC236}">
                <a16:creationId xmlns:a16="http://schemas.microsoft.com/office/drawing/2014/main" id="{A7E8026F-D2B8-452E-8731-E62295D6B409}"/>
              </a:ext>
            </a:extLst>
          </p:cNvPr>
          <p:cNvSpPr>
            <a:spLocks noGrp="1"/>
          </p:cNvSpPr>
          <p:nvPr>
            <p:custDataLst>
              <p:tags r:id="rId13"/>
            </p:custDataLst>
          </p:nvPr>
        </p:nvSpPr>
        <p:spPr bwMode="gray">
          <a:xfrm>
            <a:off x="600075" y="2562225"/>
            <a:ext cx="196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12AD25B-D5D3-45FA-AD5E-C6A82A6711E4}" type="datetime'''''''''''''''''''''''''''''''''''''''''3''''''''''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3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16" name="Text Placeholder 2">
            <a:extLst>
              <a:ext uri="{FF2B5EF4-FFF2-40B4-BE49-F238E27FC236}">
                <a16:creationId xmlns:a16="http://schemas.microsoft.com/office/drawing/2014/main" id="{66C53E8D-719E-4873-B864-01430E30CD2A}"/>
              </a:ext>
            </a:extLst>
          </p:cNvPr>
          <p:cNvSpPr>
            <a:spLocks noGrp="1"/>
          </p:cNvSpPr>
          <p:nvPr>
            <p:custDataLst>
              <p:tags r:id="rId14"/>
            </p:custDataLst>
          </p:nvPr>
        </p:nvSpPr>
        <p:spPr bwMode="gray">
          <a:xfrm>
            <a:off x="8366125" y="5683250"/>
            <a:ext cx="3556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293DE4F5-215B-441D-A7D6-8EF7E187A1D7}" type="datetime'''''''''''''''''''''''''''''''''''''''''''''''5''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18" name="Text Placeholder 2">
            <a:extLst>
              <a:ext uri="{FF2B5EF4-FFF2-40B4-BE49-F238E27FC236}">
                <a16:creationId xmlns:a16="http://schemas.microsoft.com/office/drawing/2014/main" id="{BAC2380E-4670-43E3-B74A-B4D4DC1166D9}"/>
              </a:ext>
            </a:extLst>
          </p:cNvPr>
          <p:cNvSpPr>
            <a:spLocks noGrp="1"/>
          </p:cNvSpPr>
          <p:nvPr>
            <p:custDataLst>
              <p:tags r:id="rId15"/>
            </p:custDataLst>
          </p:nvPr>
        </p:nvSpPr>
        <p:spPr bwMode="gray">
          <a:xfrm>
            <a:off x="8366125" y="2562225"/>
            <a:ext cx="3556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8253958A-878B-4C54-A402-8D1B531D09B2}" type="datetime'''''56''''''''''''''''''''''''''''''''''''%'">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6%</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22" name="Text Placeholder 2">
            <a:extLst>
              <a:ext uri="{FF2B5EF4-FFF2-40B4-BE49-F238E27FC236}">
                <a16:creationId xmlns:a16="http://schemas.microsoft.com/office/drawing/2014/main" id="{4BD74E44-B22B-4460-9FE0-1295D6BCA373}"/>
              </a:ext>
            </a:extLst>
          </p:cNvPr>
          <p:cNvSpPr>
            <a:spLocks noGrp="1"/>
          </p:cNvSpPr>
          <p:nvPr>
            <p:custDataLst>
              <p:tags r:id="rId16"/>
            </p:custDataLst>
          </p:nvPr>
        </p:nvSpPr>
        <p:spPr bwMode="auto">
          <a:xfrm>
            <a:off x="4017963" y="5848350"/>
            <a:ext cx="2095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8AF4899-3403-4704-81BB-B86D4D83308D}" type="datetime'''''''''''''''''''''''''2''''''''''''''''''''''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21" name="Text Placeholder 2">
            <a:extLst>
              <a:ext uri="{FF2B5EF4-FFF2-40B4-BE49-F238E27FC236}">
                <a16:creationId xmlns:a16="http://schemas.microsoft.com/office/drawing/2014/main" id="{214A7051-0481-4AC1-BC77-13EEAFE8B58E}"/>
              </a:ext>
            </a:extLst>
          </p:cNvPr>
          <p:cNvSpPr>
            <a:spLocks noGrp="1"/>
          </p:cNvSpPr>
          <p:nvPr>
            <p:custDataLst>
              <p:tags r:id="rId17"/>
            </p:custDataLst>
          </p:nvPr>
        </p:nvSpPr>
        <p:spPr bwMode="auto">
          <a:xfrm>
            <a:off x="600075" y="2206625"/>
            <a:ext cx="9048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Million TEU</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23" name="Text Placeholder 2">
            <a:extLst>
              <a:ext uri="{FF2B5EF4-FFF2-40B4-BE49-F238E27FC236}">
                <a16:creationId xmlns:a16="http://schemas.microsoft.com/office/drawing/2014/main" id="{2D4FDCCA-65E9-416C-BE0E-A632386534A6}"/>
              </a:ext>
            </a:extLst>
          </p:cNvPr>
          <p:cNvSpPr>
            <a:spLocks noGrp="1"/>
          </p:cNvSpPr>
          <p:nvPr>
            <p:custDataLst>
              <p:tags r:id="rId18"/>
            </p:custDataLst>
          </p:nvPr>
        </p:nvSpPr>
        <p:spPr bwMode="auto">
          <a:xfrm>
            <a:off x="1169988" y="5848350"/>
            <a:ext cx="4064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4F0D5C8-14DE-4718-9A4E-D498DFE7ABD7}" type="datetime'''''2''01''''''''''7'''''''''''''''''''''''''''''''''''''">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7</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26" name="Text Placeholder 2">
            <a:extLst>
              <a:ext uri="{FF2B5EF4-FFF2-40B4-BE49-F238E27FC236}">
                <a16:creationId xmlns:a16="http://schemas.microsoft.com/office/drawing/2014/main" id="{5AF80707-E7AA-40FF-B02F-CFAA2CBEB034}"/>
              </a:ext>
            </a:extLst>
          </p:cNvPr>
          <p:cNvSpPr>
            <a:spLocks noGrp="1"/>
          </p:cNvSpPr>
          <p:nvPr>
            <p:custDataLst>
              <p:tags r:id="rId19"/>
            </p:custDataLst>
          </p:nvPr>
        </p:nvSpPr>
        <p:spPr bwMode="auto">
          <a:xfrm>
            <a:off x="6769100" y="5848350"/>
            <a:ext cx="2095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B76666D-43B3-4ABA-97FF-92A807EC8367}" type="datetime'''''''2''''''3'''''''''">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3</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24" name="Text Placeholder 2">
            <a:extLst>
              <a:ext uri="{FF2B5EF4-FFF2-40B4-BE49-F238E27FC236}">
                <a16:creationId xmlns:a16="http://schemas.microsoft.com/office/drawing/2014/main" id="{FF847F9C-4A41-472A-A65F-6ED72CE8FF4B}"/>
              </a:ext>
            </a:extLst>
          </p:cNvPr>
          <p:cNvSpPr>
            <a:spLocks noGrp="1"/>
          </p:cNvSpPr>
          <p:nvPr>
            <p:custDataLst>
              <p:tags r:id="rId20"/>
            </p:custDataLst>
          </p:nvPr>
        </p:nvSpPr>
        <p:spPr bwMode="auto">
          <a:xfrm>
            <a:off x="2184400" y="5848350"/>
            <a:ext cx="2095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674807A6-AF34-41F2-9E41-62CD397F6993}" type="datetime'''''''''''''''''''''''''''''''''''''''''''1''''8'''''''''''">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8</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20" name="Text Placeholder 2">
            <a:extLst>
              <a:ext uri="{FF2B5EF4-FFF2-40B4-BE49-F238E27FC236}">
                <a16:creationId xmlns:a16="http://schemas.microsoft.com/office/drawing/2014/main" id="{CC5B7553-E877-42E0-9DF2-128B7E6CE27A}"/>
              </a:ext>
            </a:extLst>
          </p:cNvPr>
          <p:cNvSpPr>
            <a:spLocks noGrp="1"/>
          </p:cNvSpPr>
          <p:nvPr>
            <p:custDataLst>
              <p:tags r:id="rId21"/>
            </p:custDataLst>
          </p:nvPr>
        </p:nvSpPr>
        <p:spPr bwMode="auto">
          <a:xfrm>
            <a:off x="3101975" y="5848350"/>
            <a:ext cx="2095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38183E8-AFE0-4916-899D-781E895C92F1}" type="datetime'1''''''''''''''''''''''''''''''9'">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9</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19" name="Text Placeholder 2">
            <a:extLst>
              <a:ext uri="{FF2B5EF4-FFF2-40B4-BE49-F238E27FC236}">
                <a16:creationId xmlns:a16="http://schemas.microsoft.com/office/drawing/2014/main" id="{149BBCF9-7599-4CF7-BEA3-667739C62CAC}"/>
              </a:ext>
            </a:extLst>
          </p:cNvPr>
          <p:cNvSpPr>
            <a:spLocks noGrp="1"/>
          </p:cNvSpPr>
          <p:nvPr>
            <p:custDataLst>
              <p:tags r:id="rId22"/>
            </p:custDataLst>
          </p:nvPr>
        </p:nvSpPr>
        <p:spPr bwMode="auto">
          <a:xfrm>
            <a:off x="4935538" y="5848350"/>
            <a:ext cx="2095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EAACADF0-D611-427E-8669-7435742D4C20}" type="datetime'''''''''''''''''''21'''''''''''''''''''''''''''">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1</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25" name="Text Placeholder 2">
            <a:extLst>
              <a:ext uri="{FF2B5EF4-FFF2-40B4-BE49-F238E27FC236}">
                <a16:creationId xmlns:a16="http://schemas.microsoft.com/office/drawing/2014/main" id="{8C742C88-16B9-40D2-9D84-121FE8B6AF3E}"/>
              </a:ext>
            </a:extLst>
          </p:cNvPr>
          <p:cNvSpPr>
            <a:spLocks noGrp="1"/>
          </p:cNvSpPr>
          <p:nvPr>
            <p:custDataLst>
              <p:tags r:id="rId23"/>
            </p:custDataLst>
          </p:nvPr>
        </p:nvSpPr>
        <p:spPr bwMode="auto">
          <a:xfrm>
            <a:off x="5851525" y="5848350"/>
            <a:ext cx="2095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8392EF7-8B45-4AFE-8EFE-65D092660BEB}" type="datetime'''''''''2''2'''''''''">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2</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27" name="Text Placeholder 2">
            <a:extLst>
              <a:ext uri="{FF2B5EF4-FFF2-40B4-BE49-F238E27FC236}">
                <a16:creationId xmlns:a16="http://schemas.microsoft.com/office/drawing/2014/main" id="{4711C57E-3E61-4475-A949-A974DC062BF3}"/>
              </a:ext>
            </a:extLst>
          </p:cNvPr>
          <p:cNvSpPr>
            <a:spLocks noGrp="1"/>
          </p:cNvSpPr>
          <p:nvPr>
            <p:custDataLst>
              <p:tags r:id="rId24"/>
            </p:custDataLst>
          </p:nvPr>
        </p:nvSpPr>
        <p:spPr bwMode="auto">
          <a:xfrm>
            <a:off x="7586663" y="5848350"/>
            <a:ext cx="4064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E7FD02B6-F3F4-44E0-B20B-E40D3D2EF7D3}" type="datetime'2''''''''''0''''''2''''''''4'''''''''''''''''''''''''''''''">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4</a:t>
            </a:fld>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28" name="5. Source">
            <a:extLst>
              <a:ext uri="{FF2B5EF4-FFF2-40B4-BE49-F238E27FC236}">
                <a16:creationId xmlns:a16="http://schemas.microsoft.com/office/drawing/2014/main" id="{13EE9B12-D8FB-4E6C-8B76-50D3885E4817}"/>
              </a:ext>
            </a:extLst>
          </p:cNvPr>
          <p:cNvSpPr txBox="1"/>
          <p:nvPr>
            <p:custDataLst>
              <p:tags r:id="rId2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Drewry's Container Equipment Forecaster 4Q20; JOC; McKinsey </a:t>
            </a:r>
          </a:p>
        </p:txBody>
      </p:sp>
      <p:sp>
        <p:nvSpPr>
          <p:cNvPr id="29" name="TextBox 28">
            <a:extLst>
              <a:ext uri="{FF2B5EF4-FFF2-40B4-BE49-F238E27FC236}">
                <a16:creationId xmlns:a16="http://schemas.microsoft.com/office/drawing/2014/main" id="{36F1BE3F-0315-43CB-A8D3-779E607708A0}"/>
              </a:ext>
            </a:extLst>
          </p:cNvPr>
          <p:cNvSpPr txBox="1">
            <a:spLocks/>
          </p:cNvSpPr>
          <p:nvPr/>
        </p:nvSpPr>
        <p:spPr>
          <a:xfrm>
            <a:off x="600075" y="1812036"/>
            <a:ext cx="11082528" cy="246221"/>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tainer fleet by owner category </a:t>
            </a:r>
          </a:p>
        </p:txBody>
      </p:sp>
      <p:sp>
        <p:nvSpPr>
          <p:cNvPr id="30" name="Rectangle 29">
            <a:extLst>
              <a:ext uri="{FF2B5EF4-FFF2-40B4-BE49-F238E27FC236}">
                <a16:creationId xmlns:a16="http://schemas.microsoft.com/office/drawing/2014/main" id="{B1318ACF-250D-49A5-8E01-022B0CD8F79E}"/>
              </a:ext>
            </a:extLst>
          </p:cNvPr>
          <p:cNvSpPr/>
          <p:nvPr>
            <p:custDataLst>
              <p:tags r:id="rId26"/>
            </p:custDataLst>
          </p:nvPr>
        </p:nvSpPr>
        <p:spPr bwMode="auto">
          <a:xfrm>
            <a:off x="3997325" y="1452563"/>
            <a:ext cx="165100" cy="165100"/>
          </a:xfrm>
          <a:prstGeom prst="rect">
            <a:avLst/>
          </a:prstGeom>
          <a:solidFill>
            <a:schemeClr val="accent1"/>
          </a:solidFill>
          <a:ln w="9525" cap="sq" algn="ctr">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07862E86-6B21-40CB-9916-5DA4BA98DD36}"/>
              </a:ext>
            </a:extLst>
          </p:cNvPr>
          <p:cNvSpPr/>
          <p:nvPr>
            <p:custDataLst>
              <p:tags r:id="rId27"/>
            </p:custDataLst>
          </p:nvPr>
        </p:nvSpPr>
        <p:spPr bwMode="auto">
          <a:xfrm>
            <a:off x="7010400" y="1452563"/>
            <a:ext cx="165100" cy="165100"/>
          </a:xfrm>
          <a:prstGeom prst="rect">
            <a:avLst/>
          </a:prstGeom>
          <a:solidFill>
            <a:schemeClr val="accent3"/>
          </a:solidFill>
          <a:ln w="9525" cap="sq" algn="ctr">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cxnSp>
        <p:nvCxnSpPr>
          <p:cNvPr id="31" name="Straight Connector 30">
            <a:extLst>
              <a:ext uri="{FF2B5EF4-FFF2-40B4-BE49-F238E27FC236}">
                <a16:creationId xmlns:a16="http://schemas.microsoft.com/office/drawing/2014/main" id="{FB3E3412-E4CA-4B24-8983-A3747E73DD1D}"/>
              </a:ext>
            </a:extLst>
          </p:cNvPr>
          <p:cNvCxnSpPr/>
          <p:nvPr>
            <p:custDataLst>
              <p:tags r:id="rId28"/>
            </p:custDataLst>
          </p:nvPr>
        </p:nvCxnSpPr>
        <p:spPr bwMode="gray">
          <a:xfrm>
            <a:off x="5516563" y="1535113"/>
            <a:ext cx="139700" cy="0"/>
          </a:xfrm>
          <a:prstGeom prst="line">
            <a:avLst/>
          </a:prstGeom>
          <a:ln w="25400" cap="rnd" cmpd="sng" algn="ctr">
            <a:solidFill>
              <a:schemeClr val="accen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 Placeholder 2">
            <a:extLst>
              <a:ext uri="{FF2B5EF4-FFF2-40B4-BE49-F238E27FC236}">
                <a16:creationId xmlns:a16="http://schemas.microsoft.com/office/drawing/2014/main" id="{A3DF85A3-3044-4A40-8E81-0B04C7178DF7}"/>
              </a:ext>
            </a:extLst>
          </p:cNvPr>
          <p:cNvSpPr>
            <a:spLocks noGrp="1"/>
          </p:cNvSpPr>
          <p:nvPr>
            <p:custDataLst>
              <p:tags r:id="rId29"/>
            </p:custDataLst>
          </p:nvPr>
        </p:nvSpPr>
        <p:spPr bwMode="auto">
          <a:xfrm>
            <a:off x="4213225" y="1450975"/>
            <a:ext cx="11890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Leasing company</a:t>
            </a:r>
          </a:p>
        </p:txBody>
      </p:sp>
      <p:sp>
        <p:nvSpPr>
          <p:cNvPr id="35" name="Text Placeholder 2">
            <a:extLst>
              <a:ext uri="{FF2B5EF4-FFF2-40B4-BE49-F238E27FC236}">
                <a16:creationId xmlns:a16="http://schemas.microsoft.com/office/drawing/2014/main" id="{A2789CE3-472E-402B-9AF0-7FD488AEDDFE}"/>
              </a:ext>
            </a:extLst>
          </p:cNvPr>
          <p:cNvSpPr>
            <a:spLocks noGrp="1"/>
          </p:cNvSpPr>
          <p:nvPr>
            <p:custDataLst>
              <p:tags r:id="rId30"/>
            </p:custDataLst>
          </p:nvPr>
        </p:nvSpPr>
        <p:spPr bwMode="auto">
          <a:xfrm>
            <a:off x="7226300" y="1450975"/>
            <a:ext cx="12525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ransport operator</a:t>
            </a: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34" name="Text Placeholder 2">
            <a:extLst>
              <a:ext uri="{FF2B5EF4-FFF2-40B4-BE49-F238E27FC236}">
                <a16:creationId xmlns:a16="http://schemas.microsoft.com/office/drawing/2014/main" id="{9647BF28-5675-4659-8AE2-7578F10A3AA9}"/>
              </a:ext>
            </a:extLst>
          </p:cNvPr>
          <p:cNvSpPr>
            <a:spLocks noGrp="1"/>
          </p:cNvSpPr>
          <p:nvPr>
            <p:custDataLst>
              <p:tags r:id="rId31"/>
            </p:custDataLst>
          </p:nvPr>
        </p:nvSpPr>
        <p:spPr bwMode="auto">
          <a:xfrm>
            <a:off x="5719763" y="1450975"/>
            <a:ext cx="11890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Leasing company</a:t>
            </a:r>
          </a:p>
        </p:txBody>
      </p:sp>
      <p:sp>
        <p:nvSpPr>
          <p:cNvPr id="46" name="Rectangle 45">
            <a:extLst>
              <a:ext uri="{FF2B5EF4-FFF2-40B4-BE49-F238E27FC236}">
                <a16:creationId xmlns:a16="http://schemas.microsoft.com/office/drawing/2014/main" id="{270CA9ED-7B39-4D51-B61E-14E832ED8F0F}"/>
              </a:ext>
            </a:extLst>
          </p:cNvPr>
          <p:cNvSpPr/>
          <p:nvPr>
            <p:custDataLst>
              <p:tags r:id="rId32"/>
            </p:custDataLst>
          </p:nvPr>
        </p:nvSpPr>
        <p:spPr>
          <a:xfrm>
            <a:off x="9062160" y="1266443"/>
            <a:ext cx="2589022" cy="4832092"/>
          </a:xfrm>
          <a:prstGeom prst="rect">
            <a:avLst/>
          </a:prstGeom>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iners  are already investing to grow their fleet employing a mix of owning and leasing strategy:</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aersk</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increased 40-foot HC fleet by 9.7%, in 2020 and expects to increase that by a further 2% in 2021</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apag-Lloyd</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executed an order of 210,000 container since April 2021</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MA CGM</a:t>
            </a: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increased  its container fleet by 8.7% in the second half of 2020.</a:t>
            </a:r>
          </a:p>
        </p:txBody>
      </p:sp>
      <p:grpSp>
        <p:nvGrpSpPr>
          <p:cNvPr id="48" name="sticker">
            <a:extLst>
              <a:ext uri="{FF2B5EF4-FFF2-40B4-BE49-F238E27FC236}">
                <a16:creationId xmlns:a16="http://schemas.microsoft.com/office/drawing/2014/main" id="{73823E2F-3093-48BB-AB03-2D8CB97FC291}"/>
              </a:ext>
            </a:extLst>
          </p:cNvPr>
          <p:cNvGrpSpPr/>
          <p:nvPr/>
        </p:nvGrpSpPr>
        <p:grpSpPr>
          <a:xfrm>
            <a:off x="558192" y="1289273"/>
            <a:ext cx="654025" cy="156966"/>
            <a:chOff x="558192" y="1289273"/>
            <a:chExt cx="654025" cy="156966"/>
          </a:xfrm>
        </p:grpSpPr>
        <p:sp>
          <p:nvSpPr>
            <p:cNvPr id="49" name="StickerRectangle">
              <a:extLst>
                <a:ext uri="{FF2B5EF4-FFF2-40B4-BE49-F238E27FC236}">
                  <a16:creationId xmlns:a16="http://schemas.microsoft.com/office/drawing/2014/main" id="{1273FBD2-47F4-4A35-BD74-349B98C499C2}"/>
                </a:ext>
              </a:extLst>
            </p:cNvPr>
            <p:cNvSpPr>
              <a:spLocks noChangeArrowheads="1"/>
            </p:cNvSpPr>
            <p:nvPr userDrawn="1"/>
          </p:nvSpPr>
          <p:spPr bwMode="gray">
            <a:xfrm>
              <a:off x="558192" y="1289273"/>
              <a:ext cx="654025"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marL="0" marR="0" lvl="0" indent="0" algn="l" defTabSz="1193860" rtl="0" eaLnBrk="1" fontAlgn="auto" latinLnBrk="0" hangingPunct="1">
                <a:lnSpc>
                  <a:spcPct val="100000"/>
                </a:lnSpc>
                <a:spcBef>
                  <a:spcPts val="0"/>
                </a:spcBef>
                <a:spcAft>
                  <a:spcPts val="0"/>
                </a:spcAft>
                <a:buClr>
                  <a:srgbClr val="FFFFFF"/>
                </a:buClr>
                <a:buSzTx/>
                <a:buFontTx/>
                <a:buNone/>
                <a:tabLst/>
                <a:defRPr/>
              </a:pPr>
              <a:r>
                <a:rPr kumimoji="0" lang="en-US" sz="900" b="1" i="0" u="none" strike="noStrike" kern="1200" cap="none" spc="50" normalizeH="0" baseline="0" noProof="0">
                  <a:ln w="3175">
                    <a:noFill/>
                  </a:ln>
                  <a:solidFill>
                    <a:srgbClr val="000000"/>
                  </a:solidFill>
                  <a:effectLst/>
                  <a:uLnTx/>
                  <a:uFillTx/>
                  <a:latin typeface="Arial"/>
                  <a:ea typeface="+mn-ea"/>
                  <a:cs typeface="+mn-cs"/>
                </a:rPr>
                <a:t>Illustrative</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50" name="StickerUnderline">
              <a:extLst>
                <a:ext uri="{FF2B5EF4-FFF2-40B4-BE49-F238E27FC236}">
                  <a16:creationId xmlns:a16="http://schemas.microsoft.com/office/drawing/2014/main" id="{367EE36C-1527-41F7-946E-A527DA176D91}"/>
                </a:ext>
              </a:extLst>
            </p:cNvPr>
            <p:cNvCxnSpPr>
              <a:cxnSpLocks noChangeShapeType="1"/>
              <a:stCxn id="49" idx="4"/>
              <a:endCxn id="49" idx="6"/>
            </p:cNvCxnSpPr>
            <p:nvPr/>
          </p:nvCxnSpPr>
          <p:spPr bwMode="gray">
            <a:xfrm>
              <a:off x="558192" y="1446239"/>
              <a:ext cx="654025"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pic>
        <p:nvPicPr>
          <p:cNvPr id="38" name="Content Placeholder 1">
            <a:extLst>
              <a:ext uri="{FF2B5EF4-FFF2-40B4-BE49-F238E27FC236}">
                <a16:creationId xmlns:a16="http://schemas.microsoft.com/office/drawing/2014/main" id="{75927BF0-E7CB-4B19-BE04-FE23B9CD0DAF}"/>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41735189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29580681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7354" name="think-cell Slide" r:id="rId28" imgW="216" imgH="216" progId="TCLayout.ActiveDocument.1">
                  <p:embed/>
                </p:oleObj>
              </mc:Choice>
              <mc:Fallback>
                <p:oleObj name="think-cell Slide" r:id="rId28" imgW="216" imgH="216" progId="TCLayout.ActiveDocument.1">
                  <p:embed/>
                  <p:pic>
                    <p:nvPicPr>
                      <p:cNvPr id="14" name="Object 13" hidden="1"/>
                      <p:cNvPicPr/>
                      <p:nvPr/>
                    </p:nvPicPr>
                    <p:blipFill>
                      <a:blip r:embed="rId29"/>
                      <a:stretch>
                        <a:fillRect/>
                      </a:stretch>
                    </p:blipFill>
                    <p:spPr>
                      <a:xfrm>
                        <a:off x="2118" y="2118"/>
                        <a:ext cx="2117" cy="2117"/>
                      </a:xfrm>
                      <a:prstGeom prst="rect">
                        <a:avLst/>
                      </a:prstGeom>
                    </p:spPr>
                  </p:pic>
                </p:oleObj>
              </mc:Fallback>
            </mc:AlternateContent>
          </a:graphicData>
        </a:graphic>
      </p:graphicFrame>
      <p:sp>
        <p:nvSpPr>
          <p:cNvPr id="16" name="Rectangle 15" hidden="1"/>
          <p:cNvSpPr/>
          <p:nvPr>
            <p:custDataLst>
              <p:tags r:id="rId3"/>
            </p:custDataLst>
          </p:nvPr>
        </p:nvSpPr>
        <p:spPr bwMode="gray">
          <a:xfrm>
            <a:off x="0" y="0"/>
            <a:ext cx="211667" cy="211667"/>
          </a:xfrm>
          <a:prstGeom prst="rect">
            <a:avLst/>
          </a:prstGeom>
          <a:solidFill>
            <a:schemeClr val="accent6"/>
          </a:solidFill>
          <a:ln>
            <a:solidFill>
              <a:schemeClr val="accent6"/>
            </a:solid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667" b="1" dirty="0">
              <a:solidFill>
                <a:schemeClr val="bg1"/>
              </a:solidFill>
              <a:latin typeface="Arial" panose="020B0604020202020204" pitchFamily="34" charset="0"/>
              <a:ea typeface="+mj-ea"/>
              <a:cs typeface="+mj-cs"/>
              <a:sym typeface="Arial" panose="020B0604020202020204" pitchFamily="34" charset="0"/>
            </a:endParaRPr>
          </a:p>
        </p:txBody>
      </p:sp>
      <p:sp>
        <p:nvSpPr>
          <p:cNvPr id="13" name="Title 12"/>
          <p:cNvSpPr>
            <a:spLocks noGrp="1"/>
          </p:cNvSpPr>
          <p:nvPr>
            <p:ph type="title"/>
          </p:nvPr>
        </p:nvSpPr>
        <p:spPr>
          <a:xfrm>
            <a:off x="598801" y="-165669"/>
            <a:ext cx="11396103" cy="1007531"/>
          </a:xfrm>
        </p:spPr>
        <p:txBody>
          <a:bodyPr vert="horz"/>
          <a:lstStyle/>
          <a:p>
            <a:r>
              <a:rPr lang="en-US" dirty="0"/>
              <a:t>Liners slowly adding orders for new vessels with some </a:t>
            </a:r>
            <a:br>
              <a:rPr lang="en-US" dirty="0"/>
            </a:br>
            <a:r>
              <a:rPr lang="en-US" dirty="0"/>
              <a:t>aggressively – Evergreen’s current orderbook is &gt;50% of its capacity</a:t>
            </a:r>
          </a:p>
        </p:txBody>
      </p:sp>
      <p:pic>
        <p:nvPicPr>
          <p:cNvPr id="69" name="Picture 68">
            <a:extLst>
              <a:ext uri="{FF2B5EF4-FFF2-40B4-BE49-F238E27FC236}">
                <a16:creationId xmlns:a16="http://schemas.microsoft.com/office/drawing/2014/main" id="{8F2D5C53-6EDD-42A4-8FEB-8D500BE23745}"/>
              </a:ext>
            </a:extLst>
          </p:cNvPr>
          <p:cNvPicPr>
            <a:picLocks noChangeAspect="1" noChangeArrowheads="1"/>
          </p:cNvPicPr>
          <p:nvPr/>
        </p:nvPicPr>
        <p:blipFill>
          <a:blip r:embed="rId3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95201" y="-42884"/>
            <a:ext cx="30937" cy="7476"/>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4E091143-849B-4D55-838A-8450FB64512E}"/>
              </a:ext>
            </a:extLst>
          </p:cNvPr>
          <p:cNvSpPr txBox="1"/>
          <p:nvPr/>
        </p:nvSpPr>
        <p:spPr bwMode="gray">
          <a:xfrm>
            <a:off x="840312" y="6505703"/>
            <a:ext cx="9647777" cy="287130"/>
          </a:xfrm>
          <a:prstGeom prst="rect">
            <a:avLst/>
          </a:prstGeom>
          <a:solidFill>
            <a:schemeClr val="bg1"/>
          </a:solidFill>
        </p:spPr>
        <p:txBody>
          <a:bodyPr wrap="square" lIns="0" tIns="0" rIns="0" bIns="0" rtlCol="0">
            <a:spAutoFit/>
          </a:bodyPr>
          <a:lstStyle/>
          <a:p>
            <a:pPr lvl="0">
              <a:buClr>
                <a:srgbClr val="0341D2"/>
              </a:buClr>
              <a:defRPr/>
            </a:pPr>
            <a:br>
              <a:rPr lang="en-US" sz="933" dirty="0">
                <a:solidFill>
                  <a:schemeClr val="tx2"/>
                </a:solidFill>
              </a:rPr>
            </a:br>
            <a:r>
              <a:rPr lang="en-US" sz="933" dirty="0">
                <a:solidFill>
                  <a:schemeClr val="tx2"/>
                </a:solidFill>
              </a:rPr>
              <a:t>Sources: Transmodal (30.04.2021), Alphaliner (23.06.2021), Clarksons (06.05.2021), Desk research</a:t>
            </a:r>
            <a:endParaRPr lang="en-US" sz="933" b="1" dirty="0">
              <a:solidFill>
                <a:schemeClr val="tx2"/>
              </a:solidFill>
              <a:latin typeface="Arial"/>
            </a:endParaRPr>
          </a:p>
        </p:txBody>
      </p:sp>
      <p:sp>
        <p:nvSpPr>
          <p:cNvPr id="3" name="Rectangle 2" hidden="1">
            <a:extLst>
              <a:ext uri="{FF2B5EF4-FFF2-40B4-BE49-F238E27FC236}">
                <a16:creationId xmlns:a16="http://schemas.microsoft.com/office/drawing/2014/main" id="{F043F686-BCE9-4F82-81A3-F1D3EA3D5DEF}"/>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a:solidFill>
                <a:schemeClr val="bg1"/>
              </a:solidFill>
              <a:latin typeface="Georgia" panose="02040502050405020303" pitchFamily="18" charset="0"/>
              <a:ea typeface="+mj-ea"/>
              <a:cs typeface="+mj-cs"/>
            </a:endParaRPr>
          </a:p>
        </p:txBody>
      </p:sp>
      <p:sp>
        <p:nvSpPr>
          <p:cNvPr id="246" name="4. Footnote">
            <a:extLst>
              <a:ext uri="{FF2B5EF4-FFF2-40B4-BE49-F238E27FC236}">
                <a16:creationId xmlns:a16="http://schemas.microsoft.com/office/drawing/2014/main" id="{C904FF37-0171-4B6B-82F3-DDDF3172B100}"/>
              </a:ext>
            </a:extLst>
          </p:cNvPr>
          <p:cNvSpPr txBox="1"/>
          <p:nvPr>
            <p:custDataLst>
              <p:tags r:id="rId4"/>
            </p:custDataLst>
          </p:nvPr>
        </p:nvSpPr>
        <p:spPr>
          <a:xfrm>
            <a:off x="553972" y="6279028"/>
            <a:ext cx="7278624" cy="123111"/>
          </a:xfrm>
          <a:prstGeom prst="rect">
            <a:avLst/>
          </a:prstGeom>
          <a:noFill/>
        </p:spPr>
        <p:txBody>
          <a:bodyPr wrap="square" lIns="0" tIns="0" rIns="0" bIns="0" rtlCol="0" anchor="b">
            <a:spAutoFit/>
          </a:body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	As </a:t>
            </a:r>
            <a:r>
              <a:rPr lang="en-US" sz="800" dirty="0">
                <a:solidFill>
                  <a:srgbClr val="000000"/>
                </a:solidFill>
                <a:latin typeface="Arial"/>
                <a:cs typeface="Arial" panose="020B0604020202020204" pitchFamily="34" charset="0"/>
              </a:rPr>
              <a:t>of </a:t>
            </a: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ugust 8</a:t>
            </a:r>
            <a:r>
              <a:rPr kumimoji="0" lang="en-US" sz="800" b="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th</a:t>
            </a:r>
            <a:endPar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77" name="5. Source">
            <a:extLst>
              <a:ext uri="{FF2B5EF4-FFF2-40B4-BE49-F238E27FC236}">
                <a16:creationId xmlns:a16="http://schemas.microsoft.com/office/drawing/2014/main" id="{FD4BF495-A7D8-4826-AA3C-B1C4F6AA42EE}"/>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lphaliner; McKinsey </a:t>
            </a:r>
          </a:p>
        </p:txBody>
      </p:sp>
      <p:sp>
        <p:nvSpPr>
          <p:cNvPr id="96" name="3. Subtitle">
            <a:extLst>
              <a:ext uri="{FF2B5EF4-FFF2-40B4-BE49-F238E27FC236}">
                <a16:creationId xmlns:a16="http://schemas.microsoft.com/office/drawing/2014/main" id="{BAEFC080-B5D2-4F4B-8C50-D6D3B7AE12B9}"/>
              </a:ext>
            </a:extLst>
          </p:cNvPr>
          <p:cNvSpPr txBox="1">
            <a:spLocks/>
          </p:cNvSpPr>
          <p:nvPr>
            <p:custDataLst>
              <p:tags r:id="rId6"/>
            </p:custDataLst>
          </p:nvPr>
        </p:nvSpPr>
        <p:spPr>
          <a:xfrm>
            <a:off x="510671" y="845822"/>
            <a:ext cx="11082528" cy="276999"/>
          </a:xfrm>
          <a:prstGeom prst="rect">
            <a:avLst/>
          </a:prstGeom>
        </p:spPr>
        <p:txBody>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None/>
            </a:pPr>
            <a:r>
              <a:rPr lang="de-DE" sz="1800" dirty="0"/>
              <a:t>Top container liners current orderbook, 000 TEUs </a:t>
            </a:r>
          </a:p>
        </p:txBody>
      </p:sp>
      <p:graphicFrame>
        <p:nvGraphicFramePr>
          <p:cNvPr id="56" name="Chart 55">
            <a:extLst>
              <a:ext uri="{FF2B5EF4-FFF2-40B4-BE49-F238E27FC236}">
                <a16:creationId xmlns:a16="http://schemas.microsoft.com/office/drawing/2014/main" id="{E3555F5B-BE88-4F99-8218-F8BEDD0B900E}"/>
              </a:ext>
            </a:extLst>
          </p:cNvPr>
          <p:cNvGraphicFramePr/>
          <p:nvPr>
            <p:custDataLst>
              <p:tags r:id="rId7"/>
            </p:custDataLst>
          </p:nvPr>
        </p:nvGraphicFramePr>
        <p:xfrm>
          <a:off x="669925" y="2614613"/>
          <a:ext cx="10847388" cy="2225675"/>
        </p:xfrm>
        <a:graphic>
          <a:graphicData uri="http://schemas.openxmlformats.org/drawingml/2006/chart">
            <c:chart xmlns:c="http://schemas.openxmlformats.org/drawingml/2006/chart" xmlns:r="http://schemas.openxmlformats.org/officeDocument/2006/relationships" r:id="rId31"/>
          </a:graphicData>
        </a:graphic>
      </p:graphicFrame>
      <p:sp>
        <p:nvSpPr>
          <p:cNvPr id="211" name="Text Placeholder 2">
            <a:extLst>
              <a:ext uri="{FF2B5EF4-FFF2-40B4-BE49-F238E27FC236}">
                <a16:creationId xmlns:a16="http://schemas.microsoft.com/office/drawing/2014/main" id="{192DB789-515B-4504-BE53-6445F2427687}"/>
              </a:ext>
            </a:extLst>
          </p:cNvPr>
          <p:cNvSpPr>
            <a:spLocks noGrp="1"/>
          </p:cNvSpPr>
          <p:nvPr>
            <p:custDataLst>
              <p:tags r:id="rId8"/>
            </p:custDataLst>
          </p:nvPr>
        </p:nvSpPr>
        <p:spPr bwMode="gray">
          <a:xfrm>
            <a:off x="8615363" y="41830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70C6FE0-486E-414F-A1BF-A472618BDC31}" type="datetime'''''''''''''''''''''1''''''''''''''''''''''''6''''''3'''''''">
              <a:rPr lang="en-US" altLang="en-US" sz="1200" smtClean="0">
                <a:cs typeface="+mn-cs"/>
                <a:sym typeface="+mn-lt"/>
              </a:rPr>
              <a:pPr algn="ctr">
                <a:spcBef>
                  <a:spcPct val="0"/>
                </a:spcBef>
                <a:spcAft>
                  <a:spcPct val="0"/>
                </a:spcAft>
              </a:pPr>
              <a:t>163</a:t>
            </a:fld>
            <a:endParaRPr lang="en-US" sz="1200" dirty="0">
              <a:cs typeface="+mn-cs"/>
              <a:sym typeface="+mn-lt"/>
            </a:endParaRPr>
          </a:p>
        </p:txBody>
      </p:sp>
      <p:sp>
        <p:nvSpPr>
          <p:cNvPr id="206" name="Text Placeholder 2">
            <a:extLst>
              <a:ext uri="{FF2B5EF4-FFF2-40B4-BE49-F238E27FC236}">
                <a16:creationId xmlns:a16="http://schemas.microsoft.com/office/drawing/2014/main" id="{192DB789-515B-4504-BE53-6445F2427687}"/>
              </a:ext>
            </a:extLst>
          </p:cNvPr>
          <p:cNvSpPr>
            <a:spLocks noGrp="1"/>
          </p:cNvSpPr>
          <p:nvPr>
            <p:custDataLst>
              <p:tags r:id="rId9"/>
            </p:custDataLst>
          </p:nvPr>
        </p:nvSpPr>
        <p:spPr bwMode="gray">
          <a:xfrm>
            <a:off x="3275013" y="333375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A5BA0E8-7646-40D7-AE4A-9E57B36165F6}" type="datetime'''''''5''''''''''4''''''''''''''''''''''''''''''''''1'">
              <a:rPr lang="en-US" altLang="en-US" sz="1200" smtClean="0">
                <a:cs typeface="+mn-cs"/>
                <a:sym typeface="+mn-lt"/>
              </a:rPr>
              <a:pPr algn="ctr">
                <a:spcBef>
                  <a:spcPct val="0"/>
                </a:spcBef>
                <a:spcAft>
                  <a:spcPct val="0"/>
                </a:spcAft>
              </a:pPr>
              <a:t>541</a:t>
            </a:fld>
            <a:endParaRPr lang="en-US" sz="1200" dirty="0">
              <a:cs typeface="+mn-cs"/>
              <a:sym typeface="+mn-lt"/>
            </a:endParaRPr>
          </a:p>
        </p:txBody>
      </p:sp>
      <p:sp>
        <p:nvSpPr>
          <p:cNvPr id="207" name="Text Placeholder 2">
            <a:extLst>
              <a:ext uri="{FF2B5EF4-FFF2-40B4-BE49-F238E27FC236}">
                <a16:creationId xmlns:a16="http://schemas.microsoft.com/office/drawing/2014/main" id="{192DB789-515B-4504-BE53-6445F2427687}"/>
              </a:ext>
            </a:extLst>
          </p:cNvPr>
          <p:cNvSpPr>
            <a:spLocks noGrp="1"/>
          </p:cNvSpPr>
          <p:nvPr>
            <p:custDataLst>
              <p:tags r:id="rId10"/>
            </p:custDataLst>
          </p:nvPr>
        </p:nvSpPr>
        <p:spPr bwMode="gray">
          <a:xfrm>
            <a:off x="4343400" y="359410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F3B5300-B717-4D13-83BF-F757EA4A74C0}" type="datetime'''''''''''4''''''''''''''''''2''''''''''''''''''''5'''''''''''">
              <a:rPr lang="en-US" altLang="en-US" sz="1200" smtClean="0">
                <a:cs typeface="+mn-cs"/>
                <a:sym typeface="+mn-lt"/>
              </a:rPr>
              <a:pPr algn="ctr">
                <a:spcBef>
                  <a:spcPct val="0"/>
                </a:spcBef>
                <a:spcAft>
                  <a:spcPct val="0"/>
                </a:spcAft>
              </a:pPr>
              <a:t>425</a:t>
            </a:fld>
            <a:endParaRPr lang="en-US" sz="1200" dirty="0">
              <a:cs typeface="+mn-cs"/>
              <a:sym typeface="+mn-lt"/>
            </a:endParaRPr>
          </a:p>
        </p:txBody>
      </p:sp>
      <p:sp>
        <p:nvSpPr>
          <p:cNvPr id="204" name="Text Placeholder 2">
            <a:extLst>
              <a:ext uri="{FF2B5EF4-FFF2-40B4-BE49-F238E27FC236}">
                <a16:creationId xmlns:a16="http://schemas.microsoft.com/office/drawing/2014/main" id="{192DB789-515B-4504-BE53-6445F2427687}"/>
              </a:ext>
            </a:extLst>
          </p:cNvPr>
          <p:cNvSpPr>
            <a:spLocks noGrp="1"/>
          </p:cNvSpPr>
          <p:nvPr>
            <p:custDataLst>
              <p:tags r:id="rId11"/>
            </p:custDataLst>
          </p:nvPr>
        </p:nvSpPr>
        <p:spPr bwMode="gray">
          <a:xfrm>
            <a:off x="1138238" y="248920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AFD1338-0628-49A2-A1ED-ADE772D743E7}" type="datetime'''''''''9''''''''1''''7'''''''''''''''''''''''''''''''">
              <a:rPr lang="en-US" altLang="en-US" sz="1200" smtClean="0">
                <a:cs typeface="+mn-cs"/>
                <a:sym typeface="+mn-lt"/>
              </a:rPr>
              <a:pPr algn="ctr">
                <a:spcBef>
                  <a:spcPct val="0"/>
                </a:spcBef>
                <a:spcAft>
                  <a:spcPct val="0"/>
                </a:spcAft>
              </a:pPr>
              <a:t>917</a:t>
            </a:fld>
            <a:endParaRPr lang="en-US" sz="1200" dirty="0">
              <a:cs typeface="+mn-cs"/>
              <a:sym typeface="+mn-lt"/>
            </a:endParaRPr>
          </a:p>
        </p:txBody>
      </p:sp>
      <p:sp>
        <p:nvSpPr>
          <p:cNvPr id="205" name="Text Placeholder 2">
            <a:extLst>
              <a:ext uri="{FF2B5EF4-FFF2-40B4-BE49-F238E27FC236}">
                <a16:creationId xmlns:a16="http://schemas.microsoft.com/office/drawing/2014/main" id="{192DB789-515B-4504-BE53-6445F2427687}"/>
              </a:ext>
            </a:extLst>
          </p:cNvPr>
          <p:cNvSpPr>
            <a:spLocks noGrp="1"/>
          </p:cNvSpPr>
          <p:nvPr>
            <p:custDataLst>
              <p:tags r:id="rId12"/>
            </p:custDataLst>
          </p:nvPr>
        </p:nvSpPr>
        <p:spPr bwMode="gray">
          <a:xfrm>
            <a:off x="2206625" y="300355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AA0D695-2435-424D-9316-A03F3D2A2D93}" type="datetime'''''''''''''''''''''''''''''6''''''''''''''8''''''''''''''''8'">
              <a:rPr lang="en-US" altLang="en-US" sz="1200" smtClean="0">
                <a:cs typeface="+mn-cs"/>
                <a:sym typeface="+mn-lt"/>
              </a:rPr>
              <a:pPr algn="ctr">
                <a:spcBef>
                  <a:spcPct val="0"/>
                </a:spcBef>
                <a:spcAft>
                  <a:spcPct val="0"/>
                </a:spcAft>
              </a:pPr>
              <a:t>688</a:t>
            </a:fld>
            <a:endParaRPr lang="en-US" sz="1200" dirty="0">
              <a:cs typeface="+mn-cs"/>
              <a:sym typeface="+mn-lt"/>
            </a:endParaRPr>
          </a:p>
        </p:txBody>
      </p:sp>
      <p:sp>
        <p:nvSpPr>
          <p:cNvPr id="208" name="Text Placeholder 2">
            <a:extLst>
              <a:ext uri="{FF2B5EF4-FFF2-40B4-BE49-F238E27FC236}">
                <a16:creationId xmlns:a16="http://schemas.microsoft.com/office/drawing/2014/main" id="{192DB789-515B-4504-BE53-6445F2427687}"/>
              </a:ext>
            </a:extLst>
          </p:cNvPr>
          <p:cNvSpPr>
            <a:spLocks noGrp="1"/>
          </p:cNvSpPr>
          <p:nvPr>
            <p:custDataLst>
              <p:tags r:id="rId13"/>
            </p:custDataLst>
          </p:nvPr>
        </p:nvSpPr>
        <p:spPr bwMode="gray">
          <a:xfrm>
            <a:off x="5411788" y="3616325"/>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298ED11-5D20-477A-93F7-D89D8B0F6604}" type="datetime'''''''''4''''''''''''''''''15'''''''''''''">
              <a:rPr lang="en-US" altLang="en-US" sz="1200" smtClean="0">
                <a:cs typeface="+mn-cs"/>
                <a:sym typeface="+mn-lt"/>
              </a:rPr>
              <a:pPr algn="ctr">
                <a:spcBef>
                  <a:spcPct val="0"/>
                </a:spcBef>
                <a:spcAft>
                  <a:spcPct val="0"/>
                </a:spcAft>
              </a:pPr>
              <a:t>415</a:t>
            </a:fld>
            <a:endParaRPr lang="en-US" sz="1200" dirty="0">
              <a:cs typeface="+mn-cs"/>
              <a:sym typeface="+mn-lt"/>
            </a:endParaRPr>
          </a:p>
        </p:txBody>
      </p:sp>
      <p:sp>
        <p:nvSpPr>
          <p:cNvPr id="209" name="Text Placeholder 2">
            <a:extLst>
              <a:ext uri="{FF2B5EF4-FFF2-40B4-BE49-F238E27FC236}">
                <a16:creationId xmlns:a16="http://schemas.microsoft.com/office/drawing/2014/main" id="{192DB789-515B-4504-BE53-6445F2427687}"/>
              </a:ext>
            </a:extLst>
          </p:cNvPr>
          <p:cNvSpPr>
            <a:spLocks noGrp="1"/>
          </p:cNvSpPr>
          <p:nvPr>
            <p:custDataLst>
              <p:tags r:id="rId14"/>
            </p:custDataLst>
          </p:nvPr>
        </p:nvSpPr>
        <p:spPr bwMode="gray">
          <a:xfrm>
            <a:off x="6480175" y="3984625"/>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BDCCC52-74AF-4E82-A384-E12FF112BB5B}" type="datetime'''2''''''''5''''''2'''''">
              <a:rPr lang="en-US" altLang="en-US" sz="1200" smtClean="0">
                <a:cs typeface="+mn-cs"/>
                <a:sym typeface="+mn-lt"/>
              </a:rPr>
              <a:pPr algn="ctr">
                <a:spcBef>
                  <a:spcPct val="0"/>
                </a:spcBef>
                <a:spcAft>
                  <a:spcPct val="0"/>
                </a:spcAft>
              </a:pPr>
              <a:t>252</a:t>
            </a:fld>
            <a:endParaRPr lang="en-US" sz="1200" dirty="0">
              <a:cs typeface="+mn-cs"/>
              <a:sym typeface="+mn-lt"/>
            </a:endParaRPr>
          </a:p>
        </p:txBody>
      </p:sp>
      <p:sp>
        <p:nvSpPr>
          <p:cNvPr id="210" name="Text Placeholder 2">
            <a:extLst>
              <a:ext uri="{FF2B5EF4-FFF2-40B4-BE49-F238E27FC236}">
                <a16:creationId xmlns:a16="http://schemas.microsoft.com/office/drawing/2014/main" id="{192DB789-515B-4504-BE53-6445F2427687}"/>
              </a:ext>
            </a:extLst>
          </p:cNvPr>
          <p:cNvSpPr>
            <a:spLocks noGrp="1"/>
          </p:cNvSpPr>
          <p:nvPr>
            <p:custDataLst>
              <p:tags r:id="rId15"/>
            </p:custDataLst>
          </p:nvPr>
        </p:nvSpPr>
        <p:spPr bwMode="gray">
          <a:xfrm>
            <a:off x="7546975" y="40560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FAC6525-71BF-4A88-BC36-F2BF49632BA2}" type="datetime'2''''''''''''''''''''20'''''''''">
              <a:rPr lang="en-US" altLang="en-US" sz="1200" smtClean="0">
                <a:cs typeface="+mn-cs"/>
                <a:sym typeface="+mn-lt"/>
              </a:rPr>
              <a:pPr algn="ctr">
                <a:spcBef>
                  <a:spcPct val="0"/>
                </a:spcBef>
                <a:spcAft>
                  <a:spcPct val="0"/>
                </a:spcAft>
              </a:pPr>
              <a:t>220</a:t>
            </a:fld>
            <a:endParaRPr lang="en-US" sz="1200" dirty="0">
              <a:cs typeface="+mn-cs"/>
              <a:sym typeface="+mn-lt"/>
            </a:endParaRPr>
          </a:p>
        </p:txBody>
      </p:sp>
      <p:sp>
        <p:nvSpPr>
          <p:cNvPr id="212" name="Text Placeholder 2">
            <a:extLst>
              <a:ext uri="{FF2B5EF4-FFF2-40B4-BE49-F238E27FC236}">
                <a16:creationId xmlns:a16="http://schemas.microsoft.com/office/drawing/2014/main" id="{192DB789-515B-4504-BE53-6445F2427687}"/>
              </a:ext>
            </a:extLst>
          </p:cNvPr>
          <p:cNvSpPr>
            <a:spLocks noGrp="1"/>
          </p:cNvSpPr>
          <p:nvPr>
            <p:custDataLst>
              <p:tags r:id="rId16"/>
            </p:custDataLst>
          </p:nvPr>
        </p:nvSpPr>
        <p:spPr bwMode="gray">
          <a:xfrm>
            <a:off x="9725025" y="4330700"/>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9634AF6-B386-41CD-9888-A1C879CF84CF}" type="datetime'''''''''9''''''''''''''''''''''8'''">
              <a:rPr lang="en-US" altLang="en-US" sz="1200" smtClean="0">
                <a:cs typeface="+mn-cs"/>
                <a:sym typeface="+mn-lt"/>
              </a:rPr>
              <a:pPr algn="ctr">
                <a:spcBef>
                  <a:spcPct val="0"/>
                </a:spcBef>
                <a:spcAft>
                  <a:spcPct val="0"/>
                </a:spcAft>
              </a:pPr>
              <a:t>98</a:t>
            </a:fld>
            <a:endParaRPr lang="en-US" sz="1200" dirty="0">
              <a:cs typeface="+mn-cs"/>
              <a:sym typeface="+mn-lt"/>
            </a:endParaRPr>
          </a:p>
        </p:txBody>
      </p:sp>
      <p:sp>
        <p:nvSpPr>
          <p:cNvPr id="213" name="Text Placeholder 2">
            <a:extLst>
              <a:ext uri="{FF2B5EF4-FFF2-40B4-BE49-F238E27FC236}">
                <a16:creationId xmlns:a16="http://schemas.microsoft.com/office/drawing/2014/main" id="{192DB789-515B-4504-BE53-6445F2427687}"/>
              </a:ext>
            </a:extLst>
          </p:cNvPr>
          <p:cNvSpPr>
            <a:spLocks noGrp="1"/>
          </p:cNvSpPr>
          <p:nvPr>
            <p:custDataLst>
              <p:tags r:id="rId17"/>
            </p:custDataLst>
          </p:nvPr>
        </p:nvSpPr>
        <p:spPr bwMode="gray">
          <a:xfrm>
            <a:off x="10793413" y="4445000"/>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B8BC1EF-DF18-4CAC-849D-82929E6F3550}" type="datetime'''''''''''''''''''''4''6'''''''''''''''''">
              <a:rPr lang="en-US" altLang="en-US" sz="1200" smtClean="0">
                <a:cs typeface="+mn-cs"/>
                <a:sym typeface="+mn-lt"/>
              </a:rPr>
              <a:pPr algn="ctr">
                <a:spcBef>
                  <a:spcPct val="0"/>
                </a:spcBef>
                <a:spcAft>
                  <a:spcPct val="0"/>
                </a:spcAft>
              </a:pPr>
              <a:t>46</a:t>
            </a:fld>
            <a:endParaRPr lang="en-US" sz="1200" dirty="0">
              <a:cs typeface="+mn-cs"/>
              <a:sym typeface="+mn-lt"/>
            </a:endParaRPr>
          </a:p>
        </p:txBody>
      </p:sp>
      <p:sp>
        <p:nvSpPr>
          <p:cNvPr id="86" name="Rechteck 101">
            <a:extLst>
              <a:ext uri="{FF2B5EF4-FFF2-40B4-BE49-F238E27FC236}">
                <a16:creationId xmlns:a16="http://schemas.microsoft.com/office/drawing/2014/main" id="{B2EB1932-64D2-4A28-865A-A686A7FCA479}"/>
              </a:ext>
            </a:extLst>
          </p:cNvPr>
          <p:cNvSpPr/>
          <p:nvPr>
            <p:custDataLst>
              <p:tags r:id="rId18"/>
            </p:custDataLst>
          </p:nvPr>
        </p:nvSpPr>
        <p:spPr bwMode="auto">
          <a:xfrm>
            <a:off x="7456488" y="1406525"/>
            <a:ext cx="165100" cy="165100"/>
          </a:xfrm>
          <a:prstGeom prst="rect">
            <a:avLst/>
          </a:prstGeom>
          <a:solidFill>
            <a:schemeClr val="accent4"/>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de-DE" sz="1400" b="1" dirty="0">
              <a:solidFill>
                <a:schemeClr val="bg1"/>
              </a:solidFill>
            </a:endParaRPr>
          </a:p>
        </p:txBody>
      </p:sp>
      <p:sp>
        <p:nvSpPr>
          <p:cNvPr id="87" name="Rechteck 359">
            <a:extLst>
              <a:ext uri="{FF2B5EF4-FFF2-40B4-BE49-F238E27FC236}">
                <a16:creationId xmlns:a16="http://schemas.microsoft.com/office/drawing/2014/main" id="{07A991C9-D7F2-4EEE-8320-6762BD7168F7}"/>
              </a:ext>
            </a:extLst>
          </p:cNvPr>
          <p:cNvSpPr/>
          <p:nvPr>
            <p:custDataLst>
              <p:tags r:id="rId19"/>
            </p:custDataLst>
          </p:nvPr>
        </p:nvSpPr>
        <p:spPr bwMode="auto">
          <a:xfrm>
            <a:off x="7456488" y="1639888"/>
            <a:ext cx="165100" cy="165100"/>
          </a:xfrm>
          <a:prstGeom prst="rect">
            <a:avLst/>
          </a:prstGeom>
          <a:solidFill>
            <a:schemeClr val="accent3"/>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de-DE" sz="1400" b="1" dirty="0">
              <a:solidFill>
                <a:schemeClr val="bg1"/>
              </a:solidFill>
            </a:endParaRPr>
          </a:p>
        </p:txBody>
      </p:sp>
      <p:sp>
        <p:nvSpPr>
          <p:cNvPr id="88" name="Rechteck 353">
            <a:extLst>
              <a:ext uri="{FF2B5EF4-FFF2-40B4-BE49-F238E27FC236}">
                <a16:creationId xmlns:a16="http://schemas.microsoft.com/office/drawing/2014/main" id="{F7250594-A456-4C49-9018-5BE483968871}"/>
              </a:ext>
            </a:extLst>
          </p:cNvPr>
          <p:cNvSpPr/>
          <p:nvPr>
            <p:custDataLst>
              <p:tags r:id="rId20"/>
            </p:custDataLst>
          </p:nvPr>
        </p:nvSpPr>
        <p:spPr bwMode="auto">
          <a:xfrm>
            <a:off x="9182100" y="1406525"/>
            <a:ext cx="165100" cy="165100"/>
          </a:xfrm>
          <a:prstGeom prst="rect">
            <a:avLst/>
          </a:prstGeom>
          <a:solidFill>
            <a:schemeClr val="accent2"/>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de-DE" sz="1400" b="1" dirty="0">
              <a:solidFill>
                <a:schemeClr val="bg1"/>
              </a:solidFill>
            </a:endParaRPr>
          </a:p>
        </p:txBody>
      </p:sp>
      <p:sp>
        <p:nvSpPr>
          <p:cNvPr id="89" name="Rechteck 348">
            <a:extLst>
              <a:ext uri="{FF2B5EF4-FFF2-40B4-BE49-F238E27FC236}">
                <a16:creationId xmlns:a16="http://schemas.microsoft.com/office/drawing/2014/main" id="{119F89B0-F1FC-45A1-80B6-736AD5B99DFA}"/>
              </a:ext>
            </a:extLst>
          </p:cNvPr>
          <p:cNvSpPr/>
          <p:nvPr>
            <p:custDataLst>
              <p:tags r:id="rId21"/>
            </p:custDataLst>
          </p:nvPr>
        </p:nvSpPr>
        <p:spPr bwMode="auto">
          <a:xfrm>
            <a:off x="9182100" y="1639888"/>
            <a:ext cx="165100" cy="165100"/>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spcAft>
                <a:spcPts val="600"/>
              </a:spcAft>
            </a:pPr>
            <a:endParaRPr lang="de-DE" sz="1400" b="1" dirty="0">
              <a:solidFill>
                <a:schemeClr val="bg1"/>
              </a:solidFill>
            </a:endParaRPr>
          </a:p>
        </p:txBody>
      </p:sp>
      <p:sp>
        <p:nvSpPr>
          <p:cNvPr id="91" name="Textplatzhalter 2">
            <a:extLst>
              <a:ext uri="{FF2B5EF4-FFF2-40B4-BE49-F238E27FC236}">
                <a16:creationId xmlns:a16="http://schemas.microsoft.com/office/drawing/2014/main" id="{D895A29C-20F0-4E57-BF96-1F672FF9BB4F}"/>
              </a:ext>
            </a:extLst>
          </p:cNvPr>
          <p:cNvSpPr>
            <a:spLocks noGrp="1"/>
          </p:cNvSpPr>
          <p:nvPr>
            <p:custDataLst>
              <p:tags r:id="rId22"/>
            </p:custDataLst>
          </p:nvPr>
        </p:nvSpPr>
        <p:spPr bwMode="auto">
          <a:xfrm>
            <a:off x="7672387" y="1404938"/>
            <a:ext cx="939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034" rtl="0" eaLnBrk="1" latinLnBrk="0" hangingPunct="1">
              <a:spcBef>
                <a:spcPts val="600"/>
              </a:spcBef>
              <a:spcAft>
                <a:spcPts val="600"/>
              </a:spcAft>
              <a:buFont typeface="Arial" panose="020B0604020202020204" pitchFamily="34" charset="0"/>
              <a:buNone/>
              <a:defRPr sz="1400" b="1" kern="1200">
                <a:solidFill>
                  <a:schemeClr val="tx2"/>
                </a:solidFill>
                <a:latin typeface="+mn-lt"/>
                <a:ea typeface="+mn-ea"/>
                <a:cs typeface="+mn-cs"/>
              </a:defRPr>
            </a:lvl1pPr>
            <a:lvl2pPr marL="0" indent="0" algn="l" defTabSz="914034" rtl="0" eaLnBrk="1" latinLnBrk="0" hangingPunct="1">
              <a:spcBef>
                <a:spcPts val="300"/>
              </a:spcBef>
              <a:spcAft>
                <a:spcPts val="300"/>
              </a:spcAft>
              <a:buFont typeface="Arial" panose="020B0604020202020204" pitchFamily="34" charset="0"/>
              <a:buNone/>
              <a:defRPr sz="1400" kern="1200">
                <a:solidFill>
                  <a:schemeClr val="tx2"/>
                </a:solidFill>
                <a:latin typeface="+mn-lt"/>
                <a:ea typeface="+mn-ea"/>
                <a:cs typeface="+mn-cs"/>
              </a:defRPr>
            </a:lvl2pPr>
            <a:lvl3pPr marL="180000" indent="-180000" algn="l" defTabSz="914034" rtl="0" eaLnBrk="1" latinLnBrk="0" hangingPunct="1">
              <a:spcBef>
                <a:spcPts val="300"/>
              </a:spcBef>
              <a:spcAft>
                <a:spcPts val="300"/>
              </a:spcAft>
              <a:buClr>
                <a:schemeClr val="accent6"/>
              </a:buClr>
              <a:buFontTx/>
              <a:buBlip>
                <a:blip r:embed="rId32"/>
              </a:buBlip>
              <a:defRPr sz="1400" kern="1200">
                <a:solidFill>
                  <a:schemeClr val="tx2"/>
                </a:solidFill>
                <a:latin typeface="+mn-lt"/>
                <a:ea typeface="+mn-ea"/>
                <a:cs typeface="+mn-cs"/>
              </a:defRPr>
            </a:lvl3pPr>
            <a:lvl4pPr marL="360000" indent="-180000" algn="l" defTabSz="914034" rtl="0" eaLnBrk="1" latinLnBrk="0" hangingPunct="1">
              <a:spcBef>
                <a:spcPts val="300"/>
              </a:spcBef>
              <a:spcAft>
                <a:spcPts val="300"/>
              </a:spcAft>
              <a:buClr>
                <a:schemeClr val="accent6"/>
              </a:buClr>
              <a:buFontTx/>
              <a:buBlip>
                <a:blip r:embed="rId33"/>
              </a:buBlip>
              <a:defRPr sz="1400" kern="1200">
                <a:solidFill>
                  <a:schemeClr val="tx2"/>
                </a:solidFill>
                <a:latin typeface="+mn-lt"/>
                <a:ea typeface="+mn-ea"/>
                <a:cs typeface="+mn-cs"/>
              </a:defRPr>
            </a:lvl4pPr>
            <a:lvl5pPr marL="540000" marR="0" indent="-180000" algn="l" defTabSz="914034" rtl="0" eaLnBrk="1" fontAlgn="auto" latinLnBrk="0" hangingPunct="1">
              <a:lnSpc>
                <a:spcPct val="100000"/>
              </a:lnSpc>
              <a:spcBef>
                <a:spcPts val="300"/>
              </a:spcBef>
              <a:spcAft>
                <a:spcPts val="300"/>
              </a:spcAft>
              <a:buClr>
                <a:schemeClr val="accent6"/>
              </a:buClr>
              <a:buSzPct val="100000"/>
              <a:buFontTx/>
              <a:buBlip>
                <a:blip r:embed="rId34"/>
              </a:buBlip>
              <a:tabLst/>
              <a:defRPr sz="1400" kern="1200">
                <a:solidFill>
                  <a:schemeClr val="tx2"/>
                </a:solidFill>
                <a:latin typeface="+mn-lt"/>
                <a:ea typeface="+mn-ea"/>
                <a:cs typeface="+mn-cs"/>
              </a:defRPr>
            </a:lvl5pPr>
            <a:lvl6pPr marL="0" indent="0" algn="l" defTabSz="914034" rtl="0" eaLnBrk="1" latinLnBrk="0" hangingPunct="1">
              <a:lnSpc>
                <a:spcPct val="100000"/>
              </a:lnSpc>
              <a:spcBef>
                <a:spcPts val="300"/>
              </a:spcBef>
              <a:spcAft>
                <a:spcPts val="300"/>
              </a:spcAft>
              <a:buClr>
                <a:schemeClr val="accent6"/>
              </a:buClr>
              <a:buFontTx/>
              <a:buNone/>
              <a:defRPr sz="1800" b="1" kern="1200">
                <a:solidFill>
                  <a:schemeClr val="accent6"/>
                </a:solidFill>
                <a:latin typeface="+mn-lt"/>
                <a:ea typeface="+mn-ea"/>
                <a:cs typeface="+mn-cs"/>
              </a:defRPr>
            </a:lvl6pPr>
            <a:lvl7pPr marL="0" indent="0" algn="l" defTabSz="914034" rtl="0" eaLnBrk="1" latinLnBrk="0" hangingPunct="1">
              <a:lnSpc>
                <a:spcPct val="100000"/>
              </a:lnSpc>
              <a:spcBef>
                <a:spcPts val="300"/>
              </a:spcBef>
              <a:spcAft>
                <a:spcPts val="300"/>
              </a:spcAft>
              <a:buClr>
                <a:schemeClr val="accent6"/>
              </a:buClr>
              <a:buFontTx/>
              <a:buNone/>
              <a:defRPr sz="1800" b="1" kern="1200">
                <a:solidFill>
                  <a:schemeClr val="tx2"/>
                </a:solidFill>
                <a:latin typeface="+mn-lt"/>
                <a:ea typeface="+mn-ea"/>
                <a:cs typeface="+mn-cs"/>
              </a:defRPr>
            </a:lvl7pPr>
            <a:lvl8pPr marL="0" marR="0" indent="0" algn="l" defTabSz="914034" rtl="0" eaLnBrk="1" fontAlgn="auto" latinLnBrk="0" hangingPunct="1">
              <a:lnSpc>
                <a:spcPct val="100000"/>
              </a:lnSpc>
              <a:spcBef>
                <a:spcPts val="300"/>
              </a:spcBef>
              <a:spcAft>
                <a:spcPts val="300"/>
              </a:spcAft>
              <a:buClr>
                <a:schemeClr val="tx2"/>
              </a:buClr>
              <a:buSzTx/>
              <a:buFontTx/>
              <a:buNone/>
              <a:tabLst/>
              <a:defRPr sz="800" kern="1200">
                <a:solidFill>
                  <a:schemeClr val="tx2"/>
                </a:solidFill>
                <a:latin typeface="+mn-lt"/>
                <a:ea typeface="+mn-ea"/>
                <a:cs typeface="+mn-cs"/>
              </a:defRPr>
            </a:lvl8pPr>
            <a:lvl9pPr marL="0" indent="0" algn="l" defTabSz="914034" rtl="0" eaLnBrk="1" latinLnBrk="0" hangingPunct="1">
              <a:spcBef>
                <a:spcPts val="300"/>
              </a:spcBef>
              <a:spcAft>
                <a:spcPts val="300"/>
              </a:spcAft>
              <a:buClr>
                <a:schemeClr val="accent6"/>
              </a:buClr>
              <a:buFont typeface="Arial" panose="020B0604020202020204" pitchFamily="34" charset="0"/>
              <a:buNone/>
              <a:defRPr sz="800" kern="1200">
                <a:solidFill>
                  <a:schemeClr val="tx2"/>
                </a:solidFill>
                <a:latin typeface="+mn-lt"/>
                <a:ea typeface="+mn-ea"/>
                <a:cs typeface="+mn-cs"/>
              </a:defRPr>
            </a:lvl9pPr>
          </a:lstStyle>
          <a:p>
            <a:pPr>
              <a:spcBef>
                <a:spcPct val="0"/>
              </a:spcBef>
              <a:spcAft>
                <a:spcPct val="0"/>
              </a:spcAft>
            </a:pPr>
            <a:fld id="{F010859C-E70C-4F0C-BEB7-B15CB145FB0B}" type="datetime'''''&gt; ''''''1''8'''',''''''0''0''''''''''''0'' ''T''E''''''U'">
              <a:rPr lang="en-US" altLang="en-US" sz="1200" b="0" smtClean="0">
                <a:solidFill>
                  <a:schemeClr val="tx1"/>
                </a:solidFill>
              </a:rPr>
              <a:pPr/>
              <a:t>&gt; 18,000 TEU</a:t>
            </a:fld>
            <a:endParaRPr lang="en-US" sz="1200" b="0" noProof="0" dirty="0">
              <a:solidFill>
                <a:schemeClr val="tx1"/>
              </a:solidFill>
              <a:sym typeface="+mn-lt"/>
            </a:endParaRPr>
          </a:p>
        </p:txBody>
      </p:sp>
      <p:sp>
        <p:nvSpPr>
          <p:cNvPr id="92" name="Textplatzhalter 2">
            <a:extLst>
              <a:ext uri="{FF2B5EF4-FFF2-40B4-BE49-F238E27FC236}">
                <a16:creationId xmlns:a16="http://schemas.microsoft.com/office/drawing/2014/main" id="{606C5E39-D4C1-46BD-A0AC-39E8B253767E}"/>
              </a:ext>
            </a:extLst>
          </p:cNvPr>
          <p:cNvSpPr>
            <a:spLocks noGrp="1"/>
          </p:cNvSpPr>
          <p:nvPr>
            <p:custDataLst>
              <p:tags r:id="rId23"/>
            </p:custDataLst>
          </p:nvPr>
        </p:nvSpPr>
        <p:spPr bwMode="auto">
          <a:xfrm>
            <a:off x="9398000" y="1404938"/>
            <a:ext cx="14081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034" rtl="0" eaLnBrk="1" latinLnBrk="0" hangingPunct="1">
              <a:spcBef>
                <a:spcPts val="600"/>
              </a:spcBef>
              <a:spcAft>
                <a:spcPts val="600"/>
              </a:spcAft>
              <a:buFont typeface="Arial" panose="020B0604020202020204" pitchFamily="34" charset="0"/>
              <a:buNone/>
              <a:defRPr sz="1400" b="1" kern="1200">
                <a:solidFill>
                  <a:schemeClr val="tx2"/>
                </a:solidFill>
                <a:latin typeface="+mn-lt"/>
                <a:ea typeface="+mn-ea"/>
                <a:cs typeface="+mn-cs"/>
              </a:defRPr>
            </a:lvl1pPr>
            <a:lvl2pPr marL="0" indent="0" algn="l" defTabSz="914034" rtl="0" eaLnBrk="1" latinLnBrk="0" hangingPunct="1">
              <a:spcBef>
                <a:spcPts val="300"/>
              </a:spcBef>
              <a:spcAft>
                <a:spcPts val="300"/>
              </a:spcAft>
              <a:buFont typeface="Arial" panose="020B0604020202020204" pitchFamily="34" charset="0"/>
              <a:buNone/>
              <a:defRPr sz="1400" kern="1200">
                <a:solidFill>
                  <a:schemeClr val="tx2"/>
                </a:solidFill>
                <a:latin typeface="+mn-lt"/>
                <a:ea typeface="+mn-ea"/>
                <a:cs typeface="+mn-cs"/>
              </a:defRPr>
            </a:lvl2pPr>
            <a:lvl3pPr marL="180000" indent="-180000" algn="l" defTabSz="914034" rtl="0" eaLnBrk="1" latinLnBrk="0" hangingPunct="1">
              <a:spcBef>
                <a:spcPts val="300"/>
              </a:spcBef>
              <a:spcAft>
                <a:spcPts val="300"/>
              </a:spcAft>
              <a:buClr>
                <a:schemeClr val="accent6"/>
              </a:buClr>
              <a:buFontTx/>
              <a:buBlip>
                <a:blip r:embed="rId32"/>
              </a:buBlip>
              <a:defRPr sz="1400" kern="1200">
                <a:solidFill>
                  <a:schemeClr val="tx2"/>
                </a:solidFill>
                <a:latin typeface="+mn-lt"/>
                <a:ea typeface="+mn-ea"/>
                <a:cs typeface="+mn-cs"/>
              </a:defRPr>
            </a:lvl3pPr>
            <a:lvl4pPr marL="360000" indent="-180000" algn="l" defTabSz="914034" rtl="0" eaLnBrk="1" latinLnBrk="0" hangingPunct="1">
              <a:spcBef>
                <a:spcPts val="300"/>
              </a:spcBef>
              <a:spcAft>
                <a:spcPts val="300"/>
              </a:spcAft>
              <a:buClr>
                <a:schemeClr val="accent6"/>
              </a:buClr>
              <a:buFontTx/>
              <a:buBlip>
                <a:blip r:embed="rId33"/>
              </a:buBlip>
              <a:defRPr sz="1400" kern="1200">
                <a:solidFill>
                  <a:schemeClr val="tx2"/>
                </a:solidFill>
                <a:latin typeface="+mn-lt"/>
                <a:ea typeface="+mn-ea"/>
                <a:cs typeface="+mn-cs"/>
              </a:defRPr>
            </a:lvl4pPr>
            <a:lvl5pPr marL="540000" marR="0" indent="-180000" algn="l" defTabSz="914034" rtl="0" eaLnBrk="1" fontAlgn="auto" latinLnBrk="0" hangingPunct="1">
              <a:lnSpc>
                <a:spcPct val="100000"/>
              </a:lnSpc>
              <a:spcBef>
                <a:spcPts val="300"/>
              </a:spcBef>
              <a:spcAft>
                <a:spcPts val="300"/>
              </a:spcAft>
              <a:buClr>
                <a:schemeClr val="accent6"/>
              </a:buClr>
              <a:buSzPct val="100000"/>
              <a:buFontTx/>
              <a:buBlip>
                <a:blip r:embed="rId34"/>
              </a:buBlip>
              <a:tabLst/>
              <a:defRPr sz="1400" kern="1200">
                <a:solidFill>
                  <a:schemeClr val="tx2"/>
                </a:solidFill>
                <a:latin typeface="+mn-lt"/>
                <a:ea typeface="+mn-ea"/>
                <a:cs typeface="+mn-cs"/>
              </a:defRPr>
            </a:lvl5pPr>
            <a:lvl6pPr marL="0" indent="0" algn="l" defTabSz="914034" rtl="0" eaLnBrk="1" latinLnBrk="0" hangingPunct="1">
              <a:lnSpc>
                <a:spcPct val="100000"/>
              </a:lnSpc>
              <a:spcBef>
                <a:spcPts val="300"/>
              </a:spcBef>
              <a:spcAft>
                <a:spcPts val="300"/>
              </a:spcAft>
              <a:buClr>
                <a:schemeClr val="accent6"/>
              </a:buClr>
              <a:buFontTx/>
              <a:buNone/>
              <a:defRPr sz="1800" b="1" kern="1200">
                <a:solidFill>
                  <a:schemeClr val="accent6"/>
                </a:solidFill>
                <a:latin typeface="+mn-lt"/>
                <a:ea typeface="+mn-ea"/>
                <a:cs typeface="+mn-cs"/>
              </a:defRPr>
            </a:lvl6pPr>
            <a:lvl7pPr marL="0" indent="0" algn="l" defTabSz="914034" rtl="0" eaLnBrk="1" latinLnBrk="0" hangingPunct="1">
              <a:lnSpc>
                <a:spcPct val="100000"/>
              </a:lnSpc>
              <a:spcBef>
                <a:spcPts val="300"/>
              </a:spcBef>
              <a:spcAft>
                <a:spcPts val="300"/>
              </a:spcAft>
              <a:buClr>
                <a:schemeClr val="accent6"/>
              </a:buClr>
              <a:buFontTx/>
              <a:buNone/>
              <a:defRPr sz="1800" b="1" kern="1200">
                <a:solidFill>
                  <a:schemeClr val="tx2"/>
                </a:solidFill>
                <a:latin typeface="+mn-lt"/>
                <a:ea typeface="+mn-ea"/>
                <a:cs typeface="+mn-cs"/>
              </a:defRPr>
            </a:lvl7pPr>
            <a:lvl8pPr marL="0" marR="0" indent="0" algn="l" defTabSz="914034" rtl="0" eaLnBrk="1" fontAlgn="auto" latinLnBrk="0" hangingPunct="1">
              <a:lnSpc>
                <a:spcPct val="100000"/>
              </a:lnSpc>
              <a:spcBef>
                <a:spcPts val="300"/>
              </a:spcBef>
              <a:spcAft>
                <a:spcPts val="300"/>
              </a:spcAft>
              <a:buClr>
                <a:schemeClr val="tx2"/>
              </a:buClr>
              <a:buSzTx/>
              <a:buFontTx/>
              <a:buNone/>
              <a:tabLst/>
              <a:defRPr sz="800" kern="1200">
                <a:solidFill>
                  <a:schemeClr val="tx2"/>
                </a:solidFill>
                <a:latin typeface="+mn-lt"/>
                <a:ea typeface="+mn-ea"/>
                <a:cs typeface="+mn-cs"/>
              </a:defRPr>
            </a:lvl8pPr>
            <a:lvl9pPr marL="0" indent="0" algn="l" defTabSz="914034" rtl="0" eaLnBrk="1" latinLnBrk="0" hangingPunct="1">
              <a:spcBef>
                <a:spcPts val="300"/>
              </a:spcBef>
              <a:spcAft>
                <a:spcPts val="300"/>
              </a:spcAft>
              <a:buClr>
                <a:schemeClr val="accent6"/>
              </a:buClr>
              <a:buFont typeface="Arial" panose="020B0604020202020204" pitchFamily="34" charset="0"/>
              <a:buNone/>
              <a:defRPr sz="800" kern="1200">
                <a:solidFill>
                  <a:schemeClr val="tx2"/>
                </a:solidFill>
                <a:latin typeface="+mn-lt"/>
                <a:ea typeface="+mn-ea"/>
                <a:cs typeface="+mn-cs"/>
              </a:defRPr>
            </a:lvl9pPr>
          </a:lstStyle>
          <a:p>
            <a:pPr>
              <a:spcBef>
                <a:spcPct val="0"/>
              </a:spcBef>
              <a:spcAft>
                <a:spcPct val="0"/>
              </a:spcAft>
            </a:pPr>
            <a:fld id="{6E2CD227-649C-41CB-9339-805A24E78F28}" type="datetime'10,''0''''0''''0'' ''-'' ''1''''''3'',''''9''''9''''9 T''EU'">
              <a:rPr lang="en-US" altLang="en-US" sz="1200" b="0" smtClean="0">
                <a:solidFill>
                  <a:schemeClr val="tx1"/>
                </a:solidFill>
              </a:rPr>
              <a:pPr/>
              <a:t>10,000 - 13,999 TEU</a:t>
            </a:fld>
            <a:endParaRPr lang="en-US" sz="1200" b="0" noProof="0" dirty="0">
              <a:solidFill>
                <a:schemeClr val="tx1"/>
              </a:solidFill>
              <a:sym typeface="+mn-lt"/>
            </a:endParaRPr>
          </a:p>
        </p:txBody>
      </p:sp>
      <p:sp>
        <p:nvSpPr>
          <p:cNvPr id="90" name="Textplatzhalter 2">
            <a:extLst>
              <a:ext uri="{FF2B5EF4-FFF2-40B4-BE49-F238E27FC236}">
                <a16:creationId xmlns:a16="http://schemas.microsoft.com/office/drawing/2014/main" id="{5BC97CD1-D7C9-4AEF-90C8-3FEEB6DDCA41}"/>
              </a:ext>
            </a:extLst>
          </p:cNvPr>
          <p:cNvSpPr>
            <a:spLocks noGrp="1"/>
          </p:cNvSpPr>
          <p:nvPr>
            <p:custDataLst>
              <p:tags r:id="rId24"/>
            </p:custDataLst>
          </p:nvPr>
        </p:nvSpPr>
        <p:spPr bwMode="auto">
          <a:xfrm>
            <a:off x="9397999" y="1638300"/>
            <a:ext cx="939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034" rtl="0" eaLnBrk="1" latinLnBrk="0" hangingPunct="1">
              <a:spcBef>
                <a:spcPts val="600"/>
              </a:spcBef>
              <a:spcAft>
                <a:spcPts val="600"/>
              </a:spcAft>
              <a:buFont typeface="Arial" panose="020B0604020202020204" pitchFamily="34" charset="0"/>
              <a:buNone/>
              <a:defRPr sz="1400" b="1" kern="1200">
                <a:solidFill>
                  <a:schemeClr val="tx2"/>
                </a:solidFill>
                <a:latin typeface="+mn-lt"/>
                <a:ea typeface="+mn-ea"/>
                <a:cs typeface="+mn-cs"/>
              </a:defRPr>
            </a:lvl1pPr>
            <a:lvl2pPr marL="0" indent="0" algn="l" defTabSz="914034" rtl="0" eaLnBrk="1" latinLnBrk="0" hangingPunct="1">
              <a:spcBef>
                <a:spcPts val="300"/>
              </a:spcBef>
              <a:spcAft>
                <a:spcPts val="300"/>
              </a:spcAft>
              <a:buFont typeface="Arial" panose="020B0604020202020204" pitchFamily="34" charset="0"/>
              <a:buNone/>
              <a:defRPr sz="1400" kern="1200">
                <a:solidFill>
                  <a:schemeClr val="tx2"/>
                </a:solidFill>
                <a:latin typeface="+mn-lt"/>
                <a:ea typeface="+mn-ea"/>
                <a:cs typeface="+mn-cs"/>
              </a:defRPr>
            </a:lvl2pPr>
            <a:lvl3pPr marL="180000" indent="-180000" algn="l" defTabSz="914034" rtl="0" eaLnBrk="1" latinLnBrk="0" hangingPunct="1">
              <a:spcBef>
                <a:spcPts val="300"/>
              </a:spcBef>
              <a:spcAft>
                <a:spcPts val="300"/>
              </a:spcAft>
              <a:buClr>
                <a:schemeClr val="accent6"/>
              </a:buClr>
              <a:buFontTx/>
              <a:buBlip>
                <a:blip r:embed="rId32"/>
              </a:buBlip>
              <a:defRPr sz="1400" kern="1200">
                <a:solidFill>
                  <a:schemeClr val="tx2"/>
                </a:solidFill>
                <a:latin typeface="+mn-lt"/>
                <a:ea typeface="+mn-ea"/>
                <a:cs typeface="+mn-cs"/>
              </a:defRPr>
            </a:lvl3pPr>
            <a:lvl4pPr marL="360000" indent="-180000" algn="l" defTabSz="914034" rtl="0" eaLnBrk="1" latinLnBrk="0" hangingPunct="1">
              <a:spcBef>
                <a:spcPts val="300"/>
              </a:spcBef>
              <a:spcAft>
                <a:spcPts val="300"/>
              </a:spcAft>
              <a:buClr>
                <a:schemeClr val="accent6"/>
              </a:buClr>
              <a:buFontTx/>
              <a:buBlip>
                <a:blip r:embed="rId33"/>
              </a:buBlip>
              <a:defRPr sz="1400" kern="1200">
                <a:solidFill>
                  <a:schemeClr val="tx2"/>
                </a:solidFill>
                <a:latin typeface="+mn-lt"/>
                <a:ea typeface="+mn-ea"/>
                <a:cs typeface="+mn-cs"/>
              </a:defRPr>
            </a:lvl4pPr>
            <a:lvl5pPr marL="540000" marR="0" indent="-180000" algn="l" defTabSz="914034" rtl="0" eaLnBrk="1" fontAlgn="auto" latinLnBrk="0" hangingPunct="1">
              <a:lnSpc>
                <a:spcPct val="100000"/>
              </a:lnSpc>
              <a:spcBef>
                <a:spcPts val="300"/>
              </a:spcBef>
              <a:spcAft>
                <a:spcPts val="300"/>
              </a:spcAft>
              <a:buClr>
                <a:schemeClr val="accent6"/>
              </a:buClr>
              <a:buSzPct val="100000"/>
              <a:buFontTx/>
              <a:buBlip>
                <a:blip r:embed="rId34"/>
              </a:buBlip>
              <a:tabLst/>
              <a:defRPr sz="1400" kern="1200">
                <a:solidFill>
                  <a:schemeClr val="tx2"/>
                </a:solidFill>
                <a:latin typeface="+mn-lt"/>
                <a:ea typeface="+mn-ea"/>
                <a:cs typeface="+mn-cs"/>
              </a:defRPr>
            </a:lvl5pPr>
            <a:lvl6pPr marL="0" indent="0" algn="l" defTabSz="914034" rtl="0" eaLnBrk="1" latinLnBrk="0" hangingPunct="1">
              <a:lnSpc>
                <a:spcPct val="100000"/>
              </a:lnSpc>
              <a:spcBef>
                <a:spcPts val="300"/>
              </a:spcBef>
              <a:spcAft>
                <a:spcPts val="300"/>
              </a:spcAft>
              <a:buClr>
                <a:schemeClr val="accent6"/>
              </a:buClr>
              <a:buFontTx/>
              <a:buNone/>
              <a:defRPr sz="1800" b="1" kern="1200">
                <a:solidFill>
                  <a:schemeClr val="accent6"/>
                </a:solidFill>
                <a:latin typeface="+mn-lt"/>
                <a:ea typeface="+mn-ea"/>
                <a:cs typeface="+mn-cs"/>
              </a:defRPr>
            </a:lvl6pPr>
            <a:lvl7pPr marL="0" indent="0" algn="l" defTabSz="914034" rtl="0" eaLnBrk="1" latinLnBrk="0" hangingPunct="1">
              <a:lnSpc>
                <a:spcPct val="100000"/>
              </a:lnSpc>
              <a:spcBef>
                <a:spcPts val="300"/>
              </a:spcBef>
              <a:spcAft>
                <a:spcPts val="300"/>
              </a:spcAft>
              <a:buClr>
                <a:schemeClr val="accent6"/>
              </a:buClr>
              <a:buFontTx/>
              <a:buNone/>
              <a:defRPr sz="1800" b="1" kern="1200">
                <a:solidFill>
                  <a:schemeClr val="tx2"/>
                </a:solidFill>
                <a:latin typeface="+mn-lt"/>
                <a:ea typeface="+mn-ea"/>
                <a:cs typeface="+mn-cs"/>
              </a:defRPr>
            </a:lvl7pPr>
            <a:lvl8pPr marL="0" marR="0" indent="0" algn="l" defTabSz="914034" rtl="0" eaLnBrk="1" fontAlgn="auto" latinLnBrk="0" hangingPunct="1">
              <a:lnSpc>
                <a:spcPct val="100000"/>
              </a:lnSpc>
              <a:spcBef>
                <a:spcPts val="300"/>
              </a:spcBef>
              <a:spcAft>
                <a:spcPts val="300"/>
              </a:spcAft>
              <a:buClr>
                <a:schemeClr val="tx2"/>
              </a:buClr>
              <a:buSzTx/>
              <a:buFontTx/>
              <a:buNone/>
              <a:tabLst/>
              <a:defRPr sz="800" kern="1200">
                <a:solidFill>
                  <a:schemeClr val="tx2"/>
                </a:solidFill>
                <a:latin typeface="+mn-lt"/>
                <a:ea typeface="+mn-ea"/>
                <a:cs typeface="+mn-cs"/>
              </a:defRPr>
            </a:lvl8pPr>
            <a:lvl9pPr marL="0" indent="0" algn="l" defTabSz="914034" rtl="0" eaLnBrk="1" latinLnBrk="0" hangingPunct="1">
              <a:spcBef>
                <a:spcPts val="300"/>
              </a:spcBef>
              <a:spcAft>
                <a:spcPts val="300"/>
              </a:spcAft>
              <a:buClr>
                <a:schemeClr val="accent6"/>
              </a:buClr>
              <a:buFont typeface="Arial" panose="020B0604020202020204" pitchFamily="34" charset="0"/>
              <a:buNone/>
              <a:defRPr sz="800" kern="1200">
                <a:solidFill>
                  <a:schemeClr val="tx2"/>
                </a:solidFill>
                <a:latin typeface="+mn-lt"/>
                <a:ea typeface="+mn-ea"/>
                <a:cs typeface="+mn-cs"/>
              </a:defRPr>
            </a:lvl9pPr>
          </a:lstStyle>
          <a:p>
            <a:pPr>
              <a:spcBef>
                <a:spcPct val="0"/>
              </a:spcBef>
              <a:spcAft>
                <a:spcPct val="0"/>
              </a:spcAft>
            </a:pPr>
            <a:fld id="{33B05D42-8B33-4B76-B5E2-E2BF7490B16D}" type="datetime'''''&lt; 10'''''',''''0''''''''00'''''' ''TE''''''''''U'">
              <a:rPr lang="en-US" altLang="en-US" sz="1200" b="0" smtClean="0">
                <a:solidFill>
                  <a:schemeClr val="tx1"/>
                </a:solidFill>
              </a:rPr>
              <a:pPr/>
              <a:t>&lt; 10,000 TEU</a:t>
            </a:fld>
            <a:endParaRPr lang="en-US" sz="1200" b="0" noProof="0" dirty="0">
              <a:solidFill>
                <a:schemeClr val="tx1"/>
              </a:solidFill>
              <a:sym typeface="+mn-lt"/>
            </a:endParaRPr>
          </a:p>
        </p:txBody>
      </p:sp>
      <p:sp>
        <p:nvSpPr>
          <p:cNvPr id="93" name="Textplatzhalter 2">
            <a:extLst>
              <a:ext uri="{FF2B5EF4-FFF2-40B4-BE49-F238E27FC236}">
                <a16:creationId xmlns:a16="http://schemas.microsoft.com/office/drawing/2014/main" id="{01B956D1-232E-4C6D-9881-A4F1890E2E3D}"/>
              </a:ext>
            </a:extLst>
          </p:cNvPr>
          <p:cNvSpPr>
            <a:spLocks noGrp="1"/>
          </p:cNvSpPr>
          <p:nvPr>
            <p:custDataLst>
              <p:tags r:id="rId25"/>
            </p:custDataLst>
          </p:nvPr>
        </p:nvSpPr>
        <p:spPr bwMode="auto">
          <a:xfrm>
            <a:off x="7672388" y="1638300"/>
            <a:ext cx="14081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034" rtl="0" eaLnBrk="1" latinLnBrk="0" hangingPunct="1">
              <a:spcBef>
                <a:spcPts val="600"/>
              </a:spcBef>
              <a:spcAft>
                <a:spcPts val="600"/>
              </a:spcAft>
              <a:buFont typeface="Arial" panose="020B0604020202020204" pitchFamily="34" charset="0"/>
              <a:buNone/>
              <a:defRPr sz="1400" b="1" kern="1200">
                <a:solidFill>
                  <a:schemeClr val="tx2"/>
                </a:solidFill>
                <a:latin typeface="+mn-lt"/>
                <a:ea typeface="+mn-ea"/>
                <a:cs typeface="+mn-cs"/>
              </a:defRPr>
            </a:lvl1pPr>
            <a:lvl2pPr marL="0" indent="0" algn="l" defTabSz="914034" rtl="0" eaLnBrk="1" latinLnBrk="0" hangingPunct="1">
              <a:spcBef>
                <a:spcPts val="300"/>
              </a:spcBef>
              <a:spcAft>
                <a:spcPts val="300"/>
              </a:spcAft>
              <a:buFont typeface="Arial" panose="020B0604020202020204" pitchFamily="34" charset="0"/>
              <a:buNone/>
              <a:defRPr sz="1400" kern="1200">
                <a:solidFill>
                  <a:schemeClr val="tx2"/>
                </a:solidFill>
                <a:latin typeface="+mn-lt"/>
                <a:ea typeface="+mn-ea"/>
                <a:cs typeface="+mn-cs"/>
              </a:defRPr>
            </a:lvl2pPr>
            <a:lvl3pPr marL="180000" indent="-180000" algn="l" defTabSz="914034" rtl="0" eaLnBrk="1" latinLnBrk="0" hangingPunct="1">
              <a:spcBef>
                <a:spcPts val="300"/>
              </a:spcBef>
              <a:spcAft>
                <a:spcPts val="300"/>
              </a:spcAft>
              <a:buClr>
                <a:schemeClr val="accent6"/>
              </a:buClr>
              <a:buFontTx/>
              <a:buBlip>
                <a:blip r:embed="rId32"/>
              </a:buBlip>
              <a:defRPr sz="1400" kern="1200">
                <a:solidFill>
                  <a:schemeClr val="tx2"/>
                </a:solidFill>
                <a:latin typeface="+mn-lt"/>
                <a:ea typeface="+mn-ea"/>
                <a:cs typeface="+mn-cs"/>
              </a:defRPr>
            </a:lvl3pPr>
            <a:lvl4pPr marL="360000" indent="-180000" algn="l" defTabSz="914034" rtl="0" eaLnBrk="1" latinLnBrk="0" hangingPunct="1">
              <a:spcBef>
                <a:spcPts val="300"/>
              </a:spcBef>
              <a:spcAft>
                <a:spcPts val="300"/>
              </a:spcAft>
              <a:buClr>
                <a:schemeClr val="accent6"/>
              </a:buClr>
              <a:buFontTx/>
              <a:buBlip>
                <a:blip r:embed="rId33"/>
              </a:buBlip>
              <a:defRPr sz="1400" kern="1200">
                <a:solidFill>
                  <a:schemeClr val="tx2"/>
                </a:solidFill>
                <a:latin typeface="+mn-lt"/>
                <a:ea typeface="+mn-ea"/>
                <a:cs typeface="+mn-cs"/>
              </a:defRPr>
            </a:lvl4pPr>
            <a:lvl5pPr marL="540000" marR="0" indent="-180000" algn="l" defTabSz="914034" rtl="0" eaLnBrk="1" fontAlgn="auto" latinLnBrk="0" hangingPunct="1">
              <a:lnSpc>
                <a:spcPct val="100000"/>
              </a:lnSpc>
              <a:spcBef>
                <a:spcPts val="300"/>
              </a:spcBef>
              <a:spcAft>
                <a:spcPts val="300"/>
              </a:spcAft>
              <a:buClr>
                <a:schemeClr val="accent6"/>
              </a:buClr>
              <a:buSzPct val="100000"/>
              <a:buFontTx/>
              <a:buBlip>
                <a:blip r:embed="rId34"/>
              </a:buBlip>
              <a:tabLst/>
              <a:defRPr sz="1400" kern="1200">
                <a:solidFill>
                  <a:schemeClr val="tx2"/>
                </a:solidFill>
                <a:latin typeface="+mn-lt"/>
                <a:ea typeface="+mn-ea"/>
                <a:cs typeface="+mn-cs"/>
              </a:defRPr>
            </a:lvl5pPr>
            <a:lvl6pPr marL="0" indent="0" algn="l" defTabSz="914034" rtl="0" eaLnBrk="1" latinLnBrk="0" hangingPunct="1">
              <a:lnSpc>
                <a:spcPct val="100000"/>
              </a:lnSpc>
              <a:spcBef>
                <a:spcPts val="300"/>
              </a:spcBef>
              <a:spcAft>
                <a:spcPts val="300"/>
              </a:spcAft>
              <a:buClr>
                <a:schemeClr val="accent6"/>
              </a:buClr>
              <a:buFontTx/>
              <a:buNone/>
              <a:defRPr sz="1800" b="1" kern="1200">
                <a:solidFill>
                  <a:schemeClr val="accent6"/>
                </a:solidFill>
                <a:latin typeface="+mn-lt"/>
                <a:ea typeface="+mn-ea"/>
                <a:cs typeface="+mn-cs"/>
              </a:defRPr>
            </a:lvl6pPr>
            <a:lvl7pPr marL="0" indent="0" algn="l" defTabSz="914034" rtl="0" eaLnBrk="1" latinLnBrk="0" hangingPunct="1">
              <a:lnSpc>
                <a:spcPct val="100000"/>
              </a:lnSpc>
              <a:spcBef>
                <a:spcPts val="300"/>
              </a:spcBef>
              <a:spcAft>
                <a:spcPts val="300"/>
              </a:spcAft>
              <a:buClr>
                <a:schemeClr val="accent6"/>
              </a:buClr>
              <a:buFontTx/>
              <a:buNone/>
              <a:defRPr sz="1800" b="1" kern="1200">
                <a:solidFill>
                  <a:schemeClr val="tx2"/>
                </a:solidFill>
                <a:latin typeface="+mn-lt"/>
                <a:ea typeface="+mn-ea"/>
                <a:cs typeface="+mn-cs"/>
              </a:defRPr>
            </a:lvl7pPr>
            <a:lvl8pPr marL="0" marR="0" indent="0" algn="l" defTabSz="914034" rtl="0" eaLnBrk="1" fontAlgn="auto" latinLnBrk="0" hangingPunct="1">
              <a:lnSpc>
                <a:spcPct val="100000"/>
              </a:lnSpc>
              <a:spcBef>
                <a:spcPts val="300"/>
              </a:spcBef>
              <a:spcAft>
                <a:spcPts val="300"/>
              </a:spcAft>
              <a:buClr>
                <a:schemeClr val="tx2"/>
              </a:buClr>
              <a:buSzTx/>
              <a:buFontTx/>
              <a:buNone/>
              <a:tabLst/>
              <a:defRPr sz="800" kern="1200">
                <a:solidFill>
                  <a:schemeClr val="tx2"/>
                </a:solidFill>
                <a:latin typeface="+mn-lt"/>
                <a:ea typeface="+mn-ea"/>
                <a:cs typeface="+mn-cs"/>
              </a:defRPr>
            </a:lvl8pPr>
            <a:lvl9pPr marL="0" indent="0" algn="l" defTabSz="914034" rtl="0" eaLnBrk="1" latinLnBrk="0" hangingPunct="1">
              <a:spcBef>
                <a:spcPts val="300"/>
              </a:spcBef>
              <a:spcAft>
                <a:spcPts val="300"/>
              </a:spcAft>
              <a:buClr>
                <a:schemeClr val="accent6"/>
              </a:buClr>
              <a:buFont typeface="Arial" panose="020B0604020202020204" pitchFamily="34" charset="0"/>
              <a:buNone/>
              <a:defRPr sz="800" kern="1200">
                <a:solidFill>
                  <a:schemeClr val="tx2"/>
                </a:solidFill>
                <a:latin typeface="+mn-lt"/>
                <a:ea typeface="+mn-ea"/>
                <a:cs typeface="+mn-cs"/>
              </a:defRPr>
            </a:lvl9pPr>
          </a:lstStyle>
          <a:p>
            <a:pPr>
              <a:spcBef>
                <a:spcPct val="0"/>
              </a:spcBef>
              <a:spcAft>
                <a:spcPct val="0"/>
              </a:spcAft>
            </a:pPr>
            <a:fld id="{25B0312C-8058-4033-831B-38F7FF203DC9}" type="datetime'''1''4,''''0''0''0'''' -'''''' ''''17,999'' ''''''TEU'''''">
              <a:rPr lang="en-US" altLang="en-US" sz="1200" b="0" smtClean="0">
                <a:solidFill>
                  <a:schemeClr val="tx1"/>
                </a:solidFill>
              </a:rPr>
              <a:pPr/>
              <a:t>14,000 - 17,999 TEU</a:t>
            </a:fld>
            <a:endParaRPr lang="en-US" sz="1200" b="0" noProof="0" dirty="0">
              <a:solidFill>
                <a:schemeClr val="tx1"/>
              </a:solidFill>
              <a:sym typeface="+mn-lt"/>
            </a:endParaRPr>
          </a:p>
        </p:txBody>
      </p:sp>
      <p:sp>
        <p:nvSpPr>
          <p:cNvPr id="94" name="Rounded Rectangle 210">
            <a:extLst>
              <a:ext uri="{FF2B5EF4-FFF2-40B4-BE49-F238E27FC236}">
                <a16:creationId xmlns:a16="http://schemas.microsoft.com/office/drawing/2014/main" id="{F6878086-4335-4030-939E-E803D84B44EE}"/>
              </a:ext>
            </a:extLst>
          </p:cNvPr>
          <p:cNvSpPr/>
          <p:nvPr/>
        </p:nvSpPr>
        <p:spPr>
          <a:xfrm>
            <a:off x="9658588" y="2080494"/>
            <a:ext cx="358775" cy="136525"/>
          </a:xfrm>
          <a:prstGeom prst="roundRect">
            <a:avLst>
              <a:gd name="adj" fmla="val 50000"/>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indent="-203200" algn="ctr">
              <a:buClr>
                <a:srgbClr val="E75200"/>
              </a:buClr>
              <a:buSzPct val="100000"/>
            </a:pPr>
            <a:r>
              <a:rPr lang="en-US" sz="1000" dirty="0">
                <a:solidFill>
                  <a:schemeClr val="tx1"/>
                </a:solidFill>
              </a:rPr>
              <a:t>16%</a:t>
            </a:r>
          </a:p>
        </p:txBody>
      </p:sp>
      <p:sp>
        <p:nvSpPr>
          <p:cNvPr id="97" name="Rounded Rectangle 210">
            <a:extLst>
              <a:ext uri="{FF2B5EF4-FFF2-40B4-BE49-F238E27FC236}">
                <a16:creationId xmlns:a16="http://schemas.microsoft.com/office/drawing/2014/main" id="{79F3555B-1F2A-4B84-BE2E-BE771DC496EB}"/>
              </a:ext>
            </a:extLst>
          </p:cNvPr>
          <p:cNvSpPr/>
          <p:nvPr/>
        </p:nvSpPr>
        <p:spPr>
          <a:xfrm>
            <a:off x="1150801" y="2080494"/>
            <a:ext cx="358775" cy="138113"/>
          </a:xfrm>
          <a:prstGeom prst="roundRect">
            <a:avLst>
              <a:gd name="adj" fmla="val 50000"/>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indent="-203200" algn="ctr">
              <a:buClr>
                <a:srgbClr val="E75200"/>
              </a:buClr>
              <a:buSzPct val="100000"/>
            </a:pPr>
            <a:r>
              <a:rPr lang="en-US" sz="1000" dirty="0">
                <a:solidFill>
                  <a:schemeClr val="tx1"/>
                </a:solidFill>
              </a:rPr>
              <a:t>22%</a:t>
            </a:r>
          </a:p>
        </p:txBody>
      </p:sp>
      <p:sp>
        <p:nvSpPr>
          <p:cNvPr id="98" name="Rounded Rectangle 210">
            <a:extLst>
              <a:ext uri="{FF2B5EF4-FFF2-40B4-BE49-F238E27FC236}">
                <a16:creationId xmlns:a16="http://schemas.microsoft.com/office/drawing/2014/main" id="{FE765A4A-8A34-4134-89DC-D37180D36B94}"/>
              </a:ext>
            </a:extLst>
          </p:cNvPr>
          <p:cNvSpPr/>
          <p:nvPr/>
        </p:nvSpPr>
        <p:spPr>
          <a:xfrm>
            <a:off x="5360869" y="2080494"/>
            <a:ext cx="360363" cy="138113"/>
          </a:xfrm>
          <a:prstGeom prst="roundRect">
            <a:avLst>
              <a:gd name="adj" fmla="val 50000"/>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indent="-203200" algn="ctr">
              <a:buClr>
                <a:srgbClr val="E75200"/>
              </a:buClr>
              <a:buSzPct val="100000"/>
            </a:pPr>
            <a:r>
              <a:rPr lang="en-US" sz="1000" dirty="0">
                <a:solidFill>
                  <a:schemeClr val="tx1"/>
                </a:solidFill>
              </a:rPr>
              <a:t>23%</a:t>
            </a:r>
          </a:p>
        </p:txBody>
      </p:sp>
      <p:sp>
        <p:nvSpPr>
          <p:cNvPr id="99" name="Rounded Rectangle 210">
            <a:extLst>
              <a:ext uri="{FF2B5EF4-FFF2-40B4-BE49-F238E27FC236}">
                <a16:creationId xmlns:a16="http://schemas.microsoft.com/office/drawing/2014/main" id="{A3A64E28-B9DC-43E4-8EE2-DFAF6ECDA228}"/>
              </a:ext>
            </a:extLst>
          </p:cNvPr>
          <p:cNvSpPr/>
          <p:nvPr/>
        </p:nvSpPr>
        <p:spPr>
          <a:xfrm>
            <a:off x="10675759" y="2080494"/>
            <a:ext cx="360363" cy="136525"/>
          </a:xfrm>
          <a:prstGeom prst="roundRect">
            <a:avLst>
              <a:gd name="adj" fmla="val 50000"/>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indent="-203200" algn="ctr">
              <a:buClr>
                <a:srgbClr val="E75200"/>
              </a:buClr>
              <a:buSzPct val="100000"/>
            </a:pPr>
            <a:r>
              <a:rPr lang="en-US" sz="1000" dirty="0">
                <a:solidFill>
                  <a:schemeClr val="tx1"/>
                </a:solidFill>
              </a:rPr>
              <a:t>1%</a:t>
            </a:r>
          </a:p>
        </p:txBody>
      </p:sp>
      <p:sp>
        <p:nvSpPr>
          <p:cNvPr id="102" name="Rounded Rectangle 210">
            <a:extLst>
              <a:ext uri="{FF2B5EF4-FFF2-40B4-BE49-F238E27FC236}">
                <a16:creationId xmlns:a16="http://schemas.microsoft.com/office/drawing/2014/main" id="{839A70F1-FA2C-4192-8F0D-220D50F4DDC4}"/>
              </a:ext>
            </a:extLst>
          </p:cNvPr>
          <p:cNvSpPr/>
          <p:nvPr/>
        </p:nvSpPr>
        <p:spPr>
          <a:xfrm>
            <a:off x="6427256" y="2080494"/>
            <a:ext cx="358775" cy="138113"/>
          </a:xfrm>
          <a:prstGeom prst="roundRect">
            <a:avLst>
              <a:gd name="adj" fmla="val 50000"/>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indent="-203200" algn="ctr">
              <a:buClr>
                <a:srgbClr val="E75200"/>
              </a:buClr>
              <a:buSzPct val="100000"/>
            </a:pPr>
            <a:r>
              <a:rPr lang="en-US" sz="1000" dirty="0">
                <a:solidFill>
                  <a:schemeClr val="tx1"/>
                </a:solidFill>
              </a:rPr>
              <a:t>16%</a:t>
            </a:r>
          </a:p>
        </p:txBody>
      </p:sp>
      <p:sp>
        <p:nvSpPr>
          <p:cNvPr id="104" name="Rounded Rectangle 210">
            <a:extLst>
              <a:ext uri="{FF2B5EF4-FFF2-40B4-BE49-F238E27FC236}">
                <a16:creationId xmlns:a16="http://schemas.microsoft.com/office/drawing/2014/main" id="{52D284F5-089D-45C1-8AA8-46CC52720B8F}"/>
              </a:ext>
            </a:extLst>
          </p:cNvPr>
          <p:cNvSpPr/>
          <p:nvPr/>
        </p:nvSpPr>
        <p:spPr>
          <a:xfrm>
            <a:off x="2202728" y="2080494"/>
            <a:ext cx="360363" cy="136525"/>
          </a:xfrm>
          <a:prstGeom prst="roundRect">
            <a:avLst>
              <a:gd name="adj" fmla="val 50000"/>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indent="-203200" algn="ctr">
              <a:buClr>
                <a:srgbClr val="E75200"/>
              </a:buClr>
              <a:buSzPct val="100000"/>
            </a:pPr>
            <a:r>
              <a:rPr lang="en-US" sz="1000" dirty="0">
                <a:solidFill>
                  <a:schemeClr val="tx1"/>
                </a:solidFill>
              </a:rPr>
              <a:t>50%</a:t>
            </a:r>
          </a:p>
        </p:txBody>
      </p:sp>
      <p:sp>
        <p:nvSpPr>
          <p:cNvPr id="106" name="Rounded Rectangle 210">
            <a:extLst>
              <a:ext uri="{FF2B5EF4-FFF2-40B4-BE49-F238E27FC236}">
                <a16:creationId xmlns:a16="http://schemas.microsoft.com/office/drawing/2014/main" id="{69E384A4-817F-42D6-970F-01ABB2C0B370}"/>
              </a:ext>
            </a:extLst>
          </p:cNvPr>
          <p:cNvSpPr/>
          <p:nvPr/>
        </p:nvSpPr>
        <p:spPr>
          <a:xfrm>
            <a:off x="3262122" y="2080494"/>
            <a:ext cx="360363" cy="136525"/>
          </a:xfrm>
          <a:prstGeom prst="roundRect">
            <a:avLst>
              <a:gd name="adj" fmla="val 50000"/>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indent="-203200" algn="ctr">
              <a:buClr>
                <a:srgbClr val="E75200"/>
              </a:buClr>
              <a:buSzPct val="100000"/>
            </a:pPr>
            <a:r>
              <a:rPr lang="en-US" sz="1000" dirty="0">
                <a:solidFill>
                  <a:schemeClr val="tx1"/>
                </a:solidFill>
              </a:rPr>
              <a:t>18%</a:t>
            </a:r>
          </a:p>
        </p:txBody>
      </p:sp>
      <p:sp>
        <p:nvSpPr>
          <p:cNvPr id="113" name="Rounded Rectangle 210">
            <a:extLst>
              <a:ext uri="{FF2B5EF4-FFF2-40B4-BE49-F238E27FC236}">
                <a16:creationId xmlns:a16="http://schemas.microsoft.com/office/drawing/2014/main" id="{0DB61343-C6F0-47AB-892F-C18CF43A31EE}"/>
              </a:ext>
            </a:extLst>
          </p:cNvPr>
          <p:cNvSpPr/>
          <p:nvPr/>
        </p:nvSpPr>
        <p:spPr>
          <a:xfrm>
            <a:off x="8600530" y="2080494"/>
            <a:ext cx="360363" cy="138113"/>
          </a:xfrm>
          <a:prstGeom prst="roundRect">
            <a:avLst>
              <a:gd name="adj" fmla="val 50000"/>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indent="-203200" algn="ctr">
              <a:buClr>
                <a:srgbClr val="E75200"/>
              </a:buClr>
              <a:buSzPct val="100000"/>
            </a:pPr>
            <a:r>
              <a:rPr lang="en-US" sz="1000" dirty="0">
                <a:solidFill>
                  <a:schemeClr val="tx1"/>
                </a:solidFill>
              </a:rPr>
              <a:t>19%</a:t>
            </a:r>
          </a:p>
        </p:txBody>
      </p:sp>
      <p:sp>
        <p:nvSpPr>
          <p:cNvPr id="117" name="Rounded Rectangle 210">
            <a:extLst>
              <a:ext uri="{FF2B5EF4-FFF2-40B4-BE49-F238E27FC236}">
                <a16:creationId xmlns:a16="http://schemas.microsoft.com/office/drawing/2014/main" id="{DE6F207D-091A-47D8-90A8-675ECDFF6084}"/>
              </a:ext>
            </a:extLst>
          </p:cNvPr>
          <p:cNvSpPr/>
          <p:nvPr/>
        </p:nvSpPr>
        <p:spPr>
          <a:xfrm>
            <a:off x="7510806" y="2080494"/>
            <a:ext cx="360363" cy="138113"/>
          </a:xfrm>
          <a:prstGeom prst="roundRect">
            <a:avLst>
              <a:gd name="adj" fmla="val 50000"/>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indent="-203200" algn="ctr">
              <a:buClr>
                <a:srgbClr val="E75200"/>
              </a:buClr>
              <a:buSzPct val="100000"/>
            </a:pPr>
            <a:r>
              <a:rPr lang="en-US" sz="1000" dirty="0">
                <a:solidFill>
                  <a:schemeClr val="tx1"/>
                </a:solidFill>
              </a:rPr>
              <a:t>53%</a:t>
            </a:r>
          </a:p>
        </p:txBody>
      </p:sp>
      <p:sp>
        <p:nvSpPr>
          <p:cNvPr id="125" name="Rounded Rectangle 210">
            <a:extLst>
              <a:ext uri="{FF2B5EF4-FFF2-40B4-BE49-F238E27FC236}">
                <a16:creationId xmlns:a16="http://schemas.microsoft.com/office/drawing/2014/main" id="{3FC2D58A-05C3-4F47-BF23-406D234C0F20}"/>
              </a:ext>
            </a:extLst>
          </p:cNvPr>
          <p:cNvSpPr/>
          <p:nvPr/>
        </p:nvSpPr>
        <p:spPr>
          <a:xfrm>
            <a:off x="4313407" y="2080494"/>
            <a:ext cx="358775" cy="138113"/>
          </a:xfrm>
          <a:prstGeom prst="roundRect">
            <a:avLst>
              <a:gd name="adj" fmla="val 50000"/>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indent="-203200" algn="ctr">
              <a:buClr>
                <a:srgbClr val="E75200"/>
              </a:buClr>
              <a:buSzPct val="100000"/>
            </a:pPr>
            <a:r>
              <a:rPr lang="en-US" sz="1000" dirty="0">
                <a:solidFill>
                  <a:schemeClr val="tx1"/>
                </a:solidFill>
              </a:rPr>
              <a:t>14%</a:t>
            </a:r>
          </a:p>
        </p:txBody>
      </p:sp>
      <p:grpSp>
        <p:nvGrpSpPr>
          <p:cNvPr id="5" name="Group 4">
            <a:extLst>
              <a:ext uri="{FF2B5EF4-FFF2-40B4-BE49-F238E27FC236}">
                <a16:creationId xmlns:a16="http://schemas.microsoft.com/office/drawing/2014/main" id="{E54A6070-2E78-4EFE-8FA0-48D7E70ECE47}"/>
              </a:ext>
            </a:extLst>
          </p:cNvPr>
          <p:cNvGrpSpPr/>
          <p:nvPr/>
        </p:nvGrpSpPr>
        <p:grpSpPr>
          <a:xfrm>
            <a:off x="938970" y="5036870"/>
            <a:ext cx="10552113" cy="594270"/>
            <a:chOff x="965200" y="4856377"/>
            <a:chExt cx="6404463" cy="341314"/>
          </a:xfrm>
        </p:grpSpPr>
        <p:pic>
          <p:nvPicPr>
            <p:cNvPr id="68" name="Picture 67" descr="Resultado de imagen para cma cgm logo png">
              <a:extLst>
                <a:ext uri="{FF2B5EF4-FFF2-40B4-BE49-F238E27FC236}">
                  <a16:creationId xmlns:a16="http://schemas.microsoft.com/office/drawing/2014/main" id="{5C5242D3-280B-425A-B72E-195A8608FCC3}"/>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2127250" y="4862728"/>
              <a:ext cx="507408" cy="33496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a:extLst>
                <a:ext uri="{FF2B5EF4-FFF2-40B4-BE49-F238E27FC236}">
                  <a16:creationId xmlns:a16="http://schemas.microsoft.com/office/drawing/2014/main" id="{B5A137D0-B2D5-47D6-A601-A41DE83CD142}"/>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965200" y="4856377"/>
              <a:ext cx="333921" cy="290513"/>
            </a:xfrm>
            <a:prstGeom prst="rect">
              <a:avLst/>
            </a:prstGeom>
          </p:spPr>
        </p:pic>
        <p:pic>
          <p:nvPicPr>
            <p:cNvPr id="72" name="Picture 77">
              <a:extLst>
                <a:ext uri="{FF2B5EF4-FFF2-40B4-BE49-F238E27FC236}">
                  <a16:creationId xmlns:a16="http://schemas.microsoft.com/office/drawing/2014/main" id="{6B550508-747E-4E17-9479-816166BAD1C9}"/>
                </a:ext>
              </a:extLst>
            </p:cNvPr>
            <p:cNvPicPr>
              <a:picLocks noChangeAspect="1"/>
            </p:cNvPicPr>
            <p:nvPr/>
          </p:nvPicPr>
          <p:blipFill rotWithShape="1">
            <a:blip r:embed="rId37" cstate="screen">
              <a:extLst>
                <a:ext uri="{28A0092B-C50C-407E-A947-70E740481C1C}">
                  <a14:useLocalDpi xmlns:a14="http://schemas.microsoft.com/office/drawing/2010/main"/>
                </a:ext>
              </a:extLst>
            </a:blip>
            <a:srcRect/>
            <a:stretch/>
          </p:blipFill>
          <p:spPr bwMode="gray">
            <a:xfrm>
              <a:off x="1414461" y="4951626"/>
              <a:ext cx="617842" cy="114300"/>
            </a:xfrm>
            <a:prstGeom prst="rect">
              <a:avLst/>
            </a:prstGeom>
          </p:spPr>
        </p:pic>
        <p:pic>
          <p:nvPicPr>
            <p:cNvPr id="118" name="Picture 18" descr="International Shipping Lines, Container Shipping, Cargo Services | ZIM">
              <a:extLst>
                <a:ext uri="{FF2B5EF4-FFF2-40B4-BE49-F238E27FC236}">
                  <a16:creationId xmlns:a16="http://schemas.microsoft.com/office/drawing/2014/main" id="{5E929FC4-2F2C-4DA4-BFC8-19A46E72553C}"/>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4873625" y="4856377"/>
              <a:ext cx="292100" cy="292100"/>
            </a:xfrm>
            <a:prstGeom prst="rect">
              <a:avLst/>
            </a:prstGeom>
            <a:noFill/>
            <a:extLst>
              <a:ext uri="{909E8E84-426E-40DD-AFC4-6F175D3DCCD1}">
                <a14:hiddenFill xmlns:a14="http://schemas.microsoft.com/office/drawing/2010/main">
                  <a:solidFill>
                    <a:srgbClr val="FFFFFF"/>
                  </a:solidFill>
                </a14:hiddenFill>
              </a:ext>
            </a:extLst>
          </p:spPr>
        </p:pic>
        <p:pic>
          <p:nvPicPr>
            <p:cNvPr id="119" name="Grafik 11">
              <a:extLst>
                <a:ext uri="{FF2B5EF4-FFF2-40B4-BE49-F238E27FC236}">
                  <a16:creationId xmlns:a16="http://schemas.microsoft.com/office/drawing/2014/main" id="{FD675FB5-954E-426D-A318-DEF79A95C418}"/>
                </a:ext>
              </a:extLst>
            </p:cNvPr>
            <p:cNvPicPr>
              <a:picLocks noChangeAspect="1"/>
            </p:cNvPicPr>
            <p:nvPr/>
          </p:nvPicPr>
          <p:blipFill rotWithShape="1">
            <a:blip r:embed="rId39"/>
            <a:srcRect l="17252" t="17210" r="79004" b="76966"/>
            <a:stretch/>
          </p:blipFill>
          <p:spPr>
            <a:xfrm>
              <a:off x="4156075" y="4888127"/>
              <a:ext cx="488421" cy="225425"/>
            </a:xfrm>
            <a:prstGeom prst="rect">
              <a:avLst/>
            </a:prstGeom>
          </p:spPr>
        </p:pic>
        <p:pic>
          <p:nvPicPr>
            <p:cNvPr id="120" name="Picture 80">
              <a:extLst>
                <a:ext uri="{FF2B5EF4-FFF2-40B4-BE49-F238E27FC236}">
                  <a16:creationId xmlns:a16="http://schemas.microsoft.com/office/drawing/2014/main" id="{0AD46BFB-49F1-4ACE-B83F-8258315EA946}"/>
                </a:ext>
              </a:extLst>
            </p:cNvPr>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bwMode="gray">
            <a:xfrm>
              <a:off x="5951537" y="4921463"/>
              <a:ext cx="715165" cy="134938"/>
            </a:xfrm>
            <a:prstGeom prst="rect">
              <a:avLst/>
            </a:prstGeom>
          </p:spPr>
        </p:pic>
        <p:pic>
          <p:nvPicPr>
            <p:cNvPr id="123" name="Picture 20" descr="HMM">
              <a:extLst>
                <a:ext uri="{FF2B5EF4-FFF2-40B4-BE49-F238E27FC236}">
                  <a16:creationId xmlns:a16="http://schemas.microsoft.com/office/drawing/2014/main" id="{02B35296-B916-493B-9AFC-EF16F1C1AFB9}"/>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5513883" y="4916701"/>
              <a:ext cx="359239" cy="153988"/>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descr="Resultado de imagen para maersk line logo png">
              <a:extLst>
                <a:ext uri="{FF2B5EF4-FFF2-40B4-BE49-F238E27FC236}">
                  <a16:creationId xmlns:a16="http://schemas.microsoft.com/office/drawing/2014/main" id="{E9B0655F-946D-4EA3-BCA0-2058F1CF1E9D}"/>
                </a:ext>
              </a:extLst>
            </p:cNvPr>
            <p:cNvPicPr>
              <a:picLocks noChangeAspect="1" noChangeArrowheads="1"/>
            </p:cNvPicPr>
            <p:nvPr/>
          </p:nvPicPr>
          <p:blipFill>
            <a:blip r:embed="rId3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40512" y="4923052"/>
              <a:ext cx="729151" cy="176213"/>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5" descr="Resultado de imagen para hapag lloyd logo png">
              <a:extLst>
                <a:ext uri="{FF2B5EF4-FFF2-40B4-BE49-F238E27FC236}">
                  <a16:creationId xmlns:a16="http://schemas.microsoft.com/office/drawing/2014/main" id="{2488BCBB-9412-4CF8-8B58-B9C00814ED36}"/>
                </a:ext>
              </a:extLst>
            </p:cNvPr>
            <p:cNvPicPr>
              <a:picLocks noChangeAspect="1" noChangeArrowheads="1"/>
            </p:cNvPicPr>
            <p:nvPr/>
          </p:nvPicPr>
          <p:blipFill rotWithShape="1">
            <a:blip r:embed="rId42" cstate="print">
              <a:extLst>
                <a:ext uri="{28A0092B-C50C-407E-A947-70E740481C1C}">
                  <a14:useLocalDpi xmlns:a14="http://schemas.microsoft.com/office/drawing/2010/main" val="0"/>
                </a:ext>
              </a:extLst>
            </a:blip>
            <a:srcRect/>
            <a:stretch/>
          </p:blipFill>
          <p:spPr bwMode="auto">
            <a:xfrm>
              <a:off x="3603625" y="4907177"/>
              <a:ext cx="267578" cy="192088"/>
            </a:xfrm>
            <a:prstGeom prst="rect">
              <a:avLst/>
            </a:prstGeom>
            <a:noFill/>
            <a:extLst>
              <a:ext uri="{909E8E84-426E-40DD-AFC4-6F175D3DCCD1}">
                <a14:hiddenFill xmlns:a14="http://schemas.microsoft.com/office/drawing/2010/main">
                  <a:solidFill>
                    <a:srgbClr val="FFFFFF"/>
                  </a:solidFill>
                </a14:hiddenFill>
              </a:ext>
            </a:extLst>
          </p:spPr>
        </p:pic>
      </p:grpSp>
      <p:pic>
        <p:nvPicPr>
          <p:cNvPr id="160772" name="Picture 4">
            <a:extLst>
              <a:ext uri="{FF2B5EF4-FFF2-40B4-BE49-F238E27FC236}">
                <a16:creationId xmlns:a16="http://schemas.microsoft.com/office/drawing/2014/main" id="{0F5EED63-1CB8-48A8-A1AF-26284A9DF73D}"/>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4112481" y="5122504"/>
            <a:ext cx="678702" cy="438003"/>
          </a:xfrm>
          <a:prstGeom prst="rect">
            <a:avLst/>
          </a:prstGeom>
          <a:noFill/>
          <a:extLst>
            <a:ext uri="{909E8E84-426E-40DD-AFC4-6F175D3DCCD1}">
              <a14:hiddenFill xmlns:a14="http://schemas.microsoft.com/office/drawing/2010/main">
                <a:solidFill>
                  <a:srgbClr val="FFFFFF"/>
                </a:solidFill>
              </a14:hiddenFill>
            </a:ext>
          </a:extLst>
        </p:spPr>
      </p:pic>
      <p:sp>
        <p:nvSpPr>
          <p:cNvPr id="55" name="Rounded Rectangle 210">
            <a:extLst>
              <a:ext uri="{FF2B5EF4-FFF2-40B4-BE49-F238E27FC236}">
                <a16:creationId xmlns:a16="http://schemas.microsoft.com/office/drawing/2014/main" id="{E3A23FD8-4A73-401E-B6BD-828D846FDE70}"/>
              </a:ext>
            </a:extLst>
          </p:cNvPr>
          <p:cNvSpPr/>
          <p:nvPr/>
        </p:nvSpPr>
        <p:spPr>
          <a:xfrm>
            <a:off x="5708651" y="1427956"/>
            <a:ext cx="360363" cy="136525"/>
          </a:xfrm>
          <a:prstGeom prst="roundRect">
            <a:avLst>
              <a:gd name="adj" fmla="val 50000"/>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indent="-203200" algn="ctr">
              <a:buClr>
                <a:srgbClr val="E75200"/>
              </a:buClr>
              <a:buSzPct val="100000"/>
            </a:pPr>
            <a:r>
              <a:rPr lang="en-US" sz="1000" dirty="0">
                <a:solidFill>
                  <a:schemeClr val="tx1"/>
                </a:solidFill>
              </a:rPr>
              <a:t>xx%</a:t>
            </a:r>
          </a:p>
        </p:txBody>
      </p:sp>
      <p:sp>
        <p:nvSpPr>
          <p:cNvPr id="6" name="TextBox 5">
            <a:extLst>
              <a:ext uri="{FF2B5EF4-FFF2-40B4-BE49-F238E27FC236}">
                <a16:creationId xmlns:a16="http://schemas.microsoft.com/office/drawing/2014/main" id="{B85D03E9-4FDE-440D-B66E-6C5994ECFA16}"/>
              </a:ext>
            </a:extLst>
          </p:cNvPr>
          <p:cNvSpPr txBox="1"/>
          <p:nvPr/>
        </p:nvSpPr>
        <p:spPr>
          <a:xfrm>
            <a:off x="6121023" y="1419446"/>
            <a:ext cx="1164705" cy="46166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Orderbook as a share of existing capacity </a:t>
            </a:r>
          </a:p>
        </p:txBody>
      </p:sp>
      <p:pic>
        <p:nvPicPr>
          <p:cNvPr id="53" name="Content Placeholder 1">
            <a:extLst>
              <a:ext uri="{FF2B5EF4-FFF2-40B4-BE49-F238E27FC236}">
                <a16:creationId xmlns:a16="http://schemas.microsoft.com/office/drawing/2014/main" id="{7C13BC37-A60D-4222-93FA-E8849B659BEB}"/>
              </a:ext>
            </a:extLst>
          </p:cNvPr>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11146886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B1410AD-86DE-43EA-8856-8C591A5B67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8" name="think-cell Slide" r:id="rId11" imgW="592" imgH="595" progId="TCLayout.ActiveDocument.1">
                  <p:embed/>
                </p:oleObj>
              </mc:Choice>
              <mc:Fallback>
                <p:oleObj name="think-cell Slide" r:id="rId11" imgW="592" imgH="595" progId="TCLayout.ActiveDocument.1">
                  <p:embed/>
                  <p:pic>
                    <p:nvPicPr>
                      <p:cNvPr id="5" name="Object 2" hidden="1">
                        <a:extLst>
                          <a:ext uri="{FF2B5EF4-FFF2-40B4-BE49-F238E27FC236}">
                            <a16:creationId xmlns:a16="http://schemas.microsoft.com/office/drawing/2014/main" id="{BB1410AD-86DE-43EA-8856-8C591A5B67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55B732B-57AC-4AC3-AF9D-95D8D8451700}"/>
              </a:ext>
            </a:extLst>
          </p:cNvPr>
          <p:cNvSpPr>
            <a:spLocks noGrp="1"/>
          </p:cNvSpPr>
          <p:nvPr>
            <p:ph type="title" idx="4294967295"/>
          </p:nvPr>
        </p:nvSpPr>
        <p:spPr>
          <a:xfrm>
            <a:off x="554736" y="182372"/>
            <a:ext cx="11083925" cy="731837"/>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dirty="0"/>
              <a:t>Current disruption is expected to normalize over the next 5-6 months in the ‘Optimistic scenario’</a:t>
            </a:r>
          </a:p>
        </p:txBody>
      </p:sp>
      <p:sp>
        <p:nvSpPr>
          <p:cNvPr id="141" name="TextBox 140">
            <a:extLst>
              <a:ext uri="{FF2B5EF4-FFF2-40B4-BE49-F238E27FC236}">
                <a16:creationId xmlns:a16="http://schemas.microsoft.com/office/drawing/2014/main" id="{660F69C1-067F-42E1-8539-B6FFC0A8C4B6}"/>
              </a:ext>
            </a:extLst>
          </p:cNvPr>
          <p:cNvSpPr txBox="1">
            <a:spLocks/>
          </p:cNvSpPr>
          <p:nvPr/>
        </p:nvSpPr>
        <p:spPr>
          <a:xfrm>
            <a:off x="554736" y="970908"/>
            <a:ext cx="11083925" cy="215444"/>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ep dive on our Optimistic Scenario</a:t>
            </a:r>
          </a:p>
        </p:txBody>
      </p:sp>
      <p:sp>
        <p:nvSpPr>
          <p:cNvPr id="133" name="5. Source">
            <a:extLst>
              <a:ext uri="{FF2B5EF4-FFF2-40B4-BE49-F238E27FC236}">
                <a16:creationId xmlns:a16="http://schemas.microsoft.com/office/drawing/2014/main" id="{593C033D-20E5-4518-8F2E-4D4D5A29B3AE}"/>
              </a:ext>
            </a:extLst>
          </p:cNvPr>
          <p:cNvSpPr txBox="1"/>
          <p:nvPr>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External expert interviews</a:t>
            </a:r>
          </a:p>
        </p:txBody>
      </p:sp>
      <p:grpSp>
        <p:nvGrpSpPr>
          <p:cNvPr id="4" name="Group 3">
            <a:extLst>
              <a:ext uri="{FF2B5EF4-FFF2-40B4-BE49-F238E27FC236}">
                <a16:creationId xmlns:a16="http://schemas.microsoft.com/office/drawing/2014/main" id="{AAD6B7B0-09F8-4E28-B736-74C4C77BA154}"/>
              </a:ext>
            </a:extLst>
          </p:cNvPr>
          <p:cNvGrpSpPr/>
          <p:nvPr/>
        </p:nvGrpSpPr>
        <p:grpSpPr>
          <a:xfrm>
            <a:off x="599545" y="1181054"/>
            <a:ext cx="13908319" cy="5356595"/>
            <a:chOff x="554736" y="1192983"/>
            <a:chExt cx="11471136" cy="5356595"/>
          </a:xfrm>
        </p:grpSpPr>
        <p:sp>
          <p:nvSpPr>
            <p:cNvPr id="56" name="TextBox 55">
              <a:extLst>
                <a:ext uri="{FF2B5EF4-FFF2-40B4-BE49-F238E27FC236}">
                  <a16:creationId xmlns:a16="http://schemas.microsoft.com/office/drawing/2014/main" id="{177A1139-F101-40A9-A1BB-4F2B8DBF3F0D}"/>
                </a:ext>
              </a:extLst>
            </p:cNvPr>
            <p:cNvSpPr txBox="1">
              <a:spLocks/>
            </p:cNvSpPr>
            <p:nvPr/>
          </p:nvSpPr>
          <p:spPr>
            <a:xfrm>
              <a:off x="554736" y="1790344"/>
              <a:ext cx="2213505" cy="15388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Value chain </a:t>
              </a:r>
            </a:p>
          </p:txBody>
        </p:sp>
        <p:sp>
          <p:nvSpPr>
            <p:cNvPr id="73" name="TextBox 72">
              <a:extLst>
                <a:ext uri="{FF2B5EF4-FFF2-40B4-BE49-F238E27FC236}">
                  <a16:creationId xmlns:a16="http://schemas.microsoft.com/office/drawing/2014/main" id="{43B4BB27-E944-421A-B23A-7FF796CF2C1D}"/>
                </a:ext>
              </a:extLst>
            </p:cNvPr>
            <p:cNvSpPr txBox="1">
              <a:spLocks/>
            </p:cNvSpPr>
            <p:nvPr/>
          </p:nvSpPr>
          <p:spPr>
            <a:xfrm>
              <a:off x="1171887" y="3348149"/>
              <a:ext cx="733921"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ort and Hinterland logistics  transport</a:t>
              </a:r>
            </a:p>
          </p:txBody>
        </p:sp>
        <p:pic>
          <p:nvPicPr>
            <p:cNvPr id="20" name="CustomIcon">
              <a:extLst>
                <a:ext uri="{FF2B5EF4-FFF2-40B4-BE49-F238E27FC236}">
                  <a16:creationId xmlns:a16="http://schemas.microsoft.com/office/drawing/2014/main" id="{2C153660-8AF3-4FFC-91E5-A8E0FAF4C631}"/>
                </a:ext>
              </a:extLst>
            </p:cNvPr>
            <p:cNvPicPr>
              <a:picLocks/>
            </p:cNvPicPr>
            <p:nvPr>
              <p:custDataLst>
                <p:tags r:id="rId4"/>
              </p:custDataLst>
            </p:nvPr>
          </p:nvPicPr>
          <p:blipFill>
            <a:blip r:embed="rId13">
              <a:extLst>
                <a:ext uri="{96DAC541-7B7A-43D3-8B79-37D633B846F1}">
                  <asvg:svgBlip xmlns:asvg="http://schemas.microsoft.com/office/drawing/2016/SVG/main" r:embed="rId14"/>
                </a:ext>
              </a:extLst>
            </a:blip>
            <a:stretch>
              <a:fillRect/>
            </a:stretch>
          </p:blipFill>
          <p:spPr>
            <a:xfrm>
              <a:off x="554736" y="3350158"/>
              <a:ext cx="411480" cy="411480"/>
            </a:xfrm>
            <a:prstGeom prst="rect">
              <a:avLst/>
            </a:prstGeom>
          </p:spPr>
        </p:pic>
        <p:cxnSp>
          <p:nvCxnSpPr>
            <p:cNvPr id="69" name="Straight Connector 68">
              <a:extLst>
                <a:ext uri="{FF2B5EF4-FFF2-40B4-BE49-F238E27FC236}">
                  <a16:creationId xmlns:a16="http://schemas.microsoft.com/office/drawing/2014/main" id="{051BC052-588C-45A9-8881-5086A8FDD0D3}"/>
                </a:ext>
              </a:extLst>
            </p:cNvPr>
            <p:cNvCxnSpPr>
              <a:cxnSpLocks/>
            </p:cNvCxnSpPr>
            <p:nvPr/>
          </p:nvCxnSpPr>
          <p:spPr>
            <a:xfrm>
              <a:off x="554736" y="6085671"/>
              <a:ext cx="9052560" cy="0"/>
            </a:xfrm>
            <a:prstGeom prst="line">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C2890A46-498F-4EE6-9EB2-43846DED7B6F}"/>
                </a:ext>
              </a:extLst>
            </p:cNvPr>
            <p:cNvSpPr txBox="1">
              <a:spLocks/>
            </p:cNvSpPr>
            <p:nvPr/>
          </p:nvSpPr>
          <p:spPr>
            <a:xfrm>
              <a:off x="1171887" y="5384672"/>
              <a:ext cx="733921"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cean transport</a:t>
              </a:r>
            </a:p>
          </p:txBody>
        </p:sp>
        <p:pic>
          <p:nvPicPr>
            <p:cNvPr id="111" name="CustomIcon">
              <a:extLst>
                <a:ext uri="{FF2B5EF4-FFF2-40B4-BE49-F238E27FC236}">
                  <a16:creationId xmlns:a16="http://schemas.microsoft.com/office/drawing/2014/main" id="{C3D6A4C2-B3BF-4162-B1B5-3B0F1806F277}"/>
                </a:ext>
              </a:extLst>
            </p:cNvPr>
            <p:cNvPicPr>
              <a:picLocks/>
            </p:cNvPicPr>
            <p:nvPr>
              <p:custDataLst>
                <p:tags r:id="rId5"/>
              </p:custDataLst>
            </p:nvPr>
          </p:nvPicPr>
          <p:blipFill>
            <a:blip r:embed="rId15">
              <a:extLst>
                <a:ext uri="{96DAC541-7B7A-43D3-8B79-37D633B846F1}">
                  <asvg:svgBlip xmlns:asvg="http://schemas.microsoft.com/office/drawing/2016/SVG/main" r:embed="rId16"/>
                </a:ext>
              </a:extLst>
            </a:blip>
            <a:stretch>
              <a:fillRect/>
            </a:stretch>
          </p:blipFill>
          <p:spPr>
            <a:xfrm>
              <a:off x="554736" y="5317431"/>
              <a:ext cx="411480" cy="411480"/>
            </a:xfrm>
            <a:prstGeom prst="rect">
              <a:avLst/>
            </a:prstGeom>
          </p:spPr>
        </p:pic>
        <p:sp>
          <p:nvSpPr>
            <p:cNvPr id="71" name="TextBox 70">
              <a:extLst>
                <a:ext uri="{FF2B5EF4-FFF2-40B4-BE49-F238E27FC236}">
                  <a16:creationId xmlns:a16="http://schemas.microsoft.com/office/drawing/2014/main" id="{720AF10E-6EDD-4199-99DE-613C460E0F59}"/>
                </a:ext>
              </a:extLst>
            </p:cNvPr>
            <p:cNvSpPr txBox="1">
              <a:spLocks/>
            </p:cNvSpPr>
            <p:nvPr/>
          </p:nvSpPr>
          <p:spPr>
            <a:xfrm>
              <a:off x="1171887" y="6266894"/>
              <a:ext cx="733921" cy="15388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Labor</a:t>
              </a:r>
              <a:endParaRPr kumimoji="0" 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110" name="CustomIcon">
              <a:extLst>
                <a:ext uri="{FF2B5EF4-FFF2-40B4-BE49-F238E27FC236}">
                  <a16:creationId xmlns:a16="http://schemas.microsoft.com/office/drawing/2014/main" id="{055E226D-B76A-48E8-B456-EE7A194EEB8A}"/>
                </a:ext>
              </a:extLst>
            </p:cNvPr>
            <p:cNvPicPr>
              <a:picLocks/>
            </p:cNvPicPr>
            <p:nvPr>
              <p:custDataLst>
                <p:tags r:id="rId6"/>
              </p:custDataLst>
            </p:nvPr>
          </p:nvPicPr>
          <p:blipFill>
            <a:blip r:embed="rId17">
              <a:extLst>
                <a:ext uri="{96DAC541-7B7A-43D3-8B79-37D633B846F1}">
                  <asvg:svgBlip xmlns:asvg="http://schemas.microsoft.com/office/drawing/2016/SVG/main" r:embed="rId18"/>
                </a:ext>
              </a:extLst>
            </a:blip>
            <a:stretch>
              <a:fillRect/>
            </a:stretch>
          </p:blipFill>
          <p:spPr>
            <a:xfrm>
              <a:off x="554736" y="6138098"/>
              <a:ext cx="411480" cy="411480"/>
            </a:xfrm>
            <a:prstGeom prst="rect">
              <a:avLst/>
            </a:prstGeom>
          </p:spPr>
        </p:pic>
        <p:cxnSp>
          <p:nvCxnSpPr>
            <p:cNvPr id="298" name="Straight Arrow Connector 297">
              <a:extLst>
                <a:ext uri="{FF2B5EF4-FFF2-40B4-BE49-F238E27FC236}">
                  <a16:creationId xmlns:a16="http://schemas.microsoft.com/office/drawing/2014/main" id="{BB011C57-7FFB-4E4E-910A-3B737ED7F322}"/>
                </a:ext>
              </a:extLst>
            </p:cNvPr>
            <p:cNvCxnSpPr>
              <a:cxnSpLocks/>
            </p:cNvCxnSpPr>
            <p:nvPr/>
          </p:nvCxnSpPr>
          <p:spPr>
            <a:xfrm>
              <a:off x="3076243" y="1867288"/>
              <a:ext cx="6669348" cy="0"/>
            </a:xfrm>
            <a:prstGeom prst="straightConnector1">
              <a:avLst/>
            </a:prstGeom>
            <a:ln w="38100" cap="flat">
              <a:solidFill>
                <a:srgbClr val="B3B3B3"/>
              </a:solidFill>
              <a:miter lim="800000"/>
              <a:tailEnd type="arrow" w="lg" len="med"/>
            </a:ln>
          </p:spPr>
          <p:style>
            <a:lnRef idx="1">
              <a:schemeClr val="accent1"/>
            </a:lnRef>
            <a:fillRef idx="0">
              <a:schemeClr val="accent1"/>
            </a:fillRef>
            <a:effectRef idx="0">
              <a:schemeClr val="accent1"/>
            </a:effectRef>
            <a:fontRef idx="minor">
              <a:schemeClr val="tx1"/>
            </a:fontRef>
          </p:style>
        </p:cxnSp>
        <p:sp>
          <p:nvSpPr>
            <p:cNvPr id="283" name="TextBox 282">
              <a:extLst>
                <a:ext uri="{FF2B5EF4-FFF2-40B4-BE49-F238E27FC236}">
                  <a16:creationId xmlns:a16="http://schemas.microsoft.com/office/drawing/2014/main" id="{0925512D-F463-4177-8930-E2DFA5647971}"/>
                </a:ext>
              </a:extLst>
            </p:cNvPr>
            <p:cNvSpPr txBox="1">
              <a:spLocks/>
            </p:cNvSpPr>
            <p:nvPr/>
          </p:nvSpPr>
          <p:spPr>
            <a:xfrm>
              <a:off x="3196018" y="1638688"/>
              <a:ext cx="377084" cy="457200"/>
            </a:xfrm>
            <a:prstGeom prst="ellipse">
              <a:avLst/>
            </a:prstGeom>
            <a:solidFill>
              <a:schemeClr val="accent3"/>
            </a:solidFill>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7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Q4 2021 </a:t>
              </a:r>
            </a:p>
          </p:txBody>
        </p:sp>
        <p:sp>
          <p:nvSpPr>
            <p:cNvPr id="285" name="TextBox 284">
              <a:extLst>
                <a:ext uri="{FF2B5EF4-FFF2-40B4-BE49-F238E27FC236}">
                  <a16:creationId xmlns:a16="http://schemas.microsoft.com/office/drawing/2014/main" id="{6A642D1B-2934-4148-8A2B-D9B7F56E91B3}"/>
                </a:ext>
              </a:extLst>
            </p:cNvPr>
            <p:cNvSpPr txBox="1">
              <a:spLocks/>
            </p:cNvSpPr>
            <p:nvPr/>
          </p:nvSpPr>
          <p:spPr>
            <a:xfrm>
              <a:off x="4748737" y="1638688"/>
              <a:ext cx="377084" cy="457200"/>
            </a:xfrm>
            <a:prstGeom prst="ellipse">
              <a:avLst/>
            </a:prstGeom>
            <a:solidFill>
              <a:schemeClr val="accent3"/>
            </a:solidFill>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7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Q1 2022</a:t>
              </a:r>
            </a:p>
          </p:txBody>
        </p:sp>
        <p:sp>
          <p:nvSpPr>
            <p:cNvPr id="287" name="TextBox 286">
              <a:extLst>
                <a:ext uri="{FF2B5EF4-FFF2-40B4-BE49-F238E27FC236}">
                  <a16:creationId xmlns:a16="http://schemas.microsoft.com/office/drawing/2014/main" id="{F248D641-C1B5-4BBE-AB6A-0EA0E09D51F2}"/>
                </a:ext>
              </a:extLst>
            </p:cNvPr>
            <p:cNvSpPr txBox="1">
              <a:spLocks/>
            </p:cNvSpPr>
            <p:nvPr/>
          </p:nvSpPr>
          <p:spPr>
            <a:xfrm>
              <a:off x="6301456" y="1638688"/>
              <a:ext cx="377084" cy="457200"/>
            </a:xfrm>
            <a:prstGeom prst="ellipse">
              <a:avLst/>
            </a:prstGeom>
            <a:solidFill>
              <a:schemeClr val="accent3"/>
            </a:solidFill>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7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Q2 2022</a:t>
              </a:r>
            </a:p>
          </p:txBody>
        </p:sp>
        <p:sp>
          <p:nvSpPr>
            <p:cNvPr id="289" name="TextBox 288">
              <a:extLst>
                <a:ext uri="{FF2B5EF4-FFF2-40B4-BE49-F238E27FC236}">
                  <a16:creationId xmlns:a16="http://schemas.microsoft.com/office/drawing/2014/main" id="{E4B76271-A67F-4D70-9A75-EB7C7EA41FE6}"/>
                </a:ext>
              </a:extLst>
            </p:cNvPr>
            <p:cNvSpPr txBox="1">
              <a:spLocks/>
            </p:cNvSpPr>
            <p:nvPr/>
          </p:nvSpPr>
          <p:spPr>
            <a:xfrm>
              <a:off x="7854176" y="1638688"/>
              <a:ext cx="377084" cy="457200"/>
            </a:xfrm>
            <a:prstGeom prst="ellipse">
              <a:avLst/>
            </a:prstGeom>
            <a:solidFill>
              <a:schemeClr val="accent3"/>
            </a:solidFill>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7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Q3 2022</a:t>
              </a:r>
            </a:p>
          </p:txBody>
        </p:sp>
        <p:sp>
          <p:nvSpPr>
            <p:cNvPr id="106" name="TextBox 105">
              <a:extLst>
                <a:ext uri="{FF2B5EF4-FFF2-40B4-BE49-F238E27FC236}">
                  <a16:creationId xmlns:a16="http://schemas.microsoft.com/office/drawing/2014/main" id="{3EA924B5-474B-4361-BB32-72539E86A13B}"/>
                </a:ext>
              </a:extLst>
            </p:cNvPr>
            <p:cNvSpPr txBox="1"/>
            <p:nvPr/>
          </p:nvSpPr>
          <p:spPr>
            <a:xfrm>
              <a:off x="3196018" y="1192983"/>
              <a:ext cx="1415539" cy="4154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arginal </a:t>
              </a:r>
              <a:r>
                <a:rPr kumimoji="0" lang="en-US" sz="900" b="1" i="0" u="none" strike="noStrike" kern="1200" cap="none" spc="-40" normalizeH="0" baseline="0" noProof="0" dirty="0">
                  <a:ln>
                    <a:noFill/>
                  </a:ln>
                  <a:solidFill>
                    <a:srgbClr val="000000"/>
                  </a:solidFill>
                  <a:effectLst/>
                  <a:uLnTx/>
                  <a:uFillTx/>
                  <a:latin typeface="Arial"/>
                  <a:ea typeface="+mn-ea"/>
                  <a:cs typeface="Arial" panose="020B0604020202020204" pitchFamily="34" charset="0"/>
                </a:rPr>
                <a:t>capacity relief expected before EOY</a:t>
              </a:r>
            </a:p>
          </p:txBody>
        </p:sp>
        <p:sp>
          <p:nvSpPr>
            <p:cNvPr id="107" name="TextBox 106">
              <a:extLst>
                <a:ext uri="{FF2B5EF4-FFF2-40B4-BE49-F238E27FC236}">
                  <a16:creationId xmlns:a16="http://schemas.microsoft.com/office/drawing/2014/main" id="{0C9555E1-26CB-42B1-8B77-92966F0BED23}"/>
                </a:ext>
              </a:extLst>
            </p:cNvPr>
            <p:cNvSpPr txBox="1"/>
            <p:nvPr/>
          </p:nvSpPr>
          <p:spPr>
            <a:xfrm>
              <a:off x="4748738" y="1192983"/>
              <a:ext cx="2938767"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lief in most subsystems </a:t>
              </a:r>
            </a:p>
          </p:txBody>
        </p:sp>
        <p:sp>
          <p:nvSpPr>
            <p:cNvPr id="108" name="TextBox 107">
              <a:extLst>
                <a:ext uri="{FF2B5EF4-FFF2-40B4-BE49-F238E27FC236}">
                  <a16:creationId xmlns:a16="http://schemas.microsoft.com/office/drawing/2014/main" id="{9B9C5E96-EAD1-414E-A795-CE8A5B15A31A}"/>
                </a:ext>
              </a:extLst>
            </p:cNvPr>
            <p:cNvSpPr txBox="1"/>
            <p:nvPr/>
          </p:nvSpPr>
          <p:spPr>
            <a:xfrm>
              <a:off x="7394134" y="1192983"/>
              <a:ext cx="4631738"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tabilization at ‘new normal’</a:t>
              </a:r>
            </a:p>
          </p:txBody>
        </p:sp>
        <p:cxnSp>
          <p:nvCxnSpPr>
            <p:cNvPr id="87" name="Straight Connector 86">
              <a:extLst>
                <a:ext uri="{FF2B5EF4-FFF2-40B4-BE49-F238E27FC236}">
                  <a16:creationId xmlns:a16="http://schemas.microsoft.com/office/drawing/2014/main" id="{FF0597AB-4138-499C-A9EF-F24D06FCF9EA}"/>
                </a:ext>
              </a:extLst>
            </p:cNvPr>
            <p:cNvCxnSpPr>
              <a:cxnSpLocks/>
            </p:cNvCxnSpPr>
            <p:nvPr/>
          </p:nvCxnSpPr>
          <p:spPr>
            <a:xfrm flipV="1">
              <a:off x="2111479" y="2729015"/>
              <a:ext cx="7474270" cy="0"/>
            </a:xfrm>
            <a:prstGeom prst="line">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AE226406-CEDF-4516-A7B0-78F3DD1FB118}"/>
                </a:ext>
              </a:extLst>
            </p:cNvPr>
            <p:cNvSpPr txBox="1">
              <a:spLocks/>
            </p:cNvSpPr>
            <p:nvPr/>
          </p:nvSpPr>
          <p:spPr>
            <a:xfrm>
              <a:off x="4748737" y="2840299"/>
              <a:ext cx="2517142" cy="323165"/>
            </a:xfrm>
            <a:prstGeom prst="rect">
              <a:avLst/>
            </a:prstGeom>
          </p:spPr>
          <p:txBody>
            <a:bodyPr vert="horz" wrap="square" lIns="0" tIns="0" rIns="0" bIns="0" rtlCol="0">
              <a:spAutoFit/>
            </a:bodyPr>
            <a:lstStyle>
              <a:defPPr>
                <a:defRPr lang="en-US"/>
              </a:defPPr>
              <a:lvl1pPr lvl="0" indent="0">
                <a:lnSpc>
                  <a:spcPct val="100000"/>
                </a:lnSpc>
                <a:spcBef>
                  <a:spcPts val="100"/>
                </a:spcBef>
                <a:spcAft>
                  <a:spcPts val="300"/>
                </a:spcAft>
                <a:buFont typeface="Segoe UI" panose="020B0502040204020203" pitchFamily="34" charset="0"/>
                <a:buNone/>
                <a:defRPr sz="8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hassis and other equipment availability improves with increased turnover and empty dropping appointments slots increase</a:t>
              </a:r>
            </a:p>
          </p:txBody>
        </p:sp>
        <p:sp>
          <p:nvSpPr>
            <p:cNvPr id="118" name="TextBox 117">
              <a:extLst>
                <a:ext uri="{FF2B5EF4-FFF2-40B4-BE49-F238E27FC236}">
                  <a16:creationId xmlns:a16="http://schemas.microsoft.com/office/drawing/2014/main" id="{24CF32AC-45D8-4209-B25E-BA35C7CDED73}"/>
                </a:ext>
              </a:extLst>
            </p:cNvPr>
            <p:cNvSpPr txBox="1">
              <a:spLocks/>
            </p:cNvSpPr>
            <p:nvPr/>
          </p:nvSpPr>
          <p:spPr>
            <a:xfrm>
              <a:off x="3196018" y="2840299"/>
              <a:ext cx="1415538" cy="32316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rayage crunch slowly easing up as demand slows down</a:t>
              </a:r>
            </a:p>
          </p:txBody>
        </p:sp>
        <p:cxnSp>
          <p:nvCxnSpPr>
            <p:cNvPr id="183" name="Straight Connector 182">
              <a:extLst>
                <a:ext uri="{FF2B5EF4-FFF2-40B4-BE49-F238E27FC236}">
                  <a16:creationId xmlns:a16="http://schemas.microsoft.com/office/drawing/2014/main" id="{BD6225F0-7158-445E-AB2B-8B930767282A}"/>
                </a:ext>
              </a:extLst>
            </p:cNvPr>
            <p:cNvCxnSpPr>
              <a:cxnSpLocks/>
            </p:cNvCxnSpPr>
            <p:nvPr/>
          </p:nvCxnSpPr>
          <p:spPr>
            <a:xfrm>
              <a:off x="3196018" y="2759603"/>
              <a:ext cx="446357" cy="0"/>
            </a:xfrm>
            <a:prstGeom prst="line">
              <a:avLst/>
            </a:prstGeom>
            <a:ln w="38100" cap="rnd">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145B0F87-7759-4C0D-8894-510753D7E0A8}"/>
                </a:ext>
              </a:extLst>
            </p:cNvPr>
            <p:cNvCxnSpPr>
              <a:cxnSpLocks/>
            </p:cNvCxnSpPr>
            <p:nvPr/>
          </p:nvCxnSpPr>
          <p:spPr>
            <a:xfrm>
              <a:off x="4748737" y="2759603"/>
              <a:ext cx="446357" cy="0"/>
            </a:xfrm>
            <a:prstGeom prst="line">
              <a:avLst/>
            </a:prstGeom>
            <a:ln w="38100" cap="rnd">
              <a:solidFill>
                <a:srgbClr val="FAA08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D5FCB53A-4913-4186-AC38-B2FF1C2C019D}"/>
                </a:ext>
              </a:extLst>
            </p:cNvPr>
            <p:cNvCxnSpPr>
              <a:cxnSpLocks/>
            </p:cNvCxnSpPr>
            <p:nvPr/>
          </p:nvCxnSpPr>
          <p:spPr>
            <a:xfrm>
              <a:off x="6308404" y="2759603"/>
              <a:ext cx="446357" cy="0"/>
            </a:xfrm>
            <a:prstGeom prst="line">
              <a:avLst/>
            </a:prstGeom>
            <a:ln w="38100" cap="rnd">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7593FA9C-BE3C-4D01-8A19-3970AFCCA391}"/>
                </a:ext>
              </a:extLst>
            </p:cNvPr>
            <p:cNvSpPr txBox="1">
              <a:spLocks/>
            </p:cNvSpPr>
            <p:nvPr/>
          </p:nvSpPr>
          <p:spPr>
            <a:xfrm>
              <a:off x="2111479" y="2840299"/>
              <a:ext cx="1028013"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rayage</a:t>
              </a:r>
            </a:p>
          </p:txBody>
        </p:sp>
        <p:cxnSp>
          <p:nvCxnSpPr>
            <p:cNvPr id="83" name="Straight Connector 82">
              <a:extLst>
                <a:ext uri="{FF2B5EF4-FFF2-40B4-BE49-F238E27FC236}">
                  <a16:creationId xmlns:a16="http://schemas.microsoft.com/office/drawing/2014/main" id="{5EAE1DEC-F31E-4DE1-B69B-3C04489113F5}"/>
                </a:ext>
              </a:extLst>
            </p:cNvPr>
            <p:cNvCxnSpPr>
              <a:cxnSpLocks/>
            </p:cNvCxnSpPr>
            <p:nvPr/>
          </p:nvCxnSpPr>
          <p:spPr>
            <a:xfrm>
              <a:off x="2111479" y="3245349"/>
              <a:ext cx="7474270" cy="0"/>
            </a:xfrm>
            <a:prstGeom prst="line">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910F8731-87BA-4B87-B6F3-31AD3403BB1F}"/>
                </a:ext>
              </a:extLst>
            </p:cNvPr>
            <p:cNvCxnSpPr>
              <a:cxnSpLocks/>
            </p:cNvCxnSpPr>
            <p:nvPr/>
          </p:nvCxnSpPr>
          <p:spPr>
            <a:xfrm>
              <a:off x="6308404" y="3275937"/>
              <a:ext cx="446357" cy="0"/>
            </a:xfrm>
            <a:prstGeom prst="line">
              <a:avLst/>
            </a:prstGeom>
            <a:ln w="38100" cap="rnd">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4F5B8996-13FA-4944-AA55-98B1B1621B52}"/>
                </a:ext>
              </a:extLst>
            </p:cNvPr>
            <p:cNvCxnSpPr>
              <a:cxnSpLocks/>
            </p:cNvCxnSpPr>
            <p:nvPr/>
          </p:nvCxnSpPr>
          <p:spPr>
            <a:xfrm>
              <a:off x="3196018" y="3275937"/>
              <a:ext cx="446357" cy="0"/>
            </a:xfrm>
            <a:prstGeom prst="line">
              <a:avLst/>
            </a:prstGeom>
            <a:ln w="38100" cap="rnd">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3C3ACEDB-F028-4FDA-83CF-68030C932BA8}"/>
                </a:ext>
              </a:extLst>
            </p:cNvPr>
            <p:cNvSpPr txBox="1">
              <a:spLocks/>
            </p:cNvSpPr>
            <p:nvPr>
              <p:custDataLst>
                <p:tags r:id="rId7"/>
              </p:custDataLst>
            </p:nvPr>
          </p:nvSpPr>
          <p:spPr>
            <a:xfrm>
              <a:off x="3196019" y="3361763"/>
              <a:ext cx="1415538"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ail catching up demand and improving dwell time </a:t>
              </a:r>
            </a:p>
          </p:txBody>
        </p:sp>
        <p:sp>
          <p:nvSpPr>
            <p:cNvPr id="85" name="TextBox 84">
              <a:extLst>
                <a:ext uri="{FF2B5EF4-FFF2-40B4-BE49-F238E27FC236}">
                  <a16:creationId xmlns:a16="http://schemas.microsoft.com/office/drawing/2014/main" id="{BA4C80AC-1E3C-4FF3-9B39-C28E50B019B1}"/>
                </a:ext>
              </a:extLst>
            </p:cNvPr>
            <p:cNvSpPr txBox="1">
              <a:spLocks/>
            </p:cNvSpPr>
            <p:nvPr/>
          </p:nvSpPr>
          <p:spPr>
            <a:xfrm>
              <a:off x="2111479" y="3361763"/>
              <a:ext cx="1028013"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ail intermodal</a:t>
              </a:r>
            </a:p>
          </p:txBody>
        </p:sp>
        <p:sp>
          <p:nvSpPr>
            <p:cNvPr id="89" name="TextBox 88">
              <a:extLst>
                <a:ext uri="{FF2B5EF4-FFF2-40B4-BE49-F238E27FC236}">
                  <a16:creationId xmlns:a16="http://schemas.microsoft.com/office/drawing/2014/main" id="{A41D6B8D-87F5-4B69-ABCC-19DA5C7CB2B7}"/>
                </a:ext>
              </a:extLst>
            </p:cNvPr>
            <p:cNvSpPr txBox="1">
              <a:spLocks/>
            </p:cNvSpPr>
            <p:nvPr/>
          </p:nvSpPr>
          <p:spPr>
            <a:xfrm>
              <a:off x="4748737" y="3361763"/>
              <a:ext cx="2955342" cy="323165"/>
            </a:xfrm>
            <a:prstGeom prst="rect">
              <a:avLst/>
            </a:prstGeom>
          </p:spPr>
          <p:txBody>
            <a:bodyPr vert="horz" wrap="square" lIns="0" tIns="0" rIns="0" bIns="0" rtlCol="0">
              <a:spAutoFit/>
            </a:bodyPr>
            <a:lstStyle>
              <a:defPPr>
                <a:defRPr lang="en-US"/>
              </a:defPPr>
              <a:lvl1pPr lvl="0" indent="0">
                <a:lnSpc>
                  <a:spcPct val="100000"/>
                </a:lnSpc>
                <a:spcBef>
                  <a:spcPts val="100"/>
                </a:spcBef>
                <a:spcAft>
                  <a:spcPts val="300"/>
                </a:spcAft>
                <a:buFont typeface="Segoe UI" panose="020B0502040204020203" pitchFamily="34" charset="0"/>
                <a:buNone/>
                <a:defRPr sz="8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argo owners leveraging weekend-in gates to and extended hours to discharge loaded cargo quickly to hinterland</a:t>
              </a:r>
            </a:p>
          </p:txBody>
        </p:sp>
        <p:cxnSp>
          <p:nvCxnSpPr>
            <p:cNvPr id="90" name="Straight Connector 89">
              <a:extLst>
                <a:ext uri="{FF2B5EF4-FFF2-40B4-BE49-F238E27FC236}">
                  <a16:creationId xmlns:a16="http://schemas.microsoft.com/office/drawing/2014/main" id="{CEFD141C-3885-4A29-B27B-97149A2C0470}"/>
                </a:ext>
              </a:extLst>
            </p:cNvPr>
            <p:cNvCxnSpPr>
              <a:cxnSpLocks/>
            </p:cNvCxnSpPr>
            <p:nvPr/>
          </p:nvCxnSpPr>
          <p:spPr>
            <a:xfrm>
              <a:off x="4748737" y="3275937"/>
              <a:ext cx="446357" cy="0"/>
            </a:xfrm>
            <a:prstGeom prst="line">
              <a:avLst/>
            </a:prstGeom>
            <a:ln w="38100" cap="rnd">
              <a:solidFill>
                <a:srgbClr val="FAA08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84539ACF-C264-4134-84B8-1F0D91A37D70}"/>
                </a:ext>
              </a:extLst>
            </p:cNvPr>
            <p:cNvCxnSpPr>
              <a:cxnSpLocks/>
            </p:cNvCxnSpPr>
            <p:nvPr/>
          </p:nvCxnSpPr>
          <p:spPr>
            <a:xfrm>
              <a:off x="2111479" y="3715516"/>
              <a:ext cx="7474270" cy="0"/>
            </a:xfrm>
            <a:prstGeom prst="line">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7786C0C3-14F6-4970-AFA4-E6773BAE358B}"/>
                </a:ext>
              </a:extLst>
            </p:cNvPr>
            <p:cNvCxnSpPr>
              <a:cxnSpLocks/>
            </p:cNvCxnSpPr>
            <p:nvPr/>
          </p:nvCxnSpPr>
          <p:spPr>
            <a:xfrm flipV="1">
              <a:off x="2111479" y="4139517"/>
              <a:ext cx="7474270" cy="0"/>
            </a:xfrm>
            <a:prstGeom prst="line">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7A2FDF0-78E4-427D-895E-DFB179B5DC17}"/>
                </a:ext>
              </a:extLst>
            </p:cNvPr>
            <p:cNvCxnSpPr>
              <a:cxnSpLocks/>
            </p:cNvCxnSpPr>
            <p:nvPr/>
          </p:nvCxnSpPr>
          <p:spPr>
            <a:xfrm flipV="1">
              <a:off x="2111479" y="4563518"/>
              <a:ext cx="7474270" cy="0"/>
            </a:xfrm>
            <a:prstGeom prst="line">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28B46A96-6851-4D28-8E8F-417814414856}"/>
                </a:ext>
              </a:extLst>
            </p:cNvPr>
            <p:cNvSpPr txBox="1">
              <a:spLocks/>
            </p:cNvSpPr>
            <p:nvPr/>
          </p:nvSpPr>
          <p:spPr>
            <a:xfrm>
              <a:off x="3196018" y="4255931"/>
              <a:ext cx="133523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tervention improving existing equipment turnover</a:t>
              </a:r>
            </a:p>
          </p:txBody>
        </p:sp>
        <p:sp>
          <p:nvSpPr>
            <p:cNvPr id="173" name="TextBox 172">
              <a:extLst>
                <a:ext uri="{FF2B5EF4-FFF2-40B4-BE49-F238E27FC236}">
                  <a16:creationId xmlns:a16="http://schemas.microsoft.com/office/drawing/2014/main" id="{F594CC3F-9F7B-4EFF-B719-A2A8E12B6A65}"/>
                </a:ext>
              </a:extLst>
            </p:cNvPr>
            <p:cNvSpPr txBox="1"/>
            <p:nvPr/>
          </p:nvSpPr>
          <p:spPr>
            <a:xfrm>
              <a:off x="4748737" y="4255931"/>
              <a:ext cx="184596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ew domestic container and chassis to start entering service</a:t>
              </a:r>
            </a:p>
          </p:txBody>
        </p:sp>
        <p:cxnSp>
          <p:nvCxnSpPr>
            <p:cNvPr id="186" name="Straight Connector 185">
              <a:extLst>
                <a:ext uri="{FF2B5EF4-FFF2-40B4-BE49-F238E27FC236}">
                  <a16:creationId xmlns:a16="http://schemas.microsoft.com/office/drawing/2014/main" id="{9DCB6F2D-F16C-4106-93BC-94A29D2F1D1C}"/>
                </a:ext>
              </a:extLst>
            </p:cNvPr>
            <p:cNvCxnSpPr>
              <a:cxnSpLocks/>
            </p:cNvCxnSpPr>
            <p:nvPr/>
          </p:nvCxnSpPr>
          <p:spPr>
            <a:xfrm>
              <a:off x="3196018" y="4170105"/>
              <a:ext cx="446357" cy="0"/>
            </a:xfrm>
            <a:prstGeom prst="line">
              <a:avLst/>
            </a:prstGeom>
            <a:ln w="38100" cap="rnd">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C625B978-A8A1-489D-BD08-49EA332C9581}"/>
                </a:ext>
              </a:extLst>
            </p:cNvPr>
            <p:cNvCxnSpPr>
              <a:cxnSpLocks/>
            </p:cNvCxnSpPr>
            <p:nvPr/>
          </p:nvCxnSpPr>
          <p:spPr>
            <a:xfrm>
              <a:off x="6308404" y="4170105"/>
              <a:ext cx="446357" cy="0"/>
            </a:xfrm>
            <a:prstGeom prst="line">
              <a:avLst/>
            </a:prstGeom>
            <a:ln w="38100" cap="rnd">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64C96133-ECB5-496A-93DD-0FC59E4C63FE}"/>
                </a:ext>
              </a:extLst>
            </p:cNvPr>
            <p:cNvCxnSpPr>
              <a:cxnSpLocks/>
            </p:cNvCxnSpPr>
            <p:nvPr/>
          </p:nvCxnSpPr>
          <p:spPr>
            <a:xfrm>
              <a:off x="4748737" y="4170105"/>
              <a:ext cx="446357" cy="0"/>
            </a:xfrm>
            <a:prstGeom prst="line">
              <a:avLst/>
            </a:prstGeom>
            <a:ln w="38100" cap="rnd">
              <a:solidFill>
                <a:srgbClr val="FAA08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F89B00B-E645-4DFB-A34B-9D4E4B198E26}"/>
                </a:ext>
              </a:extLst>
            </p:cNvPr>
            <p:cNvSpPr txBox="1">
              <a:spLocks/>
            </p:cNvSpPr>
            <p:nvPr/>
          </p:nvSpPr>
          <p:spPr>
            <a:xfrm>
              <a:off x="2111479" y="4255931"/>
              <a:ext cx="1028013"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quipment availability</a:t>
              </a:r>
            </a:p>
          </p:txBody>
        </p:sp>
        <p:sp>
          <p:nvSpPr>
            <p:cNvPr id="134" name="TextBox 133">
              <a:extLst>
                <a:ext uri="{FF2B5EF4-FFF2-40B4-BE49-F238E27FC236}">
                  <a16:creationId xmlns:a16="http://schemas.microsoft.com/office/drawing/2014/main" id="{09203766-3063-4CFA-AF81-6A99C0C0C79C}"/>
                </a:ext>
              </a:extLst>
            </p:cNvPr>
            <p:cNvSpPr txBox="1">
              <a:spLocks/>
            </p:cNvSpPr>
            <p:nvPr/>
          </p:nvSpPr>
          <p:spPr>
            <a:xfrm>
              <a:off x="3196019" y="3831930"/>
              <a:ext cx="2955342" cy="25015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river capacity improving slowly</a:t>
              </a:r>
            </a:p>
          </p:txBody>
        </p:sp>
        <p:sp>
          <p:nvSpPr>
            <p:cNvPr id="135" name="TextBox 134">
              <a:extLst>
                <a:ext uri="{FF2B5EF4-FFF2-40B4-BE49-F238E27FC236}">
                  <a16:creationId xmlns:a16="http://schemas.microsoft.com/office/drawing/2014/main" id="{07CF7297-DA99-4037-971B-B07B01F2C3E5}"/>
                </a:ext>
              </a:extLst>
            </p:cNvPr>
            <p:cNvSpPr txBox="1">
              <a:spLocks/>
            </p:cNvSpPr>
            <p:nvPr/>
          </p:nvSpPr>
          <p:spPr>
            <a:xfrm>
              <a:off x="4755684" y="3831930"/>
              <a:ext cx="3551796"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rucking companies increase cooperation with customers to ease shortage (e.g. labor assistance at DCs) </a:t>
              </a:r>
            </a:p>
          </p:txBody>
        </p:sp>
        <p:cxnSp>
          <p:nvCxnSpPr>
            <p:cNvPr id="185" name="Straight Connector 184">
              <a:extLst>
                <a:ext uri="{FF2B5EF4-FFF2-40B4-BE49-F238E27FC236}">
                  <a16:creationId xmlns:a16="http://schemas.microsoft.com/office/drawing/2014/main" id="{D81272D0-CBAB-4920-A5B1-A70ACBAAF45D}"/>
                </a:ext>
              </a:extLst>
            </p:cNvPr>
            <p:cNvCxnSpPr>
              <a:cxnSpLocks/>
            </p:cNvCxnSpPr>
            <p:nvPr/>
          </p:nvCxnSpPr>
          <p:spPr>
            <a:xfrm>
              <a:off x="3196018" y="3746104"/>
              <a:ext cx="446357" cy="0"/>
            </a:xfrm>
            <a:prstGeom prst="line">
              <a:avLst/>
            </a:prstGeom>
            <a:ln w="38100" cap="rnd">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0BEFCA12-7D37-443F-A79F-2618C9D67EE4}"/>
                </a:ext>
              </a:extLst>
            </p:cNvPr>
            <p:cNvCxnSpPr>
              <a:cxnSpLocks/>
            </p:cNvCxnSpPr>
            <p:nvPr/>
          </p:nvCxnSpPr>
          <p:spPr>
            <a:xfrm>
              <a:off x="4755684" y="3746104"/>
              <a:ext cx="446357" cy="0"/>
            </a:xfrm>
            <a:prstGeom prst="line">
              <a:avLst/>
            </a:prstGeom>
            <a:ln w="38100" cap="rnd">
              <a:solidFill>
                <a:srgbClr val="FAA08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C19A68ED-CED6-46A3-AFF5-1CF91A693379}"/>
                </a:ext>
              </a:extLst>
            </p:cNvPr>
            <p:cNvSpPr txBox="1">
              <a:spLocks/>
            </p:cNvSpPr>
            <p:nvPr/>
          </p:nvSpPr>
          <p:spPr>
            <a:xfrm>
              <a:off x="2111479" y="3831930"/>
              <a:ext cx="1028013"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ver-the road trucking</a:t>
              </a:r>
            </a:p>
          </p:txBody>
        </p:sp>
        <p:cxnSp>
          <p:nvCxnSpPr>
            <p:cNvPr id="91" name="Straight Connector 90">
              <a:extLst>
                <a:ext uri="{FF2B5EF4-FFF2-40B4-BE49-F238E27FC236}">
                  <a16:creationId xmlns:a16="http://schemas.microsoft.com/office/drawing/2014/main" id="{F88E8ACF-1DA4-43CD-BCDA-59C6215664CD}"/>
                </a:ext>
              </a:extLst>
            </p:cNvPr>
            <p:cNvCxnSpPr>
              <a:cxnSpLocks/>
            </p:cNvCxnSpPr>
            <p:nvPr/>
          </p:nvCxnSpPr>
          <p:spPr>
            <a:xfrm>
              <a:off x="7327722" y="3746104"/>
              <a:ext cx="446357" cy="0"/>
            </a:xfrm>
            <a:prstGeom prst="line">
              <a:avLst/>
            </a:prstGeom>
            <a:ln w="38100" cap="rnd">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57EFB4D9-5869-419B-9A86-6ADDFAB8F131}"/>
                </a:ext>
              </a:extLst>
            </p:cNvPr>
            <p:cNvSpPr txBox="1">
              <a:spLocks/>
            </p:cNvSpPr>
            <p:nvPr/>
          </p:nvSpPr>
          <p:spPr>
            <a:xfrm>
              <a:off x="3196018" y="2267540"/>
              <a:ext cx="1415538"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Volume significantly slowing down from peak</a:t>
              </a:r>
            </a:p>
          </p:txBody>
        </p:sp>
        <p:sp>
          <p:nvSpPr>
            <p:cNvPr id="130" name="TextBox 129">
              <a:extLst>
                <a:ext uri="{FF2B5EF4-FFF2-40B4-BE49-F238E27FC236}">
                  <a16:creationId xmlns:a16="http://schemas.microsoft.com/office/drawing/2014/main" id="{62D4F80C-56E4-4214-AAC9-83D550AFE663}"/>
                </a:ext>
              </a:extLst>
            </p:cNvPr>
            <p:cNvSpPr txBox="1">
              <a:spLocks/>
            </p:cNvSpPr>
            <p:nvPr/>
          </p:nvSpPr>
          <p:spPr>
            <a:xfrm>
              <a:off x="4748737" y="2267540"/>
              <a:ext cx="2517142" cy="32316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erminals improve loading/unloading productivity and process vessels faster as congested yards loosen </a:t>
              </a:r>
            </a:p>
          </p:txBody>
        </p:sp>
        <p:cxnSp>
          <p:nvCxnSpPr>
            <p:cNvPr id="199" name="Straight Connector 198">
              <a:extLst>
                <a:ext uri="{FF2B5EF4-FFF2-40B4-BE49-F238E27FC236}">
                  <a16:creationId xmlns:a16="http://schemas.microsoft.com/office/drawing/2014/main" id="{FE091E20-545E-461C-A70B-24D8E3C8C0BD}"/>
                </a:ext>
              </a:extLst>
            </p:cNvPr>
            <p:cNvCxnSpPr>
              <a:cxnSpLocks/>
            </p:cNvCxnSpPr>
            <p:nvPr/>
          </p:nvCxnSpPr>
          <p:spPr>
            <a:xfrm>
              <a:off x="4748737" y="2181714"/>
              <a:ext cx="446357" cy="0"/>
            </a:xfrm>
            <a:prstGeom prst="line">
              <a:avLst/>
            </a:prstGeom>
            <a:ln w="38100" cap="rnd">
              <a:solidFill>
                <a:srgbClr val="FAA08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55D354B5-84D5-4E48-8BA8-8606BED5982D}"/>
                </a:ext>
              </a:extLst>
            </p:cNvPr>
            <p:cNvCxnSpPr>
              <a:cxnSpLocks/>
            </p:cNvCxnSpPr>
            <p:nvPr/>
          </p:nvCxnSpPr>
          <p:spPr>
            <a:xfrm>
              <a:off x="6308404" y="2181714"/>
              <a:ext cx="446357" cy="0"/>
            </a:xfrm>
            <a:prstGeom prst="line">
              <a:avLst/>
            </a:prstGeom>
            <a:ln w="38100" cap="rnd">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F7CDB7D8-D097-4C9B-9416-0305A928E22C}"/>
                </a:ext>
              </a:extLst>
            </p:cNvPr>
            <p:cNvSpPr txBox="1">
              <a:spLocks/>
            </p:cNvSpPr>
            <p:nvPr/>
          </p:nvSpPr>
          <p:spPr>
            <a:xfrm>
              <a:off x="2111479" y="2262410"/>
              <a:ext cx="1028013"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orts</a:t>
              </a:r>
            </a:p>
          </p:txBody>
        </p:sp>
        <p:cxnSp>
          <p:nvCxnSpPr>
            <p:cNvPr id="152" name="Straight Connector 151">
              <a:extLst>
                <a:ext uri="{FF2B5EF4-FFF2-40B4-BE49-F238E27FC236}">
                  <a16:creationId xmlns:a16="http://schemas.microsoft.com/office/drawing/2014/main" id="{C944A017-478B-4FEB-8DE2-9B73A0DF0423}"/>
                </a:ext>
              </a:extLst>
            </p:cNvPr>
            <p:cNvCxnSpPr>
              <a:cxnSpLocks/>
            </p:cNvCxnSpPr>
            <p:nvPr/>
          </p:nvCxnSpPr>
          <p:spPr>
            <a:xfrm>
              <a:off x="3196018" y="2181714"/>
              <a:ext cx="446357" cy="0"/>
            </a:xfrm>
            <a:prstGeom prst="line">
              <a:avLst/>
            </a:prstGeom>
            <a:ln w="38100" cap="rnd">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11DC42CC-E345-499F-95CD-947B7AFAF5E2}"/>
                </a:ext>
              </a:extLst>
            </p:cNvPr>
            <p:cNvSpPr txBox="1">
              <a:spLocks/>
            </p:cNvSpPr>
            <p:nvPr/>
          </p:nvSpPr>
          <p:spPr>
            <a:xfrm>
              <a:off x="3196018" y="4679932"/>
              <a:ext cx="1173764" cy="25374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apacity remaining tight until peak season is over </a:t>
              </a:r>
            </a:p>
          </p:txBody>
        </p:sp>
        <p:sp>
          <p:nvSpPr>
            <p:cNvPr id="166" name="TextBox 165">
              <a:extLst>
                <a:ext uri="{FF2B5EF4-FFF2-40B4-BE49-F238E27FC236}">
                  <a16:creationId xmlns:a16="http://schemas.microsoft.com/office/drawing/2014/main" id="{D0921E1D-3835-42FC-92B3-22D75E83C584}"/>
                </a:ext>
              </a:extLst>
            </p:cNvPr>
            <p:cNvSpPr txBox="1"/>
            <p:nvPr/>
          </p:nvSpPr>
          <p:spPr>
            <a:xfrm>
              <a:off x="4755684" y="4679932"/>
              <a:ext cx="4746813"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termodal companies and shippers align their working hours to keep sufficiently staffed warehouses open 24/7, and move loaded containers quickly using newly unlocked capacity </a:t>
              </a:r>
            </a:p>
          </p:txBody>
        </p:sp>
        <p:cxnSp>
          <p:nvCxnSpPr>
            <p:cNvPr id="187" name="Straight Connector 186">
              <a:extLst>
                <a:ext uri="{FF2B5EF4-FFF2-40B4-BE49-F238E27FC236}">
                  <a16:creationId xmlns:a16="http://schemas.microsoft.com/office/drawing/2014/main" id="{F6F9106A-5D03-44BA-9CB9-720C49E1B001}"/>
                </a:ext>
              </a:extLst>
            </p:cNvPr>
            <p:cNvCxnSpPr>
              <a:cxnSpLocks/>
            </p:cNvCxnSpPr>
            <p:nvPr/>
          </p:nvCxnSpPr>
          <p:spPr>
            <a:xfrm>
              <a:off x="3196018" y="4594106"/>
              <a:ext cx="446357" cy="0"/>
            </a:xfrm>
            <a:prstGeom prst="line">
              <a:avLst/>
            </a:prstGeom>
            <a:ln w="38100" cap="rnd">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683D0279-1AD8-4253-9F8D-ACEAA7177DDB}"/>
                </a:ext>
              </a:extLst>
            </p:cNvPr>
            <p:cNvCxnSpPr>
              <a:cxnSpLocks/>
            </p:cNvCxnSpPr>
            <p:nvPr/>
          </p:nvCxnSpPr>
          <p:spPr>
            <a:xfrm>
              <a:off x="4755684" y="4594106"/>
              <a:ext cx="446357" cy="0"/>
            </a:xfrm>
            <a:prstGeom prst="line">
              <a:avLst/>
            </a:prstGeom>
            <a:ln w="38100" cap="rnd">
              <a:solidFill>
                <a:srgbClr val="FAA08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1FA92E1E-2615-4C0B-812B-96155181A31A}"/>
                </a:ext>
              </a:extLst>
            </p:cNvPr>
            <p:cNvSpPr txBox="1">
              <a:spLocks/>
            </p:cNvSpPr>
            <p:nvPr/>
          </p:nvSpPr>
          <p:spPr>
            <a:xfrm>
              <a:off x="2111479" y="4679932"/>
              <a:ext cx="1028013"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arehousing</a:t>
              </a:r>
            </a:p>
          </p:txBody>
        </p:sp>
        <p:cxnSp>
          <p:nvCxnSpPr>
            <p:cNvPr id="93" name="Straight Connector 92">
              <a:extLst>
                <a:ext uri="{FF2B5EF4-FFF2-40B4-BE49-F238E27FC236}">
                  <a16:creationId xmlns:a16="http://schemas.microsoft.com/office/drawing/2014/main" id="{EA91426A-D22F-40CC-B8B4-355ED2B46168}"/>
                </a:ext>
              </a:extLst>
            </p:cNvPr>
            <p:cNvCxnSpPr>
              <a:cxnSpLocks/>
            </p:cNvCxnSpPr>
            <p:nvPr/>
          </p:nvCxnSpPr>
          <p:spPr>
            <a:xfrm>
              <a:off x="7327722" y="4594106"/>
              <a:ext cx="446357" cy="0"/>
            </a:xfrm>
            <a:prstGeom prst="line">
              <a:avLst/>
            </a:prstGeom>
            <a:ln w="38100" cap="rnd">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D3F3F28-B04F-4975-8D6F-6D9E63B91B88}"/>
                </a:ext>
              </a:extLst>
            </p:cNvPr>
            <p:cNvCxnSpPr>
              <a:cxnSpLocks/>
            </p:cNvCxnSpPr>
            <p:nvPr/>
          </p:nvCxnSpPr>
          <p:spPr>
            <a:xfrm flipV="1">
              <a:off x="2111479" y="5615504"/>
              <a:ext cx="7474270" cy="0"/>
            </a:xfrm>
            <a:prstGeom prst="line">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87DE426-4B56-4DB2-9994-0789805C8B64}"/>
                </a:ext>
              </a:extLst>
            </p:cNvPr>
            <p:cNvCxnSpPr>
              <a:cxnSpLocks/>
            </p:cNvCxnSpPr>
            <p:nvPr/>
          </p:nvCxnSpPr>
          <p:spPr>
            <a:xfrm>
              <a:off x="3196018" y="5646092"/>
              <a:ext cx="446357" cy="0"/>
            </a:xfrm>
            <a:prstGeom prst="line">
              <a:avLst/>
            </a:prstGeom>
            <a:ln w="38100" cap="rnd">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EAEC4D7-0E1E-4F21-B9E1-FB3797BEA2C4}"/>
                </a:ext>
              </a:extLst>
            </p:cNvPr>
            <p:cNvCxnSpPr>
              <a:cxnSpLocks/>
            </p:cNvCxnSpPr>
            <p:nvPr/>
          </p:nvCxnSpPr>
          <p:spPr>
            <a:xfrm>
              <a:off x="4748737" y="5646092"/>
              <a:ext cx="446357" cy="0"/>
            </a:xfrm>
            <a:prstGeom prst="line">
              <a:avLst/>
            </a:prstGeom>
            <a:ln w="38100" cap="rnd">
              <a:solidFill>
                <a:srgbClr val="FAA08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4458093-A810-4667-87BE-0E1500E83E7D}"/>
                </a:ext>
              </a:extLst>
            </p:cNvPr>
            <p:cNvCxnSpPr>
              <a:cxnSpLocks/>
            </p:cNvCxnSpPr>
            <p:nvPr/>
          </p:nvCxnSpPr>
          <p:spPr>
            <a:xfrm>
              <a:off x="6308404" y="5646092"/>
              <a:ext cx="446357" cy="0"/>
            </a:xfrm>
            <a:prstGeom prst="line">
              <a:avLst/>
            </a:prstGeom>
            <a:ln w="38100" cap="rnd">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90A751D3-4114-444B-9BED-4A09A2D5C8CB}"/>
                </a:ext>
              </a:extLst>
            </p:cNvPr>
            <p:cNvSpPr txBox="1">
              <a:spLocks/>
            </p:cNvSpPr>
            <p:nvPr/>
          </p:nvSpPr>
          <p:spPr>
            <a:xfrm>
              <a:off x="2111479" y="5726788"/>
              <a:ext cx="1028013"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quipment availability</a:t>
              </a:r>
            </a:p>
          </p:txBody>
        </p:sp>
        <p:sp>
          <p:nvSpPr>
            <p:cNvPr id="76" name="TextBox 75">
              <a:extLst>
                <a:ext uri="{FF2B5EF4-FFF2-40B4-BE49-F238E27FC236}">
                  <a16:creationId xmlns:a16="http://schemas.microsoft.com/office/drawing/2014/main" id="{328BE813-CCA1-4B0B-A032-471BFA3A76E5}"/>
                </a:ext>
              </a:extLst>
            </p:cNvPr>
            <p:cNvSpPr txBox="1">
              <a:spLocks/>
            </p:cNvSpPr>
            <p:nvPr/>
          </p:nvSpPr>
          <p:spPr>
            <a:xfrm>
              <a:off x="4748737" y="5726788"/>
              <a:ext cx="2373406" cy="215444"/>
            </a:xfrm>
            <a:prstGeom prst="rect">
              <a:avLst/>
            </a:prstGeom>
          </p:spPr>
          <p:txBody>
            <a:bodyPr vert="horz" wrap="square" lIns="0" tIns="0" rIns="0" bIns="0" rtlCol="0">
              <a:spAutoFit/>
            </a:bodyPr>
            <a:lstStyle>
              <a:defPPr>
                <a:defRPr lang="en-US"/>
              </a:defPPr>
              <a:lvl1pPr lvl="0" indent="0">
                <a:lnSpc>
                  <a:spcPct val="100000"/>
                </a:lnSpc>
                <a:spcBef>
                  <a:spcPts val="100"/>
                </a:spcBef>
                <a:spcAft>
                  <a:spcPts val="300"/>
                </a:spcAft>
                <a:buFont typeface="Segoe UI" panose="020B0502040204020203" pitchFamily="34" charset="0"/>
                <a:buNone/>
                <a:defRPr sz="8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ew container boxes orders start entering service</a:t>
              </a:r>
            </a:p>
          </p:txBody>
        </p:sp>
        <p:sp>
          <p:nvSpPr>
            <p:cNvPr id="102" name="TextBox 101">
              <a:extLst>
                <a:ext uri="{FF2B5EF4-FFF2-40B4-BE49-F238E27FC236}">
                  <a16:creationId xmlns:a16="http://schemas.microsoft.com/office/drawing/2014/main" id="{7C8DE271-2159-4E91-80F1-345CAAAC5C2A}"/>
                </a:ext>
              </a:extLst>
            </p:cNvPr>
            <p:cNvSpPr txBox="1">
              <a:spLocks/>
            </p:cNvSpPr>
            <p:nvPr/>
          </p:nvSpPr>
          <p:spPr>
            <a:xfrm>
              <a:off x="3196018" y="5726788"/>
              <a:ext cx="126221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700" b="0" i="0" u="none" strike="noStrike" kern="1200" cap="none" spc="-20" normalizeH="0" baseline="0" noProof="0" dirty="0">
                  <a:ln>
                    <a:noFill/>
                  </a:ln>
                  <a:solidFill>
                    <a:srgbClr val="000000"/>
                  </a:solidFill>
                  <a:effectLst/>
                  <a:uLnTx/>
                  <a:uFillTx/>
                  <a:latin typeface="Arial"/>
                  <a:ea typeface="+mn-ea"/>
                  <a:cs typeface="Arial" panose="020B0604020202020204" pitchFamily="34" charset="0"/>
                </a:rPr>
                <a:t>Intervention improving existing equipment turnover</a:t>
              </a:r>
            </a:p>
          </p:txBody>
        </p:sp>
        <p:cxnSp>
          <p:nvCxnSpPr>
            <p:cNvPr id="94" name="Straight Connector 93">
              <a:extLst>
                <a:ext uri="{FF2B5EF4-FFF2-40B4-BE49-F238E27FC236}">
                  <a16:creationId xmlns:a16="http://schemas.microsoft.com/office/drawing/2014/main" id="{746D9799-E7DC-4BBF-872B-A2BF131FB360}"/>
                </a:ext>
              </a:extLst>
            </p:cNvPr>
            <p:cNvCxnSpPr>
              <a:cxnSpLocks/>
            </p:cNvCxnSpPr>
            <p:nvPr/>
          </p:nvCxnSpPr>
          <p:spPr>
            <a:xfrm>
              <a:off x="4748737" y="4991259"/>
              <a:ext cx="446357" cy="0"/>
            </a:xfrm>
            <a:prstGeom prst="line">
              <a:avLst/>
            </a:prstGeom>
            <a:ln w="38100" cap="rnd">
              <a:solidFill>
                <a:srgbClr val="FAA08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DD62304-63E9-469F-A518-4E8B7AA1A929}"/>
                </a:ext>
              </a:extLst>
            </p:cNvPr>
            <p:cNvCxnSpPr>
              <a:cxnSpLocks/>
            </p:cNvCxnSpPr>
            <p:nvPr/>
          </p:nvCxnSpPr>
          <p:spPr>
            <a:xfrm>
              <a:off x="7327722" y="4991259"/>
              <a:ext cx="446357" cy="0"/>
            </a:xfrm>
            <a:prstGeom prst="line">
              <a:avLst/>
            </a:prstGeom>
            <a:ln w="38100" cap="rnd">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A81E5D58-6DC8-4A69-BC31-32BDB25B0FC9}"/>
                </a:ext>
              </a:extLst>
            </p:cNvPr>
            <p:cNvSpPr txBox="1">
              <a:spLocks/>
            </p:cNvSpPr>
            <p:nvPr/>
          </p:nvSpPr>
          <p:spPr>
            <a:xfrm>
              <a:off x="2111479" y="5071955"/>
              <a:ext cx="1028013"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cean carriers </a:t>
              </a:r>
            </a:p>
          </p:txBody>
        </p:sp>
        <p:cxnSp>
          <p:nvCxnSpPr>
            <p:cNvPr id="103" name="Straight Connector 102">
              <a:extLst>
                <a:ext uri="{FF2B5EF4-FFF2-40B4-BE49-F238E27FC236}">
                  <a16:creationId xmlns:a16="http://schemas.microsoft.com/office/drawing/2014/main" id="{42AEFB08-70B6-4EB0-BB06-D46E2CACA28A}"/>
                </a:ext>
              </a:extLst>
            </p:cNvPr>
            <p:cNvCxnSpPr>
              <a:cxnSpLocks/>
            </p:cNvCxnSpPr>
            <p:nvPr/>
          </p:nvCxnSpPr>
          <p:spPr>
            <a:xfrm>
              <a:off x="3196018" y="4991259"/>
              <a:ext cx="446357" cy="0"/>
            </a:xfrm>
            <a:prstGeom prst="line">
              <a:avLst/>
            </a:prstGeom>
            <a:ln w="38100" cap="rnd">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33F48119-4FB9-4AEA-A32B-F1CF09B033F4}"/>
                </a:ext>
              </a:extLst>
            </p:cNvPr>
            <p:cNvSpPr txBox="1">
              <a:spLocks/>
            </p:cNvSpPr>
            <p:nvPr/>
          </p:nvSpPr>
          <p:spPr>
            <a:xfrm>
              <a:off x="3196018" y="5071955"/>
              <a:ext cx="1415538"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oliday season cargo is either </a:t>
              </a:r>
              <a:r>
                <a:rPr kumimoji="0" lang="en-US" sz="7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en</a:t>
              </a: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route or already delivered – no increase in flows</a:t>
              </a:r>
            </a:p>
          </p:txBody>
        </p:sp>
        <p:sp>
          <p:nvSpPr>
            <p:cNvPr id="84" name="TextBox 83">
              <a:extLst>
                <a:ext uri="{FF2B5EF4-FFF2-40B4-BE49-F238E27FC236}">
                  <a16:creationId xmlns:a16="http://schemas.microsoft.com/office/drawing/2014/main" id="{8C89A217-07AA-44A0-9459-AE580CD9B967}"/>
                </a:ext>
              </a:extLst>
            </p:cNvPr>
            <p:cNvSpPr txBox="1">
              <a:spLocks/>
            </p:cNvSpPr>
            <p:nvPr/>
          </p:nvSpPr>
          <p:spPr>
            <a:xfrm>
              <a:off x="4748737" y="5071955"/>
              <a:ext cx="1711850"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iners deploy extra loaders to reposition empties back to Asia and opening space at empty storage of terminals </a:t>
              </a:r>
            </a:p>
          </p:txBody>
        </p:sp>
        <p:cxnSp>
          <p:nvCxnSpPr>
            <p:cNvPr id="97" name="Straight Connector 96">
              <a:extLst>
                <a:ext uri="{FF2B5EF4-FFF2-40B4-BE49-F238E27FC236}">
                  <a16:creationId xmlns:a16="http://schemas.microsoft.com/office/drawing/2014/main" id="{3520513A-718D-4818-85E3-DB01AE9A19E8}"/>
                </a:ext>
              </a:extLst>
            </p:cNvPr>
            <p:cNvCxnSpPr>
              <a:cxnSpLocks/>
            </p:cNvCxnSpPr>
            <p:nvPr/>
          </p:nvCxnSpPr>
          <p:spPr>
            <a:xfrm>
              <a:off x="3196018" y="6116259"/>
              <a:ext cx="446357" cy="0"/>
            </a:xfrm>
            <a:prstGeom prst="line">
              <a:avLst/>
            </a:prstGeom>
            <a:ln w="38100" cap="rnd">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D1826435-313C-48A8-BE51-02088C7EEAE8}"/>
                </a:ext>
              </a:extLst>
            </p:cNvPr>
            <p:cNvSpPr txBox="1">
              <a:spLocks/>
            </p:cNvSpPr>
            <p:nvPr>
              <p:custDataLst>
                <p:tags r:id="rId8"/>
              </p:custDataLst>
            </p:nvPr>
          </p:nvSpPr>
          <p:spPr>
            <a:xfrm>
              <a:off x="3196019" y="6202085"/>
              <a:ext cx="1789251"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abor shortage remains</a:t>
              </a:r>
            </a:p>
          </p:txBody>
        </p:sp>
        <p:sp>
          <p:nvSpPr>
            <p:cNvPr id="99" name="TextBox 98">
              <a:extLst>
                <a:ext uri="{FF2B5EF4-FFF2-40B4-BE49-F238E27FC236}">
                  <a16:creationId xmlns:a16="http://schemas.microsoft.com/office/drawing/2014/main" id="{589E6991-C943-4589-A71F-77386D53CE6F}"/>
                </a:ext>
              </a:extLst>
            </p:cNvPr>
            <p:cNvSpPr txBox="1">
              <a:spLocks/>
            </p:cNvSpPr>
            <p:nvPr/>
          </p:nvSpPr>
          <p:spPr>
            <a:xfrm>
              <a:off x="2111479" y="6202085"/>
              <a:ext cx="1028013"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abor availability </a:t>
              </a:r>
            </a:p>
          </p:txBody>
        </p:sp>
        <p:sp>
          <p:nvSpPr>
            <p:cNvPr id="100" name="TextBox 99">
              <a:extLst>
                <a:ext uri="{FF2B5EF4-FFF2-40B4-BE49-F238E27FC236}">
                  <a16:creationId xmlns:a16="http://schemas.microsoft.com/office/drawing/2014/main" id="{074AC328-D25E-47BE-AB01-7CA7F21BD8F1}"/>
                </a:ext>
              </a:extLst>
            </p:cNvPr>
            <p:cNvSpPr txBox="1">
              <a:spLocks/>
            </p:cNvSpPr>
            <p:nvPr/>
          </p:nvSpPr>
          <p:spPr>
            <a:xfrm>
              <a:off x="4788341" y="6202085"/>
              <a:ext cx="2660507" cy="323165"/>
            </a:xfrm>
            <a:prstGeom prst="rect">
              <a:avLst/>
            </a:prstGeom>
          </p:spPr>
          <p:txBody>
            <a:bodyPr vert="horz" wrap="square" lIns="0" tIns="0" rIns="0" bIns="0" rtlCol="0">
              <a:spAutoFit/>
            </a:bodyPr>
            <a:lstStyle>
              <a:defPPr>
                <a:defRPr lang="en-US"/>
              </a:defPPr>
              <a:lvl1pPr lvl="0" indent="0">
                <a:lnSpc>
                  <a:spcPct val="100000"/>
                </a:lnSpc>
                <a:spcBef>
                  <a:spcPts val="100"/>
                </a:spcBef>
                <a:spcAft>
                  <a:spcPts val="300"/>
                </a:spcAft>
                <a:buFont typeface="Segoe UI" panose="020B0502040204020203" pitchFamily="34" charset="0"/>
                <a:buNone/>
                <a:defRPr sz="8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Tx/>
                <a:buSzTx/>
                <a:buFont typeface="Segoe UI" panose="020B0502040204020203" pitchFamily="34" charset="0"/>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rucking/drayage and other sectors improving labor availability using labor coming back from e-ecommerce sector</a:t>
              </a:r>
            </a:p>
          </p:txBody>
        </p:sp>
        <p:cxnSp>
          <p:nvCxnSpPr>
            <p:cNvPr id="101" name="Straight Connector 100">
              <a:extLst>
                <a:ext uri="{FF2B5EF4-FFF2-40B4-BE49-F238E27FC236}">
                  <a16:creationId xmlns:a16="http://schemas.microsoft.com/office/drawing/2014/main" id="{3A0A8959-65A1-4D7B-8F0D-A579BAFFD696}"/>
                </a:ext>
              </a:extLst>
            </p:cNvPr>
            <p:cNvCxnSpPr>
              <a:cxnSpLocks/>
            </p:cNvCxnSpPr>
            <p:nvPr/>
          </p:nvCxnSpPr>
          <p:spPr>
            <a:xfrm>
              <a:off x="4755684" y="6116259"/>
              <a:ext cx="446357" cy="0"/>
            </a:xfrm>
            <a:prstGeom prst="line">
              <a:avLst/>
            </a:prstGeom>
            <a:ln w="38100" cap="rnd">
              <a:solidFill>
                <a:srgbClr val="FAA08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6A7AFBC-6D67-43D1-9CA3-23A5FD5DB171}"/>
                </a:ext>
              </a:extLst>
            </p:cNvPr>
            <p:cNvCxnSpPr>
              <a:cxnSpLocks/>
            </p:cNvCxnSpPr>
            <p:nvPr/>
          </p:nvCxnSpPr>
          <p:spPr>
            <a:xfrm>
              <a:off x="7327722" y="6116259"/>
              <a:ext cx="446357" cy="0"/>
            </a:xfrm>
            <a:prstGeom prst="line">
              <a:avLst/>
            </a:prstGeom>
            <a:ln w="38100" cap="rnd">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475F1AD2-FAF0-47A4-AE78-E5D8887361B5}"/>
                </a:ext>
              </a:extLst>
            </p:cNvPr>
            <p:cNvCxnSpPr>
              <a:cxnSpLocks/>
            </p:cNvCxnSpPr>
            <p:nvPr/>
          </p:nvCxnSpPr>
          <p:spPr>
            <a:xfrm>
              <a:off x="554736" y="4960671"/>
              <a:ext cx="7589520" cy="0"/>
            </a:xfrm>
            <a:prstGeom prst="line">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14" name="Group 113">
            <a:extLst>
              <a:ext uri="{FF2B5EF4-FFF2-40B4-BE49-F238E27FC236}">
                <a16:creationId xmlns:a16="http://schemas.microsoft.com/office/drawing/2014/main" id="{241CE1C2-DBFE-4E85-8E47-7C9F4EFE1207}"/>
              </a:ext>
            </a:extLst>
          </p:cNvPr>
          <p:cNvGrpSpPr/>
          <p:nvPr/>
        </p:nvGrpSpPr>
        <p:grpSpPr>
          <a:xfrm>
            <a:off x="8379503" y="1017075"/>
            <a:ext cx="3220891" cy="123111"/>
            <a:chOff x="8379503" y="1291505"/>
            <a:chExt cx="3220891" cy="123111"/>
          </a:xfrm>
        </p:grpSpPr>
        <p:sp>
          <p:nvSpPr>
            <p:cNvPr id="115" name="TextBox 114">
              <a:extLst>
                <a:ext uri="{FF2B5EF4-FFF2-40B4-BE49-F238E27FC236}">
                  <a16:creationId xmlns:a16="http://schemas.microsoft.com/office/drawing/2014/main" id="{67037E96-F84E-419D-A851-FCCF8F79D3DC}"/>
                </a:ext>
              </a:extLst>
            </p:cNvPr>
            <p:cNvSpPr txBox="1">
              <a:spLocks/>
            </p:cNvSpPr>
            <p:nvPr/>
          </p:nvSpPr>
          <p:spPr>
            <a:xfrm>
              <a:off x="8526884" y="1291505"/>
              <a:ext cx="556243"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strained</a:t>
              </a:r>
            </a:p>
          </p:txBody>
        </p:sp>
        <p:sp>
          <p:nvSpPr>
            <p:cNvPr id="116" name="TextBox 115">
              <a:extLst>
                <a:ext uri="{FF2B5EF4-FFF2-40B4-BE49-F238E27FC236}">
                  <a16:creationId xmlns:a16="http://schemas.microsoft.com/office/drawing/2014/main" id="{CE05287B-F3F6-4719-B326-302CBDE99E65}"/>
                </a:ext>
              </a:extLst>
            </p:cNvPr>
            <p:cNvSpPr txBox="1">
              <a:spLocks/>
            </p:cNvSpPr>
            <p:nvPr/>
          </p:nvSpPr>
          <p:spPr>
            <a:xfrm>
              <a:off x="9396789" y="1291505"/>
              <a:ext cx="1136530"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straint begins easing</a:t>
              </a:r>
            </a:p>
          </p:txBody>
        </p:sp>
        <p:sp>
          <p:nvSpPr>
            <p:cNvPr id="117" name="TextBox 116">
              <a:extLst>
                <a:ext uri="{FF2B5EF4-FFF2-40B4-BE49-F238E27FC236}">
                  <a16:creationId xmlns:a16="http://schemas.microsoft.com/office/drawing/2014/main" id="{861524EB-D30D-48BA-999D-F3EB5DFBD60E}"/>
                </a:ext>
              </a:extLst>
            </p:cNvPr>
            <p:cNvSpPr txBox="1">
              <a:spLocks/>
            </p:cNvSpPr>
            <p:nvPr/>
          </p:nvSpPr>
          <p:spPr>
            <a:xfrm>
              <a:off x="10846983" y="1291505"/>
              <a:ext cx="753411"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table operation</a:t>
              </a:r>
            </a:p>
          </p:txBody>
        </p:sp>
        <p:cxnSp>
          <p:nvCxnSpPr>
            <p:cNvPr id="119" name="Straight Connector 118">
              <a:extLst>
                <a:ext uri="{FF2B5EF4-FFF2-40B4-BE49-F238E27FC236}">
                  <a16:creationId xmlns:a16="http://schemas.microsoft.com/office/drawing/2014/main" id="{34498C8D-78D3-46C4-AB47-2C242F6BB0B6}"/>
                </a:ext>
              </a:extLst>
            </p:cNvPr>
            <p:cNvCxnSpPr>
              <a:cxnSpLocks/>
            </p:cNvCxnSpPr>
            <p:nvPr/>
          </p:nvCxnSpPr>
          <p:spPr>
            <a:xfrm>
              <a:off x="8379503" y="1353061"/>
              <a:ext cx="93762" cy="0"/>
            </a:xfrm>
            <a:prstGeom prst="line">
              <a:avLst/>
            </a:prstGeom>
            <a:ln w="38100" cap="rnd">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A5D89B7-64DF-4473-8A4E-AAF89300BB81}"/>
                </a:ext>
              </a:extLst>
            </p:cNvPr>
            <p:cNvCxnSpPr>
              <a:cxnSpLocks/>
            </p:cNvCxnSpPr>
            <p:nvPr/>
          </p:nvCxnSpPr>
          <p:spPr>
            <a:xfrm>
              <a:off x="9249408" y="1353061"/>
              <a:ext cx="93762" cy="0"/>
            </a:xfrm>
            <a:prstGeom prst="line">
              <a:avLst/>
            </a:prstGeom>
            <a:ln w="38100" cap="rnd">
              <a:solidFill>
                <a:srgbClr val="FAA08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9BD6D0AF-BB90-4CA4-84EA-350BD229F734}"/>
                </a:ext>
              </a:extLst>
            </p:cNvPr>
            <p:cNvCxnSpPr>
              <a:cxnSpLocks/>
            </p:cNvCxnSpPr>
            <p:nvPr/>
          </p:nvCxnSpPr>
          <p:spPr>
            <a:xfrm>
              <a:off x="10699600" y="1353061"/>
              <a:ext cx="93762" cy="0"/>
            </a:xfrm>
            <a:prstGeom prst="line">
              <a:avLst/>
            </a:prstGeom>
            <a:ln w="38100" cap="rnd">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23" name="TextBox 122">
            <a:extLst>
              <a:ext uri="{FF2B5EF4-FFF2-40B4-BE49-F238E27FC236}">
                <a16:creationId xmlns:a16="http://schemas.microsoft.com/office/drawing/2014/main" id="{B5A43997-509D-4296-A0A6-9EDE7A86CFCD}"/>
              </a:ext>
            </a:extLst>
          </p:cNvPr>
          <p:cNvSpPr txBox="1">
            <a:spLocks/>
          </p:cNvSpPr>
          <p:nvPr/>
        </p:nvSpPr>
        <p:spPr>
          <a:xfrm>
            <a:off x="11089983" y="1650265"/>
            <a:ext cx="457200" cy="457200"/>
          </a:xfrm>
          <a:prstGeom prst="ellipse">
            <a:avLst/>
          </a:prstGeom>
          <a:solidFill>
            <a:schemeClr val="accent3"/>
          </a:solidFill>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7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Q4 2022</a:t>
            </a:r>
          </a:p>
        </p:txBody>
      </p:sp>
      <p:pic>
        <p:nvPicPr>
          <p:cNvPr id="109" name="Content Placeholder 1">
            <a:extLst>
              <a:ext uri="{FF2B5EF4-FFF2-40B4-BE49-F238E27FC236}">
                <a16:creationId xmlns:a16="http://schemas.microsoft.com/office/drawing/2014/main" id="{FF16D5A1-45BC-454A-917F-56C03A9EAF98}"/>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26977454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B8E38-311C-43D5-A924-0C13F7F19F90}"/>
              </a:ext>
            </a:extLst>
          </p:cNvPr>
          <p:cNvGraphicFramePr>
            <a:graphicFrameLocks noChangeAspect="1"/>
          </p:cNvGraphicFramePr>
          <p:nvPr>
            <p:custDataLst>
              <p:tags r:id="rId2"/>
            </p:custDataLst>
            <p:extLst>
              <p:ext uri="{D42A27DB-BD31-4B8C-83A1-F6EECF244321}">
                <p14:modId xmlns:p14="http://schemas.microsoft.com/office/powerpoint/2010/main" val="1784313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6"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1. On-page tracker">
            <a:extLst>
              <a:ext uri="{FF2B5EF4-FFF2-40B4-BE49-F238E27FC236}">
                <a16:creationId xmlns:a16="http://schemas.microsoft.com/office/drawing/2014/main" id="{AC7C35D9-5C46-4BCD-A2CB-D49DD04E484D}"/>
              </a:ext>
            </a:extLst>
          </p:cNvPr>
          <p:cNvSpPr>
            <a:spLocks noGrp="1"/>
          </p:cNvSpPr>
          <p:nvPr>
            <p:ph type="body" sz="quarter" idx="17"/>
            <p:custDataLst>
              <p:tags r:id="rId3"/>
            </p:custDataLst>
          </p:nvPr>
        </p:nvSpPr>
        <p:spPr/>
        <p:txBody>
          <a:bodyPr/>
          <a:lstStyle/>
          <a:p>
            <a:endParaRPr lang="en-US"/>
          </a:p>
        </p:txBody>
      </p:sp>
      <p:pic>
        <p:nvPicPr>
          <p:cNvPr id="4" name="Content Placeholder 1">
            <a:extLst>
              <a:ext uri="{FF2B5EF4-FFF2-40B4-BE49-F238E27FC236}">
                <a16:creationId xmlns:a16="http://schemas.microsoft.com/office/drawing/2014/main" id="{D6919D85-3264-489A-B1DF-10F623963A9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
        <p:nvSpPr>
          <p:cNvPr id="6" name="2. Slide Title">
            <a:extLst>
              <a:ext uri="{FF2B5EF4-FFF2-40B4-BE49-F238E27FC236}">
                <a16:creationId xmlns:a16="http://schemas.microsoft.com/office/drawing/2014/main" id="{FD298974-4DFA-4E18-AAE3-E4A5F9907669}"/>
              </a:ext>
            </a:extLst>
          </p:cNvPr>
          <p:cNvSpPr txBox="1">
            <a:spLocks/>
          </p:cNvSpPr>
          <p:nvPr>
            <p:custDataLst>
              <p:tags r:id="rId4"/>
            </p:custDataLst>
          </p:nvPr>
        </p:nvSpPr>
        <p:spPr>
          <a:xfrm>
            <a:off x="554736" y="1706563"/>
            <a:ext cx="3813048" cy="694944"/>
          </a:xfrm>
          <a:prstGeom prst="rect">
            <a:avLst/>
          </a:prstGeom>
        </p:spPr>
        <p:txBody>
          <a:bodyPr vert="horz"/>
          <a:lst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a:lstStyle>
          <a:p>
            <a:r>
              <a:rPr lang="en-US"/>
              <a:t>VIDEO</a:t>
            </a:r>
            <a:endParaRPr lang="en-US" dirty="0"/>
          </a:p>
        </p:txBody>
      </p:sp>
    </p:spTree>
    <p:extLst>
      <p:ext uri="{BB962C8B-B14F-4D97-AF65-F5344CB8AC3E}">
        <p14:creationId xmlns:p14="http://schemas.microsoft.com/office/powerpoint/2010/main" val="11060091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2E2986-FF99-444D-879A-B7F2BD547428}"/>
              </a:ext>
            </a:extLst>
          </p:cNvPr>
          <p:cNvGraphicFramePr>
            <a:graphicFrameLocks noChangeAspect="1"/>
          </p:cNvGraphicFramePr>
          <p:nvPr>
            <p:custDataLst>
              <p:tags r:id="rId2"/>
            </p:custDataLst>
            <p:extLst>
              <p:ext uri="{D42A27DB-BD31-4B8C-83A1-F6EECF244321}">
                <p14:modId xmlns:p14="http://schemas.microsoft.com/office/powerpoint/2010/main" val="978068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2"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58DD131E-D930-4272-82AC-9A0099202D11}"/>
              </a:ext>
            </a:extLst>
          </p:cNvPr>
          <p:cNvSpPr>
            <a:spLocks noGrp="1"/>
          </p:cNvSpPr>
          <p:nvPr>
            <p:ph type="title"/>
            <p:custDataLst>
              <p:tags r:id="rId3"/>
            </p:custDataLst>
          </p:nvPr>
        </p:nvSpPr>
        <p:spPr/>
        <p:txBody>
          <a:bodyPr vert="horz"/>
          <a:lstStyle/>
          <a:p>
            <a:r>
              <a:rPr lang="en-US" dirty="0"/>
              <a:t>Thank You</a:t>
            </a:r>
            <a:br>
              <a:rPr lang="en-US" dirty="0"/>
            </a:br>
            <a:br>
              <a:rPr lang="en-US" dirty="0"/>
            </a:br>
            <a:r>
              <a:rPr lang="en-US" dirty="0"/>
              <a:t>End</a:t>
            </a:r>
          </a:p>
        </p:txBody>
      </p:sp>
      <p:sp>
        <p:nvSpPr>
          <p:cNvPr id="3" name="1. On-page tracker">
            <a:extLst>
              <a:ext uri="{FF2B5EF4-FFF2-40B4-BE49-F238E27FC236}">
                <a16:creationId xmlns:a16="http://schemas.microsoft.com/office/drawing/2014/main" id="{3631D48C-2DCB-48AD-9A23-9AA2344E0FA8}"/>
              </a:ext>
            </a:extLst>
          </p:cNvPr>
          <p:cNvSpPr>
            <a:spLocks noGrp="1"/>
          </p:cNvSpPr>
          <p:nvPr>
            <p:ph type="body" sz="quarter" idx="17"/>
            <p:custDataLst>
              <p:tags r:id="rId4"/>
            </p:custDataLst>
          </p:nvPr>
        </p:nvSpPr>
        <p:spPr/>
        <p:txBody>
          <a:bodyPr/>
          <a:lstStyle/>
          <a:p>
            <a:endParaRPr lang="en-US"/>
          </a:p>
        </p:txBody>
      </p:sp>
      <p:pic>
        <p:nvPicPr>
          <p:cNvPr id="5" name="Content Placeholder 1">
            <a:extLst>
              <a:ext uri="{FF2B5EF4-FFF2-40B4-BE49-F238E27FC236}">
                <a16:creationId xmlns:a16="http://schemas.microsoft.com/office/drawing/2014/main" id="{F52AE94E-4D50-4E90-84D3-DE3DE988295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39784491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BC00426F-56F5-408A-91F1-37FE2DEC1103}"/>
              </a:ext>
            </a:extLst>
          </p:cNvPr>
          <p:cNvGraphicFramePr>
            <a:graphicFrameLocks noChangeAspect="1"/>
          </p:cNvGraphicFramePr>
          <p:nvPr>
            <p:custDataLst>
              <p:tags r:id="rId2"/>
            </p:custDataLst>
            <p:extLst>
              <p:ext uri="{D42A27DB-BD31-4B8C-83A1-F6EECF244321}">
                <p14:modId xmlns:p14="http://schemas.microsoft.com/office/powerpoint/2010/main" val="530163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4" name="think-cell Slide" r:id="rId15" imgW="395" imgH="396" progId="TCLayout.ActiveDocument.1">
                  <p:embed/>
                </p:oleObj>
              </mc:Choice>
              <mc:Fallback>
                <p:oleObj name="think-cell Slide" r:id="rId15" imgW="395" imgH="396" progId="TCLayout.ActiveDocument.1">
                  <p:embed/>
                  <p:pic>
                    <p:nvPicPr>
                      <p:cNvPr id="6" name="Object 2" hidden="1">
                        <a:extLst>
                          <a:ext uri="{FF2B5EF4-FFF2-40B4-BE49-F238E27FC236}">
                            <a16:creationId xmlns:a16="http://schemas.microsoft.com/office/drawing/2014/main" id="{BC00426F-56F5-408A-91F1-37FE2DEC110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9" name="Slide Number">
            <a:extLst>
              <a:ext uri="{FF2B5EF4-FFF2-40B4-BE49-F238E27FC236}">
                <a16:creationId xmlns:a16="http://schemas.microsoft.com/office/drawing/2014/main" id="{1C5B522B-0F07-4340-8BC2-4A1F1F7EF874}"/>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accent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chemeClr val="accent1"/>
              </a:solidFill>
              <a:effectLst/>
              <a:uLnTx/>
              <a:uFillTx/>
              <a:latin typeface="Arial"/>
              <a:ea typeface="+mn-ea"/>
              <a:cs typeface="Arial" panose="020B0604020202020204" pitchFamily="34" charset="0"/>
            </a:endParaRPr>
          </a:p>
        </p:txBody>
      </p:sp>
      <p:sp>
        <p:nvSpPr>
          <p:cNvPr id="80" name="SlideLogoText">
            <a:extLst>
              <a:ext uri="{FF2B5EF4-FFF2-40B4-BE49-F238E27FC236}">
                <a16:creationId xmlns:a16="http://schemas.microsoft.com/office/drawing/2014/main" id="{CA34A5F3-A99B-4FD3-8324-79C7B6AB930C}"/>
              </a:ext>
            </a:extLst>
          </p:cNvPr>
          <p:cNvSpPr txBox="1"/>
          <p:nvPr>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mn-ea"/>
                <a:cs typeface="Arial" panose="020B0604020202020204" pitchFamily="34" charset="0"/>
              </a:rPr>
              <a:t>McKinsey &amp; Company</a:t>
            </a:r>
          </a:p>
        </p:txBody>
      </p:sp>
      <p:graphicFrame>
        <p:nvGraphicFramePr>
          <p:cNvPr id="64" name="Chart 63">
            <a:extLst>
              <a:ext uri="{FF2B5EF4-FFF2-40B4-BE49-F238E27FC236}">
                <a16:creationId xmlns:a16="http://schemas.microsoft.com/office/drawing/2014/main" id="{60322394-7F72-4681-8487-57A858439A76}"/>
              </a:ext>
            </a:extLst>
          </p:cNvPr>
          <p:cNvGraphicFramePr/>
          <p:nvPr>
            <p:custDataLst>
              <p:tags r:id="rId5"/>
            </p:custDataLst>
            <p:extLst>
              <p:ext uri="{D42A27DB-BD31-4B8C-83A1-F6EECF244321}">
                <p14:modId xmlns:p14="http://schemas.microsoft.com/office/powerpoint/2010/main" val="1711017848"/>
              </p:ext>
            </p:extLst>
          </p:nvPr>
        </p:nvGraphicFramePr>
        <p:xfrm>
          <a:off x="8223250" y="1492250"/>
          <a:ext cx="3471863" cy="4098925"/>
        </p:xfrm>
        <a:graphic>
          <a:graphicData uri="http://schemas.openxmlformats.org/drawingml/2006/chart">
            <c:chart xmlns:c="http://schemas.openxmlformats.org/drawingml/2006/chart" xmlns:r="http://schemas.openxmlformats.org/officeDocument/2006/relationships" r:id="rId17"/>
          </a:graphicData>
        </a:graphic>
      </p:graphicFrame>
      <p:sp>
        <p:nvSpPr>
          <p:cNvPr id="26" name="Text Placeholder 2">
            <a:extLst>
              <a:ext uri="{FF2B5EF4-FFF2-40B4-BE49-F238E27FC236}">
                <a16:creationId xmlns:a16="http://schemas.microsoft.com/office/drawing/2014/main" id="{192DB789-515B-4504-BE53-6445F2427687}"/>
              </a:ext>
            </a:extLst>
          </p:cNvPr>
          <p:cNvSpPr>
            <a:spLocks noGrp="1"/>
          </p:cNvSpPr>
          <p:nvPr>
            <p:custDataLst>
              <p:tags r:id="rId6"/>
            </p:custDataLst>
          </p:nvPr>
        </p:nvSpPr>
        <p:spPr bwMode="auto">
          <a:xfrm>
            <a:off x="4513263" y="1779588"/>
            <a:ext cx="365601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0153FAF-92FB-4A8E-9CF2-2A41EB7A0449}" type="datetime'F''ocus on r''isk, comp''liance ''''''and ''resili''e''n''ce'">
              <a:rPr lang="en-US" altLang="en-US" smtClean="0">
                <a:solidFill>
                  <a:schemeClr val="accent1"/>
                </a:solidFill>
                <a:cs typeface="+mn-cs"/>
              </a:rPr>
              <a:pPr/>
              <a:t>Focus on risk, compliance and resilience</a:t>
            </a:fld>
            <a:endParaRPr lang="en-US" dirty="0">
              <a:solidFill>
                <a:schemeClr val="accent1"/>
              </a:solidFill>
              <a:cs typeface="+mn-cs"/>
            </a:endParaRPr>
          </a:p>
        </p:txBody>
      </p:sp>
      <p:sp>
        <p:nvSpPr>
          <p:cNvPr id="27"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auto">
          <a:xfrm>
            <a:off x="4513263" y="2435225"/>
            <a:ext cx="2955925"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48FA9C0-4180-4170-98AB-6A25C11D4077}" type="datetime'''Digi''tal'''' ''''disrup''''ti''on'' ''and automat''ion'">
              <a:rPr lang="en-US" altLang="en-US" smtClean="0">
                <a:solidFill>
                  <a:schemeClr val="accent1"/>
                </a:solidFill>
                <a:cs typeface="+mn-cs"/>
              </a:rPr>
              <a:pPr/>
              <a:t>Digital disruption and automation</a:t>
            </a:fld>
            <a:endParaRPr lang="en-US" dirty="0">
              <a:solidFill>
                <a:schemeClr val="accent1"/>
              </a:solidFill>
              <a:cs typeface="+mn-cs"/>
            </a:endParaRPr>
          </a:p>
        </p:txBody>
      </p:sp>
      <p:sp>
        <p:nvSpPr>
          <p:cNvPr id="28" name="Text Placeholder 2">
            <a:extLst>
              <a:ext uri="{FF2B5EF4-FFF2-40B4-BE49-F238E27FC236}">
                <a16:creationId xmlns:a16="http://schemas.microsoft.com/office/drawing/2014/main" id="{192DB789-515B-4504-BE53-6445F2427687}"/>
              </a:ext>
            </a:extLst>
          </p:cNvPr>
          <p:cNvSpPr>
            <a:spLocks noGrp="1"/>
          </p:cNvSpPr>
          <p:nvPr>
            <p:custDataLst>
              <p:tags r:id="rId8"/>
            </p:custDataLst>
          </p:nvPr>
        </p:nvSpPr>
        <p:spPr bwMode="auto">
          <a:xfrm>
            <a:off x="4513263" y="3090863"/>
            <a:ext cx="2165350"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A185BC0-699E-406A-9B24-C2BB696EA927}" type="datetime'''S''''us''t''a''inability ''''a''''''nd ''gree''''''n'''">
              <a:rPr lang="en-US" altLang="en-US" smtClean="0">
                <a:solidFill>
                  <a:schemeClr val="accent1"/>
                </a:solidFill>
                <a:cs typeface="+mn-cs"/>
              </a:rPr>
              <a:pPr/>
              <a:t>Sustainability and green</a:t>
            </a:fld>
            <a:endParaRPr lang="en-US" dirty="0">
              <a:solidFill>
                <a:schemeClr val="accent1"/>
              </a:solidFill>
              <a:cs typeface="+mn-cs"/>
            </a:endParaRPr>
          </a:p>
        </p:txBody>
      </p:sp>
      <p:sp>
        <p:nvSpPr>
          <p:cNvPr id="88" name="Text Placeholder 2">
            <a:extLst>
              <a:ext uri="{FF2B5EF4-FFF2-40B4-BE49-F238E27FC236}">
                <a16:creationId xmlns:a16="http://schemas.microsoft.com/office/drawing/2014/main" id="{5E18794C-1476-468A-8A47-E752E9ED7B96}"/>
              </a:ext>
            </a:extLst>
          </p:cNvPr>
          <p:cNvSpPr>
            <a:spLocks noGrp="1"/>
          </p:cNvSpPr>
          <p:nvPr>
            <p:custDataLst>
              <p:tags r:id="rId9"/>
            </p:custDataLst>
          </p:nvPr>
        </p:nvSpPr>
        <p:spPr bwMode="auto">
          <a:xfrm>
            <a:off x="4513263" y="3746500"/>
            <a:ext cx="3203575"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68F7CF1-BBC1-4EA1-B3A1-F0355EE80360}" type="datetime'P''hysical ''flow / ''logis''tics'' op''''''t''imization'''">
              <a:rPr lang="en-US" altLang="en-US" smtClean="0">
                <a:solidFill>
                  <a:schemeClr val="accent1"/>
                </a:solidFill>
                <a:cs typeface="+mn-cs"/>
              </a:rPr>
              <a:pPr/>
              <a:t>Physical flow / logistics optimization</a:t>
            </a:fld>
            <a:endParaRPr lang="en-US" dirty="0">
              <a:solidFill>
                <a:schemeClr val="accent1"/>
              </a:solidFill>
              <a:cs typeface="+mn-cs"/>
            </a:endParaRPr>
          </a:p>
        </p:txBody>
      </p:sp>
      <p:sp>
        <p:nvSpPr>
          <p:cNvPr id="31" name="Text Placeholder 2">
            <a:extLst>
              <a:ext uri="{FF2B5EF4-FFF2-40B4-BE49-F238E27FC236}">
                <a16:creationId xmlns:a16="http://schemas.microsoft.com/office/drawing/2014/main" id="{271CC7AA-6EC4-4EE7-A691-45EAAB82D37A}"/>
              </a:ext>
            </a:extLst>
          </p:cNvPr>
          <p:cNvSpPr>
            <a:spLocks noGrp="1"/>
          </p:cNvSpPr>
          <p:nvPr>
            <p:custDataLst>
              <p:tags r:id="rId10"/>
            </p:custDataLst>
          </p:nvPr>
        </p:nvSpPr>
        <p:spPr bwMode="auto">
          <a:xfrm>
            <a:off x="4513264" y="4402138"/>
            <a:ext cx="120491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4015ADF-8B17-4994-A88E-B7E12F781513}" type="datetime'''''E''''''''''''''''''''''2E ''p''''la''n''''''n''''ing'''''">
              <a:rPr lang="en-US" altLang="en-US" smtClean="0">
                <a:solidFill>
                  <a:schemeClr val="accent1"/>
                </a:solidFill>
                <a:cs typeface="+mn-cs"/>
              </a:rPr>
              <a:pPr/>
              <a:t>E2E planning</a:t>
            </a:fld>
            <a:endParaRPr lang="en-US" dirty="0">
              <a:solidFill>
                <a:schemeClr val="accent1"/>
              </a:solidFill>
              <a:cs typeface="+mn-cs"/>
            </a:endParaRPr>
          </a:p>
        </p:txBody>
      </p:sp>
      <p:sp>
        <p:nvSpPr>
          <p:cNvPr id="32" name="Text Placeholder 2">
            <a:extLst>
              <a:ext uri="{FF2B5EF4-FFF2-40B4-BE49-F238E27FC236}">
                <a16:creationId xmlns:a16="http://schemas.microsoft.com/office/drawing/2014/main" id="{0A628218-942B-4352-9418-4EEDC45D2461}"/>
              </a:ext>
            </a:extLst>
          </p:cNvPr>
          <p:cNvSpPr>
            <a:spLocks noGrp="1"/>
          </p:cNvSpPr>
          <p:nvPr>
            <p:custDataLst>
              <p:tags r:id="rId11"/>
            </p:custDataLst>
          </p:nvPr>
        </p:nvSpPr>
        <p:spPr bwMode="auto">
          <a:xfrm>
            <a:off x="4513264" y="5057775"/>
            <a:ext cx="179546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15EB7CF-2978-4BE8-9B04-1C20F310153F}" type="datetime'Lea''''''n'''''''' m''an''''ufa''c''''''t''''u''rin''g'''">
              <a:rPr lang="en-US" altLang="en-US" smtClean="0">
                <a:solidFill>
                  <a:schemeClr val="accent1"/>
                </a:solidFill>
                <a:cs typeface="+mn-cs"/>
              </a:rPr>
              <a:pPr/>
              <a:t>Lean manufacturing</a:t>
            </a:fld>
            <a:endParaRPr lang="en-US" dirty="0">
              <a:solidFill>
                <a:schemeClr val="accent1"/>
              </a:solidFill>
              <a:cs typeface="+mn-cs"/>
            </a:endParaRPr>
          </a:p>
        </p:txBody>
      </p:sp>
      <p:sp>
        <p:nvSpPr>
          <p:cNvPr id="76" name="2. Slide Title">
            <a:extLst>
              <a:ext uri="{FF2B5EF4-FFF2-40B4-BE49-F238E27FC236}">
                <a16:creationId xmlns:a16="http://schemas.microsoft.com/office/drawing/2014/main" id="{06CF0027-3321-465C-9DF1-D2A8F62D335F}"/>
              </a:ext>
            </a:extLst>
          </p:cNvPr>
          <p:cNvSpPr txBox="1">
            <a:spLocks/>
          </p:cNvSpPr>
          <p:nvPr>
            <p:custDataLst>
              <p:tags r:id="rId12"/>
            </p:custDataLst>
          </p:nvPr>
        </p:nvSpPr>
        <p:spPr>
          <a:xfrm>
            <a:off x="554736" y="3231591"/>
            <a:ext cx="3576300" cy="137383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anchor="b" anchorCtr="0">
            <a:spAutoFit/>
          </a:bodyPr>
          <a:lst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93000"/>
              </a:lnSpc>
              <a:spcBef>
                <a:spcPct val="0"/>
              </a:spcBef>
              <a:spcAft>
                <a:spcPts val="0"/>
              </a:spcAft>
              <a:buClrTx/>
              <a:buSzTx/>
              <a:buFontTx/>
              <a:buNone/>
              <a:tabLst/>
              <a:defRPr/>
            </a:pPr>
            <a:r>
              <a:rPr kumimoji="0" lang="en-US" sz="3200" b="1" i="0" u="none" strike="noStrike" kern="1200" cap="none" spc="0" normalizeH="0" baseline="0" noProof="0" dirty="0">
                <a:ln w="6350" cap="flat">
                  <a:noFill/>
                  <a:miter lim="800000"/>
                </a:ln>
                <a:solidFill>
                  <a:schemeClr val="accent1"/>
                </a:solidFill>
                <a:effectLst/>
                <a:uLnTx/>
                <a:uFillTx/>
                <a:latin typeface="Georgia"/>
                <a:ea typeface="+mj-ea"/>
                <a:cs typeface="+mj-cs"/>
              </a:rPr>
              <a:t>Evolving themes </a:t>
            </a:r>
            <a:br>
              <a:rPr kumimoji="0" lang="en-US" sz="3200" b="1" i="0" u="none" strike="noStrike" kern="1200" cap="none" spc="0" normalizeH="0" baseline="0" noProof="0" dirty="0">
                <a:ln w="6350" cap="flat">
                  <a:noFill/>
                  <a:miter lim="800000"/>
                </a:ln>
                <a:solidFill>
                  <a:schemeClr val="accent1"/>
                </a:solidFill>
                <a:effectLst/>
                <a:uLnTx/>
                <a:uFillTx/>
                <a:latin typeface="Georgia"/>
                <a:ea typeface="+mj-ea"/>
                <a:cs typeface="+mj-cs"/>
              </a:rPr>
            </a:br>
            <a:r>
              <a:rPr kumimoji="0" lang="en-US" sz="3200" b="1" i="0" u="none" strike="noStrike" kern="1200" cap="none" spc="0" normalizeH="0" baseline="0" noProof="0" dirty="0">
                <a:ln w="6350" cap="flat">
                  <a:noFill/>
                  <a:miter lim="800000"/>
                </a:ln>
                <a:solidFill>
                  <a:schemeClr val="accent1"/>
                </a:solidFill>
                <a:effectLst/>
                <a:uLnTx/>
                <a:uFillTx/>
                <a:latin typeface="Georgia"/>
                <a:ea typeface="+mj-ea"/>
                <a:cs typeface="+mj-cs"/>
              </a:rPr>
              <a:t>in chemicals </a:t>
            </a:r>
          </a:p>
          <a:p>
            <a:pPr marL="0" marR="0" lvl="0" indent="0" algn="l" defTabSz="914400" rtl="0" eaLnBrk="1" fontAlgn="auto" latinLnBrk="0" hangingPunct="1">
              <a:lnSpc>
                <a:spcPct val="93000"/>
              </a:lnSpc>
              <a:spcBef>
                <a:spcPct val="0"/>
              </a:spcBef>
              <a:spcAft>
                <a:spcPts val="0"/>
              </a:spcAft>
              <a:buClrTx/>
              <a:buSzTx/>
              <a:buFontTx/>
              <a:buNone/>
              <a:tabLst/>
              <a:defRPr/>
            </a:pPr>
            <a:r>
              <a:rPr kumimoji="0" lang="en-US" sz="3200" b="1" i="0" u="none" strike="noStrike" kern="1200" cap="none" spc="0" normalizeH="0" baseline="0" noProof="0" dirty="0">
                <a:ln w="6350" cap="flat">
                  <a:noFill/>
                  <a:miter lim="800000"/>
                </a:ln>
                <a:solidFill>
                  <a:schemeClr val="accent1"/>
                </a:solidFill>
                <a:effectLst/>
                <a:uLnTx/>
                <a:uFillTx/>
                <a:latin typeface="Georgia"/>
                <a:ea typeface="+mj-ea"/>
                <a:cs typeface="+mj-cs"/>
              </a:rPr>
              <a:t>supply chain</a:t>
            </a:r>
            <a:endParaRPr kumimoji="0" lang="en-US" sz="3200" b="1" i="0" u="none" strike="noStrike" kern="1200" cap="none" spc="0" normalizeH="0" baseline="0" noProof="0" dirty="0">
              <a:ln w="6350" cap="flat">
                <a:noFill/>
                <a:miter lim="800000"/>
              </a:ln>
              <a:solidFill>
                <a:schemeClr val="accent1"/>
              </a:solidFill>
              <a:effectLst/>
              <a:highlight>
                <a:srgbClr val="FFFF00"/>
              </a:highlight>
              <a:uLnTx/>
              <a:uFillTx/>
              <a:latin typeface="Georgia"/>
              <a:ea typeface="+mj-ea"/>
              <a:cs typeface="+mj-cs"/>
            </a:endParaRPr>
          </a:p>
        </p:txBody>
      </p:sp>
      <p:sp>
        <p:nvSpPr>
          <p:cNvPr id="95" name="Rectangle 94">
            <a:extLst>
              <a:ext uri="{FF2B5EF4-FFF2-40B4-BE49-F238E27FC236}">
                <a16:creationId xmlns:a16="http://schemas.microsoft.com/office/drawing/2014/main" id="{93969CBE-EE2C-4301-B2B4-5AD121E32764}"/>
              </a:ext>
            </a:extLst>
          </p:cNvPr>
          <p:cNvSpPr>
            <a:spLocks/>
          </p:cNvSpPr>
          <p:nvPr/>
        </p:nvSpPr>
        <p:spPr>
          <a:xfrm>
            <a:off x="554736" y="4687067"/>
            <a:ext cx="1795363" cy="276999"/>
          </a:xfrm>
          <a:prstGeom prst="rect">
            <a:avLst/>
          </a:prstGeom>
        </p:spPr>
        <p:txBody>
          <a:bodyPr wrap="none" lIns="0" tIns="0" rIns="0" bIns="0">
            <a:noAutofit/>
          </a:bodyPr>
          <a:lstStyle/>
          <a:p>
            <a:r>
              <a:rPr lang="en-US" altLang="en-US" dirty="0">
                <a:solidFill>
                  <a:schemeClr val="accent1"/>
                </a:solidFill>
              </a:rPr>
              <a:t>% of respondents</a:t>
            </a:r>
            <a:endParaRPr lang="en-US" dirty="0">
              <a:solidFill>
                <a:schemeClr val="accent1"/>
              </a:solidFill>
            </a:endParaRPr>
          </a:p>
        </p:txBody>
      </p:sp>
      <p:sp>
        <p:nvSpPr>
          <p:cNvPr id="106" name="Rectangle 105">
            <a:extLst>
              <a:ext uri="{FF2B5EF4-FFF2-40B4-BE49-F238E27FC236}">
                <a16:creationId xmlns:a16="http://schemas.microsoft.com/office/drawing/2014/main" id="{F3FDAA3E-CE1D-40CD-8459-0D8C21E4FB19}"/>
              </a:ext>
            </a:extLst>
          </p:cNvPr>
          <p:cNvSpPr/>
          <p:nvPr/>
        </p:nvSpPr>
        <p:spPr>
          <a:xfrm>
            <a:off x="581526" y="5159480"/>
            <a:ext cx="184731" cy="182880"/>
          </a:xfrm>
          <a:prstGeom prst="rect">
            <a:avLst/>
          </a:prstGeom>
          <a:solidFill>
            <a:schemeClr val="accent3"/>
          </a:solidFill>
        </p:spPr>
        <p:txBody>
          <a:bodyPr wrap="none">
            <a:spAutoFit/>
          </a:bodyPr>
          <a:lstStyle/>
          <a:p>
            <a:endParaRPr lang="en-US" sz="1200" dirty="0">
              <a:solidFill>
                <a:schemeClr val="accent1"/>
              </a:solidFill>
            </a:endParaRPr>
          </a:p>
        </p:txBody>
      </p:sp>
      <p:sp>
        <p:nvSpPr>
          <p:cNvPr id="107" name="Rectangle 106">
            <a:extLst>
              <a:ext uri="{FF2B5EF4-FFF2-40B4-BE49-F238E27FC236}">
                <a16:creationId xmlns:a16="http://schemas.microsoft.com/office/drawing/2014/main" id="{6898E384-1BC1-4432-B156-21A67D6AAA1B}"/>
              </a:ext>
            </a:extLst>
          </p:cNvPr>
          <p:cNvSpPr/>
          <p:nvPr/>
        </p:nvSpPr>
        <p:spPr>
          <a:xfrm>
            <a:off x="831725" y="5159480"/>
            <a:ext cx="1348126" cy="184666"/>
          </a:xfrm>
          <a:prstGeom prst="rect">
            <a:avLst/>
          </a:prstGeom>
        </p:spPr>
        <p:txBody>
          <a:bodyPr wrap="none" lIns="0" tIns="0" rIns="0" bIns="0">
            <a:spAutoFit/>
          </a:bodyPr>
          <a:lstStyle/>
          <a:p>
            <a:r>
              <a:rPr lang="en-US" altLang="en-US" sz="1200" dirty="0">
                <a:solidFill>
                  <a:schemeClr val="accent1"/>
                </a:solidFill>
              </a:rPr>
              <a:t>Focus of discussion</a:t>
            </a:r>
            <a:endParaRPr lang="en-US" sz="1200" dirty="0">
              <a:solidFill>
                <a:schemeClr val="accent1"/>
              </a:solidFill>
            </a:endParaRPr>
          </a:p>
        </p:txBody>
      </p:sp>
      <p:pic>
        <p:nvPicPr>
          <p:cNvPr id="137" name="Picture 136">
            <a:extLst>
              <a:ext uri="{FF2B5EF4-FFF2-40B4-BE49-F238E27FC236}">
                <a16:creationId xmlns:a16="http://schemas.microsoft.com/office/drawing/2014/main" id="{E1287132-F2C4-498E-91EC-D09DAFD6C9F6}"/>
              </a:ext>
            </a:extLst>
          </p:cNvPr>
          <p:cNvPicPr>
            <a:picLocks noChangeAspect="1"/>
          </p:cNvPicPr>
          <p:nvPr/>
        </p:nvPicPr>
        <p:blipFill>
          <a:blip r:embed="rId18"/>
          <a:stretch>
            <a:fillRect/>
          </a:stretch>
        </p:blipFill>
        <p:spPr>
          <a:xfrm flipH="1">
            <a:off x="-1" y="93852"/>
            <a:ext cx="4318104" cy="2799368"/>
          </a:xfrm>
          <a:prstGeom prst="rect">
            <a:avLst/>
          </a:prstGeom>
        </p:spPr>
      </p:pic>
      <p:pic>
        <p:nvPicPr>
          <p:cNvPr id="17" name="Content Placeholder 1">
            <a:extLst>
              <a:ext uri="{FF2B5EF4-FFF2-40B4-BE49-F238E27FC236}">
                <a16:creationId xmlns:a16="http://schemas.microsoft.com/office/drawing/2014/main" id="{3BCEF1ED-D7EF-4C20-B7E1-4986724A7520}"/>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586635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97F11E-74FD-458B-A9CD-E4453A82CF81}"/>
              </a:ext>
            </a:extLst>
          </p:cNvPr>
          <p:cNvGraphicFramePr>
            <a:graphicFrameLocks noChangeAspect="1"/>
          </p:cNvGraphicFramePr>
          <p:nvPr>
            <p:custDataLst>
              <p:tags r:id="rId2"/>
            </p:custDataLst>
            <p:extLst>
              <p:ext uri="{D42A27DB-BD31-4B8C-83A1-F6EECF244321}">
                <p14:modId xmlns:p14="http://schemas.microsoft.com/office/powerpoint/2010/main" val="1693988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7"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D4328160-7700-4CBB-8397-9FFCA6AD60D8}"/>
              </a:ext>
            </a:extLst>
          </p:cNvPr>
          <p:cNvSpPr>
            <a:spLocks noGrp="1"/>
          </p:cNvSpPr>
          <p:nvPr>
            <p:ph type="title"/>
            <p:custDataLst>
              <p:tags r:id="rId3"/>
            </p:custDataLst>
          </p:nvPr>
        </p:nvSpPr>
        <p:spPr/>
        <p:txBody>
          <a:bodyPr vert="horz"/>
          <a:lstStyle/>
          <a:p>
            <a:r>
              <a:rPr lang="en-US" dirty="0" err="1"/>
              <a:t>Chemlog</a:t>
            </a:r>
            <a:r>
              <a:rPr lang="en-US" dirty="0"/>
              <a:t> 2021 focus is in similar lines</a:t>
            </a:r>
          </a:p>
        </p:txBody>
      </p:sp>
      <p:sp>
        <p:nvSpPr>
          <p:cNvPr id="3" name="1. On-page tracker">
            <a:extLst>
              <a:ext uri="{FF2B5EF4-FFF2-40B4-BE49-F238E27FC236}">
                <a16:creationId xmlns:a16="http://schemas.microsoft.com/office/drawing/2014/main" id="{B917DD40-0741-4B1D-A4E9-C5C1B98BD958}"/>
              </a:ext>
            </a:extLst>
          </p:cNvPr>
          <p:cNvSpPr>
            <a:spLocks noGrp="1"/>
          </p:cNvSpPr>
          <p:nvPr>
            <p:ph type="body" sz="quarter" idx="17"/>
            <p:custDataLst>
              <p:tags r:id="rId4"/>
            </p:custDataLst>
          </p:nvPr>
        </p:nvSpPr>
        <p:spPr/>
        <p:txBody>
          <a:bodyPr/>
          <a:lstStyle/>
          <a:p>
            <a:endParaRPr lang="en-US"/>
          </a:p>
        </p:txBody>
      </p:sp>
      <p:sp>
        <p:nvSpPr>
          <p:cNvPr id="4" name="3. Subtitle">
            <a:extLst>
              <a:ext uri="{FF2B5EF4-FFF2-40B4-BE49-F238E27FC236}">
                <a16:creationId xmlns:a16="http://schemas.microsoft.com/office/drawing/2014/main" id="{C4D79626-55E8-4A10-938D-7343D6FF53CC}"/>
              </a:ext>
            </a:extLst>
          </p:cNvPr>
          <p:cNvSpPr>
            <a:spLocks noGrp="1"/>
          </p:cNvSpPr>
          <p:nvPr>
            <p:ph type="subTitle" idx="1"/>
            <p:custDataLst>
              <p:tags r:id="rId5"/>
            </p:custDataLst>
          </p:nvPr>
        </p:nvSpPr>
        <p:spPr/>
        <p:txBody>
          <a:bodyPr/>
          <a:lstStyle/>
          <a:p>
            <a:endParaRPr lang="en-US"/>
          </a:p>
        </p:txBody>
      </p:sp>
      <p:sp>
        <p:nvSpPr>
          <p:cNvPr id="13" name="TextBox 12">
            <a:extLst>
              <a:ext uri="{FF2B5EF4-FFF2-40B4-BE49-F238E27FC236}">
                <a16:creationId xmlns:a16="http://schemas.microsoft.com/office/drawing/2014/main" id="{CD5E73B2-F8D6-4E68-B008-D475A2FB85BB}"/>
              </a:ext>
            </a:extLst>
          </p:cNvPr>
          <p:cNvSpPr txBox="1"/>
          <p:nvPr/>
        </p:nvSpPr>
        <p:spPr>
          <a:xfrm>
            <a:off x="498275" y="1117669"/>
            <a:ext cx="9938743" cy="4524315"/>
          </a:xfrm>
          <a:prstGeom prst="rect">
            <a:avLst/>
          </a:prstGeom>
          <a:noFill/>
          <a:ln w="6350">
            <a:noFill/>
            <a:miter lim="800000"/>
          </a:ln>
        </p:spPr>
        <p:txBody>
          <a:bodyPr wrap="square">
            <a:spAutoFit/>
          </a:bodyPr>
          <a:lstStyle/>
          <a:p>
            <a:pPr marL="457200" indent="-457200" algn="l">
              <a:buFont typeface="Wingdings" panose="05000000000000000000" pitchFamily="2" charset="2"/>
              <a:buChar char="Ø"/>
            </a:pPr>
            <a:endParaRPr lang="en-US" sz="2400" b="1" dirty="0">
              <a:solidFill>
                <a:srgbClr val="000000"/>
              </a:solidFill>
              <a:latin typeface="Calibri" panose="020F0502020204030204" pitchFamily="34" charset="0"/>
            </a:endParaRPr>
          </a:p>
          <a:p>
            <a:pPr marL="457200" indent="-457200">
              <a:buFont typeface="Wingdings" panose="05000000000000000000" pitchFamily="2" charset="2"/>
              <a:buChar char="Ø"/>
            </a:pPr>
            <a:r>
              <a:rPr lang="en-US" sz="2400" b="1" dirty="0">
                <a:solidFill>
                  <a:srgbClr val="000000"/>
                </a:solidFill>
                <a:latin typeface="Calibri" panose="020F0502020204030204" pitchFamily="34" charset="0"/>
              </a:rPr>
              <a:t>Is India the next destination?</a:t>
            </a:r>
          </a:p>
          <a:p>
            <a:pPr marL="457200" indent="-457200">
              <a:buFont typeface="Wingdings" panose="05000000000000000000" pitchFamily="2" charset="2"/>
              <a:buChar char="Ø"/>
            </a:pPr>
            <a:endParaRPr lang="en-US" sz="2400" b="1" dirty="0">
              <a:solidFill>
                <a:srgbClr val="000000"/>
              </a:solidFill>
              <a:latin typeface="Calibri" panose="020F0502020204030204" pitchFamily="34" charset="0"/>
            </a:endParaRPr>
          </a:p>
          <a:p>
            <a:pPr marL="457200" indent="-457200">
              <a:buFont typeface="Wingdings" panose="05000000000000000000" pitchFamily="2" charset="2"/>
              <a:buChar char="Ø"/>
            </a:pPr>
            <a:r>
              <a:rPr lang="en-US" sz="2400" b="1" dirty="0">
                <a:solidFill>
                  <a:srgbClr val="000000"/>
                </a:solidFill>
                <a:latin typeface="Calibri" panose="020F0502020204030204" pitchFamily="34" charset="0"/>
              </a:rPr>
              <a:t>Disruption is the name of the game 	</a:t>
            </a:r>
          </a:p>
          <a:p>
            <a:pPr marL="457200" indent="-457200">
              <a:buFont typeface="Wingdings" panose="05000000000000000000" pitchFamily="2" charset="2"/>
              <a:buChar char="Ø"/>
            </a:pPr>
            <a:endParaRPr lang="en-US" sz="2400" b="1" dirty="0">
              <a:solidFill>
                <a:srgbClr val="000000"/>
              </a:solidFill>
              <a:latin typeface="Calibri" panose="020F0502020204030204" pitchFamily="34" charset="0"/>
            </a:endParaRPr>
          </a:p>
          <a:p>
            <a:pPr marL="457200" indent="-457200">
              <a:buFont typeface="Wingdings" panose="05000000000000000000" pitchFamily="2" charset="2"/>
              <a:buChar char="Ø"/>
            </a:pPr>
            <a:r>
              <a:rPr lang="en-US" sz="2400" b="1" dirty="0">
                <a:solidFill>
                  <a:srgbClr val="000000"/>
                </a:solidFill>
                <a:latin typeface="Calibri" panose="020F0502020204030204" pitchFamily="34" charset="0"/>
              </a:rPr>
              <a:t>Current Affairs</a:t>
            </a:r>
          </a:p>
          <a:p>
            <a:pPr marL="457200" indent="-457200">
              <a:buFont typeface="Wingdings" panose="05000000000000000000" pitchFamily="2" charset="2"/>
              <a:buChar char="Ø"/>
            </a:pPr>
            <a:endParaRPr lang="en-US" sz="2400" b="1" dirty="0">
              <a:solidFill>
                <a:srgbClr val="000000"/>
              </a:solidFill>
              <a:latin typeface="Calibri" panose="020F0502020204030204" pitchFamily="34" charset="0"/>
            </a:endParaRPr>
          </a:p>
          <a:p>
            <a:pPr marL="457200" indent="-457200">
              <a:buFont typeface="Wingdings" panose="05000000000000000000" pitchFamily="2" charset="2"/>
              <a:buChar char="Ø"/>
            </a:pPr>
            <a:r>
              <a:rPr lang="en-US" sz="2400" b="1" dirty="0">
                <a:solidFill>
                  <a:srgbClr val="000000"/>
                </a:solidFill>
                <a:latin typeface="Calibri" panose="020F0502020204030204" pitchFamily="34" charset="0"/>
              </a:rPr>
              <a:t>Maturity of Indian logistics sector</a:t>
            </a:r>
          </a:p>
          <a:p>
            <a:pPr marL="457200" indent="-457200">
              <a:buFont typeface="Wingdings" panose="05000000000000000000" pitchFamily="2" charset="2"/>
              <a:buChar char="Ø"/>
            </a:pPr>
            <a:endParaRPr lang="en-US" sz="2400" b="1" dirty="0">
              <a:solidFill>
                <a:srgbClr val="000000"/>
              </a:solidFill>
              <a:latin typeface="Calibri" panose="020F0502020204030204" pitchFamily="34" charset="0"/>
            </a:endParaRPr>
          </a:p>
          <a:p>
            <a:pPr marL="457200" indent="-457200">
              <a:buFont typeface="Wingdings" panose="05000000000000000000" pitchFamily="2" charset="2"/>
              <a:buChar char="Ø"/>
            </a:pPr>
            <a:r>
              <a:rPr lang="en-US" sz="2400" b="1" dirty="0">
                <a:solidFill>
                  <a:srgbClr val="000000"/>
                </a:solidFill>
                <a:latin typeface="Calibri" panose="020F0502020204030204" pitchFamily="34" charset="0"/>
              </a:rPr>
              <a:t>Compliance is the name of the game </a:t>
            </a:r>
            <a:r>
              <a:rPr lang="en-US" sz="2400" b="0" i="0" u="none" strike="noStrike" baseline="0" dirty="0">
                <a:solidFill>
                  <a:srgbClr val="000000"/>
                </a:solidFill>
                <a:latin typeface="Calibri" panose="020F0502020204030204" pitchFamily="34" charset="0"/>
              </a:rPr>
              <a:t>	</a:t>
            </a:r>
          </a:p>
          <a:p>
            <a:endParaRPr lang="en-US" sz="2400" b="0" i="0" u="none" strike="noStrike" baseline="0" dirty="0">
              <a:solidFill>
                <a:srgbClr val="000000"/>
              </a:solidFill>
              <a:latin typeface="Calibri" panose="020F0502020204030204" pitchFamily="34" charset="0"/>
            </a:endParaRPr>
          </a:p>
          <a:p>
            <a:endParaRPr lang="en-US" sz="2400" dirty="0">
              <a:solidFill>
                <a:srgbClr val="000000"/>
              </a:solidFill>
              <a:latin typeface="Calibri" panose="020F0502020204030204" pitchFamily="34" charset="0"/>
            </a:endParaRPr>
          </a:p>
        </p:txBody>
      </p:sp>
      <p:pic>
        <p:nvPicPr>
          <p:cNvPr id="7" name="Content Placeholder 1">
            <a:extLst>
              <a:ext uri="{FF2B5EF4-FFF2-40B4-BE49-F238E27FC236}">
                <a16:creationId xmlns:a16="http://schemas.microsoft.com/office/drawing/2014/main" id="{FDD580E9-8DC2-46C8-B8B5-A3938754D49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24809542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A00DC4-D54B-4105-99C7-86B9FCFCFF1C}"/>
              </a:ext>
            </a:extLst>
          </p:cNvPr>
          <p:cNvGraphicFramePr>
            <a:graphicFrameLocks noChangeAspect="1"/>
          </p:cNvGraphicFramePr>
          <p:nvPr>
            <p:custDataLst>
              <p:tags r:id="rId2"/>
            </p:custDataLst>
            <p:extLst>
              <p:ext uri="{D42A27DB-BD31-4B8C-83A1-F6EECF244321}">
                <p14:modId xmlns:p14="http://schemas.microsoft.com/office/powerpoint/2010/main" val="28071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6" name="think-cell Slide" r:id="rId12" imgW="186" imgH="179" progId="TCLayout.ActiveDocument.1">
                  <p:embed/>
                </p:oleObj>
              </mc:Choice>
              <mc:Fallback>
                <p:oleObj name="think-cell Slide" r:id="rId12" imgW="186" imgH="179" progId="TCLayout.ActiveDocument.1">
                  <p:embed/>
                  <p:pic>
                    <p:nvPicPr>
                      <p:cNvPr id="8" name="Object 7" hidden="1">
                        <a:extLst>
                          <a:ext uri="{FF2B5EF4-FFF2-40B4-BE49-F238E27FC236}">
                            <a16:creationId xmlns:a16="http://schemas.microsoft.com/office/drawing/2014/main" id="{0DA00DC4-D54B-4105-99C7-86B9FCFCFF1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6F860C2-D819-4DC2-9761-7C073C30EC5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Rectangle 6" hidden="1">
            <a:extLst>
              <a:ext uri="{FF2B5EF4-FFF2-40B4-BE49-F238E27FC236}">
                <a16:creationId xmlns:a16="http://schemas.microsoft.com/office/drawing/2014/main" id="{89773A46-7FAB-4E4B-A7B0-98CD03D7D867}"/>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9BFFF79E-437C-4A95-88F8-040A71DCC72A}"/>
              </a:ext>
            </a:extLst>
          </p:cNvPr>
          <p:cNvSpPr>
            <a:spLocks noGrp="1"/>
          </p:cNvSpPr>
          <p:nvPr>
            <p:ph type="title"/>
            <p:custDataLst>
              <p:tags r:id="rId5"/>
            </p:custDataLst>
          </p:nvPr>
        </p:nvSpPr>
        <p:spPr>
          <a:xfrm>
            <a:off x="554736" y="1706563"/>
            <a:ext cx="3813048" cy="346249"/>
          </a:xfrm>
        </p:spPr>
        <p:txBody>
          <a:bodyPr vert="horz">
            <a:spAutoFit/>
          </a:bodyPr>
          <a:lstStyle/>
          <a:p>
            <a:r>
              <a:rPr lang="en-US" dirty="0"/>
              <a:t>Agenda</a:t>
            </a:r>
          </a:p>
        </p:txBody>
      </p:sp>
      <p:sp>
        <p:nvSpPr>
          <p:cNvPr id="18" name="1. On-page tracker">
            <a:extLst>
              <a:ext uri="{FF2B5EF4-FFF2-40B4-BE49-F238E27FC236}">
                <a16:creationId xmlns:a16="http://schemas.microsoft.com/office/drawing/2014/main" id="{F68542A4-BED1-4371-BE4F-3A1D84D342C6}"/>
              </a:ext>
            </a:extLst>
          </p:cNvPr>
          <p:cNvSpPr>
            <a:spLocks noGrp="1"/>
          </p:cNvSpPr>
          <p:nvPr>
            <p:ph type="body" sz="quarter" idx="17"/>
            <p:custDataLst>
              <p:tags r:id="rId6"/>
            </p:custDataLst>
          </p:nvPr>
        </p:nvSpPr>
        <p:spPr/>
        <p:txBody>
          <a:bodyPr/>
          <a:lstStyle/>
          <a:p>
            <a:endParaRPr lang="en-US"/>
          </a:p>
        </p:txBody>
      </p:sp>
      <p:sp>
        <p:nvSpPr>
          <p:cNvPr id="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auto">
          <a:xfrm>
            <a:off x="4978399" y="2817813"/>
            <a:ext cx="6661150" cy="407988"/>
          </a:xfrm>
          <a:prstGeom prst="rect">
            <a:avLst/>
          </a:prstGeom>
          <a:solidFill>
            <a:schemeClr val="accent1"/>
          </a:solidFill>
          <a:ln>
            <a:noFill/>
          </a:ln>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b="1" dirty="0">
                <a:solidFill>
                  <a:schemeClr val="tx2"/>
                </a:solidFill>
              </a:rPr>
              <a:t>Is India the next destination?</a:t>
            </a:r>
          </a:p>
        </p:txBody>
      </p:sp>
      <p:sp>
        <p:nvSpPr>
          <p:cNvPr id="9" name="Text Placeholder 2">
            <a:hlinkClick r:id="rId14" action="ppaction://hlinksldjump"/>
            <a:extLst>
              <a:ext uri="{FF2B5EF4-FFF2-40B4-BE49-F238E27FC236}">
                <a16:creationId xmlns:a16="http://schemas.microsoft.com/office/drawing/2014/main" id="{9A10DBDD-221A-4392-8BD8-22241DEF0726}"/>
              </a:ext>
            </a:extLst>
          </p:cNvPr>
          <p:cNvSpPr>
            <a:spLocks noGrp="1"/>
          </p:cNvSpPr>
          <p:nvPr>
            <p:custDataLst>
              <p:tags r:id="rId8"/>
            </p:custDataLst>
          </p:nvPr>
        </p:nvSpPr>
        <p:spPr bwMode="auto">
          <a:xfrm>
            <a:off x="4978400" y="3225800"/>
            <a:ext cx="6661150" cy="406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t>Disruption is the name of the game</a:t>
            </a:r>
            <a:endParaRPr lang="en-US" dirty="0"/>
          </a:p>
        </p:txBody>
      </p:sp>
      <p:sp>
        <p:nvSpPr>
          <p:cNvPr id="24" name="Text Placeholder 2">
            <a:hlinkClick r:id="rId15" action="ppaction://hlinksldjump"/>
            <a:extLst>
              <a:ext uri="{FF2B5EF4-FFF2-40B4-BE49-F238E27FC236}">
                <a16:creationId xmlns:a16="http://schemas.microsoft.com/office/drawing/2014/main" id="{C8CCCE9B-1E5C-43E7-827C-1E49B04C6236}"/>
              </a:ext>
            </a:extLst>
          </p:cNvPr>
          <p:cNvSpPr>
            <a:spLocks noGrp="1"/>
          </p:cNvSpPr>
          <p:nvPr>
            <p:custDataLst>
              <p:tags r:id="rId9"/>
            </p:custDataLst>
          </p:nvPr>
        </p:nvSpPr>
        <p:spPr bwMode="auto">
          <a:xfrm>
            <a:off x="4978400" y="3632200"/>
            <a:ext cx="6661150" cy="4079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a:t>Current affairs</a:t>
            </a:r>
            <a:endParaRPr lang="en-US" dirty="0"/>
          </a:p>
        </p:txBody>
      </p:sp>
      <p:pic>
        <p:nvPicPr>
          <p:cNvPr id="10" name="Content Placeholder 1">
            <a:extLst>
              <a:ext uri="{FF2B5EF4-FFF2-40B4-BE49-F238E27FC236}">
                <a16:creationId xmlns:a16="http://schemas.microsoft.com/office/drawing/2014/main" id="{F5AB3AEA-8628-43F0-9E0F-8DFE844B779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1574601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67D591D2-2DCE-437D-8849-3B2C2500FC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6" name="think-cell Slide" r:id="rId33" imgW="395" imgH="394" progId="TCLayout.ActiveDocument.1">
                  <p:embed/>
                </p:oleObj>
              </mc:Choice>
              <mc:Fallback>
                <p:oleObj name="think-cell Slide" r:id="rId33" imgW="395" imgH="394" progId="TCLayout.ActiveDocument.1">
                  <p:embed/>
                  <p:pic>
                    <p:nvPicPr>
                      <p:cNvPr id="8" name="Object 2" hidden="1">
                        <a:extLst>
                          <a:ext uri="{FF2B5EF4-FFF2-40B4-BE49-F238E27FC236}">
                            <a16:creationId xmlns:a16="http://schemas.microsoft.com/office/drawing/2014/main" id="{67D591D2-2DCE-437D-8849-3B2C2500FCED}"/>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699B2C10-0427-4B73-A02F-EC4A6231DCD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cs typeface="Arial" panose="020B0604020202020204" pitchFamily="34" charset="0"/>
              <a:sym typeface="+mn-lt"/>
            </a:endParaRPr>
          </a:p>
        </p:txBody>
      </p:sp>
      <p:sp>
        <p:nvSpPr>
          <p:cNvPr id="5" name="Title 4">
            <a:extLst>
              <a:ext uri="{FF2B5EF4-FFF2-40B4-BE49-F238E27FC236}">
                <a16:creationId xmlns:a16="http://schemas.microsoft.com/office/drawing/2014/main" id="{AEAC06CE-561F-4296-A7DA-450E712059B0}"/>
              </a:ext>
            </a:extLst>
          </p:cNvPr>
          <p:cNvSpPr>
            <a:spLocks noGrp="1"/>
          </p:cNvSpPr>
          <p:nvPr>
            <p:ph type="title"/>
          </p:nvPr>
        </p:nvSpPr>
        <p:spPr>
          <a:xfrm>
            <a:off x="554736" y="198311"/>
            <a:ext cx="7918704" cy="71558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Indian exports to the world have seen a sharp increase, rising by ~11% in last 20 years</a:t>
            </a:r>
          </a:p>
        </p:txBody>
      </p:sp>
      <p:graphicFrame>
        <p:nvGraphicFramePr>
          <p:cNvPr id="40" name="Chart 39">
            <a:extLst>
              <a:ext uri="{FF2B5EF4-FFF2-40B4-BE49-F238E27FC236}">
                <a16:creationId xmlns:a16="http://schemas.microsoft.com/office/drawing/2014/main" id="{663A2C06-8BC4-4C2F-9513-FDB5484AC174}"/>
              </a:ext>
            </a:extLst>
          </p:cNvPr>
          <p:cNvGraphicFramePr/>
          <p:nvPr>
            <p:custDataLst>
              <p:tags r:id="rId4"/>
            </p:custDataLst>
          </p:nvPr>
        </p:nvGraphicFramePr>
        <p:xfrm>
          <a:off x="877888" y="2305050"/>
          <a:ext cx="7578725" cy="3413125"/>
        </p:xfrm>
        <a:graphic>
          <a:graphicData uri="http://schemas.openxmlformats.org/drawingml/2006/chart">
            <c:chart xmlns:c="http://schemas.openxmlformats.org/drawingml/2006/chart" xmlns:r="http://schemas.openxmlformats.org/officeDocument/2006/relationships" r:id="rId35"/>
          </a:graphicData>
        </a:graphic>
      </p:graphicFrame>
      <p:sp>
        <p:nvSpPr>
          <p:cNvPr id="64" name="Text Placeholder 2">
            <a:extLst>
              <a:ext uri="{FF2B5EF4-FFF2-40B4-BE49-F238E27FC236}">
                <a16:creationId xmlns:a16="http://schemas.microsoft.com/office/drawing/2014/main" id="{192DB789-515B-4504-BE53-6445F2427687}"/>
              </a:ext>
            </a:extLst>
          </p:cNvPr>
          <p:cNvSpPr>
            <a:spLocks noGrp="1"/>
          </p:cNvSpPr>
          <p:nvPr>
            <p:custDataLst>
              <p:tags r:id="rId5"/>
            </p:custDataLst>
          </p:nvPr>
        </p:nvSpPr>
        <p:spPr bwMode="gray">
          <a:xfrm>
            <a:off x="3827463" y="5694363"/>
            <a:ext cx="196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1904D9C-9922-45D0-8246-6CFB69D2D3BF}" type="datetime'''0''''''''''''''''''''8'''''''''''''">
              <a:rPr lang="en-US" altLang="en-US" sz="1400" smtClean="0">
                <a:sym typeface="+mn-lt"/>
              </a:rPr>
              <a:pPr algn="ctr">
                <a:spcBef>
                  <a:spcPct val="0"/>
                </a:spcBef>
                <a:spcAft>
                  <a:spcPct val="0"/>
                </a:spcAft>
              </a:pPr>
              <a:t>08</a:t>
            </a:fld>
            <a:endParaRPr lang="en-US" sz="1400" dirty="0">
              <a:sym typeface="+mn-lt"/>
            </a:endParaRPr>
          </a:p>
        </p:txBody>
      </p:sp>
      <p:sp>
        <p:nvSpPr>
          <p:cNvPr id="65" name="Text Placeholder 2">
            <a:extLst>
              <a:ext uri="{FF2B5EF4-FFF2-40B4-BE49-F238E27FC236}">
                <a16:creationId xmlns:a16="http://schemas.microsoft.com/office/drawing/2014/main" id="{192DB789-515B-4504-BE53-6445F2427687}"/>
              </a:ext>
            </a:extLst>
          </p:cNvPr>
          <p:cNvSpPr>
            <a:spLocks noGrp="1"/>
          </p:cNvSpPr>
          <p:nvPr>
            <p:custDataLst>
              <p:tags r:id="rId6"/>
            </p:custDataLst>
          </p:nvPr>
        </p:nvSpPr>
        <p:spPr bwMode="gray">
          <a:xfrm>
            <a:off x="4568825" y="5694363"/>
            <a:ext cx="196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C813EBD-ED91-4E60-BDA4-04853FD2722C}" type="datetime'''''''''''''''1''''''''''''''''''''''''0'''''''''''''''''''''">
              <a:rPr lang="en-US" altLang="en-US" sz="1400" smtClean="0">
                <a:sym typeface="+mn-lt"/>
              </a:rPr>
              <a:pPr algn="ctr">
                <a:spcBef>
                  <a:spcPct val="0"/>
                </a:spcBef>
                <a:spcAft>
                  <a:spcPct val="0"/>
                </a:spcAft>
              </a:pPr>
              <a:t>10</a:t>
            </a:fld>
            <a:endParaRPr lang="en-US" sz="1400" dirty="0">
              <a:sym typeface="+mn-lt"/>
            </a:endParaRPr>
          </a:p>
        </p:txBody>
      </p:sp>
      <p:sp>
        <p:nvSpPr>
          <p:cNvPr id="66" name="Text Placeholder 2">
            <a:extLst>
              <a:ext uri="{FF2B5EF4-FFF2-40B4-BE49-F238E27FC236}">
                <a16:creationId xmlns:a16="http://schemas.microsoft.com/office/drawing/2014/main" id="{192DB789-515B-4504-BE53-6445F2427687}"/>
              </a:ext>
            </a:extLst>
          </p:cNvPr>
          <p:cNvSpPr>
            <a:spLocks noGrp="1"/>
          </p:cNvSpPr>
          <p:nvPr>
            <p:custDataLst>
              <p:tags r:id="rId7"/>
            </p:custDataLst>
          </p:nvPr>
        </p:nvSpPr>
        <p:spPr bwMode="gray">
          <a:xfrm>
            <a:off x="5310188" y="5694363"/>
            <a:ext cx="196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4A7C175-0C05-4D42-928D-5087505E6B99}" type="datetime'''''''''''''''1''''''''''''''''''''2'''">
              <a:rPr lang="en-US" altLang="en-US" sz="1400" smtClean="0">
                <a:sym typeface="+mn-lt"/>
              </a:rPr>
              <a:pPr algn="ctr">
                <a:spcBef>
                  <a:spcPct val="0"/>
                </a:spcBef>
                <a:spcAft>
                  <a:spcPct val="0"/>
                </a:spcAft>
              </a:pPr>
              <a:t>12</a:t>
            </a:fld>
            <a:endParaRPr lang="en-US" sz="1400" dirty="0">
              <a:sym typeface="+mn-lt"/>
            </a:endParaRPr>
          </a:p>
        </p:txBody>
      </p:sp>
      <p:sp>
        <p:nvSpPr>
          <p:cNvPr id="63" name="Text Placeholder 2">
            <a:extLst>
              <a:ext uri="{FF2B5EF4-FFF2-40B4-BE49-F238E27FC236}">
                <a16:creationId xmlns:a16="http://schemas.microsoft.com/office/drawing/2014/main" id="{192DB789-515B-4504-BE53-6445F2427687}"/>
              </a:ext>
            </a:extLst>
          </p:cNvPr>
          <p:cNvSpPr>
            <a:spLocks noGrp="1"/>
          </p:cNvSpPr>
          <p:nvPr>
            <p:custDataLst>
              <p:tags r:id="rId8"/>
            </p:custDataLst>
          </p:nvPr>
        </p:nvSpPr>
        <p:spPr bwMode="gray">
          <a:xfrm>
            <a:off x="763588" y="5694363"/>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3668592-4A29-4B5A-B4FA-611AD95CA4C0}" type="datetime'''''''2''''''''''''0''0''''''''''''''''''0'''''''">
              <a:rPr lang="en-US" altLang="en-US" sz="1400" smtClean="0">
                <a:sym typeface="+mn-lt"/>
              </a:rPr>
              <a:pPr algn="ctr">
                <a:spcBef>
                  <a:spcPct val="0"/>
                </a:spcBef>
                <a:spcAft>
                  <a:spcPct val="0"/>
                </a:spcAft>
              </a:pPr>
              <a:t>2000</a:t>
            </a:fld>
            <a:endParaRPr lang="en-US" sz="1400" dirty="0">
              <a:sym typeface="+mn-lt"/>
            </a:endParaRPr>
          </a:p>
        </p:txBody>
      </p:sp>
      <p:sp>
        <p:nvSpPr>
          <p:cNvPr id="55" name="Text Placeholder 2">
            <a:extLst>
              <a:ext uri="{FF2B5EF4-FFF2-40B4-BE49-F238E27FC236}">
                <a16:creationId xmlns:a16="http://schemas.microsoft.com/office/drawing/2014/main" id="{192DB789-515B-4504-BE53-6445F2427687}"/>
              </a:ext>
            </a:extLst>
          </p:cNvPr>
          <p:cNvSpPr>
            <a:spLocks noGrp="1"/>
          </p:cNvSpPr>
          <p:nvPr>
            <p:custDataLst>
              <p:tags r:id="rId9"/>
            </p:custDataLst>
          </p:nvPr>
        </p:nvSpPr>
        <p:spPr bwMode="gray">
          <a:xfrm>
            <a:off x="1603375" y="5694363"/>
            <a:ext cx="196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1AAE80A-DAB2-4A1E-BD9D-F8078DE69785}" type="datetime'0''''''''''''''''''''''''''''''''''''2'''''''''''''''">
              <a:rPr lang="en-US" altLang="en-US" sz="1400" smtClean="0">
                <a:sym typeface="+mn-lt"/>
              </a:rPr>
              <a:pPr algn="ctr">
                <a:spcBef>
                  <a:spcPct val="0"/>
                </a:spcBef>
                <a:spcAft>
                  <a:spcPct val="0"/>
                </a:spcAft>
              </a:pPr>
              <a:t>02</a:t>
            </a:fld>
            <a:endParaRPr lang="en-US" sz="1400" dirty="0">
              <a:sym typeface="+mn-lt"/>
            </a:endParaRPr>
          </a:p>
        </p:txBody>
      </p:sp>
      <p:sp>
        <p:nvSpPr>
          <p:cNvPr id="58" name="Text Placeholder 2">
            <a:extLst>
              <a:ext uri="{FF2B5EF4-FFF2-40B4-BE49-F238E27FC236}">
                <a16:creationId xmlns:a16="http://schemas.microsoft.com/office/drawing/2014/main" id="{192DB789-515B-4504-BE53-6445F2427687}"/>
              </a:ext>
            </a:extLst>
          </p:cNvPr>
          <p:cNvSpPr>
            <a:spLocks noGrp="1"/>
          </p:cNvSpPr>
          <p:nvPr>
            <p:custDataLst>
              <p:tags r:id="rId10"/>
            </p:custDataLst>
          </p:nvPr>
        </p:nvSpPr>
        <p:spPr bwMode="gray">
          <a:xfrm>
            <a:off x="2344738" y="5694363"/>
            <a:ext cx="196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63C9A03-D544-445A-92CA-211884A48889}" type="datetime'''''''''''''''0''''''''''''''''''4'''''''''''''''''''''''''''">
              <a:rPr lang="en-US" altLang="en-US" sz="1400" smtClean="0">
                <a:sym typeface="+mn-lt"/>
              </a:rPr>
              <a:pPr algn="ctr">
                <a:spcBef>
                  <a:spcPct val="0"/>
                </a:spcBef>
                <a:spcAft>
                  <a:spcPct val="0"/>
                </a:spcAft>
              </a:pPr>
              <a:t>04</a:t>
            </a:fld>
            <a:endParaRPr lang="en-US" sz="1400" dirty="0">
              <a:sym typeface="+mn-lt"/>
            </a:endParaRPr>
          </a:p>
        </p:txBody>
      </p:sp>
      <p:sp>
        <p:nvSpPr>
          <p:cNvPr id="67" name="Text Placeholder 2">
            <a:extLst>
              <a:ext uri="{FF2B5EF4-FFF2-40B4-BE49-F238E27FC236}">
                <a16:creationId xmlns:a16="http://schemas.microsoft.com/office/drawing/2014/main" id="{192DB789-515B-4504-BE53-6445F2427687}"/>
              </a:ext>
            </a:extLst>
          </p:cNvPr>
          <p:cNvSpPr>
            <a:spLocks noGrp="1"/>
          </p:cNvSpPr>
          <p:nvPr>
            <p:custDataLst>
              <p:tags r:id="rId11"/>
            </p:custDataLst>
          </p:nvPr>
        </p:nvSpPr>
        <p:spPr bwMode="gray">
          <a:xfrm>
            <a:off x="6051550" y="5694363"/>
            <a:ext cx="196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6E7F666-8149-4A24-BD7B-8DD376A07CB8}" type="datetime'''''''''''''''''''''''1''''''''''''''''''''4'''''''''''">
              <a:rPr lang="en-US" altLang="en-US" sz="1400" smtClean="0">
                <a:sym typeface="+mn-lt"/>
              </a:rPr>
              <a:pPr algn="ctr">
                <a:spcBef>
                  <a:spcPct val="0"/>
                </a:spcBef>
                <a:spcAft>
                  <a:spcPct val="0"/>
                </a:spcAft>
              </a:pPr>
              <a:t>14</a:t>
            </a:fld>
            <a:endParaRPr lang="en-US" sz="1400" dirty="0">
              <a:sym typeface="+mn-lt"/>
            </a:endParaRPr>
          </a:p>
        </p:txBody>
      </p:sp>
      <p:sp>
        <p:nvSpPr>
          <p:cNvPr id="60" name="Text Placeholder 2">
            <a:extLst>
              <a:ext uri="{FF2B5EF4-FFF2-40B4-BE49-F238E27FC236}">
                <a16:creationId xmlns:a16="http://schemas.microsoft.com/office/drawing/2014/main" id="{192DB789-515B-4504-BE53-6445F2427687}"/>
              </a:ext>
            </a:extLst>
          </p:cNvPr>
          <p:cNvSpPr>
            <a:spLocks noGrp="1"/>
          </p:cNvSpPr>
          <p:nvPr>
            <p:custDataLst>
              <p:tags r:id="rId12"/>
            </p:custDataLst>
          </p:nvPr>
        </p:nvSpPr>
        <p:spPr bwMode="gray">
          <a:xfrm>
            <a:off x="3086100" y="5694363"/>
            <a:ext cx="196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9FF727F-0F64-49C6-9D8D-448AB403CC1E}" type="datetime'''''''''''''''''''''''''''''''''''06'''''''''''''''">
              <a:rPr lang="en-US" altLang="en-US" sz="1400" smtClean="0">
                <a:sym typeface="+mn-lt"/>
              </a:rPr>
              <a:pPr algn="ctr">
                <a:spcBef>
                  <a:spcPct val="0"/>
                </a:spcBef>
                <a:spcAft>
                  <a:spcPct val="0"/>
                </a:spcAft>
              </a:pPr>
              <a:t>06</a:t>
            </a:fld>
            <a:endParaRPr lang="en-US" sz="1400" dirty="0">
              <a:sym typeface="+mn-lt"/>
            </a:endParaRPr>
          </a:p>
        </p:txBody>
      </p:sp>
      <p:sp>
        <p:nvSpPr>
          <p:cNvPr id="68" name="Text Placeholder 2">
            <a:extLst>
              <a:ext uri="{FF2B5EF4-FFF2-40B4-BE49-F238E27FC236}">
                <a16:creationId xmlns:a16="http://schemas.microsoft.com/office/drawing/2014/main" id="{192DB789-515B-4504-BE53-6445F2427687}"/>
              </a:ext>
            </a:extLst>
          </p:cNvPr>
          <p:cNvSpPr>
            <a:spLocks noGrp="1"/>
          </p:cNvSpPr>
          <p:nvPr>
            <p:custDataLst>
              <p:tags r:id="rId13"/>
            </p:custDataLst>
          </p:nvPr>
        </p:nvSpPr>
        <p:spPr bwMode="gray">
          <a:xfrm>
            <a:off x="6792913" y="5694363"/>
            <a:ext cx="196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C15EE4D-E9C0-42A0-87FA-47E3B200D7E3}" type="datetime'''''''''''''''''''''''''''''''''''''''''''''''''''1''''6'''''">
              <a:rPr lang="en-US" altLang="en-US" sz="1400" smtClean="0">
                <a:sym typeface="+mn-lt"/>
              </a:rPr>
              <a:pPr algn="ctr">
                <a:spcBef>
                  <a:spcPct val="0"/>
                </a:spcBef>
                <a:spcAft>
                  <a:spcPct val="0"/>
                </a:spcAft>
              </a:pPr>
              <a:t>16</a:t>
            </a:fld>
            <a:endParaRPr lang="en-US" sz="1400" dirty="0">
              <a:sym typeface="+mn-lt"/>
            </a:endParaRPr>
          </a:p>
        </p:txBody>
      </p:sp>
      <p:sp>
        <p:nvSpPr>
          <p:cNvPr id="69" name="Text Placeholder 2">
            <a:extLst>
              <a:ext uri="{FF2B5EF4-FFF2-40B4-BE49-F238E27FC236}">
                <a16:creationId xmlns:a16="http://schemas.microsoft.com/office/drawing/2014/main" id="{192DB789-515B-4504-BE53-6445F2427687}"/>
              </a:ext>
            </a:extLst>
          </p:cNvPr>
          <p:cNvSpPr>
            <a:spLocks noGrp="1"/>
          </p:cNvSpPr>
          <p:nvPr>
            <p:custDataLst>
              <p:tags r:id="rId14"/>
            </p:custDataLst>
          </p:nvPr>
        </p:nvSpPr>
        <p:spPr bwMode="gray">
          <a:xfrm>
            <a:off x="7534275" y="5694363"/>
            <a:ext cx="196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F8331E6-81C8-4CA0-A843-1E2ADF51F693}" type="datetime'''''1''''''''''8'''''''''''''''''''''''''''''''''''''''''''">
              <a:rPr lang="en-US" altLang="en-US" sz="1400" smtClean="0">
                <a:sym typeface="+mn-lt"/>
              </a:rPr>
              <a:pPr algn="ctr">
                <a:spcBef>
                  <a:spcPct val="0"/>
                </a:spcBef>
                <a:spcAft>
                  <a:spcPct val="0"/>
                </a:spcAft>
              </a:pPr>
              <a:t>18</a:t>
            </a:fld>
            <a:endParaRPr lang="en-US" sz="1400" dirty="0">
              <a:sym typeface="+mn-lt"/>
            </a:endParaRPr>
          </a:p>
        </p:txBody>
      </p:sp>
      <p:sp>
        <p:nvSpPr>
          <p:cNvPr id="70" name="Text Placeholder 2">
            <a:extLst>
              <a:ext uri="{FF2B5EF4-FFF2-40B4-BE49-F238E27FC236}">
                <a16:creationId xmlns:a16="http://schemas.microsoft.com/office/drawing/2014/main" id="{192DB789-515B-4504-BE53-6445F2427687}"/>
              </a:ext>
            </a:extLst>
          </p:cNvPr>
          <p:cNvSpPr>
            <a:spLocks noGrp="1"/>
          </p:cNvSpPr>
          <p:nvPr>
            <p:custDataLst>
              <p:tags r:id="rId15"/>
            </p:custDataLst>
          </p:nvPr>
        </p:nvSpPr>
        <p:spPr bwMode="gray">
          <a:xfrm>
            <a:off x="8177213" y="5694363"/>
            <a:ext cx="3937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4DF3156-4D7B-4973-A53D-44DBADD616DE}" type="datetime'''''''''''''''2''''''''''''0''2''0'''''''''''''''''''''">
              <a:rPr lang="en-US" altLang="en-US" sz="1400" smtClean="0">
                <a:sym typeface="+mn-lt"/>
              </a:rPr>
              <a:pPr algn="ctr">
                <a:spcBef>
                  <a:spcPct val="0"/>
                </a:spcBef>
                <a:spcAft>
                  <a:spcPct val="0"/>
                </a:spcAft>
              </a:pPr>
              <a:t>2020</a:t>
            </a:fld>
            <a:endParaRPr lang="en-US" sz="1400" dirty="0">
              <a:sym typeface="+mn-lt"/>
            </a:endParaRPr>
          </a:p>
        </p:txBody>
      </p:sp>
      <p:sp>
        <p:nvSpPr>
          <p:cNvPr id="15" name="Text Placeholder 2">
            <a:extLst>
              <a:ext uri="{FF2B5EF4-FFF2-40B4-BE49-F238E27FC236}">
                <a16:creationId xmlns:a16="http://schemas.microsoft.com/office/drawing/2014/main" id="{192DB789-515B-4504-BE53-6445F2427687}"/>
              </a:ext>
            </a:extLst>
          </p:cNvPr>
          <p:cNvSpPr>
            <a:spLocks noGrp="1"/>
          </p:cNvSpPr>
          <p:nvPr>
            <p:custDataLst>
              <p:tags r:id="rId16"/>
            </p:custDataLst>
          </p:nvPr>
        </p:nvSpPr>
        <p:spPr bwMode="gray">
          <a:xfrm>
            <a:off x="744538" y="5529263"/>
            <a:ext cx="984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9ADB4B0E-5BE1-476F-9399-A6A4AC7755C0}" type="datetime'''''''''''0'''''">
              <a:rPr lang="en-US" altLang="en-US" sz="1400" smtClean="0"/>
              <a:pPr/>
              <a:t>0</a:t>
            </a:fld>
            <a:endParaRPr lang="en-US" sz="1400" dirty="0">
              <a:sym typeface="+mn-lt"/>
            </a:endParaRPr>
          </a:p>
        </p:txBody>
      </p:sp>
      <p:sp>
        <p:nvSpPr>
          <p:cNvPr id="59" name="Text Placeholder 2">
            <a:extLst>
              <a:ext uri="{FF2B5EF4-FFF2-40B4-BE49-F238E27FC236}">
                <a16:creationId xmlns:a16="http://schemas.microsoft.com/office/drawing/2014/main" id="{192DB789-515B-4504-BE53-6445F2427687}"/>
              </a:ext>
            </a:extLst>
          </p:cNvPr>
          <p:cNvSpPr>
            <a:spLocks noGrp="1"/>
          </p:cNvSpPr>
          <p:nvPr>
            <p:custDataLst>
              <p:tags r:id="rId17"/>
            </p:custDataLst>
          </p:nvPr>
        </p:nvSpPr>
        <p:spPr bwMode="gray">
          <a:xfrm>
            <a:off x="646113" y="5065713"/>
            <a:ext cx="196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05031ECD-64C3-4582-B492-39E516F9A688}" type="datetime'5''''''''''''''0'''''''''''''''''''''''''''''''''''">
              <a:rPr lang="en-US" altLang="en-US" sz="1400" smtClean="0">
                <a:sym typeface="+mn-lt"/>
              </a:rPr>
              <a:pPr algn="r">
                <a:spcBef>
                  <a:spcPct val="0"/>
                </a:spcBef>
                <a:spcAft>
                  <a:spcPct val="0"/>
                </a:spcAft>
              </a:pPr>
              <a:t>50</a:t>
            </a:fld>
            <a:endParaRPr lang="en-US" sz="1400" dirty="0">
              <a:sym typeface="+mn-lt"/>
            </a:endParaRPr>
          </a:p>
        </p:txBody>
      </p:sp>
      <p:sp>
        <p:nvSpPr>
          <p:cNvPr id="81" name="Text Placeholder 2">
            <a:extLst>
              <a:ext uri="{FF2B5EF4-FFF2-40B4-BE49-F238E27FC236}">
                <a16:creationId xmlns:a16="http://schemas.microsoft.com/office/drawing/2014/main" id="{192DB789-515B-4504-BE53-6445F2427687}"/>
              </a:ext>
            </a:extLst>
          </p:cNvPr>
          <p:cNvSpPr>
            <a:spLocks noGrp="1"/>
          </p:cNvSpPr>
          <p:nvPr>
            <p:custDataLst>
              <p:tags r:id="rId18"/>
            </p:custDataLst>
          </p:nvPr>
        </p:nvSpPr>
        <p:spPr bwMode="gray">
          <a:xfrm>
            <a:off x="547688" y="4600575"/>
            <a:ext cx="295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5A9A5F24-0862-4C7F-A87E-572BB0BAD552}" type="datetime'''''1''''''''''''''''''0''0'''''''''''''''''''''''">
              <a:rPr lang="en-US" altLang="en-US" sz="1400" smtClean="0"/>
              <a:pPr/>
              <a:t>100</a:t>
            </a:fld>
            <a:endParaRPr lang="en-US" sz="1400" dirty="0">
              <a:sym typeface="+mn-lt"/>
            </a:endParaRPr>
          </a:p>
        </p:txBody>
      </p:sp>
      <p:sp>
        <p:nvSpPr>
          <p:cNvPr id="61" name="Text Placeholder 2">
            <a:extLst>
              <a:ext uri="{FF2B5EF4-FFF2-40B4-BE49-F238E27FC236}">
                <a16:creationId xmlns:a16="http://schemas.microsoft.com/office/drawing/2014/main" id="{192DB789-515B-4504-BE53-6445F2427687}"/>
              </a:ext>
            </a:extLst>
          </p:cNvPr>
          <p:cNvSpPr>
            <a:spLocks noGrp="1"/>
          </p:cNvSpPr>
          <p:nvPr>
            <p:custDataLst>
              <p:tags r:id="rId19"/>
            </p:custDataLst>
          </p:nvPr>
        </p:nvSpPr>
        <p:spPr bwMode="gray">
          <a:xfrm>
            <a:off x="547688" y="4137025"/>
            <a:ext cx="295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1AE22731-0657-4147-8961-BD3AF42E645C}" type="datetime'''1''''''''''''''''''''''''''5''''''''''''''''''''''0'''">
              <a:rPr lang="en-US" altLang="en-US" sz="1400" smtClean="0">
                <a:sym typeface="+mn-lt"/>
              </a:rPr>
              <a:pPr algn="r">
                <a:spcBef>
                  <a:spcPct val="0"/>
                </a:spcBef>
                <a:spcAft>
                  <a:spcPct val="0"/>
                </a:spcAft>
              </a:pPr>
              <a:t>150</a:t>
            </a:fld>
            <a:endParaRPr lang="en-US" sz="1400" dirty="0">
              <a:sym typeface="+mn-lt"/>
            </a:endParaRPr>
          </a:p>
        </p:txBody>
      </p:sp>
      <p:sp>
        <p:nvSpPr>
          <p:cNvPr id="86" name="Text Placeholder 2">
            <a:extLst>
              <a:ext uri="{FF2B5EF4-FFF2-40B4-BE49-F238E27FC236}">
                <a16:creationId xmlns:a16="http://schemas.microsoft.com/office/drawing/2014/main" id="{192DB789-515B-4504-BE53-6445F2427687}"/>
              </a:ext>
            </a:extLst>
          </p:cNvPr>
          <p:cNvSpPr>
            <a:spLocks noGrp="1"/>
          </p:cNvSpPr>
          <p:nvPr>
            <p:custDataLst>
              <p:tags r:id="rId20"/>
            </p:custDataLst>
          </p:nvPr>
        </p:nvSpPr>
        <p:spPr bwMode="gray">
          <a:xfrm>
            <a:off x="547688" y="3673475"/>
            <a:ext cx="295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9CE7CA79-8F62-4C06-A94C-C81BF5AFFF68}" type="datetime'''''''''''''''''''2''''''''''''''0''''''''''''''''0'''''">
              <a:rPr lang="en-US" altLang="en-US" sz="1400" smtClean="0"/>
              <a:pPr/>
              <a:t>200</a:t>
            </a:fld>
            <a:endParaRPr lang="en-US" sz="1400" dirty="0">
              <a:sym typeface="+mn-lt"/>
            </a:endParaRPr>
          </a:p>
        </p:txBody>
      </p:sp>
      <p:sp>
        <p:nvSpPr>
          <p:cNvPr id="62" name="Text Placeholder 2">
            <a:extLst>
              <a:ext uri="{FF2B5EF4-FFF2-40B4-BE49-F238E27FC236}">
                <a16:creationId xmlns:a16="http://schemas.microsoft.com/office/drawing/2014/main" id="{192DB789-515B-4504-BE53-6445F2427687}"/>
              </a:ext>
            </a:extLst>
          </p:cNvPr>
          <p:cNvSpPr>
            <a:spLocks noGrp="1"/>
          </p:cNvSpPr>
          <p:nvPr>
            <p:custDataLst>
              <p:tags r:id="rId21"/>
            </p:custDataLst>
          </p:nvPr>
        </p:nvSpPr>
        <p:spPr bwMode="gray">
          <a:xfrm>
            <a:off x="547688" y="3209925"/>
            <a:ext cx="295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2C1E6880-02CA-4565-A1B9-F7B62C78E28D}" type="datetime'''2''50'''''''''''''''''''''''''''''''''''''''''''''''''''">
              <a:rPr lang="en-US" altLang="en-US" sz="1400" smtClean="0">
                <a:sym typeface="+mn-lt"/>
              </a:rPr>
              <a:pPr algn="r">
                <a:spcBef>
                  <a:spcPct val="0"/>
                </a:spcBef>
                <a:spcAft>
                  <a:spcPct val="0"/>
                </a:spcAft>
              </a:pPr>
              <a:t>250</a:t>
            </a:fld>
            <a:endParaRPr lang="en-US" sz="1400" dirty="0">
              <a:sym typeface="+mn-lt"/>
            </a:endParaRPr>
          </a:p>
        </p:txBody>
      </p:sp>
      <p:sp>
        <p:nvSpPr>
          <p:cNvPr id="91" name="Text Placeholder 2">
            <a:extLst>
              <a:ext uri="{FF2B5EF4-FFF2-40B4-BE49-F238E27FC236}">
                <a16:creationId xmlns:a16="http://schemas.microsoft.com/office/drawing/2014/main" id="{192DB789-515B-4504-BE53-6445F2427687}"/>
              </a:ext>
            </a:extLst>
          </p:cNvPr>
          <p:cNvSpPr>
            <a:spLocks noGrp="1"/>
          </p:cNvSpPr>
          <p:nvPr>
            <p:custDataLst>
              <p:tags r:id="rId22"/>
            </p:custDataLst>
          </p:nvPr>
        </p:nvSpPr>
        <p:spPr bwMode="gray">
          <a:xfrm>
            <a:off x="547688" y="2744788"/>
            <a:ext cx="295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F3764A11-4931-414B-B483-7322919AB0EA}" type="datetime'''''''''''''3''''''''''''''''0''''''''''''''''''''''''''0'''''">
              <a:rPr lang="en-US" altLang="en-US" sz="1400" smtClean="0"/>
              <a:pPr/>
              <a:t>300</a:t>
            </a:fld>
            <a:endParaRPr lang="en-US" sz="1400" dirty="0">
              <a:sym typeface="+mn-lt"/>
            </a:endParaRPr>
          </a:p>
        </p:txBody>
      </p:sp>
      <p:sp>
        <p:nvSpPr>
          <p:cNvPr id="71" name="Text Placeholder 2">
            <a:extLst>
              <a:ext uri="{FF2B5EF4-FFF2-40B4-BE49-F238E27FC236}">
                <a16:creationId xmlns:a16="http://schemas.microsoft.com/office/drawing/2014/main" id="{192DB789-515B-4504-BE53-6445F2427687}"/>
              </a:ext>
            </a:extLst>
          </p:cNvPr>
          <p:cNvSpPr>
            <a:spLocks noGrp="1"/>
          </p:cNvSpPr>
          <p:nvPr>
            <p:custDataLst>
              <p:tags r:id="rId23"/>
            </p:custDataLst>
          </p:nvPr>
        </p:nvSpPr>
        <p:spPr bwMode="gray">
          <a:xfrm>
            <a:off x="547688" y="2281238"/>
            <a:ext cx="295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0E986936-DD5C-4FBB-9455-EBA37F42AAC5}" type="datetime'''''''''3''''''''''''5''''''''''''''''0'''''''''''''''''''''">
              <a:rPr lang="en-US" altLang="en-US" sz="1400" smtClean="0">
                <a:sym typeface="+mn-lt"/>
              </a:rPr>
              <a:pPr algn="r">
                <a:spcBef>
                  <a:spcPct val="0"/>
                </a:spcBef>
                <a:spcAft>
                  <a:spcPct val="0"/>
                </a:spcAft>
              </a:pPr>
              <a:t>350</a:t>
            </a:fld>
            <a:endParaRPr lang="en-US" sz="1400" dirty="0">
              <a:sym typeface="+mn-lt"/>
            </a:endParaRPr>
          </a:p>
        </p:txBody>
      </p:sp>
      <p:cxnSp>
        <p:nvCxnSpPr>
          <p:cNvPr id="115" name="Straight Connector 114">
            <a:extLst>
              <a:ext uri="{FF2B5EF4-FFF2-40B4-BE49-F238E27FC236}">
                <a16:creationId xmlns:a16="http://schemas.microsoft.com/office/drawing/2014/main" id="{7CC7CDEF-5879-43EB-8ACF-BFEFA0057100}"/>
              </a:ext>
            </a:extLst>
          </p:cNvPr>
          <p:cNvCxnSpPr>
            <a:cxnSpLocks/>
          </p:cNvCxnSpPr>
          <p:nvPr>
            <p:custDataLst>
              <p:tags r:id="rId24"/>
            </p:custDataLst>
          </p:nvPr>
        </p:nvCxnSpPr>
        <p:spPr bwMode="auto">
          <a:xfrm flipV="1">
            <a:off x="1331912" y="1336675"/>
            <a:ext cx="7042150" cy="2500313"/>
          </a:xfrm>
          <a:prstGeom prst="line">
            <a:avLst/>
          </a:prstGeom>
          <a:ln w="1905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3" name="Text Placeholder 2">
            <a:extLst>
              <a:ext uri="{FF2B5EF4-FFF2-40B4-BE49-F238E27FC236}">
                <a16:creationId xmlns:a16="http://schemas.microsoft.com/office/drawing/2014/main" id="{192DB789-515B-4504-BE53-6445F2427687}"/>
              </a:ext>
            </a:extLst>
          </p:cNvPr>
          <p:cNvSpPr>
            <a:spLocks noGrp="1"/>
          </p:cNvSpPr>
          <p:nvPr>
            <p:custDataLst>
              <p:tags r:id="rId25"/>
            </p:custDataLst>
          </p:nvPr>
        </p:nvSpPr>
        <p:spPr bwMode="auto">
          <a:xfrm>
            <a:off x="8212138" y="6049964"/>
            <a:ext cx="3587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r>
              <a:rPr lang="en-US" altLang="en-US" sz="1400" dirty="0">
                <a:sym typeface="+mn-lt"/>
              </a:rPr>
              <a:t>Year</a:t>
            </a:r>
            <a:endParaRPr lang="en-US" sz="1400" dirty="0">
              <a:sym typeface="+mn-lt"/>
            </a:endParaRPr>
          </a:p>
        </p:txBody>
      </p:sp>
      <p:sp>
        <p:nvSpPr>
          <p:cNvPr id="78" name="Text Placeholder 2">
            <a:extLst>
              <a:ext uri="{FF2B5EF4-FFF2-40B4-BE49-F238E27FC236}">
                <a16:creationId xmlns:a16="http://schemas.microsoft.com/office/drawing/2014/main" id="{192DB789-515B-4504-BE53-6445F2427687}"/>
              </a:ext>
            </a:extLst>
          </p:cNvPr>
          <p:cNvSpPr>
            <a:spLocks noGrp="1"/>
          </p:cNvSpPr>
          <p:nvPr>
            <p:custDataLst>
              <p:tags r:id="rId26"/>
            </p:custDataLst>
          </p:nvPr>
        </p:nvSpPr>
        <p:spPr bwMode="auto">
          <a:xfrm>
            <a:off x="547687" y="1925639"/>
            <a:ext cx="10033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None/>
            </a:pPr>
            <a:r>
              <a:rPr lang="en-US" sz="1400" dirty="0">
                <a:sym typeface="+mn-lt"/>
              </a:rPr>
              <a:t>Export Value</a:t>
            </a:r>
          </a:p>
        </p:txBody>
      </p:sp>
      <p:sp>
        <p:nvSpPr>
          <p:cNvPr id="114" name="Text Placeholder 2">
            <a:extLst>
              <a:ext uri="{FF2B5EF4-FFF2-40B4-BE49-F238E27FC236}">
                <a16:creationId xmlns:a16="http://schemas.microsoft.com/office/drawing/2014/main" id="{192DB789-515B-4504-BE53-6445F2427687}"/>
              </a:ext>
            </a:extLst>
          </p:cNvPr>
          <p:cNvSpPr>
            <a:spLocks noGrp="1"/>
          </p:cNvSpPr>
          <p:nvPr>
            <p:custDataLst>
              <p:tags r:id="rId27"/>
            </p:custDataLst>
          </p:nvPr>
        </p:nvSpPr>
        <p:spPr bwMode="auto">
          <a:xfrm>
            <a:off x="4284663" y="2435225"/>
            <a:ext cx="1136650" cy="301625"/>
          </a:xfrm>
          <a:prstGeom prst="ellipse">
            <a:avLst/>
          </a:prstGeom>
          <a:solidFill>
            <a:schemeClr val="bg1"/>
          </a:solidFill>
          <a:ln>
            <a:solidFill>
              <a:schemeClr val="accent1"/>
            </a:solidFill>
          </a:ln>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7519484-E394-44FE-BE78-443E209E85AF}" type="datetime'''+''''''''''''''''''''''1''''''''''''''''1''''''''%'''''''">
              <a:rPr lang="en-US" altLang="en-US" sz="1400" b="1" smtClean="0"/>
              <a:pPr/>
              <a:t>+11%</a:t>
            </a:fld>
            <a:r>
              <a:rPr lang="en-US" sz="1400" b="1">
                <a:sym typeface="+mn-lt"/>
              </a:rPr>
              <a:t> </a:t>
            </a:r>
            <a:r>
              <a:rPr lang="en-US" sz="1400" b="1" dirty="0">
                <a:sym typeface="+mn-lt"/>
              </a:rPr>
              <a:t>p.a.</a:t>
            </a:r>
          </a:p>
        </p:txBody>
      </p:sp>
      <p:sp>
        <p:nvSpPr>
          <p:cNvPr id="32" name="5. Source">
            <a:extLst>
              <a:ext uri="{FF2B5EF4-FFF2-40B4-BE49-F238E27FC236}">
                <a16:creationId xmlns:a16="http://schemas.microsoft.com/office/drawing/2014/main" id="{814D1055-C1AA-4D8D-9B7F-D82E270EC36F}"/>
              </a:ext>
            </a:extLst>
          </p:cNvPr>
          <p:cNvSpPr>
            <a:spLocks noChangeArrowheads="1"/>
          </p:cNvSpPr>
          <p:nvPr>
            <p:custDataLst>
              <p:tags r:id="rId28"/>
            </p:custDataLst>
          </p:nvPr>
        </p:nvSpPr>
        <p:spPr bwMode="auto">
          <a:xfrm>
            <a:off x="554735" y="6501669"/>
            <a:ext cx="7277861"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913526">
              <a:tabLst>
                <a:tab pos="625214" algn="l"/>
              </a:tabLst>
            </a:pPr>
            <a:r>
              <a:rPr lang="en-US" sz="800" dirty="0">
                <a:cs typeface="Arial" panose="020B0604020202020204" pitchFamily="34" charset="0"/>
              </a:rPr>
              <a:t>Source: UN </a:t>
            </a:r>
            <a:r>
              <a:rPr lang="en-US" sz="800" dirty="0" err="1">
                <a:cs typeface="Arial" panose="020B0604020202020204" pitchFamily="34" charset="0"/>
              </a:rPr>
              <a:t>Comtrade</a:t>
            </a:r>
            <a:r>
              <a:rPr lang="en-US" sz="800" dirty="0">
                <a:cs typeface="Arial" panose="020B0604020202020204" pitchFamily="34" charset="0"/>
              </a:rPr>
              <a:t>, Ministry of Commerce and Industry</a:t>
            </a:r>
          </a:p>
        </p:txBody>
      </p:sp>
      <p:sp>
        <p:nvSpPr>
          <p:cNvPr id="6" name="TextBox 5">
            <a:extLst>
              <a:ext uri="{FF2B5EF4-FFF2-40B4-BE49-F238E27FC236}">
                <a16:creationId xmlns:a16="http://schemas.microsoft.com/office/drawing/2014/main" id="{591838C1-3304-40C6-BA8F-8062608EEEE1}"/>
              </a:ext>
            </a:extLst>
          </p:cNvPr>
          <p:cNvSpPr txBox="1"/>
          <p:nvPr/>
        </p:nvSpPr>
        <p:spPr>
          <a:xfrm>
            <a:off x="9158287" y="1363791"/>
            <a:ext cx="2520452" cy="483209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dirty="0"/>
              <a:t>India’s total export volume in 2020 was 313.3 USD Billion</a:t>
            </a:r>
          </a:p>
          <a:p>
            <a:pPr lvl="1"/>
            <a:r>
              <a:rPr lang="en-US" dirty="0"/>
              <a:t>India’s exports have risen sharply from nearly 44 USD Billion in 2001 to it’s all time high of 336 USD Billion in 2013</a:t>
            </a:r>
          </a:p>
          <a:p>
            <a:pPr lvl="1"/>
            <a:r>
              <a:rPr lang="en-US" dirty="0"/>
              <a:t>The top 10 export goods and services have a huge chunk of share of nearly 60% in the total export value </a:t>
            </a:r>
          </a:p>
          <a:p>
            <a:pPr lvl="1"/>
            <a:r>
              <a:rPr lang="en-US" b="1" dirty="0"/>
              <a:t>2014 Dip</a:t>
            </a:r>
            <a:r>
              <a:rPr lang="en-US" dirty="0"/>
              <a:t>: India’s export in 2014-2016 period decreased due to global slowdown and decrease in demand from China</a:t>
            </a:r>
          </a:p>
          <a:p>
            <a:pPr lvl="1"/>
            <a:endParaRPr lang="en-US" dirty="0"/>
          </a:p>
        </p:txBody>
      </p:sp>
      <p:cxnSp>
        <p:nvCxnSpPr>
          <p:cNvPr id="7" name="Straight Connector 6">
            <a:extLst>
              <a:ext uri="{FF2B5EF4-FFF2-40B4-BE49-F238E27FC236}">
                <a16:creationId xmlns:a16="http://schemas.microsoft.com/office/drawing/2014/main" id="{EF654A64-96E4-42B4-B876-DB28650B58B3}"/>
              </a:ext>
            </a:extLst>
          </p:cNvPr>
          <p:cNvCxnSpPr/>
          <p:nvPr>
            <p:custDataLst>
              <p:tags r:id="rId29"/>
            </p:custDataLst>
          </p:nvPr>
        </p:nvCxnSpPr>
        <p:spPr bwMode="gray">
          <a:xfrm>
            <a:off x="633413" y="1590675"/>
            <a:ext cx="127000" cy="0"/>
          </a:xfrm>
          <a:prstGeom prst="line">
            <a:avLst/>
          </a:prstGeom>
          <a:ln w="25400" cap="rnd" cmpd="sng" algn="ctr">
            <a:solidFill>
              <a:schemeClr val="accen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192DB789-515B-4504-BE53-6445F2427687}"/>
              </a:ext>
            </a:extLst>
          </p:cNvPr>
          <p:cNvSpPr>
            <a:spLocks noGrp="1"/>
          </p:cNvSpPr>
          <p:nvPr>
            <p:custDataLst>
              <p:tags r:id="rId30"/>
            </p:custDataLst>
          </p:nvPr>
        </p:nvSpPr>
        <p:spPr bwMode="auto">
          <a:xfrm>
            <a:off x="830262" y="1506538"/>
            <a:ext cx="36957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buNone/>
            </a:pPr>
            <a:r>
              <a:rPr lang="en-US" sz="1200" dirty="0">
                <a:sym typeface="+mn-lt"/>
              </a:rPr>
              <a:t>Total Export Value of goods and services in USD billion</a:t>
            </a:r>
          </a:p>
        </p:txBody>
      </p:sp>
      <p:sp>
        <p:nvSpPr>
          <p:cNvPr id="3" name="Oval 2">
            <a:extLst>
              <a:ext uri="{FF2B5EF4-FFF2-40B4-BE49-F238E27FC236}">
                <a16:creationId xmlns:a16="http://schemas.microsoft.com/office/drawing/2014/main" id="{12D6FB12-D29F-4701-9AEF-5A068093CC0D}"/>
              </a:ext>
            </a:extLst>
          </p:cNvPr>
          <p:cNvSpPr/>
          <p:nvPr/>
        </p:nvSpPr>
        <p:spPr>
          <a:xfrm>
            <a:off x="5507038" y="2281239"/>
            <a:ext cx="1285875" cy="1283894"/>
          </a:xfrm>
          <a:prstGeom prst="ellipse">
            <a:avLst/>
          </a:prstGeom>
          <a:noFill/>
          <a:ln w="6350" cap="sq">
            <a:solidFill>
              <a:srgbClr val="027AB1"/>
            </a:solidFill>
            <a:prstDash val="lgDashDot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10" name="Straight Connector 9">
            <a:extLst>
              <a:ext uri="{FF2B5EF4-FFF2-40B4-BE49-F238E27FC236}">
                <a16:creationId xmlns:a16="http://schemas.microsoft.com/office/drawing/2014/main" id="{F4967B53-60DD-448D-9D4B-136B9C491241}"/>
              </a:ext>
            </a:extLst>
          </p:cNvPr>
          <p:cNvCxnSpPr>
            <a:cxnSpLocks/>
          </p:cNvCxnSpPr>
          <p:nvPr/>
        </p:nvCxnSpPr>
        <p:spPr>
          <a:xfrm>
            <a:off x="6096000" y="3565133"/>
            <a:ext cx="696913" cy="1221648"/>
          </a:xfrm>
          <a:prstGeom prst="line">
            <a:avLst/>
          </a:prstGeom>
          <a:ln w="6350" cap="flat">
            <a:solidFill>
              <a:srgbClr val="027AB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C99D7F61-6128-4C47-9F17-BC30213681BA}"/>
              </a:ext>
            </a:extLst>
          </p:cNvPr>
          <p:cNvCxnSpPr>
            <a:cxnSpLocks/>
          </p:cNvCxnSpPr>
          <p:nvPr/>
        </p:nvCxnSpPr>
        <p:spPr>
          <a:xfrm>
            <a:off x="6792913" y="4786781"/>
            <a:ext cx="2247572" cy="0"/>
          </a:xfrm>
          <a:prstGeom prst="straightConnector1">
            <a:avLst/>
          </a:prstGeom>
          <a:ln w="6350" cap="flat">
            <a:solidFill>
              <a:srgbClr val="027AB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36" name="Content Placeholder 1">
            <a:extLst>
              <a:ext uri="{FF2B5EF4-FFF2-40B4-BE49-F238E27FC236}">
                <a16:creationId xmlns:a16="http://schemas.microsoft.com/office/drawing/2014/main" id="{18B39FB7-4E32-4038-9B3E-13F18F021605}"/>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31069790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hidden="1">
            <a:extLst>
              <a:ext uri="{FF2B5EF4-FFF2-40B4-BE49-F238E27FC236}">
                <a16:creationId xmlns:a16="http://schemas.microsoft.com/office/drawing/2014/main" id="{464B9060-0F56-4FB7-8739-B009687861A1}"/>
              </a:ext>
            </a:extLst>
          </p:cNvPr>
          <p:cNvGraphicFramePr>
            <a:graphicFrameLocks noChangeAspect="1"/>
          </p:cNvGraphicFramePr>
          <p:nvPr>
            <p:custDataLst>
              <p:tags r:id="rId2"/>
            </p:custDataLst>
            <p:extLst>
              <p:ext uri="{D42A27DB-BD31-4B8C-83A1-F6EECF244321}">
                <p14:modId xmlns:p14="http://schemas.microsoft.com/office/powerpoint/2010/main" val="3580712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0" name="think-cell Slide" r:id="rId42" imgW="395" imgH="396" progId="TCLayout.ActiveDocument.1">
                  <p:embed/>
                </p:oleObj>
              </mc:Choice>
              <mc:Fallback>
                <p:oleObj name="think-cell Slide" r:id="rId42" imgW="395" imgH="396" progId="TCLayout.ActiveDocument.1">
                  <p:embed/>
                  <p:pic>
                    <p:nvPicPr>
                      <p:cNvPr id="7" name="Object 6" hidden="1">
                        <a:extLst>
                          <a:ext uri="{FF2B5EF4-FFF2-40B4-BE49-F238E27FC236}">
                            <a16:creationId xmlns:a16="http://schemas.microsoft.com/office/drawing/2014/main" id="{464B9060-0F56-4FB7-8739-B009687861A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8" name="Rectangle 1" hidden="1">
            <a:extLst>
              <a:ext uri="{FF2B5EF4-FFF2-40B4-BE49-F238E27FC236}">
                <a16:creationId xmlns:a16="http://schemas.microsoft.com/office/drawing/2014/main" id="{4FD9D8E2-C582-4800-85A0-BC819B85FD2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4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2. Slide Title">
            <a:extLst>
              <a:ext uri="{FF2B5EF4-FFF2-40B4-BE49-F238E27FC236}">
                <a16:creationId xmlns:a16="http://schemas.microsoft.com/office/drawing/2014/main" id="{B25EEC04-B070-4074-BC98-A94FD0281720}"/>
              </a:ext>
            </a:extLst>
          </p:cNvPr>
          <p:cNvSpPr>
            <a:spLocks noGrp="1"/>
          </p:cNvSpPr>
          <p:nvPr>
            <p:ph type="title"/>
            <p:custDataLst>
              <p:tags r:id="rId4"/>
            </p:custDataLst>
          </p:nvPr>
        </p:nvSpPr>
        <p:spPr/>
        <p:txBody>
          <a:bodyPr vert="horz"/>
          <a:lstStyle/>
          <a:p>
            <a:r>
              <a:rPr lang="en-US" sz="2400" dirty="0"/>
              <a:t>Commodity exports account for ~USD 313 billion export value in </a:t>
            </a:r>
            <a:br>
              <a:rPr lang="en-US" sz="2400" dirty="0"/>
            </a:br>
            <a:r>
              <a:rPr lang="en-US" sz="2400" dirty="0"/>
              <a:t>2020, with mineral fuel and precious gems holding ~25% of the share</a:t>
            </a:r>
          </a:p>
        </p:txBody>
      </p:sp>
      <p:sp>
        <p:nvSpPr>
          <p:cNvPr id="484" name="3. Subtitle">
            <a:extLst>
              <a:ext uri="{FF2B5EF4-FFF2-40B4-BE49-F238E27FC236}">
                <a16:creationId xmlns:a16="http://schemas.microsoft.com/office/drawing/2014/main" id="{26EAC1F1-6646-470C-8BDF-0A6C5C68A311}"/>
              </a:ext>
            </a:extLst>
          </p:cNvPr>
          <p:cNvSpPr txBox="1">
            <a:spLocks/>
          </p:cNvSpPr>
          <p:nvPr>
            <p:custDataLst>
              <p:tags r:id="rId5"/>
            </p:custDataLst>
          </p:nvPr>
        </p:nvSpPr>
        <p:spPr>
          <a:xfrm>
            <a:off x="554736" y="1199345"/>
            <a:ext cx="11082528" cy="276999"/>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dirty="0"/>
              <a:t>(Top 15 leading export of India by revenues; FY20)</a:t>
            </a:r>
          </a:p>
        </p:txBody>
      </p:sp>
      <p:sp>
        <p:nvSpPr>
          <p:cNvPr id="5" name="Oval 4">
            <a:extLst>
              <a:ext uri="{FF2B5EF4-FFF2-40B4-BE49-F238E27FC236}">
                <a16:creationId xmlns:a16="http://schemas.microsoft.com/office/drawing/2014/main" id="{8CB7A28E-7372-4889-8EB7-6CF13108780E}"/>
              </a:ext>
            </a:extLst>
          </p:cNvPr>
          <p:cNvSpPr>
            <a:spLocks/>
          </p:cNvSpPr>
          <p:nvPr/>
        </p:nvSpPr>
        <p:spPr>
          <a:xfrm>
            <a:off x="4907142" y="2605884"/>
            <a:ext cx="2648166" cy="2658311"/>
          </a:xfrm>
          <a:prstGeom prst="ellipse">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 name="Decagon 8">
            <a:extLst>
              <a:ext uri="{FF2B5EF4-FFF2-40B4-BE49-F238E27FC236}">
                <a16:creationId xmlns:a16="http://schemas.microsoft.com/office/drawing/2014/main" id="{3F83B961-4E72-4F7A-BECD-B0E6CE4524C1}"/>
              </a:ext>
            </a:extLst>
          </p:cNvPr>
          <p:cNvSpPr>
            <a:spLocks/>
          </p:cNvSpPr>
          <p:nvPr/>
        </p:nvSpPr>
        <p:spPr>
          <a:xfrm>
            <a:off x="5645049" y="1410203"/>
            <a:ext cx="979109" cy="979113"/>
          </a:xfrm>
          <a:prstGeom prst="decag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 name="Decagon 11">
            <a:extLst>
              <a:ext uri="{FF2B5EF4-FFF2-40B4-BE49-F238E27FC236}">
                <a16:creationId xmlns:a16="http://schemas.microsoft.com/office/drawing/2014/main" id="{678BA08C-3698-45B0-A286-A6CE80A7CCD8}"/>
              </a:ext>
            </a:extLst>
          </p:cNvPr>
          <p:cNvSpPr>
            <a:spLocks/>
          </p:cNvSpPr>
          <p:nvPr/>
        </p:nvSpPr>
        <p:spPr>
          <a:xfrm>
            <a:off x="6790576" y="1800125"/>
            <a:ext cx="903015" cy="903014"/>
          </a:xfrm>
          <a:prstGeom prst="decag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Decagon 12">
            <a:extLst>
              <a:ext uri="{FF2B5EF4-FFF2-40B4-BE49-F238E27FC236}">
                <a16:creationId xmlns:a16="http://schemas.microsoft.com/office/drawing/2014/main" id="{19D02434-1B40-4D24-AB62-BAB3BF5188D6}"/>
              </a:ext>
            </a:extLst>
          </p:cNvPr>
          <p:cNvSpPr>
            <a:spLocks/>
          </p:cNvSpPr>
          <p:nvPr/>
        </p:nvSpPr>
        <p:spPr>
          <a:xfrm>
            <a:off x="7529864" y="2605884"/>
            <a:ext cx="684869" cy="684872"/>
          </a:xfrm>
          <a:prstGeom prst="decag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 name="Decagon 13">
            <a:extLst>
              <a:ext uri="{FF2B5EF4-FFF2-40B4-BE49-F238E27FC236}">
                <a16:creationId xmlns:a16="http://schemas.microsoft.com/office/drawing/2014/main" id="{2B1B4E71-2024-4771-94B8-FE0215981E47}"/>
              </a:ext>
            </a:extLst>
          </p:cNvPr>
          <p:cNvSpPr>
            <a:spLocks/>
          </p:cNvSpPr>
          <p:nvPr/>
        </p:nvSpPr>
        <p:spPr>
          <a:xfrm>
            <a:off x="7662914" y="3373442"/>
            <a:ext cx="623991" cy="629066"/>
          </a:xfrm>
          <a:prstGeom prst="decagon">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5" name="Decagon 14">
            <a:extLst>
              <a:ext uri="{FF2B5EF4-FFF2-40B4-BE49-F238E27FC236}">
                <a16:creationId xmlns:a16="http://schemas.microsoft.com/office/drawing/2014/main" id="{EC7F5A3D-E0FE-4A44-A62C-FD8C057F5BF7}"/>
              </a:ext>
            </a:extLst>
          </p:cNvPr>
          <p:cNvSpPr>
            <a:spLocks/>
          </p:cNvSpPr>
          <p:nvPr/>
        </p:nvSpPr>
        <p:spPr>
          <a:xfrm>
            <a:off x="7667987" y="4088438"/>
            <a:ext cx="613846" cy="613848"/>
          </a:xfrm>
          <a:prstGeom prst="decagon">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ecagon 15">
            <a:extLst>
              <a:ext uri="{FF2B5EF4-FFF2-40B4-BE49-F238E27FC236}">
                <a16:creationId xmlns:a16="http://schemas.microsoft.com/office/drawing/2014/main" id="{C9278139-E77D-4D34-927D-4387E784F846}"/>
              </a:ext>
            </a:extLst>
          </p:cNvPr>
          <p:cNvSpPr>
            <a:spLocks/>
          </p:cNvSpPr>
          <p:nvPr/>
        </p:nvSpPr>
        <p:spPr>
          <a:xfrm>
            <a:off x="7389203" y="4727731"/>
            <a:ext cx="608774" cy="603703"/>
          </a:xfrm>
          <a:prstGeom prst="decagon">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73" name="Decagon 472">
            <a:extLst>
              <a:ext uri="{FF2B5EF4-FFF2-40B4-BE49-F238E27FC236}">
                <a16:creationId xmlns:a16="http://schemas.microsoft.com/office/drawing/2014/main" id="{8D27DB15-3F59-4BD0-A7D5-5C596B9CD59D}"/>
              </a:ext>
            </a:extLst>
          </p:cNvPr>
          <p:cNvSpPr>
            <a:spLocks/>
          </p:cNvSpPr>
          <p:nvPr/>
        </p:nvSpPr>
        <p:spPr>
          <a:xfrm>
            <a:off x="6941383" y="5293355"/>
            <a:ext cx="588481" cy="583410"/>
          </a:xfrm>
          <a:prstGeom prst="decagon">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74" name="Decagon 473">
            <a:extLst>
              <a:ext uri="{FF2B5EF4-FFF2-40B4-BE49-F238E27FC236}">
                <a16:creationId xmlns:a16="http://schemas.microsoft.com/office/drawing/2014/main" id="{22D70BAD-A717-430D-BCF3-698EB94F7211}"/>
              </a:ext>
            </a:extLst>
          </p:cNvPr>
          <p:cNvSpPr>
            <a:spLocks/>
          </p:cNvSpPr>
          <p:nvPr/>
        </p:nvSpPr>
        <p:spPr>
          <a:xfrm>
            <a:off x="6398404" y="5598001"/>
            <a:ext cx="451506" cy="451508"/>
          </a:xfrm>
          <a:prstGeom prst="decagon">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75" name="Decagon 474">
            <a:extLst>
              <a:ext uri="{FF2B5EF4-FFF2-40B4-BE49-F238E27FC236}">
                <a16:creationId xmlns:a16="http://schemas.microsoft.com/office/drawing/2014/main" id="{75875983-09A0-4B89-9050-D77D22CF8AB1}"/>
              </a:ext>
            </a:extLst>
          </p:cNvPr>
          <p:cNvSpPr>
            <a:spLocks/>
          </p:cNvSpPr>
          <p:nvPr/>
        </p:nvSpPr>
        <p:spPr>
          <a:xfrm>
            <a:off x="5911316" y="5628439"/>
            <a:ext cx="421066" cy="421070"/>
          </a:xfrm>
          <a:prstGeom prst="decagon">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76" name="Decagon 475">
            <a:extLst>
              <a:ext uri="{FF2B5EF4-FFF2-40B4-BE49-F238E27FC236}">
                <a16:creationId xmlns:a16="http://schemas.microsoft.com/office/drawing/2014/main" id="{BC7C556C-C37C-4EA5-99D7-F3208F9EB538}"/>
              </a:ext>
            </a:extLst>
          </p:cNvPr>
          <p:cNvSpPr>
            <a:spLocks/>
          </p:cNvSpPr>
          <p:nvPr/>
        </p:nvSpPr>
        <p:spPr>
          <a:xfrm>
            <a:off x="5424451" y="5476245"/>
            <a:ext cx="410920" cy="410923"/>
          </a:xfrm>
          <a:prstGeom prst="decagon">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77" name="Decagon 476">
            <a:extLst>
              <a:ext uri="{FF2B5EF4-FFF2-40B4-BE49-F238E27FC236}">
                <a16:creationId xmlns:a16="http://schemas.microsoft.com/office/drawing/2014/main" id="{CAD79394-8608-4219-BFAF-564BA359865D}"/>
              </a:ext>
            </a:extLst>
          </p:cNvPr>
          <p:cNvSpPr>
            <a:spLocks/>
          </p:cNvSpPr>
          <p:nvPr/>
        </p:nvSpPr>
        <p:spPr>
          <a:xfrm>
            <a:off x="5028748" y="5271812"/>
            <a:ext cx="395703" cy="385557"/>
          </a:xfrm>
          <a:prstGeom prst="decagon">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78" name="Decagon 477">
            <a:extLst>
              <a:ext uri="{FF2B5EF4-FFF2-40B4-BE49-F238E27FC236}">
                <a16:creationId xmlns:a16="http://schemas.microsoft.com/office/drawing/2014/main" id="{26933F98-4839-48C0-A9AF-8942E493A06D}"/>
              </a:ext>
            </a:extLst>
          </p:cNvPr>
          <p:cNvSpPr>
            <a:spLocks/>
          </p:cNvSpPr>
          <p:nvPr/>
        </p:nvSpPr>
        <p:spPr>
          <a:xfrm>
            <a:off x="4668053" y="4942050"/>
            <a:ext cx="395703" cy="385557"/>
          </a:xfrm>
          <a:prstGeom prst="decagon">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79" name="Decagon 478">
            <a:extLst>
              <a:ext uri="{FF2B5EF4-FFF2-40B4-BE49-F238E27FC236}">
                <a16:creationId xmlns:a16="http://schemas.microsoft.com/office/drawing/2014/main" id="{AA594411-25B8-439B-95D9-7BF7EE1532DC}"/>
              </a:ext>
            </a:extLst>
          </p:cNvPr>
          <p:cNvSpPr>
            <a:spLocks/>
          </p:cNvSpPr>
          <p:nvPr/>
        </p:nvSpPr>
        <p:spPr>
          <a:xfrm>
            <a:off x="4390652" y="4556493"/>
            <a:ext cx="395703" cy="385557"/>
          </a:xfrm>
          <a:prstGeom prst="decagon">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80" name="Decagon 479">
            <a:extLst>
              <a:ext uri="{FF2B5EF4-FFF2-40B4-BE49-F238E27FC236}">
                <a16:creationId xmlns:a16="http://schemas.microsoft.com/office/drawing/2014/main" id="{157CC30D-7883-477D-9092-D9851EA8DF36}"/>
              </a:ext>
            </a:extLst>
          </p:cNvPr>
          <p:cNvSpPr>
            <a:spLocks/>
          </p:cNvSpPr>
          <p:nvPr/>
        </p:nvSpPr>
        <p:spPr>
          <a:xfrm>
            <a:off x="4312935" y="4104055"/>
            <a:ext cx="375410" cy="375410"/>
          </a:xfrm>
          <a:prstGeom prst="decagon">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81" name="Decagon 480">
            <a:extLst>
              <a:ext uri="{FF2B5EF4-FFF2-40B4-BE49-F238E27FC236}">
                <a16:creationId xmlns:a16="http://schemas.microsoft.com/office/drawing/2014/main" id="{441FBE13-4254-4B94-A1FC-06893F31D2CB}"/>
              </a:ext>
            </a:extLst>
          </p:cNvPr>
          <p:cNvSpPr>
            <a:spLocks/>
          </p:cNvSpPr>
          <p:nvPr/>
        </p:nvSpPr>
        <p:spPr>
          <a:xfrm>
            <a:off x="4333228" y="3631501"/>
            <a:ext cx="355118" cy="360192"/>
          </a:xfrm>
          <a:prstGeom prst="decagon">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487" name="Graphic 486">
            <a:extLst>
              <a:ext uri="{FF2B5EF4-FFF2-40B4-BE49-F238E27FC236}">
                <a16:creationId xmlns:a16="http://schemas.microsoft.com/office/drawing/2014/main" id="{D6AC8159-9156-4468-96F2-6F77534ADAE8}"/>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7014309" y="1901756"/>
            <a:ext cx="455548" cy="455542"/>
          </a:xfrm>
          <a:prstGeom prst="rect">
            <a:avLst/>
          </a:prstGeom>
        </p:spPr>
      </p:pic>
      <p:pic>
        <p:nvPicPr>
          <p:cNvPr id="508" name="Graphic 507">
            <a:extLst>
              <a:ext uri="{FF2B5EF4-FFF2-40B4-BE49-F238E27FC236}">
                <a16:creationId xmlns:a16="http://schemas.microsoft.com/office/drawing/2014/main" id="{923CB6C2-9238-4618-95E6-4EBB26ED8D62}"/>
              </a:ext>
            </a:extLst>
          </p:cNvPr>
          <p:cNvPicPr>
            <a:picLocks noChangeAspect="1"/>
          </p:cNvPicPr>
          <p:nvPr/>
        </p:nvPicPr>
        <p:blipFill>
          <a:blip r:embed="rId46" cstate="screen">
            <a:extLst>
              <a:ext uri="{28A0092B-C50C-407E-A947-70E740481C1C}">
                <a14:useLocalDpi xmlns:a14="http://schemas.microsoft.com/office/drawing/2010/main"/>
              </a:ext>
              <a:ext uri="{96DAC541-7B7A-43D3-8B79-37D633B846F1}">
                <asvg:svgBlip xmlns:asvg="http://schemas.microsoft.com/office/drawing/2016/SVG/main" r:embed="rId47"/>
              </a:ext>
            </a:extLst>
          </a:blip>
          <a:stretch>
            <a:fillRect/>
          </a:stretch>
        </p:blipFill>
        <p:spPr>
          <a:xfrm>
            <a:off x="7076713" y="5331434"/>
            <a:ext cx="366832" cy="366828"/>
          </a:xfrm>
          <a:prstGeom prst="rect">
            <a:avLst/>
          </a:prstGeom>
        </p:spPr>
      </p:pic>
      <p:pic>
        <p:nvPicPr>
          <p:cNvPr id="514" name="Graphic 513">
            <a:extLst>
              <a:ext uri="{FF2B5EF4-FFF2-40B4-BE49-F238E27FC236}">
                <a16:creationId xmlns:a16="http://schemas.microsoft.com/office/drawing/2014/main" id="{7DCD108F-274E-4DB5-A37D-ED596221B41C}"/>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5885369" y="1576621"/>
            <a:ext cx="447014" cy="447008"/>
          </a:xfrm>
          <a:prstGeom prst="rect">
            <a:avLst/>
          </a:prstGeom>
        </p:spPr>
      </p:pic>
      <p:pic>
        <p:nvPicPr>
          <p:cNvPr id="523" name="Graphic 522">
            <a:extLst>
              <a:ext uri="{FF2B5EF4-FFF2-40B4-BE49-F238E27FC236}">
                <a16:creationId xmlns:a16="http://schemas.microsoft.com/office/drawing/2014/main" id="{EC44383C-9C45-4F07-92C1-BE4EFF65B864}"/>
              </a:ext>
            </a:extLst>
          </p:cNvPr>
          <p:cNvPicPr>
            <a:picLocks noChangeAspect="1"/>
          </p:cNvPicPr>
          <p:nvPr/>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4427007" y="4161261"/>
            <a:ext cx="174225" cy="174225"/>
          </a:xfrm>
          <a:prstGeom prst="rect">
            <a:avLst/>
          </a:prstGeom>
        </p:spPr>
      </p:pic>
      <p:pic>
        <p:nvPicPr>
          <p:cNvPr id="607" name="Graphic 606">
            <a:extLst>
              <a:ext uri="{FF2B5EF4-FFF2-40B4-BE49-F238E27FC236}">
                <a16:creationId xmlns:a16="http://schemas.microsoft.com/office/drawing/2014/main" id="{C06849A2-E7C1-4B89-A086-F187AE907C27}"/>
              </a:ext>
            </a:extLst>
          </p:cNvPr>
          <p:cNvPicPr>
            <a:picLocks noChangeAspect="1"/>
          </p:cNvPicPr>
          <p:nvPr/>
        </p:nvPicPr>
        <p:blipFill>
          <a:blip r:embed="rId52" cstate="screen">
            <a:extLst>
              <a:ext uri="{28A0092B-C50C-407E-A947-70E740481C1C}">
                <a14:useLocalDpi xmlns:a14="http://schemas.microsoft.com/office/drawing/2010/main"/>
              </a:ext>
              <a:ext uri="{96DAC541-7B7A-43D3-8B79-37D633B846F1}">
                <asvg:svgBlip xmlns:asvg="http://schemas.microsoft.com/office/drawing/2016/SVG/main" r:embed="rId53"/>
              </a:ext>
            </a:extLst>
          </a:blip>
          <a:stretch>
            <a:fillRect/>
          </a:stretch>
        </p:blipFill>
        <p:spPr>
          <a:xfrm>
            <a:off x="4427007" y="3670611"/>
            <a:ext cx="174225" cy="174225"/>
          </a:xfrm>
          <a:prstGeom prst="rect">
            <a:avLst/>
          </a:prstGeom>
        </p:spPr>
      </p:pic>
      <p:sp>
        <p:nvSpPr>
          <p:cNvPr id="635" name="3. Subtitle">
            <a:extLst>
              <a:ext uri="{FF2B5EF4-FFF2-40B4-BE49-F238E27FC236}">
                <a16:creationId xmlns:a16="http://schemas.microsoft.com/office/drawing/2014/main" id="{C4D9B4BB-FCC8-4087-A5E7-B372D2B16A93}"/>
              </a:ext>
            </a:extLst>
          </p:cNvPr>
          <p:cNvSpPr txBox="1">
            <a:spLocks/>
          </p:cNvSpPr>
          <p:nvPr>
            <p:custDataLst>
              <p:tags r:id="rId6"/>
            </p:custDataLst>
          </p:nvPr>
        </p:nvSpPr>
        <p:spPr>
          <a:xfrm>
            <a:off x="5748670" y="2129527"/>
            <a:ext cx="753568" cy="153888"/>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000" b="1" dirty="0">
                <a:solidFill>
                  <a:schemeClr val="bg1"/>
                </a:solidFill>
              </a:rPr>
              <a:t>$42.7 B</a:t>
            </a:r>
          </a:p>
        </p:txBody>
      </p:sp>
      <p:sp>
        <p:nvSpPr>
          <p:cNvPr id="636" name="3. Subtitle">
            <a:extLst>
              <a:ext uri="{FF2B5EF4-FFF2-40B4-BE49-F238E27FC236}">
                <a16:creationId xmlns:a16="http://schemas.microsoft.com/office/drawing/2014/main" id="{C61EAB89-AE52-463B-8C4B-2CB3AA6C70B0}"/>
              </a:ext>
            </a:extLst>
          </p:cNvPr>
          <p:cNvSpPr txBox="1">
            <a:spLocks/>
          </p:cNvSpPr>
          <p:nvPr>
            <p:custDataLst>
              <p:tags r:id="rId7"/>
            </p:custDataLst>
          </p:nvPr>
        </p:nvSpPr>
        <p:spPr>
          <a:xfrm>
            <a:off x="6919102" y="2442259"/>
            <a:ext cx="645962" cy="153888"/>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000" b="1" dirty="0">
                <a:solidFill>
                  <a:schemeClr val="bg1"/>
                </a:solidFill>
              </a:rPr>
              <a:t>$36 B</a:t>
            </a:r>
          </a:p>
        </p:txBody>
      </p:sp>
      <p:pic>
        <p:nvPicPr>
          <p:cNvPr id="639" name="Graphic 638">
            <a:extLst>
              <a:ext uri="{FF2B5EF4-FFF2-40B4-BE49-F238E27FC236}">
                <a16:creationId xmlns:a16="http://schemas.microsoft.com/office/drawing/2014/main" id="{D91CE1D0-1C24-42EE-8414-42BC70980BC2}"/>
              </a:ext>
            </a:extLst>
          </p:cNvPr>
          <p:cNvPicPr>
            <a:picLocks noChangeAspect="1"/>
          </p:cNvPicPr>
          <p:nvPr/>
        </p:nvPicPr>
        <p:blipFill>
          <a:blip r:embed="rId54" cstate="screen">
            <a:extLst>
              <a:ext uri="{28A0092B-C50C-407E-A947-70E740481C1C}">
                <a14:useLocalDpi xmlns:a14="http://schemas.microsoft.com/office/drawing/2010/main"/>
              </a:ext>
              <a:ext uri="{96DAC541-7B7A-43D3-8B79-37D633B846F1}">
                <asvg:svgBlip xmlns:asvg="http://schemas.microsoft.com/office/drawing/2016/SVG/main" r:embed="rId55"/>
              </a:ext>
            </a:extLst>
          </a:blip>
          <a:stretch>
            <a:fillRect/>
          </a:stretch>
        </p:blipFill>
        <p:spPr>
          <a:xfrm>
            <a:off x="7713221" y="2703139"/>
            <a:ext cx="318154" cy="318154"/>
          </a:xfrm>
          <a:prstGeom prst="rect">
            <a:avLst/>
          </a:prstGeom>
        </p:spPr>
      </p:pic>
      <p:sp>
        <p:nvSpPr>
          <p:cNvPr id="641" name="3. Subtitle">
            <a:extLst>
              <a:ext uri="{FF2B5EF4-FFF2-40B4-BE49-F238E27FC236}">
                <a16:creationId xmlns:a16="http://schemas.microsoft.com/office/drawing/2014/main" id="{B92D744F-A641-48C1-A1CA-0EA067CFD421}"/>
              </a:ext>
            </a:extLst>
          </p:cNvPr>
          <p:cNvSpPr txBox="1">
            <a:spLocks/>
          </p:cNvSpPr>
          <p:nvPr>
            <p:custDataLst>
              <p:tags r:id="rId8"/>
            </p:custDataLst>
          </p:nvPr>
        </p:nvSpPr>
        <p:spPr>
          <a:xfrm>
            <a:off x="7565064" y="3074666"/>
            <a:ext cx="645962" cy="123111"/>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800" b="1" dirty="0">
                <a:solidFill>
                  <a:schemeClr val="bg1"/>
                </a:solidFill>
              </a:rPr>
              <a:t>$20.8 B</a:t>
            </a:r>
          </a:p>
        </p:txBody>
      </p:sp>
      <p:pic>
        <p:nvPicPr>
          <p:cNvPr id="642" name="Graphic 641">
            <a:extLst>
              <a:ext uri="{FF2B5EF4-FFF2-40B4-BE49-F238E27FC236}">
                <a16:creationId xmlns:a16="http://schemas.microsoft.com/office/drawing/2014/main" id="{733409AF-C178-4332-8289-B5D55E44D419}"/>
              </a:ext>
            </a:extLst>
          </p:cNvPr>
          <p:cNvPicPr>
            <a:picLocks noChangeAspect="1"/>
          </p:cNvPicPr>
          <p:nvPr/>
        </p:nvPicPr>
        <p:blipFill>
          <a:blip r:embed="rId56" cstate="screen">
            <a:extLst>
              <a:ext uri="{28A0092B-C50C-407E-A947-70E740481C1C}">
                <a14:useLocalDpi xmlns:a14="http://schemas.microsoft.com/office/drawing/2010/main"/>
              </a:ext>
              <a:ext uri="{96DAC541-7B7A-43D3-8B79-37D633B846F1}">
                <asvg:svgBlip xmlns:asvg="http://schemas.microsoft.com/office/drawing/2016/SVG/main" r:embed="rId57"/>
              </a:ext>
            </a:extLst>
          </a:blip>
          <a:stretch>
            <a:fillRect/>
          </a:stretch>
        </p:blipFill>
        <p:spPr>
          <a:xfrm>
            <a:off x="7852183" y="3430221"/>
            <a:ext cx="291588" cy="291584"/>
          </a:xfrm>
          <a:prstGeom prst="rect">
            <a:avLst/>
          </a:prstGeom>
        </p:spPr>
      </p:pic>
      <p:sp>
        <p:nvSpPr>
          <p:cNvPr id="643" name="3. Subtitle">
            <a:extLst>
              <a:ext uri="{FF2B5EF4-FFF2-40B4-BE49-F238E27FC236}">
                <a16:creationId xmlns:a16="http://schemas.microsoft.com/office/drawing/2014/main" id="{4153FABE-B51B-4B96-8549-9AD8C38C51CB}"/>
              </a:ext>
            </a:extLst>
          </p:cNvPr>
          <p:cNvSpPr txBox="1">
            <a:spLocks/>
          </p:cNvSpPr>
          <p:nvPr>
            <p:custDataLst>
              <p:tags r:id="rId9"/>
            </p:custDataLst>
          </p:nvPr>
        </p:nvSpPr>
        <p:spPr>
          <a:xfrm>
            <a:off x="7670731" y="3793201"/>
            <a:ext cx="645962" cy="123111"/>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800" b="1" dirty="0">
                <a:solidFill>
                  <a:schemeClr val="bg1"/>
                </a:solidFill>
              </a:rPr>
              <a:t>$17.4 B</a:t>
            </a:r>
          </a:p>
        </p:txBody>
      </p:sp>
      <p:pic>
        <p:nvPicPr>
          <p:cNvPr id="646" name="Graphic 645">
            <a:extLst>
              <a:ext uri="{FF2B5EF4-FFF2-40B4-BE49-F238E27FC236}">
                <a16:creationId xmlns:a16="http://schemas.microsoft.com/office/drawing/2014/main" id="{06047BB4-A7F1-4052-A17B-564B8D88B998}"/>
              </a:ext>
            </a:extLst>
          </p:cNvPr>
          <p:cNvPicPr>
            <a:picLocks noChangeAspect="1"/>
          </p:cNvPicPr>
          <p:nvPr/>
        </p:nvPicPr>
        <p:blipFill>
          <a:blip r:embed="rId58" cstate="screen">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a:off x="7812671" y="4161261"/>
            <a:ext cx="331100" cy="331100"/>
          </a:xfrm>
          <a:prstGeom prst="rect">
            <a:avLst/>
          </a:prstGeom>
        </p:spPr>
      </p:pic>
      <p:sp>
        <p:nvSpPr>
          <p:cNvPr id="648" name="3. Subtitle">
            <a:extLst>
              <a:ext uri="{FF2B5EF4-FFF2-40B4-BE49-F238E27FC236}">
                <a16:creationId xmlns:a16="http://schemas.microsoft.com/office/drawing/2014/main" id="{A64E2BE0-5B3C-432F-A2DD-E717C79ADF20}"/>
              </a:ext>
            </a:extLst>
          </p:cNvPr>
          <p:cNvSpPr txBox="1">
            <a:spLocks/>
          </p:cNvSpPr>
          <p:nvPr>
            <p:custDataLst>
              <p:tags r:id="rId10"/>
            </p:custDataLst>
          </p:nvPr>
        </p:nvSpPr>
        <p:spPr>
          <a:xfrm>
            <a:off x="7674996" y="4520711"/>
            <a:ext cx="645962" cy="123111"/>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800" b="1" dirty="0">
                <a:solidFill>
                  <a:schemeClr val="bg1"/>
                </a:solidFill>
              </a:rPr>
              <a:t>$16.7 B</a:t>
            </a:r>
          </a:p>
        </p:txBody>
      </p:sp>
      <p:pic>
        <p:nvPicPr>
          <p:cNvPr id="651" name="Graphic 650">
            <a:extLst>
              <a:ext uri="{FF2B5EF4-FFF2-40B4-BE49-F238E27FC236}">
                <a16:creationId xmlns:a16="http://schemas.microsoft.com/office/drawing/2014/main" id="{5BECBD69-0C10-4622-83D9-C5D55B5687E5}"/>
              </a:ext>
            </a:extLst>
          </p:cNvPr>
          <p:cNvPicPr>
            <a:picLocks noChangeAspect="1"/>
          </p:cNvPicPr>
          <p:nvPr/>
        </p:nvPicPr>
        <p:blipFill>
          <a:blip r:embed="rId60" cstate="screen">
            <a:extLst>
              <a:ext uri="{28A0092B-C50C-407E-A947-70E740481C1C}">
                <a14:useLocalDpi xmlns:a14="http://schemas.microsoft.com/office/drawing/2010/main"/>
              </a:ext>
              <a:ext uri="{96DAC541-7B7A-43D3-8B79-37D633B846F1}">
                <asvg:svgBlip xmlns:asvg="http://schemas.microsoft.com/office/drawing/2016/SVG/main" r:embed="rId61"/>
              </a:ext>
            </a:extLst>
          </a:blip>
          <a:stretch>
            <a:fillRect/>
          </a:stretch>
        </p:blipFill>
        <p:spPr>
          <a:xfrm>
            <a:off x="7534999" y="4783458"/>
            <a:ext cx="317184" cy="317184"/>
          </a:xfrm>
          <a:prstGeom prst="rect">
            <a:avLst/>
          </a:prstGeom>
        </p:spPr>
      </p:pic>
      <p:sp>
        <p:nvSpPr>
          <p:cNvPr id="653" name="3. Subtitle">
            <a:extLst>
              <a:ext uri="{FF2B5EF4-FFF2-40B4-BE49-F238E27FC236}">
                <a16:creationId xmlns:a16="http://schemas.microsoft.com/office/drawing/2014/main" id="{3A2AD8B5-F61B-4685-9AF1-4C328E9DA17D}"/>
              </a:ext>
            </a:extLst>
          </p:cNvPr>
          <p:cNvSpPr txBox="1">
            <a:spLocks/>
          </p:cNvSpPr>
          <p:nvPr>
            <p:custDataLst>
              <p:tags r:id="rId11"/>
            </p:custDataLst>
          </p:nvPr>
        </p:nvSpPr>
        <p:spPr>
          <a:xfrm>
            <a:off x="7361540" y="5141084"/>
            <a:ext cx="645962" cy="123111"/>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800" b="1" dirty="0">
                <a:solidFill>
                  <a:schemeClr val="bg1"/>
                </a:solidFill>
              </a:rPr>
              <a:t>$16.3 B</a:t>
            </a:r>
          </a:p>
        </p:txBody>
      </p:sp>
      <p:sp>
        <p:nvSpPr>
          <p:cNvPr id="654" name="3. Subtitle">
            <a:extLst>
              <a:ext uri="{FF2B5EF4-FFF2-40B4-BE49-F238E27FC236}">
                <a16:creationId xmlns:a16="http://schemas.microsoft.com/office/drawing/2014/main" id="{EB64585A-3DD4-41BF-8CE8-F3361EBBBF79}"/>
              </a:ext>
            </a:extLst>
          </p:cNvPr>
          <p:cNvSpPr txBox="1">
            <a:spLocks/>
          </p:cNvSpPr>
          <p:nvPr>
            <p:custDataLst>
              <p:tags r:id="rId12"/>
            </p:custDataLst>
          </p:nvPr>
        </p:nvSpPr>
        <p:spPr>
          <a:xfrm>
            <a:off x="6919102" y="5698262"/>
            <a:ext cx="645962" cy="123111"/>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800" b="1" dirty="0">
                <a:solidFill>
                  <a:schemeClr val="bg1"/>
                </a:solidFill>
              </a:rPr>
              <a:t>$15.2 B</a:t>
            </a:r>
          </a:p>
        </p:txBody>
      </p:sp>
      <p:pic>
        <p:nvPicPr>
          <p:cNvPr id="655" name="Graphic 654">
            <a:extLst>
              <a:ext uri="{FF2B5EF4-FFF2-40B4-BE49-F238E27FC236}">
                <a16:creationId xmlns:a16="http://schemas.microsoft.com/office/drawing/2014/main" id="{3AF85BE4-4CA5-44B0-A9DD-4C88647C7E92}"/>
              </a:ext>
            </a:extLst>
          </p:cNvPr>
          <p:cNvPicPr>
            <a:picLocks noChangeAspect="1"/>
          </p:cNvPicPr>
          <p:nvPr/>
        </p:nvPicPr>
        <p:blipFill>
          <a:blip r:embed="rId62" cstate="screen">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6537045" y="5657369"/>
            <a:ext cx="174225" cy="174225"/>
          </a:xfrm>
          <a:prstGeom prst="rect">
            <a:avLst/>
          </a:prstGeom>
        </p:spPr>
      </p:pic>
      <p:sp>
        <p:nvSpPr>
          <p:cNvPr id="656" name="3. Subtitle">
            <a:extLst>
              <a:ext uri="{FF2B5EF4-FFF2-40B4-BE49-F238E27FC236}">
                <a16:creationId xmlns:a16="http://schemas.microsoft.com/office/drawing/2014/main" id="{0A2586E5-075B-4F6B-8B9D-F172085FDDA6}"/>
              </a:ext>
            </a:extLst>
          </p:cNvPr>
          <p:cNvSpPr txBox="1">
            <a:spLocks/>
          </p:cNvSpPr>
          <p:nvPr>
            <p:custDataLst>
              <p:tags r:id="rId13"/>
            </p:custDataLst>
          </p:nvPr>
        </p:nvSpPr>
        <p:spPr>
          <a:xfrm>
            <a:off x="6301645" y="5849857"/>
            <a:ext cx="645962" cy="123111"/>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800" b="1" dirty="0">
                <a:solidFill>
                  <a:schemeClr val="bg1"/>
                </a:solidFill>
              </a:rPr>
              <a:t>$9.2 B</a:t>
            </a:r>
          </a:p>
        </p:txBody>
      </p:sp>
      <p:pic>
        <p:nvPicPr>
          <p:cNvPr id="657" name="Graphic 656">
            <a:extLst>
              <a:ext uri="{FF2B5EF4-FFF2-40B4-BE49-F238E27FC236}">
                <a16:creationId xmlns:a16="http://schemas.microsoft.com/office/drawing/2014/main" id="{1B0B814B-EF94-45BD-AC90-116ACB0D1756}"/>
              </a:ext>
            </a:extLst>
          </p:cNvPr>
          <p:cNvPicPr>
            <a:picLocks noChangeAspect="1"/>
          </p:cNvPicPr>
          <p:nvPr/>
        </p:nvPicPr>
        <p:blipFill>
          <a:blip r:embed="rId64" cstate="screen">
            <a:extLst>
              <a:ext uri="{28A0092B-C50C-407E-A947-70E740481C1C}">
                <a14:useLocalDpi xmlns:a14="http://schemas.microsoft.com/office/drawing/2010/main"/>
              </a:ext>
              <a:ext uri="{96DAC541-7B7A-43D3-8B79-37D633B846F1}">
                <asvg:svgBlip xmlns:asvg="http://schemas.microsoft.com/office/drawing/2016/SVG/main" r:embed="rId65"/>
              </a:ext>
            </a:extLst>
          </a:blip>
          <a:stretch>
            <a:fillRect/>
          </a:stretch>
        </p:blipFill>
        <p:spPr>
          <a:xfrm>
            <a:off x="6038099" y="5669701"/>
            <a:ext cx="174225" cy="174225"/>
          </a:xfrm>
          <a:prstGeom prst="rect">
            <a:avLst/>
          </a:prstGeom>
        </p:spPr>
      </p:pic>
      <p:sp>
        <p:nvSpPr>
          <p:cNvPr id="658" name="3. Subtitle">
            <a:extLst>
              <a:ext uri="{FF2B5EF4-FFF2-40B4-BE49-F238E27FC236}">
                <a16:creationId xmlns:a16="http://schemas.microsoft.com/office/drawing/2014/main" id="{A0A8894F-AE9A-44CD-8666-0AF6F0AF1260}"/>
              </a:ext>
            </a:extLst>
          </p:cNvPr>
          <p:cNvSpPr txBox="1">
            <a:spLocks/>
          </p:cNvSpPr>
          <p:nvPr>
            <p:custDataLst>
              <p:tags r:id="rId14"/>
            </p:custDataLst>
          </p:nvPr>
        </p:nvSpPr>
        <p:spPr>
          <a:xfrm>
            <a:off x="5775302" y="5878436"/>
            <a:ext cx="645962" cy="123111"/>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800" b="1" dirty="0">
                <a:solidFill>
                  <a:schemeClr val="bg1"/>
                </a:solidFill>
              </a:rPr>
              <a:t>$8 B</a:t>
            </a:r>
          </a:p>
        </p:txBody>
      </p:sp>
      <p:pic>
        <p:nvPicPr>
          <p:cNvPr id="659" name="Graphic 658">
            <a:extLst>
              <a:ext uri="{FF2B5EF4-FFF2-40B4-BE49-F238E27FC236}">
                <a16:creationId xmlns:a16="http://schemas.microsoft.com/office/drawing/2014/main" id="{0CE5C60D-5161-4BEA-B694-A3F780BB93E7}"/>
              </a:ext>
            </a:extLst>
          </p:cNvPr>
          <p:cNvPicPr>
            <a:picLocks noChangeAspect="1"/>
          </p:cNvPicPr>
          <p:nvPr/>
        </p:nvPicPr>
        <p:blipFill>
          <a:blip r:embed="rId66" cstate="screen">
            <a:extLst>
              <a:ext uri="{28A0092B-C50C-407E-A947-70E740481C1C}">
                <a14:useLocalDpi xmlns:a14="http://schemas.microsoft.com/office/drawing/2010/main"/>
              </a:ext>
              <a:ext uri="{96DAC541-7B7A-43D3-8B79-37D633B846F1}">
                <asvg:svgBlip xmlns:asvg="http://schemas.microsoft.com/office/drawing/2016/SVG/main" r:embed="rId67"/>
              </a:ext>
            </a:extLst>
          </a:blip>
          <a:stretch>
            <a:fillRect/>
          </a:stretch>
        </p:blipFill>
        <p:spPr>
          <a:xfrm>
            <a:off x="5557936" y="5529920"/>
            <a:ext cx="174225" cy="174225"/>
          </a:xfrm>
          <a:prstGeom prst="rect">
            <a:avLst/>
          </a:prstGeom>
        </p:spPr>
      </p:pic>
      <p:sp>
        <p:nvSpPr>
          <p:cNvPr id="660" name="3. Subtitle">
            <a:extLst>
              <a:ext uri="{FF2B5EF4-FFF2-40B4-BE49-F238E27FC236}">
                <a16:creationId xmlns:a16="http://schemas.microsoft.com/office/drawing/2014/main" id="{9D30773F-5282-4C79-8ECE-9AF9C8863BCD}"/>
              </a:ext>
            </a:extLst>
          </p:cNvPr>
          <p:cNvSpPr txBox="1">
            <a:spLocks/>
          </p:cNvSpPr>
          <p:nvPr>
            <p:custDataLst>
              <p:tags r:id="rId15"/>
            </p:custDataLst>
          </p:nvPr>
        </p:nvSpPr>
        <p:spPr>
          <a:xfrm>
            <a:off x="5322068" y="5699917"/>
            <a:ext cx="645962" cy="123111"/>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800" b="1" dirty="0">
                <a:solidFill>
                  <a:schemeClr val="bg1"/>
                </a:solidFill>
              </a:rPr>
              <a:t>$7.5 B</a:t>
            </a:r>
          </a:p>
        </p:txBody>
      </p:sp>
      <p:pic>
        <p:nvPicPr>
          <p:cNvPr id="663" name="Graphic 662">
            <a:extLst>
              <a:ext uri="{FF2B5EF4-FFF2-40B4-BE49-F238E27FC236}">
                <a16:creationId xmlns:a16="http://schemas.microsoft.com/office/drawing/2014/main" id="{187D3742-10BF-4CEC-9F55-B7D491A25D70}"/>
              </a:ext>
            </a:extLst>
          </p:cNvPr>
          <p:cNvPicPr>
            <a:picLocks noChangeAspect="1"/>
          </p:cNvPicPr>
          <p:nvPr/>
        </p:nvPicPr>
        <p:blipFill>
          <a:blip r:embed="rId68" cstate="screen">
            <a:extLst>
              <a:ext uri="{28A0092B-C50C-407E-A947-70E740481C1C}">
                <a14:useLocalDpi xmlns:a14="http://schemas.microsoft.com/office/drawing/2010/main"/>
              </a:ext>
              <a:ext uri="{96DAC541-7B7A-43D3-8B79-37D633B846F1}">
                <asvg:svgBlip xmlns:asvg="http://schemas.microsoft.com/office/drawing/2016/SVG/main" r:embed="rId69"/>
              </a:ext>
            </a:extLst>
          </a:blip>
          <a:stretch>
            <a:fillRect/>
          </a:stretch>
        </p:blipFill>
        <p:spPr>
          <a:xfrm>
            <a:off x="5141408" y="5307769"/>
            <a:ext cx="180660" cy="180660"/>
          </a:xfrm>
          <a:prstGeom prst="rect">
            <a:avLst/>
          </a:prstGeom>
        </p:spPr>
      </p:pic>
      <p:sp>
        <p:nvSpPr>
          <p:cNvPr id="665" name="3. Subtitle">
            <a:extLst>
              <a:ext uri="{FF2B5EF4-FFF2-40B4-BE49-F238E27FC236}">
                <a16:creationId xmlns:a16="http://schemas.microsoft.com/office/drawing/2014/main" id="{8D48035B-EBEF-400D-87CF-738D4EB5A07A}"/>
              </a:ext>
            </a:extLst>
          </p:cNvPr>
          <p:cNvSpPr txBox="1">
            <a:spLocks/>
          </p:cNvSpPr>
          <p:nvPr>
            <p:custDataLst>
              <p:tags r:id="rId16"/>
            </p:custDataLst>
          </p:nvPr>
        </p:nvSpPr>
        <p:spPr>
          <a:xfrm>
            <a:off x="4903513" y="5508611"/>
            <a:ext cx="645962" cy="123111"/>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800" b="1" dirty="0">
                <a:solidFill>
                  <a:schemeClr val="bg1"/>
                </a:solidFill>
              </a:rPr>
              <a:t>$7 B</a:t>
            </a:r>
          </a:p>
        </p:txBody>
      </p:sp>
      <p:pic>
        <p:nvPicPr>
          <p:cNvPr id="668" name="Graphic 667">
            <a:extLst>
              <a:ext uri="{FF2B5EF4-FFF2-40B4-BE49-F238E27FC236}">
                <a16:creationId xmlns:a16="http://schemas.microsoft.com/office/drawing/2014/main" id="{0656678D-6069-438C-8DA0-DD922DB483BF}"/>
              </a:ext>
            </a:extLst>
          </p:cNvPr>
          <p:cNvPicPr>
            <a:picLocks noChangeAspect="1"/>
          </p:cNvPicPr>
          <p:nvPr/>
        </p:nvPicPr>
        <p:blipFill>
          <a:blip r:embed="rId70" cstate="screen">
            <a:extLst>
              <a:ext uri="{28A0092B-C50C-407E-A947-70E740481C1C}">
                <a14:useLocalDpi xmlns:a14="http://schemas.microsoft.com/office/drawing/2010/main"/>
              </a:ext>
              <a:ext uri="{96DAC541-7B7A-43D3-8B79-37D633B846F1}">
                <asvg:svgBlip xmlns:asvg="http://schemas.microsoft.com/office/drawing/2016/SVG/main" r:embed="rId71"/>
              </a:ext>
            </a:extLst>
          </a:blip>
          <a:stretch>
            <a:fillRect/>
          </a:stretch>
        </p:blipFill>
        <p:spPr>
          <a:xfrm>
            <a:off x="4755695" y="4978984"/>
            <a:ext cx="215774" cy="215774"/>
          </a:xfrm>
          <a:prstGeom prst="rect">
            <a:avLst/>
          </a:prstGeom>
        </p:spPr>
      </p:pic>
      <p:sp>
        <p:nvSpPr>
          <p:cNvPr id="670" name="3. Subtitle">
            <a:extLst>
              <a:ext uri="{FF2B5EF4-FFF2-40B4-BE49-F238E27FC236}">
                <a16:creationId xmlns:a16="http://schemas.microsoft.com/office/drawing/2014/main" id="{3356626A-83E8-4012-8D9C-6E140215C7D8}"/>
              </a:ext>
            </a:extLst>
          </p:cNvPr>
          <p:cNvSpPr txBox="1">
            <a:spLocks/>
          </p:cNvSpPr>
          <p:nvPr>
            <p:custDataLst>
              <p:tags r:id="rId17"/>
            </p:custDataLst>
          </p:nvPr>
        </p:nvSpPr>
        <p:spPr>
          <a:xfrm>
            <a:off x="4553469" y="5205508"/>
            <a:ext cx="645962" cy="107722"/>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700" b="1" dirty="0">
                <a:solidFill>
                  <a:schemeClr val="bg1"/>
                </a:solidFill>
              </a:rPr>
              <a:t>$6.9 B</a:t>
            </a:r>
          </a:p>
        </p:txBody>
      </p:sp>
      <p:pic>
        <p:nvPicPr>
          <p:cNvPr id="671" name="Graphic 670">
            <a:extLst>
              <a:ext uri="{FF2B5EF4-FFF2-40B4-BE49-F238E27FC236}">
                <a16:creationId xmlns:a16="http://schemas.microsoft.com/office/drawing/2014/main" id="{A4F33AAE-2411-44A4-8618-5D3372B85D77}"/>
              </a:ext>
            </a:extLst>
          </p:cNvPr>
          <p:cNvPicPr>
            <a:picLocks noChangeAspect="1"/>
          </p:cNvPicPr>
          <p:nvPr/>
        </p:nvPicPr>
        <p:blipFill>
          <a:blip r:embed="rId72" cstate="screen">
            <a:extLst>
              <a:ext uri="{28A0092B-C50C-407E-A947-70E740481C1C}">
                <a14:useLocalDpi xmlns:a14="http://schemas.microsoft.com/office/drawing/2010/main"/>
              </a:ext>
              <a:ext uri="{96DAC541-7B7A-43D3-8B79-37D633B846F1}">
                <asvg:svgBlip xmlns:asvg="http://schemas.microsoft.com/office/drawing/2016/SVG/main" r:embed="rId73"/>
              </a:ext>
            </a:extLst>
          </a:blip>
          <a:stretch>
            <a:fillRect/>
          </a:stretch>
        </p:blipFill>
        <p:spPr>
          <a:xfrm>
            <a:off x="4514120" y="4609233"/>
            <a:ext cx="174225" cy="174225"/>
          </a:xfrm>
          <a:prstGeom prst="rect">
            <a:avLst/>
          </a:prstGeom>
        </p:spPr>
      </p:pic>
      <p:sp>
        <p:nvSpPr>
          <p:cNvPr id="672" name="3. Subtitle">
            <a:extLst>
              <a:ext uri="{FF2B5EF4-FFF2-40B4-BE49-F238E27FC236}">
                <a16:creationId xmlns:a16="http://schemas.microsoft.com/office/drawing/2014/main" id="{BB7731B2-139A-459A-ADBD-333535658CEC}"/>
              </a:ext>
            </a:extLst>
          </p:cNvPr>
          <p:cNvSpPr txBox="1">
            <a:spLocks/>
          </p:cNvSpPr>
          <p:nvPr>
            <p:custDataLst>
              <p:tags r:id="rId18"/>
            </p:custDataLst>
          </p:nvPr>
        </p:nvSpPr>
        <p:spPr>
          <a:xfrm>
            <a:off x="4279878" y="4783458"/>
            <a:ext cx="645962" cy="107722"/>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700" b="1" dirty="0">
                <a:solidFill>
                  <a:schemeClr val="bg1"/>
                </a:solidFill>
              </a:rPr>
              <a:t>$6.6 B</a:t>
            </a:r>
          </a:p>
        </p:txBody>
      </p:sp>
      <p:sp>
        <p:nvSpPr>
          <p:cNvPr id="673" name="3. Subtitle">
            <a:extLst>
              <a:ext uri="{FF2B5EF4-FFF2-40B4-BE49-F238E27FC236}">
                <a16:creationId xmlns:a16="http://schemas.microsoft.com/office/drawing/2014/main" id="{4148948C-4EF1-4BF5-9353-F05C9FB432DC}"/>
              </a:ext>
            </a:extLst>
          </p:cNvPr>
          <p:cNvSpPr txBox="1">
            <a:spLocks/>
          </p:cNvSpPr>
          <p:nvPr>
            <p:custDataLst>
              <p:tags r:id="rId19"/>
            </p:custDataLst>
          </p:nvPr>
        </p:nvSpPr>
        <p:spPr>
          <a:xfrm>
            <a:off x="4191139" y="4335486"/>
            <a:ext cx="645962" cy="107722"/>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700" b="1" dirty="0">
                <a:solidFill>
                  <a:schemeClr val="bg1"/>
                </a:solidFill>
              </a:rPr>
              <a:t>$6.2 B</a:t>
            </a:r>
          </a:p>
        </p:txBody>
      </p:sp>
      <p:sp>
        <p:nvSpPr>
          <p:cNvPr id="674" name="3. Subtitle">
            <a:extLst>
              <a:ext uri="{FF2B5EF4-FFF2-40B4-BE49-F238E27FC236}">
                <a16:creationId xmlns:a16="http://schemas.microsoft.com/office/drawing/2014/main" id="{34734584-F464-474B-9E5B-73354610297F}"/>
              </a:ext>
            </a:extLst>
          </p:cNvPr>
          <p:cNvSpPr txBox="1">
            <a:spLocks/>
          </p:cNvSpPr>
          <p:nvPr>
            <p:custDataLst>
              <p:tags r:id="rId20"/>
            </p:custDataLst>
          </p:nvPr>
        </p:nvSpPr>
        <p:spPr>
          <a:xfrm>
            <a:off x="4195958" y="3844836"/>
            <a:ext cx="645962" cy="107722"/>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700" b="1" dirty="0">
                <a:solidFill>
                  <a:schemeClr val="bg1"/>
                </a:solidFill>
              </a:rPr>
              <a:t>$5.7 B</a:t>
            </a:r>
          </a:p>
        </p:txBody>
      </p:sp>
      <p:sp>
        <p:nvSpPr>
          <p:cNvPr id="675" name="3. Subtitle">
            <a:extLst>
              <a:ext uri="{FF2B5EF4-FFF2-40B4-BE49-F238E27FC236}">
                <a16:creationId xmlns:a16="http://schemas.microsoft.com/office/drawing/2014/main" id="{97A40551-E528-4A5D-95B8-C6B00FCB8425}"/>
              </a:ext>
            </a:extLst>
          </p:cNvPr>
          <p:cNvSpPr txBox="1">
            <a:spLocks/>
          </p:cNvSpPr>
          <p:nvPr>
            <p:custDataLst>
              <p:tags r:id="rId21"/>
            </p:custDataLst>
          </p:nvPr>
        </p:nvSpPr>
        <p:spPr>
          <a:xfrm>
            <a:off x="4553469" y="1687825"/>
            <a:ext cx="1139448" cy="307777"/>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000" dirty="0"/>
              <a:t>Mineral fuels and oils</a:t>
            </a:r>
          </a:p>
        </p:txBody>
      </p:sp>
      <p:sp>
        <p:nvSpPr>
          <p:cNvPr id="676" name="3. Subtitle">
            <a:extLst>
              <a:ext uri="{FF2B5EF4-FFF2-40B4-BE49-F238E27FC236}">
                <a16:creationId xmlns:a16="http://schemas.microsoft.com/office/drawing/2014/main" id="{08B28788-0F96-4643-9A78-EDD082B46D49}"/>
              </a:ext>
            </a:extLst>
          </p:cNvPr>
          <p:cNvSpPr txBox="1">
            <a:spLocks/>
          </p:cNvSpPr>
          <p:nvPr>
            <p:custDataLst>
              <p:tags r:id="rId22"/>
            </p:custDataLst>
          </p:nvPr>
        </p:nvSpPr>
        <p:spPr>
          <a:xfrm>
            <a:off x="7751234" y="2005027"/>
            <a:ext cx="1139448" cy="153888"/>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000" dirty="0"/>
              <a:t>Gems &amp; Jewelry</a:t>
            </a:r>
          </a:p>
        </p:txBody>
      </p:sp>
      <p:sp>
        <p:nvSpPr>
          <p:cNvPr id="677" name="3. Subtitle">
            <a:extLst>
              <a:ext uri="{FF2B5EF4-FFF2-40B4-BE49-F238E27FC236}">
                <a16:creationId xmlns:a16="http://schemas.microsoft.com/office/drawing/2014/main" id="{08F83C41-AF37-4406-84B1-BE1EFF001E75}"/>
              </a:ext>
            </a:extLst>
          </p:cNvPr>
          <p:cNvSpPr txBox="1">
            <a:spLocks/>
          </p:cNvSpPr>
          <p:nvPr>
            <p:custDataLst>
              <p:tags r:id="rId23"/>
            </p:custDataLst>
          </p:nvPr>
        </p:nvSpPr>
        <p:spPr>
          <a:xfrm>
            <a:off x="8286905" y="2605884"/>
            <a:ext cx="1310638" cy="307777"/>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000" dirty="0"/>
              <a:t>Machine &amp; mechanical appliances</a:t>
            </a:r>
          </a:p>
        </p:txBody>
      </p:sp>
      <p:sp>
        <p:nvSpPr>
          <p:cNvPr id="678" name="3. Subtitle">
            <a:extLst>
              <a:ext uri="{FF2B5EF4-FFF2-40B4-BE49-F238E27FC236}">
                <a16:creationId xmlns:a16="http://schemas.microsoft.com/office/drawing/2014/main" id="{379B855E-14C2-4216-AD40-A09B8F0D17F4}"/>
              </a:ext>
            </a:extLst>
          </p:cNvPr>
          <p:cNvSpPr txBox="1">
            <a:spLocks/>
          </p:cNvSpPr>
          <p:nvPr>
            <p:custDataLst>
              <p:tags r:id="rId24"/>
            </p:custDataLst>
          </p:nvPr>
        </p:nvSpPr>
        <p:spPr>
          <a:xfrm>
            <a:off x="8361702" y="3573942"/>
            <a:ext cx="1310638" cy="153888"/>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000" dirty="0"/>
              <a:t>Organic chemicals</a:t>
            </a:r>
          </a:p>
        </p:txBody>
      </p:sp>
      <p:sp>
        <p:nvSpPr>
          <p:cNvPr id="679" name="3. Subtitle">
            <a:extLst>
              <a:ext uri="{FF2B5EF4-FFF2-40B4-BE49-F238E27FC236}">
                <a16:creationId xmlns:a16="http://schemas.microsoft.com/office/drawing/2014/main" id="{C6D8B415-B1B5-4F6D-8BFA-A2992025CF67}"/>
              </a:ext>
            </a:extLst>
          </p:cNvPr>
          <p:cNvSpPr txBox="1">
            <a:spLocks/>
          </p:cNvSpPr>
          <p:nvPr>
            <p:custDataLst>
              <p:tags r:id="rId25"/>
            </p:custDataLst>
          </p:nvPr>
        </p:nvSpPr>
        <p:spPr>
          <a:xfrm>
            <a:off x="8361702" y="4325577"/>
            <a:ext cx="1310638" cy="153888"/>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000" dirty="0"/>
              <a:t>Auto vehicles</a:t>
            </a:r>
          </a:p>
        </p:txBody>
      </p:sp>
      <p:sp>
        <p:nvSpPr>
          <p:cNvPr id="680" name="3. Subtitle">
            <a:extLst>
              <a:ext uri="{FF2B5EF4-FFF2-40B4-BE49-F238E27FC236}">
                <a16:creationId xmlns:a16="http://schemas.microsoft.com/office/drawing/2014/main" id="{7FEF14B5-C812-4313-8B63-D589AFF839B1}"/>
              </a:ext>
            </a:extLst>
          </p:cNvPr>
          <p:cNvSpPr txBox="1">
            <a:spLocks/>
          </p:cNvSpPr>
          <p:nvPr>
            <p:custDataLst>
              <p:tags r:id="rId26"/>
            </p:custDataLst>
          </p:nvPr>
        </p:nvSpPr>
        <p:spPr>
          <a:xfrm>
            <a:off x="8062061" y="5064140"/>
            <a:ext cx="1310638" cy="153888"/>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000" dirty="0"/>
              <a:t>Pharma products </a:t>
            </a:r>
          </a:p>
        </p:txBody>
      </p:sp>
      <p:sp>
        <p:nvSpPr>
          <p:cNvPr id="681" name="3. Subtitle">
            <a:extLst>
              <a:ext uri="{FF2B5EF4-FFF2-40B4-BE49-F238E27FC236}">
                <a16:creationId xmlns:a16="http://schemas.microsoft.com/office/drawing/2014/main" id="{42DC9236-7CA6-414B-A76D-D11534F20EDC}"/>
              </a:ext>
            </a:extLst>
          </p:cNvPr>
          <p:cNvSpPr txBox="1">
            <a:spLocks/>
          </p:cNvSpPr>
          <p:nvPr>
            <p:custDataLst>
              <p:tags r:id="rId27"/>
            </p:custDataLst>
          </p:nvPr>
        </p:nvSpPr>
        <p:spPr>
          <a:xfrm>
            <a:off x="7565064" y="5605966"/>
            <a:ext cx="1310638" cy="307777"/>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000" dirty="0"/>
              <a:t>Electric machinery equipment</a:t>
            </a:r>
          </a:p>
        </p:txBody>
      </p:sp>
      <p:sp>
        <p:nvSpPr>
          <p:cNvPr id="682" name="3. Subtitle">
            <a:extLst>
              <a:ext uri="{FF2B5EF4-FFF2-40B4-BE49-F238E27FC236}">
                <a16:creationId xmlns:a16="http://schemas.microsoft.com/office/drawing/2014/main" id="{2D5CAB31-2CD5-43E1-8233-53745C038F4E}"/>
              </a:ext>
            </a:extLst>
          </p:cNvPr>
          <p:cNvSpPr txBox="1">
            <a:spLocks/>
          </p:cNvSpPr>
          <p:nvPr>
            <p:custDataLst>
              <p:tags r:id="rId28"/>
            </p:custDataLst>
          </p:nvPr>
        </p:nvSpPr>
        <p:spPr>
          <a:xfrm>
            <a:off x="6410205" y="6149539"/>
            <a:ext cx="1310638" cy="153888"/>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000" dirty="0"/>
              <a:t>Iron &amp; steel</a:t>
            </a:r>
          </a:p>
        </p:txBody>
      </p:sp>
      <p:sp>
        <p:nvSpPr>
          <p:cNvPr id="683" name="3. Subtitle">
            <a:extLst>
              <a:ext uri="{FF2B5EF4-FFF2-40B4-BE49-F238E27FC236}">
                <a16:creationId xmlns:a16="http://schemas.microsoft.com/office/drawing/2014/main" id="{BBD542C2-372E-4DB7-8635-D7D892ABC88A}"/>
              </a:ext>
            </a:extLst>
          </p:cNvPr>
          <p:cNvSpPr txBox="1">
            <a:spLocks/>
          </p:cNvSpPr>
          <p:nvPr>
            <p:custDataLst>
              <p:tags r:id="rId29"/>
            </p:custDataLst>
          </p:nvPr>
        </p:nvSpPr>
        <p:spPr>
          <a:xfrm>
            <a:off x="5703671" y="6096916"/>
            <a:ext cx="694733" cy="307777"/>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000" dirty="0"/>
              <a:t>Non-knitted apparel</a:t>
            </a:r>
          </a:p>
        </p:txBody>
      </p:sp>
      <p:sp>
        <p:nvSpPr>
          <p:cNvPr id="684" name="3. Subtitle">
            <a:extLst>
              <a:ext uri="{FF2B5EF4-FFF2-40B4-BE49-F238E27FC236}">
                <a16:creationId xmlns:a16="http://schemas.microsoft.com/office/drawing/2014/main" id="{114F5FEA-CD67-4147-BA6B-0487AEECC2D2}"/>
              </a:ext>
            </a:extLst>
          </p:cNvPr>
          <p:cNvSpPr txBox="1">
            <a:spLocks/>
          </p:cNvSpPr>
          <p:nvPr>
            <p:custDataLst>
              <p:tags r:id="rId30"/>
            </p:custDataLst>
          </p:nvPr>
        </p:nvSpPr>
        <p:spPr>
          <a:xfrm>
            <a:off x="5199431" y="5961150"/>
            <a:ext cx="470003" cy="307777"/>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000" dirty="0"/>
              <a:t>Knitted apparel</a:t>
            </a:r>
          </a:p>
        </p:txBody>
      </p:sp>
      <p:sp>
        <p:nvSpPr>
          <p:cNvPr id="685" name="3. Subtitle">
            <a:extLst>
              <a:ext uri="{FF2B5EF4-FFF2-40B4-BE49-F238E27FC236}">
                <a16:creationId xmlns:a16="http://schemas.microsoft.com/office/drawing/2014/main" id="{DE11DDCD-1361-4A83-A0F4-298BF46AC8A5}"/>
              </a:ext>
            </a:extLst>
          </p:cNvPr>
          <p:cNvSpPr txBox="1">
            <a:spLocks/>
          </p:cNvSpPr>
          <p:nvPr>
            <p:custDataLst>
              <p:tags r:id="rId31"/>
            </p:custDataLst>
          </p:nvPr>
        </p:nvSpPr>
        <p:spPr>
          <a:xfrm>
            <a:off x="3884190" y="5632638"/>
            <a:ext cx="1087279" cy="307777"/>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000" dirty="0"/>
              <a:t>Articles of Iron and steel</a:t>
            </a:r>
          </a:p>
        </p:txBody>
      </p:sp>
      <p:sp>
        <p:nvSpPr>
          <p:cNvPr id="686" name="3. Subtitle">
            <a:extLst>
              <a:ext uri="{FF2B5EF4-FFF2-40B4-BE49-F238E27FC236}">
                <a16:creationId xmlns:a16="http://schemas.microsoft.com/office/drawing/2014/main" id="{A64C98F0-19BC-4F0D-8726-11DF863CD421}"/>
              </a:ext>
            </a:extLst>
          </p:cNvPr>
          <p:cNvSpPr txBox="1">
            <a:spLocks/>
          </p:cNvSpPr>
          <p:nvPr>
            <p:custDataLst>
              <p:tags r:id="rId32"/>
            </p:custDataLst>
          </p:nvPr>
        </p:nvSpPr>
        <p:spPr>
          <a:xfrm>
            <a:off x="3952770" y="5157400"/>
            <a:ext cx="561350" cy="153888"/>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000" dirty="0"/>
              <a:t>Plastics </a:t>
            </a:r>
          </a:p>
        </p:txBody>
      </p:sp>
      <p:sp>
        <p:nvSpPr>
          <p:cNvPr id="687" name="3. Subtitle">
            <a:extLst>
              <a:ext uri="{FF2B5EF4-FFF2-40B4-BE49-F238E27FC236}">
                <a16:creationId xmlns:a16="http://schemas.microsoft.com/office/drawing/2014/main" id="{BD646DFE-4345-425F-9447-D6B4934456AB}"/>
              </a:ext>
            </a:extLst>
          </p:cNvPr>
          <p:cNvSpPr txBox="1">
            <a:spLocks/>
          </p:cNvSpPr>
          <p:nvPr>
            <p:custDataLst>
              <p:tags r:id="rId33"/>
            </p:custDataLst>
          </p:nvPr>
        </p:nvSpPr>
        <p:spPr>
          <a:xfrm>
            <a:off x="3718528" y="4737292"/>
            <a:ext cx="561350" cy="153888"/>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000" dirty="0"/>
              <a:t>Cereals </a:t>
            </a:r>
          </a:p>
        </p:txBody>
      </p:sp>
      <p:sp>
        <p:nvSpPr>
          <p:cNvPr id="688" name="3. Subtitle">
            <a:extLst>
              <a:ext uri="{FF2B5EF4-FFF2-40B4-BE49-F238E27FC236}">
                <a16:creationId xmlns:a16="http://schemas.microsoft.com/office/drawing/2014/main" id="{6B667C33-EE6E-4373-B5BB-98D7EC19EFE8}"/>
              </a:ext>
            </a:extLst>
          </p:cNvPr>
          <p:cNvSpPr txBox="1">
            <a:spLocks/>
          </p:cNvSpPr>
          <p:nvPr>
            <p:custDataLst>
              <p:tags r:id="rId34"/>
            </p:custDataLst>
          </p:nvPr>
        </p:nvSpPr>
        <p:spPr>
          <a:xfrm>
            <a:off x="3472710" y="4210920"/>
            <a:ext cx="784308" cy="307777"/>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dirty="0"/>
              <a:t>Fish ad other seafood </a:t>
            </a:r>
          </a:p>
        </p:txBody>
      </p:sp>
      <p:sp>
        <p:nvSpPr>
          <p:cNvPr id="689" name="3. Subtitle">
            <a:extLst>
              <a:ext uri="{FF2B5EF4-FFF2-40B4-BE49-F238E27FC236}">
                <a16:creationId xmlns:a16="http://schemas.microsoft.com/office/drawing/2014/main" id="{35E7278E-B3C3-4E73-9E2B-DB2D5FE20102}"/>
              </a:ext>
            </a:extLst>
          </p:cNvPr>
          <p:cNvSpPr txBox="1">
            <a:spLocks/>
          </p:cNvSpPr>
          <p:nvPr>
            <p:custDataLst>
              <p:tags r:id="rId35"/>
            </p:custDataLst>
          </p:nvPr>
        </p:nvSpPr>
        <p:spPr>
          <a:xfrm>
            <a:off x="3431669" y="3771675"/>
            <a:ext cx="784308" cy="153888"/>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dirty="0"/>
              <a:t>Cotton </a:t>
            </a:r>
          </a:p>
        </p:txBody>
      </p:sp>
      <p:sp>
        <p:nvSpPr>
          <p:cNvPr id="692" name="3. Subtitle">
            <a:extLst>
              <a:ext uri="{FF2B5EF4-FFF2-40B4-BE49-F238E27FC236}">
                <a16:creationId xmlns:a16="http://schemas.microsoft.com/office/drawing/2014/main" id="{CCB36E91-E2D0-4A43-9379-661B3C52EBC7}"/>
              </a:ext>
            </a:extLst>
          </p:cNvPr>
          <p:cNvSpPr txBox="1">
            <a:spLocks/>
          </p:cNvSpPr>
          <p:nvPr>
            <p:custDataLst>
              <p:tags r:id="rId36"/>
            </p:custDataLst>
          </p:nvPr>
        </p:nvSpPr>
        <p:spPr>
          <a:xfrm>
            <a:off x="5276821" y="3434902"/>
            <a:ext cx="1871006" cy="1000274"/>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800" dirty="0"/>
              <a:t>Total commodity exports </a:t>
            </a:r>
          </a:p>
          <a:p>
            <a:pPr algn="ctr"/>
            <a:r>
              <a:rPr lang="en-US" sz="2400" b="1" dirty="0"/>
              <a:t>$313.3B</a:t>
            </a:r>
          </a:p>
        </p:txBody>
      </p:sp>
      <p:sp>
        <p:nvSpPr>
          <p:cNvPr id="693" name="3. Subtitle">
            <a:extLst>
              <a:ext uri="{FF2B5EF4-FFF2-40B4-BE49-F238E27FC236}">
                <a16:creationId xmlns:a16="http://schemas.microsoft.com/office/drawing/2014/main" id="{63CF8774-68C1-4527-81FC-CFE5FD9DFE43}"/>
              </a:ext>
            </a:extLst>
          </p:cNvPr>
          <p:cNvSpPr txBox="1">
            <a:spLocks/>
          </p:cNvSpPr>
          <p:nvPr>
            <p:custDataLst>
              <p:tags r:id="rId37"/>
            </p:custDataLst>
          </p:nvPr>
        </p:nvSpPr>
        <p:spPr>
          <a:xfrm>
            <a:off x="1887750" y="2333807"/>
            <a:ext cx="2392128" cy="738664"/>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i="1" dirty="0"/>
              <a:t>India receives the highest commodity export revenues from USA, raking in almost </a:t>
            </a:r>
            <a:r>
              <a:rPr lang="en-US" sz="1200" b="1" i="1" dirty="0"/>
              <a:t>$53bn </a:t>
            </a:r>
            <a:r>
              <a:rPr lang="en-US" sz="1200" i="1" dirty="0"/>
              <a:t>(FY20) from the country </a:t>
            </a:r>
          </a:p>
        </p:txBody>
      </p:sp>
      <p:sp>
        <p:nvSpPr>
          <p:cNvPr id="694" name="3. Subtitle">
            <a:extLst>
              <a:ext uri="{FF2B5EF4-FFF2-40B4-BE49-F238E27FC236}">
                <a16:creationId xmlns:a16="http://schemas.microsoft.com/office/drawing/2014/main" id="{01D3E87D-0663-4504-A6A1-7773C86E17FD}"/>
              </a:ext>
            </a:extLst>
          </p:cNvPr>
          <p:cNvSpPr txBox="1">
            <a:spLocks/>
          </p:cNvSpPr>
          <p:nvPr>
            <p:custDataLst>
              <p:tags r:id="rId38"/>
            </p:custDataLst>
          </p:nvPr>
        </p:nvSpPr>
        <p:spPr>
          <a:xfrm>
            <a:off x="1756686" y="5033362"/>
            <a:ext cx="2073612" cy="369332"/>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i="1" dirty="0"/>
              <a:t>India is also the largest exporter of </a:t>
            </a:r>
            <a:r>
              <a:rPr lang="en-US" sz="1200" b="1" i="1" dirty="0"/>
              <a:t>rice</a:t>
            </a:r>
            <a:r>
              <a:rPr lang="en-US" sz="1200" i="1" dirty="0"/>
              <a:t> globally</a:t>
            </a:r>
          </a:p>
        </p:txBody>
      </p:sp>
      <p:sp>
        <p:nvSpPr>
          <p:cNvPr id="695" name="3. Subtitle">
            <a:extLst>
              <a:ext uri="{FF2B5EF4-FFF2-40B4-BE49-F238E27FC236}">
                <a16:creationId xmlns:a16="http://schemas.microsoft.com/office/drawing/2014/main" id="{6097DCCB-802A-4217-B7CD-B22510959DB5}"/>
              </a:ext>
            </a:extLst>
          </p:cNvPr>
          <p:cNvSpPr txBox="1">
            <a:spLocks/>
          </p:cNvSpPr>
          <p:nvPr>
            <p:custDataLst>
              <p:tags r:id="rId39"/>
            </p:custDataLst>
          </p:nvPr>
        </p:nvSpPr>
        <p:spPr>
          <a:xfrm>
            <a:off x="8361702" y="1441604"/>
            <a:ext cx="2073612" cy="369332"/>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200" i="1" dirty="0"/>
              <a:t>India is the world’s largest exporter of </a:t>
            </a:r>
            <a:r>
              <a:rPr lang="en-US" sz="1200" b="1" i="1" dirty="0"/>
              <a:t>Diamonds</a:t>
            </a:r>
            <a:endParaRPr lang="en-US" sz="1200" i="1" dirty="0"/>
          </a:p>
        </p:txBody>
      </p:sp>
      <p:sp>
        <p:nvSpPr>
          <p:cNvPr id="696" name="Freeform: Shape 695">
            <a:extLst>
              <a:ext uri="{FF2B5EF4-FFF2-40B4-BE49-F238E27FC236}">
                <a16:creationId xmlns:a16="http://schemas.microsoft.com/office/drawing/2014/main" id="{D716CBCA-E4A1-43FB-BCFB-2D9CA987CA09}"/>
              </a:ext>
            </a:extLst>
          </p:cNvPr>
          <p:cNvSpPr/>
          <p:nvPr/>
        </p:nvSpPr>
        <p:spPr>
          <a:xfrm>
            <a:off x="7517025" y="1685925"/>
            <a:ext cx="676275" cy="152400"/>
          </a:xfrm>
          <a:custGeom>
            <a:avLst/>
            <a:gdLst>
              <a:gd name="connsiteX0" fmla="*/ 0 w 676275"/>
              <a:gd name="connsiteY0" fmla="*/ 152400 h 152400"/>
              <a:gd name="connsiteX1" fmla="*/ 152400 w 676275"/>
              <a:gd name="connsiteY1" fmla="*/ 0 h 152400"/>
              <a:gd name="connsiteX2" fmla="*/ 676275 w 676275"/>
              <a:gd name="connsiteY2" fmla="*/ 0 h 152400"/>
            </a:gdLst>
            <a:ahLst/>
            <a:cxnLst>
              <a:cxn ang="0">
                <a:pos x="connsiteX0" y="connsiteY0"/>
              </a:cxn>
              <a:cxn ang="0">
                <a:pos x="connsiteX1" y="connsiteY1"/>
              </a:cxn>
              <a:cxn ang="0">
                <a:pos x="connsiteX2" y="connsiteY2"/>
              </a:cxn>
            </a:cxnLst>
            <a:rect l="l" t="t" r="r" b="b"/>
            <a:pathLst>
              <a:path w="676275" h="152400">
                <a:moveTo>
                  <a:pt x="0" y="152400"/>
                </a:moveTo>
                <a:lnTo>
                  <a:pt x="152400" y="0"/>
                </a:lnTo>
                <a:lnTo>
                  <a:pt x="676275" y="0"/>
                </a:lnTo>
              </a:path>
            </a:pathLst>
          </a:custGeom>
          <a:noFill/>
          <a:ln w="6350" cap="sq">
            <a:solidFill>
              <a:schemeClr val="bg1">
                <a:lumMod val="50000"/>
              </a:schemeClr>
            </a:solidFill>
            <a:miter lim="800000"/>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7" name="Freeform: Shape 696">
            <a:extLst>
              <a:ext uri="{FF2B5EF4-FFF2-40B4-BE49-F238E27FC236}">
                <a16:creationId xmlns:a16="http://schemas.microsoft.com/office/drawing/2014/main" id="{52A339EA-AF21-4EF8-996E-30702D00C72A}"/>
              </a:ext>
            </a:extLst>
          </p:cNvPr>
          <p:cNvSpPr/>
          <p:nvPr/>
        </p:nvSpPr>
        <p:spPr>
          <a:xfrm flipH="1">
            <a:off x="4369780" y="2753636"/>
            <a:ext cx="944279" cy="160025"/>
          </a:xfrm>
          <a:custGeom>
            <a:avLst/>
            <a:gdLst>
              <a:gd name="connsiteX0" fmla="*/ 0 w 676275"/>
              <a:gd name="connsiteY0" fmla="*/ 152400 h 152400"/>
              <a:gd name="connsiteX1" fmla="*/ 152400 w 676275"/>
              <a:gd name="connsiteY1" fmla="*/ 0 h 152400"/>
              <a:gd name="connsiteX2" fmla="*/ 676275 w 676275"/>
              <a:gd name="connsiteY2" fmla="*/ 0 h 152400"/>
            </a:gdLst>
            <a:ahLst/>
            <a:cxnLst>
              <a:cxn ang="0">
                <a:pos x="connsiteX0" y="connsiteY0"/>
              </a:cxn>
              <a:cxn ang="0">
                <a:pos x="connsiteX1" y="connsiteY1"/>
              </a:cxn>
              <a:cxn ang="0">
                <a:pos x="connsiteX2" y="connsiteY2"/>
              </a:cxn>
            </a:cxnLst>
            <a:rect l="l" t="t" r="r" b="b"/>
            <a:pathLst>
              <a:path w="676275" h="152400">
                <a:moveTo>
                  <a:pt x="0" y="152400"/>
                </a:moveTo>
                <a:lnTo>
                  <a:pt x="152400" y="0"/>
                </a:lnTo>
                <a:lnTo>
                  <a:pt x="676275" y="0"/>
                </a:lnTo>
              </a:path>
            </a:pathLst>
          </a:custGeom>
          <a:noFill/>
          <a:ln w="6350" cap="sq">
            <a:solidFill>
              <a:schemeClr val="bg1">
                <a:lumMod val="50000"/>
              </a:schemeClr>
            </a:solidFill>
            <a:miter lim="800000"/>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8" name="Freeform: Shape 697">
            <a:extLst>
              <a:ext uri="{FF2B5EF4-FFF2-40B4-BE49-F238E27FC236}">
                <a16:creationId xmlns:a16="http://schemas.microsoft.com/office/drawing/2014/main" id="{F95F70FC-1924-4883-9045-0EB91D4EFD3C}"/>
              </a:ext>
            </a:extLst>
          </p:cNvPr>
          <p:cNvSpPr/>
          <p:nvPr/>
        </p:nvSpPr>
        <p:spPr>
          <a:xfrm flipH="1" flipV="1">
            <a:off x="3554624" y="4942049"/>
            <a:ext cx="349182" cy="199032"/>
          </a:xfrm>
          <a:custGeom>
            <a:avLst/>
            <a:gdLst>
              <a:gd name="connsiteX0" fmla="*/ 0 w 676275"/>
              <a:gd name="connsiteY0" fmla="*/ 152400 h 152400"/>
              <a:gd name="connsiteX1" fmla="*/ 152400 w 676275"/>
              <a:gd name="connsiteY1" fmla="*/ 0 h 152400"/>
              <a:gd name="connsiteX2" fmla="*/ 676275 w 676275"/>
              <a:gd name="connsiteY2" fmla="*/ 0 h 152400"/>
            </a:gdLst>
            <a:ahLst/>
            <a:cxnLst>
              <a:cxn ang="0">
                <a:pos x="connsiteX0" y="connsiteY0"/>
              </a:cxn>
              <a:cxn ang="0">
                <a:pos x="connsiteX1" y="connsiteY1"/>
              </a:cxn>
              <a:cxn ang="0">
                <a:pos x="connsiteX2" y="connsiteY2"/>
              </a:cxn>
            </a:cxnLst>
            <a:rect l="l" t="t" r="r" b="b"/>
            <a:pathLst>
              <a:path w="676275" h="152400">
                <a:moveTo>
                  <a:pt x="0" y="152400"/>
                </a:moveTo>
                <a:lnTo>
                  <a:pt x="152400" y="0"/>
                </a:lnTo>
                <a:lnTo>
                  <a:pt x="676275" y="0"/>
                </a:lnTo>
              </a:path>
            </a:pathLst>
          </a:custGeom>
          <a:noFill/>
          <a:ln w="6350" cap="sq">
            <a:solidFill>
              <a:schemeClr val="bg1">
                <a:lumMod val="50000"/>
              </a:schemeClr>
            </a:solidFill>
            <a:miter lim="800000"/>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5. Source">
            <a:extLst>
              <a:ext uri="{FF2B5EF4-FFF2-40B4-BE49-F238E27FC236}">
                <a16:creationId xmlns:a16="http://schemas.microsoft.com/office/drawing/2014/main" id="{F73C87FF-4EDD-4215-AE55-F7BBF0EF2C1A}"/>
              </a:ext>
            </a:extLst>
          </p:cNvPr>
          <p:cNvSpPr txBox="1"/>
          <p:nvPr>
            <p:custDataLst>
              <p:tags r:id="rId4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Ministry of Commerce and Industry</a:t>
            </a:r>
          </a:p>
        </p:txBody>
      </p:sp>
      <p:pic>
        <p:nvPicPr>
          <p:cNvPr id="75" name="Content Placeholder 1">
            <a:extLst>
              <a:ext uri="{FF2B5EF4-FFF2-40B4-BE49-F238E27FC236}">
                <a16:creationId xmlns:a16="http://schemas.microsoft.com/office/drawing/2014/main" id="{D0E3F7BB-BC70-4136-96B1-9629D8A43FF4}"/>
              </a:ext>
            </a:extLst>
          </p:cNvPr>
          <p:cNvPicPr>
            <a:picLocks noChangeAspect="1"/>
          </p:cNvPicPr>
          <p:nvPr/>
        </p:nvPicPr>
        <p:blipFill>
          <a:blip r:embed="rId74"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12554611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67D591D2-2DCE-437D-8849-3B2C2500FCED}"/>
              </a:ext>
            </a:extLst>
          </p:cNvPr>
          <p:cNvGraphicFramePr>
            <a:graphicFrameLocks noChangeAspect="1"/>
          </p:cNvGraphicFramePr>
          <p:nvPr>
            <p:custDataLst>
              <p:tags r:id="rId2"/>
            </p:custDataLst>
            <p:extLst>
              <p:ext uri="{D42A27DB-BD31-4B8C-83A1-F6EECF244321}">
                <p14:modId xmlns:p14="http://schemas.microsoft.com/office/powerpoint/2010/main" val="2764014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4" name="think-cell Slide" r:id="rId29" imgW="395" imgH="394" progId="TCLayout.ActiveDocument.1">
                  <p:embed/>
                </p:oleObj>
              </mc:Choice>
              <mc:Fallback>
                <p:oleObj name="think-cell Slide" r:id="rId29" imgW="395" imgH="394" progId="TCLayout.ActiveDocument.1">
                  <p:embed/>
                  <p:pic>
                    <p:nvPicPr>
                      <p:cNvPr id="8" name="Object 2" hidden="1">
                        <a:extLst>
                          <a:ext uri="{FF2B5EF4-FFF2-40B4-BE49-F238E27FC236}">
                            <a16:creationId xmlns:a16="http://schemas.microsoft.com/office/drawing/2014/main" id="{67D591D2-2DCE-437D-8849-3B2C2500FCED}"/>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699B2C10-0427-4B73-A02F-EC4A6231DCD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200" dirty="0" err="1">
              <a:solidFill>
                <a:schemeClr val="bg1"/>
              </a:solidFill>
              <a:latin typeface="Arial" panose="020B0604020202020204" pitchFamily="34" charset="0"/>
              <a:sym typeface="Arial" panose="020B0604020202020204" pitchFamily="34" charset="0"/>
            </a:endParaRPr>
          </a:p>
        </p:txBody>
      </p:sp>
      <p:sp>
        <p:nvSpPr>
          <p:cNvPr id="5" name="2. Slide Title">
            <a:extLst>
              <a:ext uri="{FF2B5EF4-FFF2-40B4-BE49-F238E27FC236}">
                <a16:creationId xmlns:a16="http://schemas.microsoft.com/office/drawing/2014/main" id="{AEAC06CE-561F-4296-A7DA-450E712059B0}"/>
              </a:ext>
            </a:extLst>
          </p:cNvPr>
          <p:cNvSpPr>
            <a:spLocks noGrp="1"/>
          </p:cNvSpPr>
          <p:nvPr>
            <p:ph type="title"/>
            <p:custDataLst>
              <p:tags r:id="rId4"/>
            </p:custDataLst>
          </p:nvPr>
        </p:nvSpPr>
        <p:spPr>
          <a:xfrm>
            <a:off x="554736" y="182372"/>
            <a:ext cx="11082528" cy="731520"/>
          </a:xfrm>
        </p:spPr>
        <p:txBody>
          <a:bodyPr vert="horz">
            <a:noAutofit/>
          </a:bodyPr>
          <a:lstStyle/>
          <a:p>
            <a:r>
              <a:rPr lang="en-US" dirty="0"/>
              <a:t>Top 10 principal exports in terms of commodity groups account </a:t>
            </a:r>
            <a:br>
              <a:rPr lang="en-US" dirty="0"/>
            </a:br>
            <a:r>
              <a:rPr lang="en-US" dirty="0"/>
              <a:t>for as much as 78% of total merchandise exports</a:t>
            </a:r>
          </a:p>
        </p:txBody>
      </p:sp>
      <p:sp>
        <p:nvSpPr>
          <p:cNvPr id="24" name="5. Source">
            <a:extLst>
              <a:ext uri="{FF2B5EF4-FFF2-40B4-BE49-F238E27FC236}">
                <a16:creationId xmlns:a16="http://schemas.microsoft.com/office/drawing/2014/main" id="{206F0411-E212-46FC-9CBD-B66EBA7ABEE0}"/>
              </a:ext>
            </a:extLst>
          </p:cNvPr>
          <p:cNvSpPr>
            <a:spLocks noChangeArrowheads="1"/>
          </p:cNvSpPr>
          <p:nvPr>
            <p:custDataLst>
              <p:tags r:id="rId5"/>
            </p:custDataLst>
          </p:nvPr>
        </p:nvSpPr>
        <p:spPr bwMode="auto">
          <a:xfrm>
            <a:off x="554735" y="6501669"/>
            <a:ext cx="7277861"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913526">
              <a:tabLst>
                <a:tab pos="625214" algn="l"/>
              </a:tabLst>
            </a:pPr>
            <a:r>
              <a:rPr lang="en-US" sz="800" dirty="0">
                <a:cs typeface="Arial" panose="020B0604020202020204" pitchFamily="34" charset="0"/>
              </a:rPr>
              <a:t>Source: </a:t>
            </a:r>
            <a:r>
              <a:rPr lang="en-US" sz="800" dirty="0" err="1">
                <a:cs typeface="Arial" panose="020B0604020202020204" pitchFamily="34" charset="0"/>
              </a:rPr>
              <a:t>Trademap</a:t>
            </a:r>
            <a:endParaRPr lang="en-US" sz="800" dirty="0">
              <a:cs typeface="Arial" panose="020B0604020202020204" pitchFamily="34" charset="0"/>
            </a:endParaRPr>
          </a:p>
        </p:txBody>
      </p:sp>
      <p:graphicFrame>
        <p:nvGraphicFramePr>
          <p:cNvPr id="86" name="Chart 85">
            <a:extLst>
              <a:ext uri="{FF2B5EF4-FFF2-40B4-BE49-F238E27FC236}">
                <a16:creationId xmlns:a16="http://schemas.microsoft.com/office/drawing/2014/main" id="{CDE3B686-E32C-4C4B-B389-77586B7A30DA}"/>
              </a:ext>
            </a:extLst>
          </p:cNvPr>
          <p:cNvGraphicFramePr/>
          <p:nvPr>
            <p:custDataLst>
              <p:tags r:id="rId6"/>
            </p:custDataLst>
          </p:nvPr>
        </p:nvGraphicFramePr>
        <p:xfrm>
          <a:off x="4794250" y="1393825"/>
          <a:ext cx="2593975" cy="5045075"/>
        </p:xfrm>
        <a:graphic>
          <a:graphicData uri="http://schemas.openxmlformats.org/drawingml/2006/chart">
            <c:chart xmlns:c="http://schemas.openxmlformats.org/drawingml/2006/chart" xmlns:r="http://schemas.openxmlformats.org/officeDocument/2006/relationships" r:id="rId31"/>
          </a:graphicData>
        </a:graphic>
      </p:graphicFrame>
      <p:sp>
        <p:nvSpPr>
          <p:cNvPr id="30" name="Text Placeholder 2">
            <a:extLst>
              <a:ext uri="{FF2B5EF4-FFF2-40B4-BE49-F238E27FC236}">
                <a16:creationId xmlns:a16="http://schemas.microsoft.com/office/drawing/2014/main" id="{ACDDF88D-02B0-4F29-8AD4-3988BBD40156}"/>
              </a:ext>
            </a:extLst>
          </p:cNvPr>
          <p:cNvSpPr>
            <a:spLocks noGrp="1"/>
          </p:cNvSpPr>
          <p:nvPr>
            <p:custDataLst>
              <p:tags r:id="rId7"/>
            </p:custDataLst>
          </p:nvPr>
        </p:nvSpPr>
        <p:spPr bwMode="auto">
          <a:xfrm>
            <a:off x="542925" y="2589214"/>
            <a:ext cx="33797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F2EF003C-94B9-4FB1-BEED-0EB8E8A6F6E8}" type="datetime'Nuclear r''eac''''tors,'' bo''ilers and mach''i''ne''''r''y'''">
              <a:rPr lang="en-US" altLang="en-US" b="1" smtClean="0"/>
              <a:pPr/>
              <a:t>Nuclear reactors, boilers and machinery</a:t>
            </a:fld>
            <a:endParaRPr lang="en-US" b="1" dirty="0">
              <a:sym typeface="+mn-lt"/>
            </a:endParaRPr>
          </a:p>
        </p:txBody>
      </p:sp>
      <p:sp>
        <p:nvSpPr>
          <p:cNvPr id="46" name="Text Placeholder 2">
            <a:extLst>
              <a:ext uri="{FF2B5EF4-FFF2-40B4-BE49-F238E27FC236}">
                <a16:creationId xmlns:a16="http://schemas.microsoft.com/office/drawing/2014/main" id="{2C69C16E-A1AA-49AB-90E5-0EA510813038}"/>
              </a:ext>
            </a:extLst>
          </p:cNvPr>
          <p:cNvSpPr>
            <a:spLocks noGrp="1"/>
          </p:cNvSpPr>
          <p:nvPr>
            <p:custDataLst>
              <p:tags r:id="rId8"/>
            </p:custDataLst>
          </p:nvPr>
        </p:nvSpPr>
        <p:spPr bwMode="auto">
          <a:xfrm>
            <a:off x="542925" y="5029201"/>
            <a:ext cx="11715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2F3C68F-05E9-4F13-8103-670879008FE2}" type="datetime'I''r''o''n ''a''nd ''''''''''''S''te''''''''e''''''l'''''''">
              <a:rPr lang="en-US" altLang="en-US" b="1" smtClean="0"/>
              <a:pPr/>
              <a:t>Iron and Steel</a:t>
            </a:fld>
            <a:endParaRPr lang="en-US" b="1" dirty="0">
              <a:sym typeface="+mn-lt"/>
            </a:endParaRPr>
          </a:p>
        </p:txBody>
      </p:sp>
      <p:sp>
        <p:nvSpPr>
          <p:cNvPr id="47" name="Text Placeholder 2">
            <a:extLst>
              <a:ext uri="{FF2B5EF4-FFF2-40B4-BE49-F238E27FC236}">
                <a16:creationId xmlns:a16="http://schemas.microsoft.com/office/drawing/2014/main" id="{23C1196E-6D62-43D7-B1C0-15A1FB7007F6}"/>
              </a:ext>
            </a:extLst>
          </p:cNvPr>
          <p:cNvSpPr>
            <a:spLocks noGrp="1"/>
          </p:cNvSpPr>
          <p:nvPr>
            <p:custDataLst>
              <p:tags r:id="rId9"/>
            </p:custDataLst>
          </p:nvPr>
        </p:nvSpPr>
        <p:spPr bwMode="auto">
          <a:xfrm>
            <a:off x="542925" y="5518151"/>
            <a:ext cx="42164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D9B7829-059B-4794-ABA2-35670B41A0E9}" type="datetime'Apparel and clothing (non''''-k''nitt''ed'', non-croch''eted)'">
              <a:rPr lang="en-US" altLang="en-US" b="1" smtClean="0"/>
              <a:pPr/>
              <a:t>Apparel and clothing (non-knitted, non-crocheted)</a:t>
            </a:fld>
            <a:endParaRPr lang="en-US" b="1" dirty="0">
              <a:sym typeface="+mn-lt"/>
            </a:endParaRPr>
          </a:p>
        </p:txBody>
      </p:sp>
      <p:sp>
        <p:nvSpPr>
          <p:cNvPr id="34" name="Text Placeholder 2">
            <a:extLst>
              <a:ext uri="{FF2B5EF4-FFF2-40B4-BE49-F238E27FC236}">
                <a16:creationId xmlns:a16="http://schemas.microsoft.com/office/drawing/2014/main" id="{3C4AF235-2843-4069-9A68-9022D9A4FA62}"/>
              </a:ext>
            </a:extLst>
          </p:cNvPr>
          <p:cNvSpPr>
            <a:spLocks noGrp="1"/>
          </p:cNvSpPr>
          <p:nvPr>
            <p:custDataLst>
              <p:tags r:id="rId10"/>
            </p:custDataLst>
          </p:nvPr>
        </p:nvSpPr>
        <p:spPr bwMode="auto">
          <a:xfrm>
            <a:off x="542925" y="4052888"/>
            <a:ext cx="17938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48FFC91-D573-4669-A1A7-F659460C921A}" type="datetime'''''Pharma''''ceu''''''''''''''tic''''''''''a''''l'' parts'">
              <a:rPr lang="en-US" altLang="en-US" b="1" smtClean="0"/>
              <a:pPr/>
              <a:t>Pharmaceutical parts</a:t>
            </a:fld>
            <a:endParaRPr lang="en-US" b="1" dirty="0">
              <a:sym typeface="+mn-lt"/>
            </a:endParaRPr>
          </a:p>
        </p:txBody>
      </p:sp>
      <p:sp>
        <p:nvSpPr>
          <p:cNvPr id="35" name="Text Placeholder 2">
            <a:extLst>
              <a:ext uri="{FF2B5EF4-FFF2-40B4-BE49-F238E27FC236}">
                <a16:creationId xmlns:a16="http://schemas.microsoft.com/office/drawing/2014/main" id="{F221162E-E88F-4E24-A520-885A800DA7A1}"/>
              </a:ext>
            </a:extLst>
          </p:cNvPr>
          <p:cNvSpPr>
            <a:spLocks noGrp="1"/>
          </p:cNvSpPr>
          <p:nvPr>
            <p:custDataLst>
              <p:tags r:id="rId11"/>
            </p:custDataLst>
          </p:nvPr>
        </p:nvSpPr>
        <p:spPr bwMode="auto">
          <a:xfrm>
            <a:off x="542925" y="3565526"/>
            <a:ext cx="27066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FCF9775-22E2-4A6B-94B3-2B8AE183EE3C}" type="datetime'''''Vehi''''cl''es'' and ''''par''''ts'' ''(non-rail''wa''y)'">
              <a:rPr lang="en-US" altLang="en-US" b="1" smtClean="0"/>
              <a:pPr/>
              <a:t>Vehicles and parts (non-railway)</a:t>
            </a:fld>
            <a:endParaRPr lang="en-US" b="1" dirty="0">
              <a:sym typeface="+mn-lt"/>
            </a:endParaRPr>
          </a:p>
        </p:txBody>
      </p:sp>
      <p:sp>
        <p:nvSpPr>
          <p:cNvPr id="32" name="Text Placeholder 2">
            <a:extLst>
              <a:ext uri="{FF2B5EF4-FFF2-40B4-BE49-F238E27FC236}">
                <a16:creationId xmlns:a16="http://schemas.microsoft.com/office/drawing/2014/main" id="{EEE6FAA6-DE4D-4D60-BEAB-83C068C19646}"/>
              </a:ext>
            </a:extLst>
          </p:cNvPr>
          <p:cNvSpPr>
            <a:spLocks noGrp="1"/>
          </p:cNvSpPr>
          <p:nvPr>
            <p:custDataLst>
              <p:tags r:id="rId12"/>
            </p:custDataLst>
          </p:nvPr>
        </p:nvSpPr>
        <p:spPr bwMode="auto">
          <a:xfrm>
            <a:off x="542925" y="1612901"/>
            <a:ext cx="18796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E09667A-4756-4F1F-A4A7-88686DBE53F6}" type="datetime'M''i''''''neral F''''''u''''''''els'' ''''''''a''n''d Oils'''">
              <a:rPr lang="en-US" altLang="en-US" b="1" smtClean="0"/>
              <a:pPr/>
              <a:t>Mineral Fuels and Oils</a:t>
            </a:fld>
            <a:endParaRPr lang="en-US" b="1" dirty="0">
              <a:sym typeface="+mn-lt"/>
            </a:endParaRPr>
          </a:p>
        </p:txBody>
      </p:sp>
      <p:sp>
        <p:nvSpPr>
          <p:cNvPr id="33" name="Text Placeholder 2">
            <a:extLst>
              <a:ext uri="{FF2B5EF4-FFF2-40B4-BE49-F238E27FC236}">
                <a16:creationId xmlns:a16="http://schemas.microsoft.com/office/drawing/2014/main" id="{81C4ED18-9D75-430A-8D62-48D0B184CFEF}"/>
              </a:ext>
            </a:extLst>
          </p:cNvPr>
          <p:cNvSpPr>
            <a:spLocks noGrp="1"/>
          </p:cNvSpPr>
          <p:nvPr>
            <p:custDataLst>
              <p:tags r:id="rId13"/>
            </p:custDataLst>
          </p:nvPr>
        </p:nvSpPr>
        <p:spPr bwMode="auto">
          <a:xfrm>
            <a:off x="542925" y="2101851"/>
            <a:ext cx="32893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6B4B35D4-AACE-4346-8C72-25AE0FF257F2}" type="datetime'''Pe''''''arls, preci''ous/ ''semi-preci''''ou''s ''sto''nes'">
              <a:rPr lang="en-US" altLang="en-US" b="1" smtClean="0"/>
              <a:pPr/>
              <a:t>Pearls, precious/ semi-precious stones</a:t>
            </a:fld>
            <a:endParaRPr lang="en-US" b="1" dirty="0">
              <a:sym typeface="+mn-lt"/>
            </a:endParaRPr>
          </a:p>
        </p:txBody>
      </p:sp>
      <p:sp>
        <p:nvSpPr>
          <p:cNvPr id="31" name="Text Placeholder 2">
            <a:extLst>
              <a:ext uri="{FF2B5EF4-FFF2-40B4-BE49-F238E27FC236}">
                <a16:creationId xmlns:a16="http://schemas.microsoft.com/office/drawing/2014/main" id="{027A1A6A-245B-44F7-BB36-A749433336D2}"/>
              </a:ext>
            </a:extLst>
          </p:cNvPr>
          <p:cNvSpPr>
            <a:spLocks noGrp="1"/>
          </p:cNvSpPr>
          <p:nvPr>
            <p:custDataLst>
              <p:tags r:id="rId14"/>
            </p:custDataLst>
          </p:nvPr>
        </p:nvSpPr>
        <p:spPr bwMode="auto">
          <a:xfrm>
            <a:off x="542925" y="3078164"/>
            <a:ext cx="16065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ECC5C723-26DB-46A3-A919-D76A1834082D}" type="datetime'''O''''''''''''r''''ga''''n''i''''c'''' ''''C''hemi''ca''ls'''">
              <a:rPr lang="en-US" altLang="en-US" b="1" smtClean="0"/>
              <a:pPr/>
              <a:t>Organic Chemicals</a:t>
            </a:fld>
            <a:endParaRPr lang="en-US" b="1" dirty="0">
              <a:sym typeface="+mn-lt"/>
            </a:endParaRPr>
          </a:p>
        </p:txBody>
      </p:sp>
      <p:sp>
        <p:nvSpPr>
          <p:cNvPr id="36" name="Text Placeholder 2">
            <a:extLst>
              <a:ext uri="{FF2B5EF4-FFF2-40B4-BE49-F238E27FC236}">
                <a16:creationId xmlns:a16="http://schemas.microsoft.com/office/drawing/2014/main" id="{83E0BDB8-EA7A-4885-922F-37F0F0973032}"/>
              </a:ext>
            </a:extLst>
          </p:cNvPr>
          <p:cNvSpPr>
            <a:spLocks noGrp="1"/>
          </p:cNvSpPr>
          <p:nvPr>
            <p:custDataLst>
              <p:tags r:id="rId15"/>
            </p:custDataLst>
          </p:nvPr>
        </p:nvSpPr>
        <p:spPr bwMode="auto">
          <a:xfrm>
            <a:off x="542925" y="4541839"/>
            <a:ext cx="30337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F7B99172-A333-4AD8-AC75-3F4A4BA9CB41}" type="datetime'Elect''rica''l m''ac''''h''i''ne''''ry and eq''''ui''pment'">
              <a:rPr lang="en-US" altLang="en-US" b="1" smtClean="0"/>
              <a:pPr/>
              <a:t>Electrical machinery and equipment</a:t>
            </a:fld>
            <a:endParaRPr lang="en-US" b="1" dirty="0">
              <a:sym typeface="+mn-lt"/>
            </a:endParaRPr>
          </a:p>
        </p:txBody>
      </p:sp>
      <p:sp>
        <p:nvSpPr>
          <p:cNvPr id="48" name="Text Placeholder 2">
            <a:extLst>
              <a:ext uri="{FF2B5EF4-FFF2-40B4-BE49-F238E27FC236}">
                <a16:creationId xmlns:a16="http://schemas.microsoft.com/office/drawing/2014/main" id="{D55CC808-A69A-436C-A956-8CA5E3B98B70}"/>
              </a:ext>
            </a:extLst>
          </p:cNvPr>
          <p:cNvSpPr>
            <a:spLocks noGrp="1"/>
          </p:cNvSpPr>
          <p:nvPr>
            <p:custDataLst>
              <p:tags r:id="rId16"/>
            </p:custDataLst>
          </p:nvPr>
        </p:nvSpPr>
        <p:spPr bwMode="auto">
          <a:xfrm>
            <a:off x="542925" y="6005514"/>
            <a:ext cx="34512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1F72C1A-ED4C-490E-BC43-736DA8C22284}" type="datetime'App''a''rel a''nd clothing (k''nitte''''d,'' ''cr''ocheted)'">
              <a:rPr lang="en-US" altLang="en-US" b="1" smtClean="0"/>
              <a:pPr/>
              <a:t>Apparel and clothing (knitted, crocheted)</a:t>
            </a:fld>
            <a:endParaRPr lang="en-US" b="1" dirty="0">
              <a:sym typeface="+mn-lt"/>
            </a:endParaRPr>
          </a:p>
        </p:txBody>
      </p:sp>
      <p:grpSp>
        <p:nvGrpSpPr>
          <p:cNvPr id="200" name="Group 199">
            <a:extLst>
              <a:ext uri="{FF2B5EF4-FFF2-40B4-BE49-F238E27FC236}">
                <a16:creationId xmlns:a16="http://schemas.microsoft.com/office/drawing/2014/main" id="{9ABC98CD-BABC-447C-87BA-02A44FE9E063}"/>
              </a:ext>
            </a:extLst>
          </p:cNvPr>
          <p:cNvGrpSpPr/>
          <p:nvPr/>
        </p:nvGrpSpPr>
        <p:grpSpPr>
          <a:xfrm>
            <a:off x="7793657" y="1590678"/>
            <a:ext cx="380998" cy="4652752"/>
            <a:chOff x="6172202" y="1590678"/>
            <a:chExt cx="380998" cy="4652752"/>
          </a:xfrm>
        </p:grpSpPr>
        <p:pic>
          <p:nvPicPr>
            <p:cNvPr id="171" name="Picture 170">
              <a:extLst>
                <a:ext uri="{FF2B5EF4-FFF2-40B4-BE49-F238E27FC236}">
                  <a16:creationId xmlns:a16="http://schemas.microsoft.com/office/drawing/2014/main" id="{68A9778F-AF15-4377-8215-66899C4BB6F8}"/>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6172202" y="5989432"/>
              <a:ext cx="380998" cy="253998"/>
            </a:xfrm>
            <a:prstGeom prst="rect">
              <a:avLst/>
            </a:prstGeom>
            <a:ln>
              <a:solidFill>
                <a:srgbClr val="D0D0D0"/>
              </a:solidFill>
            </a:ln>
          </p:spPr>
        </p:pic>
        <p:pic>
          <p:nvPicPr>
            <p:cNvPr id="175" name="Picture 174">
              <a:extLst>
                <a:ext uri="{FF2B5EF4-FFF2-40B4-BE49-F238E27FC236}">
                  <a16:creationId xmlns:a16="http://schemas.microsoft.com/office/drawing/2014/main" id="{983AEB5A-8B43-4BA5-832A-5822F5EB11E8}"/>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6172202" y="5500678"/>
              <a:ext cx="380998" cy="253998"/>
            </a:xfrm>
            <a:prstGeom prst="rect">
              <a:avLst/>
            </a:prstGeom>
            <a:ln>
              <a:solidFill>
                <a:srgbClr val="D0D0D0"/>
              </a:solidFill>
            </a:ln>
          </p:spPr>
        </p:pic>
        <p:pic>
          <p:nvPicPr>
            <p:cNvPr id="176" name="Picture 175">
              <a:extLst>
                <a:ext uri="{FF2B5EF4-FFF2-40B4-BE49-F238E27FC236}">
                  <a16:creationId xmlns:a16="http://schemas.microsoft.com/office/drawing/2014/main" id="{ADB5439D-45B7-4C11-8F45-1F272C5BA1B4}"/>
                </a:ext>
              </a:extLst>
            </p:cNvPr>
            <p:cNvPicPr>
              <a:picLocks/>
            </p:cNvPicPr>
            <p:nvPr/>
          </p:nvPicPr>
          <p:blipFill>
            <a:blip r:embed="rId32" cstate="screen">
              <a:extLst>
                <a:ext uri="{28A0092B-C50C-407E-A947-70E740481C1C}">
                  <a14:useLocalDpi xmlns:a14="http://schemas.microsoft.com/office/drawing/2010/main"/>
                </a:ext>
              </a:extLst>
            </a:blip>
            <a:stretch>
              <a:fillRect/>
            </a:stretch>
          </p:blipFill>
          <p:spPr>
            <a:xfrm>
              <a:off x="6172202" y="2568178"/>
              <a:ext cx="380998" cy="253998"/>
            </a:xfrm>
            <a:prstGeom prst="rect">
              <a:avLst/>
            </a:prstGeom>
            <a:ln>
              <a:solidFill>
                <a:srgbClr val="D0D0D0"/>
              </a:solidFill>
            </a:ln>
          </p:spPr>
        </p:pic>
        <p:pic>
          <p:nvPicPr>
            <p:cNvPr id="57" name="Picture 56">
              <a:extLst>
                <a:ext uri="{FF2B5EF4-FFF2-40B4-BE49-F238E27FC236}">
                  <a16:creationId xmlns:a16="http://schemas.microsoft.com/office/drawing/2014/main" id="{DAC98F9A-4E17-426F-9BFC-A7F843CDAB44}"/>
                </a:ext>
              </a:extLst>
            </p:cNvPr>
            <p:cNvPicPr>
              <a:picLocks/>
            </p:cNvPicPr>
            <p:nvPr/>
          </p:nvPicPr>
          <p:blipFill>
            <a:blip r:embed="rId33" cstate="screen">
              <a:extLst>
                <a:ext uri="{28A0092B-C50C-407E-A947-70E740481C1C}">
                  <a14:useLocalDpi xmlns:a14="http://schemas.microsoft.com/office/drawing/2010/main"/>
                </a:ext>
              </a:extLst>
            </a:blip>
            <a:stretch>
              <a:fillRect/>
            </a:stretch>
          </p:blipFill>
          <p:spPr>
            <a:xfrm>
              <a:off x="6172202" y="3056928"/>
              <a:ext cx="380998" cy="253998"/>
            </a:xfrm>
            <a:prstGeom prst="rect">
              <a:avLst/>
            </a:prstGeom>
            <a:ln>
              <a:solidFill>
                <a:srgbClr val="D0D0D0"/>
              </a:solidFill>
            </a:ln>
          </p:spPr>
        </p:pic>
        <p:pic>
          <p:nvPicPr>
            <p:cNvPr id="179" name="Picture 178">
              <a:extLst>
                <a:ext uri="{FF2B5EF4-FFF2-40B4-BE49-F238E27FC236}">
                  <a16:creationId xmlns:a16="http://schemas.microsoft.com/office/drawing/2014/main" id="{48676F55-2826-481B-B08F-A4C4836D65C2}"/>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6172202" y="3545678"/>
              <a:ext cx="380998" cy="253998"/>
            </a:xfrm>
            <a:prstGeom prst="rect">
              <a:avLst/>
            </a:prstGeom>
            <a:ln>
              <a:solidFill>
                <a:srgbClr val="D0D0D0"/>
              </a:solidFill>
            </a:ln>
          </p:spPr>
        </p:pic>
        <p:pic>
          <p:nvPicPr>
            <p:cNvPr id="55" name="Picture 54">
              <a:extLst>
                <a:ext uri="{FF2B5EF4-FFF2-40B4-BE49-F238E27FC236}">
                  <a16:creationId xmlns:a16="http://schemas.microsoft.com/office/drawing/2014/main" id="{0471FCA3-C4E1-433B-9109-9F2AC093F9E0}"/>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6172202" y="1590678"/>
              <a:ext cx="380998" cy="253998"/>
            </a:xfrm>
            <a:prstGeom prst="rect">
              <a:avLst/>
            </a:prstGeom>
            <a:ln>
              <a:solidFill>
                <a:srgbClr val="D0D0D0"/>
              </a:solidFill>
            </a:ln>
          </p:spPr>
        </p:pic>
        <p:pic>
          <p:nvPicPr>
            <p:cNvPr id="183" name="Picture 182">
              <a:extLst>
                <a:ext uri="{FF2B5EF4-FFF2-40B4-BE49-F238E27FC236}">
                  <a16:creationId xmlns:a16="http://schemas.microsoft.com/office/drawing/2014/main" id="{6E7BFC16-8EAF-4678-906F-813A65B63E54}"/>
                </a:ext>
              </a:extLst>
            </p:cNvPr>
            <p:cNvPicPr>
              <a:picLocks/>
            </p:cNvPicPr>
            <p:nvPr/>
          </p:nvPicPr>
          <p:blipFill>
            <a:blip r:embed="rId33" cstate="screen">
              <a:extLst>
                <a:ext uri="{28A0092B-C50C-407E-A947-70E740481C1C}">
                  <a14:useLocalDpi xmlns:a14="http://schemas.microsoft.com/office/drawing/2010/main"/>
                </a:ext>
              </a:extLst>
            </a:blip>
            <a:stretch>
              <a:fillRect/>
            </a:stretch>
          </p:blipFill>
          <p:spPr>
            <a:xfrm>
              <a:off x="6172202" y="2079428"/>
              <a:ext cx="380998" cy="253998"/>
            </a:xfrm>
            <a:prstGeom prst="rect">
              <a:avLst/>
            </a:prstGeom>
            <a:ln>
              <a:solidFill>
                <a:srgbClr val="D0D0D0"/>
              </a:solidFill>
            </a:ln>
          </p:spPr>
        </p:pic>
        <p:pic>
          <p:nvPicPr>
            <p:cNvPr id="185" name="Picture 184">
              <a:extLst>
                <a:ext uri="{FF2B5EF4-FFF2-40B4-BE49-F238E27FC236}">
                  <a16:creationId xmlns:a16="http://schemas.microsoft.com/office/drawing/2014/main" id="{6ABEB463-BF8B-4896-9DF7-133D77CBD7DD}"/>
                </a:ext>
              </a:extLst>
            </p:cNvPr>
            <p:cNvPicPr>
              <a:picLocks/>
            </p:cNvPicPr>
            <p:nvPr/>
          </p:nvPicPr>
          <p:blipFill>
            <a:blip r:embed="rId35" cstate="screen">
              <a:extLst>
                <a:ext uri="{28A0092B-C50C-407E-A947-70E740481C1C}">
                  <a14:useLocalDpi xmlns:a14="http://schemas.microsoft.com/office/drawing/2010/main"/>
                </a:ext>
              </a:extLst>
            </a:blip>
            <a:stretch>
              <a:fillRect/>
            </a:stretch>
          </p:blipFill>
          <p:spPr>
            <a:xfrm>
              <a:off x="6172202" y="5011928"/>
              <a:ext cx="380998" cy="253998"/>
            </a:xfrm>
            <a:prstGeom prst="rect">
              <a:avLst/>
            </a:prstGeom>
            <a:ln>
              <a:solidFill>
                <a:srgbClr val="D0D0D0"/>
              </a:solidFill>
            </a:ln>
          </p:spPr>
        </p:pic>
        <p:pic>
          <p:nvPicPr>
            <p:cNvPr id="180" name="Picture 179">
              <a:extLst>
                <a:ext uri="{FF2B5EF4-FFF2-40B4-BE49-F238E27FC236}">
                  <a16:creationId xmlns:a16="http://schemas.microsoft.com/office/drawing/2014/main" id="{3582572E-A7DF-43CE-8F55-CE1B8076D6DB}"/>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6172202" y="4034428"/>
              <a:ext cx="380998" cy="253998"/>
            </a:xfrm>
            <a:prstGeom prst="rect">
              <a:avLst/>
            </a:prstGeom>
            <a:ln>
              <a:solidFill>
                <a:srgbClr val="D0D0D0"/>
              </a:solidFill>
            </a:ln>
          </p:spPr>
        </p:pic>
        <p:pic>
          <p:nvPicPr>
            <p:cNvPr id="105" name="Picture 104">
              <a:extLst>
                <a:ext uri="{FF2B5EF4-FFF2-40B4-BE49-F238E27FC236}">
                  <a16:creationId xmlns:a16="http://schemas.microsoft.com/office/drawing/2014/main" id="{3A0D7915-BFD0-4F3B-80AF-E1710D0F7EDD}"/>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6172202" y="4523178"/>
              <a:ext cx="380998" cy="253998"/>
            </a:xfrm>
            <a:prstGeom prst="rect">
              <a:avLst/>
            </a:prstGeom>
            <a:ln>
              <a:solidFill>
                <a:srgbClr val="D0D0D0"/>
              </a:solidFill>
            </a:ln>
          </p:spPr>
        </p:pic>
      </p:grpSp>
      <p:grpSp>
        <p:nvGrpSpPr>
          <p:cNvPr id="201" name="Group 200">
            <a:extLst>
              <a:ext uri="{FF2B5EF4-FFF2-40B4-BE49-F238E27FC236}">
                <a16:creationId xmlns:a16="http://schemas.microsoft.com/office/drawing/2014/main" id="{1FAA238A-48E8-457B-AB9B-442EBB6046BD}"/>
              </a:ext>
            </a:extLst>
          </p:cNvPr>
          <p:cNvGrpSpPr/>
          <p:nvPr/>
        </p:nvGrpSpPr>
        <p:grpSpPr>
          <a:xfrm>
            <a:off x="9418809" y="1590678"/>
            <a:ext cx="380998" cy="4652752"/>
            <a:chOff x="9006304" y="1590678"/>
            <a:chExt cx="380998" cy="4652752"/>
          </a:xfrm>
        </p:grpSpPr>
        <p:pic>
          <p:nvPicPr>
            <p:cNvPr id="133" name="Picture 132">
              <a:extLst>
                <a:ext uri="{FF2B5EF4-FFF2-40B4-BE49-F238E27FC236}">
                  <a16:creationId xmlns:a16="http://schemas.microsoft.com/office/drawing/2014/main" id="{8D6224A2-5055-4F30-AE47-C454418AFF42}"/>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9006304" y="5989432"/>
              <a:ext cx="380998" cy="253998"/>
            </a:xfrm>
            <a:prstGeom prst="rect">
              <a:avLst/>
            </a:prstGeom>
            <a:ln>
              <a:solidFill>
                <a:srgbClr val="D0D0D0"/>
              </a:solidFill>
            </a:ln>
          </p:spPr>
        </p:pic>
        <p:pic>
          <p:nvPicPr>
            <p:cNvPr id="172" name="Picture 171">
              <a:extLst>
                <a:ext uri="{FF2B5EF4-FFF2-40B4-BE49-F238E27FC236}">
                  <a16:creationId xmlns:a16="http://schemas.microsoft.com/office/drawing/2014/main" id="{2E63A04D-B687-4CFC-A532-2379C52B9359}"/>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9006304" y="5500678"/>
              <a:ext cx="380998" cy="253998"/>
            </a:xfrm>
            <a:prstGeom prst="rect">
              <a:avLst/>
            </a:prstGeom>
            <a:ln>
              <a:solidFill>
                <a:srgbClr val="D0D0D0"/>
              </a:solidFill>
            </a:ln>
          </p:spPr>
        </p:pic>
        <p:pic>
          <p:nvPicPr>
            <p:cNvPr id="121" name="Picture 120">
              <a:extLst>
                <a:ext uri="{FF2B5EF4-FFF2-40B4-BE49-F238E27FC236}">
                  <a16:creationId xmlns:a16="http://schemas.microsoft.com/office/drawing/2014/main" id="{84DDCA7E-0C73-467A-ACF5-1C206E730DAA}"/>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9006304" y="2568178"/>
              <a:ext cx="380998" cy="253998"/>
            </a:xfrm>
            <a:prstGeom prst="rect">
              <a:avLst/>
            </a:prstGeom>
            <a:ln>
              <a:solidFill>
                <a:srgbClr val="D0D0D0"/>
              </a:solidFill>
            </a:ln>
          </p:spPr>
        </p:pic>
        <p:pic>
          <p:nvPicPr>
            <p:cNvPr id="125" name="Picture 124">
              <a:extLst>
                <a:ext uri="{FF2B5EF4-FFF2-40B4-BE49-F238E27FC236}">
                  <a16:creationId xmlns:a16="http://schemas.microsoft.com/office/drawing/2014/main" id="{65DCF509-5987-4370-B6DD-2B66A3F6D030}"/>
                </a:ext>
              </a:extLst>
            </p:cNvPr>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9006304" y="3056928"/>
              <a:ext cx="380998" cy="253998"/>
            </a:xfrm>
            <a:prstGeom prst="rect">
              <a:avLst/>
            </a:prstGeom>
            <a:ln>
              <a:solidFill>
                <a:srgbClr val="D0D0D0"/>
              </a:solidFill>
            </a:ln>
          </p:spPr>
        </p:pic>
        <p:pic>
          <p:nvPicPr>
            <p:cNvPr id="123" name="Picture 122">
              <a:extLst>
                <a:ext uri="{FF2B5EF4-FFF2-40B4-BE49-F238E27FC236}">
                  <a16:creationId xmlns:a16="http://schemas.microsoft.com/office/drawing/2014/main" id="{2F3722EF-377D-472D-8605-A9546E8FACBC}"/>
                </a:ext>
              </a:extLst>
            </p:cNvPr>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9006304" y="3545678"/>
              <a:ext cx="380998" cy="253998"/>
            </a:xfrm>
            <a:prstGeom prst="rect">
              <a:avLst/>
            </a:prstGeom>
            <a:ln>
              <a:solidFill>
                <a:srgbClr val="D0D0D0"/>
              </a:solidFill>
            </a:ln>
          </p:spPr>
        </p:pic>
        <p:pic>
          <p:nvPicPr>
            <p:cNvPr id="119" name="Picture 118">
              <a:extLst>
                <a:ext uri="{FF2B5EF4-FFF2-40B4-BE49-F238E27FC236}">
                  <a16:creationId xmlns:a16="http://schemas.microsoft.com/office/drawing/2014/main" id="{011E98BA-CEF1-4658-9EFD-029B0C28BC42}"/>
                </a:ext>
              </a:extLst>
            </p:cNvPr>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9006304" y="1590678"/>
              <a:ext cx="380998" cy="253998"/>
            </a:xfrm>
            <a:prstGeom prst="rect">
              <a:avLst/>
            </a:prstGeom>
            <a:ln>
              <a:solidFill>
                <a:srgbClr val="D0D0D0"/>
              </a:solidFill>
            </a:ln>
          </p:spPr>
        </p:pic>
        <p:pic>
          <p:nvPicPr>
            <p:cNvPr id="177" name="Picture 176">
              <a:extLst>
                <a:ext uri="{FF2B5EF4-FFF2-40B4-BE49-F238E27FC236}">
                  <a16:creationId xmlns:a16="http://schemas.microsoft.com/office/drawing/2014/main" id="{DF9C594D-45DA-437E-837B-FE014399FA49}"/>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9006304" y="2079428"/>
              <a:ext cx="380998" cy="253998"/>
            </a:xfrm>
            <a:prstGeom prst="rect">
              <a:avLst/>
            </a:prstGeom>
            <a:ln>
              <a:solidFill>
                <a:srgbClr val="D0D0D0"/>
              </a:solidFill>
            </a:ln>
          </p:spPr>
        </p:pic>
        <p:pic>
          <p:nvPicPr>
            <p:cNvPr id="131" name="Picture 130">
              <a:extLst>
                <a:ext uri="{FF2B5EF4-FFF2-40B4-BE49-F238E27FC236}">
                  <a16:creationId xmlns:a16="http://schemas.microsoft.com/office/drawing/2014/main" id="{88B51653-DF51-4E24-9A03-ED2832AF4A41}"/>
                </a:ext>
              </a:extLst>
            </p:cNvPr>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9006304" y="5011928"/>
              <a:ext cx="380998" cy="253998"/>
            </a:xfrm>
            <a:prstGeom prst="rect">
              <a:avLst/>
            </a:prstGeom>
            <a:ln>
              <a:solidFill>
                <a:srgbClr val="D0D0D0"/>
              </a:solidFill>
            </a:ln>
          </p:spPr>
        </p:pic>
        <p:pic>
          <p:nvPicPr>
            <p:cNvPr id="127" name="Picture 126">
              <a:extLst>
                <a:ext uri="{FF2B5EF4-FFF2-40B4-BE49-F238E27FC236}">
                  <a16:creationId xmlns:a16="http://schemas.microsoft.com/office/drawing/2014/main" id="{EEED27A8-C6BF-4866-99B7-A3C9507A3909}"/>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9006304" y="4034428"/>
              <a:ext cx="380998" cy="253998"/>
            </a:xfrm>
            <a:prstGeom prst="rect">
              <a:avLst/>
            </a:prstGeom>
            <a:ln>
              <a:solidFill>
                <a:srgbClr val="D0D0D0"/>
              </a:solidFill>
            </a:ln>
          </p:spPr>
        </p:pic>
        <p:pic>
          <p:nvPicPr>
            <p:cNvPr id="129" name="Picture 128">
              <a:extLst>
                <a:ext uri="{FF2B5EF4-FFF2-40B4-BE49-F238E27FC236}">
                  <a16:creationId xmlns:a16="http://schemas.microsoft.com/office/drawing/2014/main" id="{78A080CB-5DAE-4498-A087-105D79BFFEC5}"/>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9006304" y="4523178"/>
              <a:ext cx="380998" cy="253998"/>
            </a:xfrm>
            <a:prstGeom prst="rect">
              <a:avLst/>
            </a:prstGeom>
            <a:ln>
              <a:solidFill>
                <a:srgbClr val="D0D0D0"/>
              </a:solidFill>
            </a:ln>
          </p:spPr>
        </p:pic>
      </p:grpSp>
      <p:grpSp>
        <p:nvGrpSpPr>
          <p:cNvPr id="202" name="Group 201">
            <a:extLst>
              <a:ext uri="{FF2B5EF4-FFF2-40B4-BE49-F238E27FC236}">
                <a16:creationId xmlns:a16="http://schemas.microsoft.com/office/drawing/2014/main" id="{9C8DC751-B1A6-4521-8F38-ED9414574930}"/>
              </a:ext>
            </a:extLst>
          </p:cNvPr>
          <p:cNvGrpSpPr/>
          <p:nvPr/>
        </p:nvGrpSpPr>
        <p:grpSpPr>
          <a:xfrm>
            <a:off x="10231385" y="1590678"/>
            <a:ext cx="380998" cy="4652752"/>
            <a:chOff x="10232581" y="1590678"/>
            <a:chExt cx="380998" cy="4652752"/>
          </a:xfrm>
        </p:grpSpPr>
        <p:pic>
          <p:nvPicPr>
            <p:cNvPr id="147" name="Picture 146">
              <a:extLst>
                <a:ext uri="{FF2B5EF4-FFF2-40B4-BE49-F238E27FC236}">
                  <a16:creationId xmlns:a16="http://schemas.microsoft.com/office/drawing/2014/main" id="{B5BA9C2C-DC02-47CE-9982-24F4F9C1FE51}"/>
                </a:ext>
              </a:extLst>
            </p:cNvPr>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10232581" y="5989432"/>
              <a:ext cx="380998" cy="253998"/>
            </a:xfrm>
            <a:prstGeom prst="rect">
              <a:avLst/>
            </a:prstGeom>
            <a:ln>
              <a:solidFill>
                <a:srgbClr val="D0D0D0"/>
              </a:solidFill>
            </a:ln>
          </p:spPr>
        </p:pic>
        <p:pic>
          <p:nvPicPr>
            <p:cNvPr id="145" name="Picture 144">
              <a:extLst>
                <a:ext uri="{FF2B5EF4-FFF2-40B4-BE49-F238E27FC236}">
                  <a16:creationId xmlns:a16="http://schemas.microsoft.com/office/drawing/2014/main" id="{8507F190-A6D6-4E12-8E14-3A837D5A1353}"/>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10232581" y="5500678"/>
              <a:ext cx="380998" cy="253998"/>
            </a:xfrm>
            <a:prstGeom prst="rect">
              <a:avLst/>
            </a:prstGeom>
            <a:ln>
              <a:solidFill>
                <a:srgbClr val="D0D0D0"/>
              </a:solidFill>
            </a:ln>
          </p:spPr>
        </p:pic>
        <p:pic>
          <p:nvPicPr>
            <p:cNvPr id="137" name="Picture 136">
              <a:extLst>
                <a:ext uri="{FF2B5EF4-FFF2-40B4-BE49-F238E27FC236}">
                  <a16:creationId xmlns:a16="http://schemas.microsoft.com/office/drawing/2014/main" id="{E351EFC1-DFD2-44CD-981D-4047CEDCD318}"/>
                </a:ext>
              </a:extLst>
            </p:cNvPr>
            <p:cNvPicPr>
              <a:picLocks noChangeAspect="1"/>
            </p:cNvPicPr>
            <p:nvPr/>
          </p:nvPicPr>
          <p:blipFill>
            <a:blip r:embed="rId42" cstate="screen">
              <a:extLst>
                <a:ext uri="{28A0092B-C50C-407E-A947-70E740481C1C}">
                  <a14:useLocalDpi xmlns:a14="http://schemas.microsoft.com/office/drawing/2010/main"/>
                </a:ext>
              </a:extLst>
            </a:blip>
            <a:stretch>
              <a:fillRect/>
            </a:stretch>
          </p:blipFill>
          <p:spPr>
            <a:xfrm>
              <a:off x="10232581" y="2568178"/>
              <a:ext cx="380998" cy="253998"/>
            </a:xfrm>
            <a:prstGeom prst="rect">
              <a:avLst/>
            </a:prstGeom>
            <a:ln>
              <a:solidFill>
                <a:srgbClr val="D0D0D0"/>
              </a:solidFill>
            </a:ln>
          </p:spPr>
        </p:pic>
        <p:pic>
          <p:nvPicPr>
            <p:cNvPr id="141" name="Picture 140">
              <a:extLst>
                <a:ext uri="{FF2B5EF4-FFF2-40B4-BE49-F238E27FC236}">
                  <a16:creationId xmlns:a16="http://schemas.microsoft.com/office/drawing/2014/main" id="{6C670CE1-B020-4D0B-BD77-785A4DDA4551}"/>
                </a:ext>
              </a:extLst>
            </p:cNvPr>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10232581" y="3056928"/>
              <a:ext cx="380998" cy="253998"/>
            </a:xfrm>
            <a:prstGeom prst="rect">
              <a:avLst/>
            </a:prstGeom>
            <a:ln>
              <a:solidFill>
                <a:srgbClr val="D0D0D0"/>
              </a:solidFill>
            </a:ln>
          </p:spPr>
        </p:pic>
        <p:pic>
          <p:nvPicPr>
            <p:cNvPr id="139" name="Picture 138">
              <a:extLst>
                <a:ext uri="{FF2B5EF4-FFF2-40B4-BE49-F238E27FC236}">
                  <a16:creationId xmlns:a16="http://schemas.microsoft.com/office/drawing/2014/main" id="{7071A29F-8C2B-45D0-B681-060DB4B78662}"/>
                </a:ext>
              </a:extLst>
            </p:cNvPr>
            <p:cNvPicPr>
              <a:picLocks noChangeAspect="1"/>
            </p:cNvPicPr>
            <p:nvPr/>
          </p:nvPicPr>
          <p:blipFill>
            <a:blip r:embed="rId42" cstate="screen">
              <a:extLst>
                <a:ext uri="{28A0092B-C50C-407E-A947-70E740481C1C}">
                  <a14:useLocalDpi xmlns:a14="http://schemas.microsoft.com/office/drawing/2010/main"/>
                </a:ext>
              </a:extLst>
            </a:blip>
            <a:stretch>
              <a:fillRect/>
            </a:stretch>
          </p:blipFill>
          <p:spPr>
            <a:xfrm>
              <a:off x="10232581" y="3545678"/>
              <a:ext cx="380998" cy="253998"/>
            </a:xfrm>
            <a:prstGeom prst="rect">
              <a:avLst/>
            </a:prstGeom>
            <a:ln>
              <a:solidFill>
                <a:srgbClr val="D0D0D0"/>
              </a:solidFill>
            </a:ln>
          </p:spPr>
        </p:pic>
        <p:pic>
          <p:nvPicPr>
            <p:cNvPr id="181" name="Picture 180">
              <a:extLst>
                <a:ext uri="{FF2B5EF4-FFF2-40B4-BE49-F238E27FC236}">
                  <a16:creationId xmlns:a16="http://schemas.microsoft.com/office/drawing/2014/main" id="{69F53D14-A5A1-42B1-99DB-372839A999FC}"/>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0232581" y="1590678"/>
              <a:ext cx="380998" cy="253998"/>
            </a:xfrm>
            <a:prstGeom prst="rect">
              <a:avLst/>
            </a:prstGeom>
            <a:ln>
              <a:solidFill>
                <a:srgbClr val="D0D0D0"/>
              </a:solidFill>
            </a:ln>
          </p:spPr>
        </p:pic>
        <p:pic>
          <p:nvPicPr>
            <p:cNvPr id="135" name="Picture 134">
              <a:extLst>
                <a:ext uri="{FF2B5EF4-FFF2-40B4-BE49-F238E27FC236}">
                  <a16:creationId xmlns:a16="http://schemas.microsoft.com/office/drawing/2014/main" id="{5865160E-0663-49B8-9B51-32DCFBDF465A}"/>
                </a:ext>
              </a:extLst>
            </p:cNvPr>
            <p:cNvPicPr>
              <a:picLocks noChangeAspect="1"/>
            </p:cNvPicPr>
            <p:nvPr/>
          </p:nvPicPr>
          <p:blipFill>
            <a:blip r:embed="rId44" cstate="screen">
              <a:extLst>
                <a:ext uri="{28A0092B-C50C-407E-A947-70E740481C1C}">
                  <a14:useLocalDpi xmlns:a14="http://schemas.microsoft.com/office/drawing/2010/main"/>
                </a:ext>
              </a:extLst>
            </a:blip>
            <a:stretch>
              <a:fillRect/>
            </a:stretch>
          </p:blipFill>
          <p:spPr>
            <a:xfrm>
              <a:off x="10232581" y="2079428"/>
              <a:ext cx="380998" cy="253998"/>
            </a:xfrm>
            <a:prstGeom prst="rect">
              <a:avLst/>
            </a:prstGeom>
            <a:ln>
              <a:solidFill>
                <a:srgbClr val="D0D0D0"/>
              </a:solidFill>
            </a:ln>
          </p:spPr>
        </p:pic>
        <p:pic>
          <p:nvPicPr>
            <p:cNvPr id="173" name="Picture 172">
              <a:extLst>
                <a:ext uri="{FF2B5EF4-FFF2-40B4-BE49-F238E27FC236}">
                  <a16:creationId xmlns:a16="http://schemas.microsoft.com/office/drawing/2014/main" id="{BC8CD801-F489-4B99-87AD-3CB7491BEBA0}"/>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10232581" y="5011928"/>
              <a:ext cx="380998" cy="253998"/>
            </a:xfrm>
            <a:prstGeom prst="rect">
              <a:avLst/>
            </a:prstGeom>
            <a:ln>
              <a:solidFill>
                <a:srgbClr val="D0D0D0"/>
              </a:solidFill>
            </a:ln>
          </p:spPr>
        </p:pic>
        <p:pic>
          <p:nvPicPr>
            <p:cNvPr id="188" name="Picture 187">
              <a:extLst>
                <a:ext uri="{FF2B5EF4-FFF2-40B4-BE49-F238E27FC236}">
                  <a16:creationId xmlns:a16="http://schemas.microsoft.com/office/drawing/2014/main" id="{B8AB4ABE-4478-4449-8363-5DDDF37CF35A}"/>
                </a:ext>
              </a:extLst>
            </p:cNvPr>
            <p:cNvPicPr>
              <a:picLocks/>
            </p:cNvPicPr>
            <p:nvPr/>
          </p:nvPicPr>
          <p:blipFill>
            <a:blip r:embed="rId45" cstate="screen">
              <a:extLst>
                <a:ext uri="{28A0092B-C50C-407E-A947-70E740481C1C}">
                  <a14:useLocalDpi xmlns:a14="http://schemas.microsoft.com/office/drawing/2010/main"/>
                </a:ext>
              </a:extLst>
            </a:blip>
            <a:stretch>
              <a:fillRect/>
            </a:stretch>
          </p:blipFill>
          <p:spPr>
            <a:xfrm>
              <a:off x="10232581" y="4034428"/>
              <a:ext cx="380998" cy="253998"/>
            </a:xfrm>
            <a:prstGeom prst="rect">
              <a:avLst/>
            </a:prstGeom>
            <a:ln>
              <a:solidFill>
                <a:srgbClr val="D0D0D0"/>
              </a:solidFill>
            </a:ln>
          </p:spPr>
        </p:pic>
        <p:pic>
          <p:nvPicPr>
            <p:cNvPr id="143" name="Picture 142">
              <a:extLst>
                <a:ext uri="{FF2B5EF4-FFF2-40B4-BE49-F238E27FC236}">
                  <a16:creationId xmlns:a16="http://schemas.microsoft.com/office/drawing/2014/main" id="{6321418E-34DC-4289-9A44-A35C12959305}"/>
                </a:ext>
              </a:extLst>
            </p:cNvPr>
            <p:cNvPicPr>
              <a:picLocks/>
            </p:cNvPicPr>
            <p:nvPr/>
          </p:nvPicPr>
          <p:blipFill>
            <a:blip r:embed="rId37" cstate="screen">
              <a:extLst>
                <a:ext uri="{28A0092B-C50C-407E-A947-70E740481C1C}">
                  <a14:useLocalDpi xmlns:a14="http://schemas.microsoft.com/office/drawing/2010/main"/>
                </a:ext>
              </a:extLst>
            </a:blip>
            <a:stretch>
              <a:fillRect/>
            </a:stretch>
          </p:blipFill>
          <p:spPr>
            <a:xfrm>
              <a:off x="10232581" y="4523178"/>
              <a:ext cx="380998" cy="253998"/>
            </a:xfrm>
            <a:prstGeom prst="rect">
              <a:avLst/>
            </a:prstGeom>
            <a:ln>
              <a:solidFill>
                <a:srgbClr val="D0D0D0"/>
              </a:solidFill>
            </a:ln>
          </p:spPr>
        </p:pic>
      </p:grpSp>
      <p:grpSp>
        <p:nvGrpSpPr>
          <p:cNvPr id="203" name="Group 202">
            <a:extLst>
              <a:ext uri="{FF2B5EF4-FFF2-40B4-BE49-F238E27FC236}">
                <a16:creationId xmlns:a16="http://schemas.microsoft.com/office/drawing/2014/main" id="{65F293A4-50EE-4A18-B09B-678AC27D7DBB}"/>
              </a:ext>
            </a:extLst>
          </p:cNvPr>
          <p:cNvGrpSpPr/>
          <p:nvPr/>
        </p:nvGrpSpPr>
        <p:grpSpPr>
          <a:xfrm>
            <a:off x="11043960" y="1590678"/>
            <a:ext cx="380998" cy="4652752"/>
            <a:chOff x="11424958" y="1590678"/>
            <a:chExt cx="380998" cy="4652752"/>
          </a:xfrm>
        </p:grpSpPr>
        <p:pic>
          <p:nvPicPr>
            <p:cNvPr id="165" name="Picture 164">
              <a:extLst>
                <a:ext uri="{FF2B5EF4-FFF2-40B4-BE49-F238E27FC236}">
                  <a16:creationId xmlns:a16="http://schemas.microsoft.com/office/drawing/2014/main" id="{F683260F-F573-459B-AF82-D03461C3987A}"/>
                </a:ext>
              </a:extLst>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11424958" y="5989432"/>
              <a:ext cx="380998" cy="253998"/>
            </a:xfrm>
            <a:prstGeom prst="rect">
              <a:avLst/>
            </a:prstGeom>
            <a:ln>
              <a:solidFill>
                <a:srgbClr val="D0D0D0"/>
              </a:solidFill>
            </a:ln>
          </p:spPr>
        </p:pic>
        <p:pic>
          <p:nvPicPr>
            <p:cNvPr id="163" name="Picture 162">
              <a:extLst>
                <a:ext uri="{FF2B5EF4-FFF2-40B4-BE49-F238E27FC236}">
                  <a16:creationId xmlns:a16="http://schemas.microsoft.com/office/drawing/2014/main" id="{7F2CD8F6-86AE-4D8F-BED9-2ED201100FCB}"/>
                </a:ext>
              </a:extLst>
            </p:cNvPr>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11424958" y="5500678"/>
              <a:ext cx="380998" cy="253998"/>
            </a:xfrm>
            <a:prstGeom prst="rect">
              <a:avLst/>
            </a:prstGeom>
            <a:ln>
              <a:solidFill>
                <a:srgbClr val="D0D0D0"/>
              </a:solidFill>
            </a:ln>
          </p:spPr>
        </p:pic>
        <p:pic>
          <p:nvPicPr>
            <p:cNvPr id="153" name="Picture 152">
              <a:extLst>
                <a:ext uri="{FF2B5EF4-FFF2-40B4-BE49-F238E27FC236}">
                  <a16:creationId xmlns:a16="http://schemas.microsoft.com/office/drawing/2014/main" id="{CCABF790-7BFF-4F6C-9221-75D6EE47FF97}"/>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11424958" y="2568178"/>
              <a:ext cx="380998" cy="253998"/>
            </a:xfrm>
            <a:prstGeom prst="rect">
              <a:avLst/>
            </a:prstGeom>
            <a:ln>
              <a:solidFill>
                <a:srgbClr val="D0D0D0"/>
              </a:solidFill>
            </a:ln>
          </p:spPr>
        </p:pic>
        <p:pic>
          <p:nvPicPr>
            <p:cNvPr id="157" name="Picture 156">
              <a:extLst>
                <a:ext uri="{FF2B5EF4-FFF2-40B4-BE49-F238E27FC236}">
                  <a16:creationId xmlns:a16="http://schemas.microsoft.com/office/drawing/2014/main" id="{19691C2C-6397-4C2E-B836-48FEAB478BDE}"/>
                </a:ext>
              </a:extLst>
            </p:cNvPr>
            <p:cNvPicPr>
              <a:picLocks noChangeAspect="1"/>
            </p:cNvPicPr>
            <p:nvPr/>
          </p:nvPicPr>
          <p:blipFill>
            <a:blip r:embed="rId48" cstate="screen">
              <a:extLst>
                <a:ext uri="{28A0092B-C50C-407E-A947-70E740481C1C}">
                  <a14:useLocalDpi xmlns:a14="http://schemas.microsoft.com/office/drawing/2010/main"/>
                </a:ext>
              </a:extLst>
            </a:blip>
            <a:stretch>
              <a:fillRect/>
            </a:stretch>
          </p:blipFill>
          <p:spPr>
            <a:xfrm>
              <a:off x="11424958" y="3056928"/>
              <a:ext cx="380998" cy="253998"/>
            </a:xfrm>
            <a:prstGeom prst="rect">
              <a:avLst/>
            </a:prstGeom>
            <a:ln>
              <a:solidFill>
                <a:srgbClr val="D0D0D0"/>
              </a:solidFill>
            </a:ln>
          </p:spPr>
        </p:pic>
        <p:pic>
          <p:nvPicPr>
            <p:cNvPr id="155" name="Picture 154">
              <a:extLst>
                <a:ext uri="{FF2B5EF4-FFF2-40B4-BE49-F238E27FC236}">
                  <a16:creationId xmlns:a16="http://schemas.microsoft.com/office/drawing/2014/main" id="{012B4D02-2864-43D2-ABC8-A88B5C4F9FC3}"/>
                </a:ext>
              </a:extLst>
            </p:cNvPr>
            <p:cNvPicPr>
              <a:picLocks noChangeAspect="1"/>
            </p:cNvPicPr>
            <p:nvPr/>
          </p:nvPicPr>
          <p:blipFill>
            <a:blip r:embed="rId49" cstate="screen">
              <a:extLst>
                <a:ext uri="{28A0092B-C50C-407E-A947-70E740481C1C}">
                  <a14:useLocalDpi xmlns:a14="http://schemas.microsoft.com/office/drawing/2010/main"/>
                </a:ext>
              </a:extLst>
            </a:blip>
            <a:stretch>
              <a:fillRect/>
            </a:stretch>
          </p:blipFill>
          <p:spPr>
            <a:xfrm>
              <a:off x="11424958" y="3545678"/>
              <a:ext cx="380998" cy="253998"/>
            </a:xfrm>
            <a:prstGeom prst="rect">
              <a:avLst/>
            </a:prstGeom>
            <a:ln>
              <a:solidFill>
                <a:srgbClr val="D0D0D0"/>
              </a:solidFill>
            </a:ln>
          </p:spPr>
        </p:pic>
        <p:pic>
          <p:nvPicPr>
            <p:cNvPr id="149" name="Picture 148">
              <a:extLst>
                <a:ext uri="{FF2B5EF4-FFF2-40B4-BE49-F238E27FC236}">
                  <a16:creationId xmlns:a16="http://schemas.microsoft.com/office/drawing/2014/main" id="{50E5109D-2831-48AC-98FF-5DD33968E084}"/>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11424958" y="1590678"/>
              <a:ext cx="380998" cy="253998"/>
            </a:xfrm>
            <a:prstGeom prst="rect">
              <a:avLst/>
            </a:prstGeom>
            <a:ln>
              <a:solidFill>
                <a:srgbClr val="D0D0D0"/>
              </a:solidFill>
            </a:ln>
          </p:spPr>
        </p:pic>
        <p:pic>
          <p:nvPicPr>
            <p:cNvPr id="151" name="Picture 150">
              <a:extLst>
                <a:ext uri="{FF2B5EF4-FFF2-40B4-BE49-F238E27FC236}">
                  <a16:creationId xmlns:a16="http://schemas.microsoft.com/office/drawing/2014/main" id="{593CA822-9B93-4B14-A127-FFDB458B4670}"/>
                </a:ext>
              </a:extLst>
            </p:cNvPr>
            <p:cNvPicPr>
              <a:picLocks noChangeAspect="1"/>
            </p:cNvPicPr>
            <p:nvPr/>
          </p:nvPicPr>
          <p:blipFill>
            <a:blip r:embed="rId50" cstate="screen">
              <a:extLst>
                <a:ext uri="{28A0092B-C50C-407E-A947-70E740481C1C}">
                  <a14:useLocalDpi xmlns:a14="http://schemas.microsoft.com/office/drawing/2010/main"/>
                </a:ext>
              </a:extLst>
            </a:blip>
            <a:stretch>
              <a:fillRect/>
            </a:stretch>
          </p:blipFill>
          <p:spPr>
            <a:xfrm>
              <a:off x="11424958" y="2079428"/>
              <a:ext cx="380998" cy="253998"/>
            </a:xfrm>
            <a:prstGeom prst="rect">
              <a:avLst/>
            </a:prstGeom>
            <a:ln>
              <a:solidFill>
                <a:srgbClr val="D0D0D0"/>
              </a:solidFill>
            </a:ln>
          </p:spPr>
        </p:pic>
        <p:pic>
          <p:nvPicPr>
            <p:cNvPr id="161" name="Picture 160">
              <a:extLst>
                <a:ext uri="{FF2B5EF4-FFF2-40B4-BE49-F238E27FC236}">
                  <a16:creationId xmlns:a16="http://schemas.microsoft.com/office/drawing/2014/main" id="{ABFBD8E7-C7D0-427D-8646-AD87AAB66C65}"/>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11424958" y="5011928"/>
              <a:ext cx="380998" cy="253998"/>
            </a:xfrm>
            <a:prstGeom prst="rect">
              <a:avLst/>
            </a:prstGeom>
            <a:ln>
              <a:solidFill>
                <a:srgbClr val="D0D0D0"/>
              </a:solidFill>
            </a:ln>
          </p:spPr>
        </p:pic>
        <p:pic>
          <p:nvPicPr>
            <p:cNvPr id="159" name="Picture 158">
              <a:extLst>
                <a:ext uri="{FF2B5EF4-FFF2-40B4-BE49-F238E27FC236}">
                  <a16:creationId xmlns:a16="http://schemas.microsoft.com/office/drawing/2014/main" id="{E696CD92-888D-46EF-A17E-7FB09155C1C0}"/>
                </a:ext>
              </a:extLst>
            </p:cNvPr>
            <p:cNvPicPr>
              <a:picLocks noChangeAspect="1"/>
            </p:cNvPicPr>
            <p:nvPr/>
          </p:nvPicPr>
          <p:blipFill>
            <a:blip r:embed="rId51" cstate="screen">
              <a:extLst>
                <a:ext uri="{28A0092B-C50C-407E-A947-70E740481C1C}">
                  <a14:useLocalDpi xmlns:a14="http://schemas.microsoft.com/office/drawing/2010/main"/>
                </a:ext>
              </a:extLst>
            </a:blip>
            <a:stretch>
              <a:fillRect/>
            </a:stretch>
          </p:blipFill>
          <p:spPr>
            <a:xfrm>
              <a:off x="11424958" y="4034428"/>
              <a:ext cx="380998" cy="253998"/>
            </a:xfrm>
            <a:prstGeom prst="rect">
              <a:avLst/>
            </a:prstGeom>
            <a:ln>
              <a:solidFill>
                <a:srgbClr val="D0D0D0"/>
              </a:solidFill>
            </a:ln>
          </p:spPr>
        </p:pic>
        <p:pic>
          <p:nvPicPr>
            <p:cNvPr id="187" name="Picture 186">
              <a:extLst>
                <a:ext uri="{FF2B5EF4-FFF2-40B4-BE49-F238E27FC236}">
                  <a16:creationId xmlns:a16="http://schemas.microsoft.com/office/drawing/2014/main" id="{1D455F04-03C8-4FDA-B28F-A89EEBAEC58E}"/>
                </a:ext>
              </a:extLst>
            </p:cNvPr>
            <p:cNvPicPr>
              <a:picLocks/>
            </p:cNvPicPr>
            <p:nvPr/>
          </p:nvPicPr>
          <p:blipFill>
            <a:blip r:embed="rId45" cstate="screen">
              <a:extLst>
                <a:ext uri="{28A0092B-C50C-407E-A947-70E740481C1C}">
                  <a14:useLocalDpi xmlns:a14="http://schemas.microsoft.com/office/drawing/2010/main"/>
                </a:ext>
              </a:extLst>
            </a:blip>
            <a:stretch>
              <a:fillRect/>
            </a:stretch>
          </p:blipFill>
          <p:spPr>
            <a:xfrm>
              <a:off x="11424958" y="4523178"/>
              <a:ext cx="380998" cy="253998"/>
            </a:xfrm>
            <a:prstGeom prst="rect">
              <a:avLst/>
            </a:prstGeom>
            <a:ln>
              <a:solidFill>
                <a:srgbClr val="D0D0D0"/>
              </a:solidFill>
            </a:ln>
          </p:spPr>
        </p:pic>
      </p:grpSp>
      <p:grpSp>
        <p:nvGrpSpPr>
          <p:cNvPr id="204" name="Group 203">
            <a:extLst>
              <a:ext uri="{FF2B5EF4-FFF2-40B4-BE49-F238E27FC236}">
                <a16:creationId xmlns:a16="http://schemas.microsoft.com/office/drawing/2014/main" id="{B7865FCF-AC20-4167-90A3-EF143FE86726}"/>
              </a:ext>
            </a:extLst>
          </p:cNvPr>
          <p:cNvGrpSpPr/>
          <p:nvPr/>
        </p:nvGrpSpPr>
        <p:grpSpPr>
          <a:xfrm>
            <a:off x="8606233" y="1590678"/>
            <a:ext cx="380998" cy="4652752"/>
            <a:chOff x="7793657" y="1590678"/>
            <a:chExt cx="380998" cy="4652752"/>
          </a:xfrm>
        </p:grpSpPr>
        <p:pic>
          <p:nvPicPr>
            <p:cNvPr id="169" name="Picture 168">
              <a:extLst>
                <a:ext uri="{FF2B5EF4-FFF2-40B4-BE49-F238E27FC236}">
                  <a16:creationId xmlns:a16="http://schemas.microsoft.com/office/drawing/2014/main" id="{7C8BCBC8-98CA-4273-B4FA-C9376FC99A74}"/>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7793657" y="5989432"/>
              <a:ext cx="380998" cy="253998"/>
            </a:xfrm>
            <a:prstGeom prst="rect">
              <a:avLst/>
            </a:prstGeom>
            <a:ln>
              <a:solidFill>
                <a:srgbClr val="D0D0D0"/>
              </a:solidFill>
            </a:ln>
          </p:spPr>
        </p:pic>
        <p:pic>
          <p:nvPicPr>
            <p:cNvPr id="117" name="Picture 116">
              <a:extLst>
                <a:ext uri="{FF2B5EF4-FFF2-40B4-BE49-F238E27FC236}">
                  <a16:creationId xmlns:a16="http://schemas.microsoft.com/office/drawing/2014/main" id="{C3AEDDF8-22AB-4B03-B60A-ED64B46A6D91}"/>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7793657" y="5500678"/>
              <a:ext cx="380998" cy="253998"/>
            </a:xfrm>
            <a:prstGeom prst="rect">
              <a:avLst/>
            </a:prstGeom>
            <a:ln>
              <a:solidFill>
                <a:srgbClr val="D0D0D0"/>
              </a:solidFill>
            </a:ln>
          </p:spPr>
        </p:pic>
        <p:pic>
          <p:nvPicPr>
            <p:cNvPr id="109" name="Picture 108">
              <a:extLst>
                <a:ext uri="{FF2B5EF4-FFF2-40B4-BE49-F238E27FC236}">
                  <a16:creationId xmlns:a16="http://schemas.microsoft.com/office/drawing/2014/main" id="{36F9CA7B-9882-4E45-9C2B-FC18D0E0A74E}"/>
                </a:ext>
              </a:extLst>
            </p:cNvPr>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7793657" y="2568178"/>
              <a:ext cx="380998" cy="253998"/>
            </a:xfrm>
            <a:prstGeom prst="rect">
              <a:avLst/>
            </a:prstGeom>
            <a:ln>
              <a:solidFill>
                <a:srgbClr val="D0D0D0"/>
              </a:solidFill>
            </a:ln>
          </p:spPr>
        </p:pic>
        <p:pic>
          <p:nvPicPr>
            <p:cNvPr id="178" name="Picture 177">
              <a:extLst>
                <a:ext uri="{FF2B5EF4-FFF2-40B4-BE49-F238E27FC236}">
                  <a16:creationId xmlns:a16="http://schemas.microsoft.com/office/drawing/2014/main" id="{88E6F4C7-AC8C-4C3C-9CE2-8EF861114F74}"/>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7793657" y="3056928"/>
              <a:ext cx="380998" cy="253998"/>
            </a:xfrm>
            <a:prstGeom prst="rect">
              <a:avLst/>
            </a:prstGeom>
            <a:ln>
              <a:solidFill>
                <a:srgbClr val="D0D0D0"/>
              </a:solidFill>
            </a:ln>
          </p:spPr>
        </p:pic>
        <p:pic>
          <p:nvPicPr>
            <p:cNvPr id="111" name="Picture 110">
              <a:extLst>
                <a:ext uri="{FF2B5EF4-FFF2-40B4-BE49-F238E27FC236}">
                  <a16:creationId xmlns:a16="http://schemas.microsoft.com/office/drawing/2014/main" id="{6900F7C7-A01D-48A6-A64F-92F5CD09D81E}"/>
                </a:ext>
              </a:extLst>
            </p:cNvPr>
            <p:cNvPicPr>
              <a:picLocks noChangeAspect="1"/>
            </p:cNvPicPr>
            <p:nvPr/>
          </p:nvPicPr>
          <p:blipFill>
            <a:blip r:embed="rId52" cstate="screen">
              <a:extLst>
                <a:ext uri="{28A0092B-C50C-407E-A947-70E740481C1C}">
                  <a14:useLocalDpi xmlns:a14="http://schemas.microsoft.com/office/drawing/2010/main"/>
                </a:ext>
              </a:extLst>
            </a:blip>
            <a:stretch>
              <a:fillRect/>
            </a:stretch>
          </p:blipFill>
          <p:spPr>
            <a:xfrm>
              <a:off x="7793657" y="3545678"/>
              <a:ext cx="380998" cy="253998"/>
            </a:xfrm>
            <a:prstGeom prst="rect">
              <a:avLst/>
            </a:prstGeom>
            <a:ln>
              <a:solidFill>
                <a:srgbClr val="D0D0D0"/>
              </a:solidFill>
            </a:ln>
          </p:spPr>
        </p:pic>
        <p:pic>
          <p:nvPicPr>
            <p:cNvPr id="107" name="Picture 106">
              <a:extLst>
                <a:ext uri="{FF2B5EF4-FFF2-40B4-BE49-F238E27FC236}">
                  <a16:creationId xmlns:a16="http://schemas.microsoft.com/office/drawing/2014/main" id="{C85919BB-7CF6-4D47-BD97-A2CCE91DC532}"/>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7793657" y="1590678"/>
              <a:ext cx="380998" cy="253998"/>
            </a:xfrm>
            <a:prstGeom prst="rect">
              <a:avLst/>
            </a:prstGeom>
            <a:ln>
              <a:solidFill>
                <a:srgbClr val="D0D0D0"/>
              </a:solidFill>
            </a:ln>
          </p:spPr>
        </p:pic>
        <p:pic>
          <p:nvPicPr>
            <p:cNvPr id="174" name="Picture 173">
              <a:extLst>
                <a:ext uri="{FF2B5EF4-FFF2-40B4-BE49-F238E27FC236}">
                  <a16:creationId xmlns:a16="http://schemas.microsoft.com/office/drawing/2014/main" id="{3D0BCD19-BA2F-4105-82A0-507279F0F836}"/>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7793657" y="2079428"/>
              <a:ext cx="380998" cy="253998"/>
            </a:xfrm>
            <a:prstGeom prst="rect">
              <a:avLst/>
            </a:prstGeom>
            <a:ln>
              <a:solidFill>
                <a:srgbClr val="D0D0D0"/>
              </a:solidFill>
            </a:ln>
          </p:spPr>
        </p:pic>
        <p:pic>
          <p:nvPicPr>
            <p:cNvPr id="115" name="Picture 114">
              <a:extLst>
                <a:ext uri="{FF2B5EF4-FFF2-40B4-BE49-F238E27FC236}">
                  <a16:creationId xmlns:a16="http://schemas.microsoft.com/office/drawing/2014/main" id="{95DDCAC2-2D05-4FAE-A779-764B2869AC1C}"/>
                </a:ext>
              </a:extLst>
            </p:cNvPr>
            <p:cNvPicPr>
              <a:picLocks noChangeAspect="1"/>
            </p:cNvPicPr>
            <p:nvPr/>
          </p:nvPicPr>
          <p:blipFill>
            <a:blip r:embed="rId53" cstate="screen">
              <a:extLst>
                <a:ext uri="{28A0092B-C50C-407E-A947-70E740481C1C}">
                  <a14:useLocalDpi xmlns:a14="http://schemas.microsoft.com/office/drawing/2010/main"/>
                </a:ext>
              </a:extLst>
            </a:blip>
            <a:stretch>
              <a:fillRect/>
            </a:stretch>
          </p:blipFill>
          <p:spPr>
            <a:xfrm>
              <a:off x="7793657" y="5011928"/>
              <a:ext cx="380998" cy="253998"/>
            </a:xfrm>
            <a:prstGeom prst="rect">
              <a:avLst/>
            </a:prstGeom>
            <a:ln>
              <a:solidFill>
                <a:srgbClr val="D0D0D0"/>
              </a:solidFill>
            </a:ln>
          </p:spPr>
        </p:pic>
        <p:pic>
          <p:nvPicPr>
            <p:cNvPr id="113" name="Picture 112">
              <a:extLst>
                <a:ext uri="{FF2B5EF4-FFF2-40B4-BE49-F238E27FC236}">
                  <a16:creationId xmlns:a16="http://schemas.microsoft.com/office/drawing/2014/main" id="{84D59E5D-E095-4698-8CE3-81DC044E6E91}"/>
                </a:ext>
              </a:extLst>
            </p:cNvPr>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7793657" y="4034428"/>
              <a:ext cx="380998" cy="253998"/>
            </a:xfrm>
            <a:prstGeom prst="rect">
              <a:avLst/>
            </a:prstGeom>
            <a:ln>
              <a:solidFill>
                <a:srgbClr val="D0D0D0"/>
              </a:solidFill>
            </a:ln>
          </p:spPr>
        </p:pic>
        <p:pic>
          <p:nvPicPr>
            <p:cNvPr id="189" name="Picture 188">
              <a:extLst>
                <a:ext uri="{FF2B5EF4-FFF2-40B4-BE49-F238E27FC236}">
                  <a16:creationId xmlns:a16="http://schemas.microsoft.com/office/drawing/2014/main" id="{B68777E1-9A5E-4D14-81F0-A89A13718A48}"/>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7793657" y="4523178"/>
              <a:ext cx="380998" cy="253998"/>
            </a:xfrm>
            <a:prstGeom prst="rect">
              <a:avLst/>
            </a:prstGeom>
            <a:ln>
              <a:solidFill>
                <a:srgbClr val="D0D0D0"/>
              </a:solidFill>
            </a:ln>
          </p:spPr>
        </p:pic>
      </p:grpSp>
      <p:cxnSp>
        <p:nvCxnSpPr>
          <p:cNvPr id="211" name="LineBasicDefault 211">
            <a:extLst>
              <a:ext uri="{FF2B5EF4-FFF2-40B4-BE49-F238E27FC236}">
                <a16:creationId xmlns:a16="http://schemas.microsoft.com/office/drawing/2014/main" id="{8DA30BDE-8F15-43C2-8B7F-F853201DDE77}"/>
              </a:ext>
            </a:extLst>
          </p:cNvPr>
          <p:cNvCxnSpPr>
            <a:cxnSpLocks/>
          </p:cNvCxnSpPr>
          <p:nvPr>
            <p:custDataLst>
              <p:tags r:id="rId17"/>
            </p:custDataLst>
          </p:nvPr>
        </p:nvCxnSpPr>
        <p:spPr>
          <a:xfrm>
            <a:off x="554736" y="1953260"/>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3" name="LineBasicDefault 211">
            <a:extLst>
              <a:ext uri="{FF2B5EF4-FFF2-40B4-BE49-F238E27FC236}">
                <a16:creationId xmlns:a16="http://schemas.microsoft.com/office/drawing/2014/main" id="{6E2B6D3A-9C4A-463B-9B71-ECB949B52ABA}"/>
              </a:ext>
            </a:extLst>
          </p:cNvPr>
          <p:cNvCxnSpPr>
            <a:cxnSpLocks/>
          </p:cNvCxnSpPr>
          <p:nvPr>
            <p:custDataLst>
              <p:tags r:id="rId18"/>
            </p:custDataLst>
          </p:nvPr>
        </p:nvCxnSpPr>
        <p:spPr>
          <a:xfrm>
            <a:off x="554736" y="2441684"/>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4" name="LineBasicDefault 211">
            <a:extLst>
              <a:ext uri="{FF2B5EF4-FFF2-40B4-BE49-F238E27FC236}">
                <a16:creationId xmlns:a16="http://schemas.microsoft.com/office/drawing/2014/main" id="{95A0FE71-536B-408F-A389-DD5BAF2CBE3B}"/>
              </a:ext>
            </a:extLst>
          </p:cNvPr>
          <p:cNvCxnSpPr>
            <a:cxnSpLocks/>
          </p:cNvCxnSpPr>
          <p:nvPr>
            <p:custDataLst>
              <p:tags r:id="rId19"/>
            </p:custDataLst>
          </p:nvPr>
        </p:nvCxnSpPr>
        <p:spPr>
          <a:xfrm>
            <a:off x="554736" y="2930108"/>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5" name="LineBasicDefault 211">
            <a:extLst>
              <a:ext uri="{FF2B5EF4-FFF2-40B4-BE49-F238E27FC236}">
                <a16:creationId xmlns:a16="http://schemas.microsoft.com/office/drawing/2014/main" id="{468A0274-50A7-453D-82C4-5E8979672A73}"/>
              </a:ext>
            </a:extLst>
          </p:cNvPr>
          <p:cNvCxnSpPr>
            <a:cxnSpLocks/>
          </p:cNvCxnSpPr>
          <p:nvPr>
            <p:custDataLst>
              <p:tags r:id="rId20"/>
            </p:custDataLst>
          </p:nvPr>
        </p:nvCxnSpPr>
        <p:spPr>
          <a:xfrm>
            <a:off x="554736" y="3418532"/>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6" name="LineBasicDefault 211">
            <a:extLst>
              <a:ext uri="{FF2B5EF4-FFF2-40B4-BE49-F238E27FC236}">
                <a16:creationId xmlns:a16="http://schemas.microsoft.com/office/drawing/2014/main" id="{6E1E3333-376E-46EA-882D-A54318D67ADD}"/>
              </a:ext>
            </a:extLst>
          </p:cNvPr>
          <p:cNvCxnSpPr>
            <a:cxnSpLocks/>
          </p:cNvCxnSpPr>
          <p:nvPr>
            <p:custDataLst>
              <p:tags r:id="rId21"/>
            </p:custDataLst>
          </p:nvPr>
        </p:nvCxnSpPr>
        <p:spPr>
          <a:xfrm>
            <a:off x="554736" y="3906956"/>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7" name="LineBasicDefault 211">
            <a:extLst>
              <a:ext uri="{FF2B5EF4-FFF2-40B4-BE49-F238E27FC236}">
                <a16:creationId xmlns:a16="http://schemas.microsoft.com/office/drawing/2014/main" id="{088E9EF7-95B3-4845-B749-FF1BC9E802AC}"/>
              </a:ext>
            </a:extLst>
          </p:cNvPr>
          <p:cNvCxnSpPr>
            <a:cxnSpLocks/>
          </p:cNvCxnSpPr>
          <p:nvPr>
            <p:custDataLst>
              <p:tags r:id="rId22"/>
            </p:custDataLst>
          </p:nvPr>
        </p:nvCxnSpPr>
        <p:spPr>
          <a:xfrm>
            <a:off x="554736" y="4395380"/>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8" name="LineBasicDefault 211">
            <a:extLst>
              <a:ext uri="{FF2B5EF4-FFF2-40B4-BE49-F238E27FC236}">
                <a16:creationId xmlns:a16="http://schemas.microsoft.com/office/drawing/2014/main" id="{8EA2BC77-AC1F-43DE-ABFF-550FA9F7B88A}"/>
              </a:ext>
            </a:extLst>
          </p:cNvPr>
          <p:cNvCxnSpPr>
            <a:cxnSpLocks/>
          </p:cNvCxnSpPr>
          <p:nvPr>
            <p:custDataLst>
              <p:tags r:id="rId23"/>
            </p:custDataLst>
          </p:nvPr>
        </p:nvCxnSpPr>
        <p:spPr>
          <a:xfrm>
            <a:off x="554736" y="4883804"/>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9" name="LineBasicDefault 211">
            <a:extLst>
              <a:ext uri="{FF2B5EF4-FFF2-40B4-BE49-F238E27FC236}">
                <a16:creationId xmlns:a16="http://schemas.microsoft.com/office/drawing/2014/main" id="{6F6E0C85-7E2A-47F7-97ED-06E1971DF910}"/>
              </a:ext>
            </a:extLst>
          </p:cNvPr>
          <p:cNvCxnSpPr>
            <a:cxnSpLocks/>
          </p:cNvCxnSpPr>
          <p:nvPr>
            <p:custDataLst>
              <p:tags r:id="rId24"/>
            </p:custDataLst>
          </p:nvPr>
        </p:nvCxnSpPr>
        <p:spPr>
          <a:xfrm>
            <a:off x="554736" y="5372228"/>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0" name="LineBasicDefault 211">
            <a:extLst>
              <a:ext uri="{FF2B5EF4-FFF2-40B4-BE49-F238E27FC236}">
                <a16:creationId xmlns:a16="http://schemas.microsoft.com/office/drawing/2014/main" id="{BCF3A23B-4D0A-4CA0-B8AF-70011160D99B}"/>
              </a:ext>
            </a:extLst>
          </p:cNvPr>
          <p:cNvCxnSpPr>
            <a:cxnSpLocks/>
          </p:cNvCxnSpPr>
          <p:nvPr>
            <p:custDataLst>
              <p:tags r:id="rId25"/>
            </p:custDataLst>
          </p:nvPr>
        </p:nvCxnSpPr>
        <p:spPr>
          <a:xfrm>
            <a:off x="554736" y="5860652"/>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658F29F-B6E1-4719-8F76-A66D51D798BF}"/>
              </a:ext>
            </a:extLst>
          </p:cNvPr>
          <p:cNvSpPr/>
          <p:nvPr>
            <p:custDataLst>
              <p:tags r:id="rId26"/>
            </p:custDataLst>
          </p:nvPr>
        </p:nvSpPr>
        <p:spPr bwMode="auto">
          <a:xfrm>
            <a:off x="511175" y="1281113"/>
            <a:ext cx="165100" cy="165100"/>
          </a:xfrm>
          <a:prstGeom prst="rect">
            <a:avLst/>
          </a:prstGeom>
          <a:solidFill>
            <a:schemeClr val="accent1"/>
          </a:solidFill>
          <a:ln w="3175" cap="sq" algn="ctr">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4" name="Text Placeholder 2">
            <a:extLst>
              <a:ext uri="{FF2B5EF4-FFF2-40B4-BE49-F238E27FC236}">
                <a16:creationId xmlns:a16="http://schemas.microsoft.com/office/drawing/2014/main" id="{192DB789-515B-4504-BE53-6445F2427687}"/>
              </a:ext>
            </a:extLst>
          </p:cNvPr>
          <p:cNvSpPr>
            <a:spLocks noGrp="1"/>
          </p:cNvSpPr>
          <p:nvPr>
            <p:custDataLst>
              <p:tags r:id="rId27"/>
            </p:custDataLst>
          </p:nvPr>
        </p:nvSpPr>
        <p:spPr bwMode="auto">
          <a:xfrm>
            <a:off x="727075" y="1279525"/>
            <a:ext cx="15001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94F0032-4927-4FF0-9AA3-4FC7F4904446}" type="datetime'''''''''U''''''''SD'' Bi''''l''l''''''i''''o''''''''ns'''''''">
              <a:rPr lang="en-US" altLang="en-US" sz="1200" smtClean="0">
                <a:cs typeface="+mn-cs"/>
                <a:sym typeface="+mn-lt"/>
              </a:rPr>
              <a:pPr>
                <a:spcBef>
                  <a:spcPct val="0"/>
                </a:spcBef>
                <a:spcAft>
                  <a:spcPct val="0"/>
                </a:spcAft>
              </a:pPr>
              <a:t>USD Billions</a:t>
            </a:fld>
            <a:r>
              <a:rPr lang="en-US" altLang="en-US" sz="1200" dirty="0">
                <a:cs typeface="+mn-cs"/>
                <a:sym typeface="+mn-lt"/>
              </a:rPr>
              <a:t>, FY 2019</a:t>
            </a:r>
            <a:endParaRPr lang="en-US" sz="1200" dirty="0">
              <a:cs typeface="+mn-cs"/>
              <a:sym typeface="+mn-lt"/>
            </a:endParaRPr>
          </a:p>
        </p:txBody>
      </p:sp>
      <p:pic>
        <p:nvPicPr>
          <p:cNvPr id="83" name="Content Placeholder 1">
            <a:extLst>
              <a:ext uri="{FF2B5EF4-FFF2-40B4-BE49-F238E27FC236}">
                <a16:creationId xmlns:a16="http://schemas.microsoft.com/office/drawing/2014/main" id="{171F547B-0D1E-4B92-82C6-7C1D1F853604}"/>
              </a:ext>
            </a:extLst>
          </p:cNvPr>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10114539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67D591D2-2DCE-437D-8849-3B2C2500FC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8" name="think-cell Slide" r:id="rId79" imgW="395" imgH="394" progId="TCLayout.ActiveDocument.1">
                  <p:embed/>
                </p:oleObj>
              </mc:Choice>
              <mc:Fallback>
                <p:oleObj name="think-cell Slide" r:id="rId79" imgW="395" imgH="394" progId="TCLayout.ActiveDocument.1">
                  <p:embed/>
                  <p:pic>
                    <p:nvPicPr>
                      <p:cNvPr id="8" name="Object 2" hidden="1">
                        <a:extLst>
                          <a:ext uri="{FF2B5EF4-FFF2-40B4-BE49-F238E27FC236}">
                            <a16:creationId xmlns:a16="http://schemas.microsoft.com/office/drawing/2014/main" id="{67D591D2-2DCE-437D-8849-3B2C2500FCED}"/>
                          </a:ext>
                        </a:extLst>
                      </p:cNvPr>
                      <p:cNvPicPr/>
                      <p:nvPr/>
                    </p:nvPicPr>
                    <p:blipFill>
                      <a:blip r:embed="rId8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699B2C10-0427-4B73-A02F-EC4A6231DCD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200" dirty="0" err="1">
              <a:solidFill>
                <a:schemeClr val="bg1"/>
              </a:solidFill>
              <a:latin typeface="Arial" panose="020B0604020202020204" pitchFamily="34" charset="0"/>
              <a:sym typeface="Arial" panose="020B0604020202020204" pitchFamily="34" charset="0"/>
            </a:endParaRPr>
          </a:p>
        </p:txBody>
      </p:sp>
      <p:sp>
        <p:nvSpPr>
          <p:cNvPr id="5" name="2. Slide Title">
            <a:extLst>
              <a:ext uri="{FF2B5EF4-FFF2-40B4-BE49-F238E27FC236}">
                <a16:creationId xmlns:a16="http://schemas.microsoft.com/office/drawing/2014/main" id="{AEAC06CE-561F-4296-A7DA-450E712059B0}"/>
              </a:ext>
            </a:extLst>
          </p:cNvPr>
          <p:cNvSpPr>
            <a:spLocks noGrp="1"/>
          </p:cNvSpPr>
          <p:nvPr>
            <p:ph type="title"/>
            <p:custDataLst>
              <p:tags r:id="rId4"/>
            </p:custDataLst>
          </p:nvPr>
        </p:nvSpPr>
        <p:spPr>
          <a:xfrm>
            <a:off x="554736" y="114035"/>
            <a:ext cx="11082528" cy="989512"/>
          </a:xfrm>
        </p:spPr>
        <p:txBody>
          <a:bodyPr>
            <a:noAutofit/>
          </a:bodyPr>
          <a:lstStyle/>
          <a:p>
            <a:r>
              <a:rPr lang="en-US" sz="2300"/>
              <a:t>10 </a:t>
            </a:r>
            <a:r>
              <a:rPr lang="en-US" sz="2300" dirty="0"/>
              <a:t>countries account for more than 50% of India's export volumes, with USA and UAE capturing majority shares of 16.8% and 9.8% respectively</a:t>
            </a:r>
          </a:p>
        </p:txBody>
      </p:sp>
      <p:sp>
        <p:nvSpPr>
          <p:cNvPr id="24" name="5. Source">
            <a:extLst>
              <a:ext uri="{FF2B5EF4-FFF2-40B4-BE49-F238E27FC236}">
                <a16:creationId xmlns:a16="http://schemas.microsoft.com/office/drawing/2014/main" id="{206F0411-E212-46FC-9CBD-B66EBA7ABEE0}"/>
              </a:ext>
            </a:extLst>
          </p:cNvPr>
          <p:cNvSpPr>
            <a:spLocks noChangeArrowheads="1"/>
          </p:cNvSpPr>
          <p:nvPr>
            <p:custDataLst>
              <p:tags r:id="rId5"/>
            </p:custDataLst>
          </p:nvPr>
        </p:nvSpPr>
        <p:spPr bwMode="auto">
          <a:xfrm>
            <a:off x="547688" y="6501669"/>
            <a:ext cx="7277861"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913526">
              <a:tabLst>
                <a:tab pos="625214" algn="l"/>
              </a:tabLst>
            </a:pPr>
            <a:r>
              <a:rPr lang="en-US" sz="800" dirty="0">
                <a:cs typeface="Arial" panose="020B0604020202020204" pitchFamily="34" charset="0"/>
              </a:rPr>
              <a:t>Source: </a:t>
            </a:r>
            <a:r>
              <a:rPr lang="en-US" sz="800" dirty="0" err="1">
                <a:cs typeface="Arial" panose="020B0604020202020204" pitchFamily="34" charset="0"/>
              </a:rPr>
              <a:t>Trademap</a:t>
            </a:r>
            <a:endParaRPr lang="en-US" sz="800" dirty="0">
              <a:cs typeface="Arial" panose="020B0604020202020204" pitchFamily="34" charset="0"/>
            </a:endParaRPr>
          </a:p>
        </p:txBody>
      </p:sp>
      <p:graphicFrame>
        <p:nvGraphicFramePr>
          <p:cNvPr id="242" name="Chart 241">
            <a:extLst>
              <a:ext uri="{FF2B5EF4-FFF2-40B4-BE49-F238E27FC236}">
                <a16:creationId xmlns:a16="http://schemas.microsoft.com/office/drawing/2014/main" id="{F10CE7FB-80D2-4020-AD7A-31527967E8E6}"/>
              </a:ext>
            </a:extLst>
          </p:cNvPr>
          <p:cNvGraphicFramePr/>
          <p:nvPr>
            <p:custDataLst>
              <p:tags r:id="rId6"/>
            </p:custDataLst>
          </p:nvPr>
        </p:nvGraphicFramePr>
        <p:xfrm>
          <a:off x="2198688" y="1509713"/>
          <a:ext cx="1579562" cy="4592637"/>
        </p:xfrm>
        <a:graphic>
          <a:graphicData uri="http://schemas.openxmlformats.org/drawingml/2006/chart">
            <c:chart xmlns:c="http://schemas.openxmlformats.org/drawingml/2006/chart" xmlns:r="http://schemas.openxmlformats.org/officeDocument/2006/relationships" r:id="rId81"/>
          </a:graphicData>
        </a:graphic>
      </p:graphicFrame>
      <p:sp>
        <p:nvSpPr>
          <p:cNvPr id="36" name="Text Placeholder 2">
            <a:extLst>
              <a:ext uri="{FF2B5EF4-FFF2-40B4-BE49-F238E27FC236}">
                <a16:creationId xmlns:a16="http://schemas.microsoft.com/office/drawing/2014/main" id="{83E0BDB8-EA7A-4885-922F-37F0F0973032}"/>
              </a:ext>
            </a:extLst>
          </p:cNvPr>
          <p:cNvSpPr>
            <a:spLocks noGrp="1"/>
          </p:cNvSpPr>
          <p:nvPr>
            <p:custDataLst>
              <p:tags r:id="rId7"/>
            </p:custDataLst>
          </p:nvPr>
        </p:nvSpPr>
        <p:spPr bwMode="auto">
          <a:xfrm>
            <a:off x="547688" y="4378325"/>
            <a:ext cx="817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2FFA0D3F-F54D-4B02-8C01-CD2A9E91586A}" type="datetime'N''e''''''''''''t''''''herla''''n''''d''''''''s'''''''''''''">
              <a:rPr lang="en-US" altLang="en-US" sz="1200" smtClean="0"/>
              <a:pPr/>
              <a:t>Netherlands</a:t>
            </a:fld>
            <a:endParaRPr lang="en-US" sz="1200" dirty="0">
              <a:sym typeface="+mn-lt"/>
            </a:endParaRPr>
          </a:p>
        </p:txBody>
      </p:sp>
      <p:sp>
        <p:nvSpPr>
          <p:cNvPr id="31" name="Text Placeholder 2">
            <a:extLst>
              <a:ext uri="{FF2B5EF4-FFF2-40B4-BE49-F238E27FC236}">
                <a16:creationId xmlns:a16="http://schemas.microsoft.com/office/drawing/2014/main" id="{027A1A6A-245B-44F7-BB36-A749433336D2}"/>
              </a:ext>
            </a:extLst>
          </p:cNvPr>
          <p:cNvSpPr>
            <a:spLocks noGrp="1"/>
          </p:cNvSpPr>
          <p:nvPr>
            <p:custDataLst>
              <p:tags r:id="rId8"/>
            </p:custDataLst>
          </p:nvPr>
        </p:nvSpPr>
        <p:spPr bwMode="auto">
          <a:xfrm>
            <a:off x="547688" y="3051175"/>
            <a:ext cx="12398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D01D7AB-C0AF-4F36-9BCD-863B7920308E}" type="datetime'''H''''''''o''ng K''''on''''g'''''''''','' ''''C''hin''''a'''">
              <a:rPr lang="en-US" altLang="en-US" sz="1200" smtClean="0"/>
              <a:pPr/>
              <a:t>Hong Kong, China</a:t>
            </a:fld>
            <a:endParaRPr lang="en-US" sz="1200" dirty="0">
              <a:sym typeface="+mn-lt"/>
            </a:endParaRPr>
          </a:p>
        </p:txBody>
      </p:sp>
      <p:sp>
        <p:nvSpPr>
          <p:cNvPr id="32" name="Text Placeholder 2">
            <a:extLst>
              <a:ext uri="{FF2B5EF4-FFF2-40B4-BE49-F238E27FC236}">
                <a16:creationId xmlns:a16="http://schemas.microsoft.com/office/drawing/2014/main" id="{EEE6FAA6-DE4D-4D60-BEAB-83C068C19646}"/>
              </a:ext>
            </a:extLst>
          </p:cNvPr>
          <p:cNvSpPr>
            <a:spLocks noGrp="1"/>
          </p:cNvSpPr>
          <p:nvPr>
            <p:custDataLst>
              <p:tags r:id="rId9"/>
            </p:custDataLst>
          </p:nvPr>
        </p:nvSpPr>
        <p:spPr bwMode="auto">
          <a:xfrm>
            <a:off x="547688" y="1722438"/>
            <a:ext cx="16748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682A636-A5FD-43B9-96AF-3EBD2ADB0380}" type="datetime'Uni''''ted'' ''Stat''es ''''''''of'' ''Am''''er''''''ica'''''">
              <a:rPr lang="en-US" altLang="en-US" sz="1200" smtClean="0"/>
              <a:pPr/>
              <a:t>United States of America</a:t>
            </a:fld>
            <a:endParaRPr lang="en-US" sz="1200" dirty="0">
              <a:sym typeface="+mn-lt"/>
            </a:endParaRPr>
          </a:p>
        </p:txBody>
      </p:sp>
      <p:sp>
        <p:nvSpPr>
          <p:cNvPr id="33" name="Text Placeholder 2">
            <a:extLst>
              <a:ext uri="{FF2B5EF4-FFF2-40B4-BE49-F238E27FC236}">
                <a16:creationId xmlns:a16="http://schemas.microsoft.com/office/drawing/2014/main" id="{81C4ED18-9D75-430A-8D62-48D0B184CFEF}"/>
              </a:ext>
            </a:extLst>
          </p:cNvPr>
          <p:cNvSpPr>
            <a:spLocks noGrp="1"/>
          </p:cNvSpPr>
          <p:nvPr>
            <p:custDataLst>
              <p:tags r:id="rId10"/>
            </p:custDataLst>
          </p:nvPr>
        </p:nvSpPr>
        <p:spPr bwMode="auto">
          <a:xfrm>
            <a:off x="547688" y="2165350"/>
            <a:ext cx="14366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A75C0467-8291-4AC4-BBA0-B43F700ABA89}" type="datetime'Un''ite''d Ara''b'' ''Emi''r''a''''t''e''''''''''''''s'''">
              <a:rPr lang="en-US" altLang="en-US" sz="1200" smtClean="0"/>
              <a:pPr/>
              <a:t>United Arab Emirates</a:t>
            </a:fld>
            <a:endParaRPr lang="en-US" sz="1200" dirty="0">
              <a:sym typeface="+mn-lt"/>
            </a:endParaRPr>
          </a:p>
        </p:txBody>
      </p:sp>
      <p:sp>
        <p:nvSpPr>
          <p:cNvPr id="34" name="Text Placeholder 2">
            <a:extLst>
              <a:ext uri="{FF2B5EF4-FFF2-40B4-BE49-F238E27FC236}">
                <a16:creationId xmlns:a16="http://schemas.microsoft.com/office/drawing/2014/main" id="{3C4AF235-2843-4069-9A68-9022D9A4FA62}"/>
              </a:ext>
            </a:extLst>
          </p:cNvPr>
          <p:cNvSpPr>
            <a:spLocks noGrp="1"/>
          </p:cNvSpPr>
          <p:nvPr>
            <p:custDataLst>
              <p:tags r:id="rId11"/>
            </p:custDataLst>
          </p:nvPr>
        </p:nvSpPr>
        <p:spPr bwMode="auto">
          <a:xfrm>
            <a:off x="547688" y="3935413"/>
            <a:ext cx="10795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1DB5BDE-B8B1-4BAD-BA99-F70EEFD43818}" type="datetime'''''''''''''''''''U''''''ni''te''''d K''i''n''gd''o''m'''''''">
              <a:rPr lang="en-US" altLang="en-US" sz="1200" smtClean="0"/>
              <a:pPr/>
              <a:t>United Kingdom</a:t>
            </a:fld>
            <a:endParaRPr lang="en-US" sz="1200" dirty="0">
              <a:sym typeface="+mn-lt"/>
            </a:endParaRPr>
          </a:p>
        </p:txBody>
      </p:sp>
      <p:sp>
        <p:nvSpPr>
          <p:cNvPr id="30" name="Text Placeholder 2">
            <a:extLst>
              <a:ext uri="{FF2B5EF4-FFF2-40B4-BE49-F238E27FC236}">
                <a16:creationId xmlns:a16="http://schemas.microsoft.com/office/drawing/2014/main" id="{ACDDF88D-02B0-4F29-8AD4-3988BBD40156}"/>
              </a:ext>
            </a:extLst>
          </p:cNvPr>
          <p:cNvSpPr>
            <a:spLocks noGrp="1"/>
          </p:cNvSpPr>
          <p:nvPr>
            <p:custDataLst>
              <p:tags r:id="rId12"/>
            </p:custDataLst>
          </p:nvPr>
        </p:nvSpPr>
        <p:spPr bwMode="auto">
          <a:xfrm>
            <a:off x="547688" y="2608263"/>
            <a:ext cx="3952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6010713-8E28-40AF-96D7-500F890877D8}" type="datetime'''''''''''''''''''''C''''''''''h''''''''i''na'''''">
              <a:rPr lang="en-US" altLang="en-US" sz="1200" smtClean="0"/>
              <a:pPr/>
              <a:t>China</a:t>
            </a:fld>
            <a:endParaRPr lang="en-US" sz="1200" dirty="0">
              <a:sym typeface="+mn-lt"/>
            </a:endParaRPr>
          </a:p>
        </p:txBody>
      </p:sp>
      <p:sp>
        <p:nvSpPr>
          <p:cNvPr id="35" name="Text Placeholder 2">
            <a:extLst>
              <a:ext uri="{FF2B5EF4-FFF2-40B4-BE49-F238E27FC236}">
                <a16:creationId xmlns:a16="http://schemas.microsoft.com/office/drawing/2014/main" id="{F221162E-E88F-4E24-A520-885A800DA7A1}"/>
              </a:ext>
            </a:extLst>
          </p:cNvPr>
          <p:cNvSpPr>
            <a:spLocks noGrp="1"/>
          </p:cNvSpPr>
          <p:nvPr>
            <p:custDataLst>
              <p:tags r:id="rId13"/>
            </p:custDataLst>
          </p:nvPr>
        </p:nvSpPr>
        <p:spPr bwMode="auto">
          <a:xfrm>
            <a:off x="547688" y="3494088"/>
            <a:ext cx="690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2CB434B3-3C88-4B8D-8D13-EB04770AB332}" type="datetime'S''''''''i''''ng''a''p''o''''''''''''r''''''e'''''''''''''">
              <a:rPr lang="en-US" altLang="en-US" sz="1200" smtClean="0"/>
              <a:pPr/>
              <a:t>Singapore</a:t>
            </a:fld>
            <a:endParaRPr lang="en-US" sz="1200" dirty="0">
              <a:sym typeface="+mn-lt"/>
            </a:endParaRPr>
          </a:p>
        </p:txBody>
      </p:sp>
      <p:sp>
        <p:nvSpPr>
          <p:cNvPr id="46" name="Text Placeholder 2">
            <a:extLst>
              <a:ext uri="{FF2B5EF4-FFF2-40B4-BE49-F238E27FC236}">
                <a16:creationId xmlns:a16="http://schemas.microsoft.com/office/drawing/2014/main" id="{2C69C16E-A1AA-49AB-90E5-0EA510813038}"/>
              </a:ext>
            </a:extLst>
          </p:cNvPr>
          <p:cNvSpPr>
            <a:spLocks noGrp="1"/>
          </p:cNvSpPr>
          <p:nvPr>
            <p:custDataLst>
              <p:tags r:id="rId14"/>
            </p:custDataLst>
          </p:nvPr>
        </p:nvSpPr>
        <p:spPr bwMode="auto">
          <a:xfrm>
            <a:off x="547688" y="4821238"/>
            <a:ext cx="6254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A795238-9153-4C2F-9242-E301542B719A}" type="datetime'''G''''''e''''''''''''''''''''''r''m''an''''''y'''''''">
              <a:rPr lang="en-US" altLang="en-US" sz="1200" smtClean="0"/>
              <a:pPr/>
              <a:t>Germany</a:t>
            </a:fld>
            <a:endParaRPr lang="en-US" sz="1200" dirty="0">
              <a:sym typeface="+mn-lt"/>
            </a:endParaRPr>
          </a:p>
        </p:txBody>
      </p:sp>
      <p:sp>
        <p:nvSpPr>
          <p:cNvPr id="47" name="Text Placeholder 2">
            <a:extLst>
              <a:ext uri="{FF2B5EF4-FFF2-40B4-BE49-F238E27FC236}">
                <a16:creationId xmlns:a16="http://schemas.microsoft.com/office/drawing/2014/main" id="{23C1196E-6D62-43D7-B1C0-15A1FB7007F6}"/>
              </a:ext>
            </a:extLst>
          </p:cNvPr>
          <p:cNvSpPr>
            <a:spLocks noGrp="1"/>
          </p:cNvSpPr>
          <p:nvPr>
            <p:custDataLst>
              <p:tags r:id="rId15"/>
            </p:custDataLst>
          </p:nvPr>
        </p:nvSpPr>
        <p:spPr bwMode="auto">
          <a:xfrm>
            <a:off x="547688" y="5264150"/>
            <a:ext cx="8001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29495A04-022A-4B09-AE49-39CB1615C01E}" type="datetime'''''''''''''Ba''n''''''g''''''''la''''''''d''''e''''''sh'''''">
              <a:rPr lang="en-US" altLang="en-US" sz="1200" smtClean="0"/>
              <a:pPr/>
              <a:t>Bangladesh</a:t>
            </a:fld>
            <a:endParaRPr lang="en-US" sz="1200" dirty="0">
              <a:sym typeface="+mn-lt"/>
            </a:endParaRPr>
          </a:p>
        </p:txBody>
      </p:sp>
      <p:sp>
        <p:nvSpPr>
          <p:cNvPr id="48" name="Text Placeholder 2">
            <a:extLst>
              <a:ext uri="{FF2B5EF4-FFF2-40B4-BE49-F238E27FC236}">
                <a16:creationId xmlns:a16="http://schemas.microsoft.com/office/drawing/2014/main" id="{D55CC808-A69A-436C-A956-8CA5E3B98B70}"/>
              </a:ext>
            </a:extLst>
          </p:cNvPr>
          <p:cNvSpPr>
            <a:spLocks noGrp="1"/>
          </p:cNvSpPr>
          <p:nvPr>
            <p:custDataLst>
              <p:tags r:id="rId16"/>
            </p:custDataLst>
          </p:nvPr>
        </p:nvSpPr>
        <p:spPr bwMode="auto">
          <a:xfrm>
            <a:off x="547688" y="5707063"/>
            <a:ext cx="3952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3F8B13F1-1D77-4916-859E-0ACCE296611B}" type="datetime'''''N''''''''e''pa''''''''''''''''''''''l'''''''''''''">
              <a:rPr lang="en-US" altLang="en-US" sz="1200" smtClean="0"/>
              <a:pPr/>
              <a:t>Nepal</a:t>
            </a:fld>
            <a:endParaRPr lang="en-US" sz="1200" dirty="0">
              <a:sym typeface="+mn-lt"/>
            </a:endParaRPr>
          </a:p>
        </p:txBody>
      </p:sp>
      <p:sp>
        <p:nvSpPr>
          <p:cNvPr id="51" name="TextBox 50">
            <a:extLst>
              <a:ext uri="{FF2B5EF4-FFF2-40B4-BE49-F238E27FC236}">
                <a16:creationId xmlns:a16="http://schemas.microsoft.com/office/drawing/2014/main" id="{FD6F859F-57B5-4499-B807-7805EF7526E3}"/>
              </a:ext>
            </a:extLst>
          </p:cNvPr>
          <p:cNvSpPr txBox="1">
            <a:spLocks/>
          </p:cNvSpPr>
          <p:nvPr/>
        </p:nvSpPr>
        <p:spPr>
          <a:xfrm>
            <a:off x="5655540" y="1643231"/>
            <a:ext cx="5971066"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1.Pearls, precious/ semi-precious stones, 2.Pharmaceutical products, 3.Nuclear reactors, boilers and machinery, 4.Mineral fuels and oils, 5.Vehicles and parts (non-railway)</a:t>
            </a:r>
          </a:p>
        </p:txBody>
      </p:sp>
      <p:sp>
        <p:nvSpPr>
          <p:cNvPr id="53" name="TextBox 52">
            <a:extLst>
              <a:ext uri="{FF2B5EF4-FFF2-40B4-BE49-F238E27FC236}">
                <a16:creationId xmlns:a16="http://schemas.microsoft.com/office/drawing/2014/main" id="{10901CD3-5F2D-42F7-9C7A-7FCC8FD43186}"/>
              </a:ext>
            </a:extLst>
          </p:cNvPr>
          <p:cNvSpPr txBox="1">
            <a:spLocks/>
          </p:cNvSpPr>
          <p:nvPr/>
        </p:nvSpPr>
        <p:spPr>
          <a:xfrm>
            <a:off x="5655540" y="2102672"/>
            <a:ext cx="5971066"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1.Pearls, precious/ semi-precious stones, 2.Mineral Fuels and Oils, 3.Electrical Machinery and Equipment, 4.Ships, boats and floating structures, 5.Apparel and Cloths, knitted or crocheted</a:t>
            </a:r>
          </a:p>
        </p:txBody>
      </p:sp>
      <p:sp>
        <p:nvSpPr>
          <p:cNvPr id="54" name="TextBox 53">
            <a:extLst>
              <a:ext uri="{FF2B5EF4-FFF2-40B4-BE49-F238E27FC236}">
                <a16:creationId xmlns:a16="http://schemas.microsoft.com/office/drawing/2014/main" id="{66635CDA-805F-41A3-A16A-F119348C8B39}"/>
              </a:ext>
            </a:extLst>
          </p:cNvPr>
          <p:cNvSpPr txBox="1">
            <a:spLocks/>
          </p:cNvSpPr>
          <p:nvPr/>
        </p:nvSpPr>
        <p:spPr>
          <a:xfrm>
            <a:off x="5655540" y="2545721"/>
            <a:ext cx="5971066"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1.Organic chemicals, 2.Mineral fuels and oils, 3.Ores, slag and ash, 4.Fish and Crustaceans, 5.Cotton</a:t>
            </a:r>
          </a:p>
        </p:txBody>
      </p:sp>
      <p:sp>
        <p:nvSpPr>
          <p:cNvPr id="56" name="TextBox 55">
            <a:extLst>
              <a:ext uri="{FF2B5EF4-FFF2-40B4-BE49-F238E27FC236}">
                <a16:creationId xmlns:a16="http://schemas.microsoft.com/office/drawing/2014/main" id="{CE3A0D5B-8953-4AC7-BBA2-A0712F706913}"/>
              </a:ext>
            </a:extLst>
          </p:cNvPr>
          <p:cNvSpPr txBox="1">
            <a:spLocks/>
          </p:cNvSpPr>
          <p:nvPr/>
        </p:nvSpPr>
        <p:spPr>
          <a:xfrm>
            <a:off x="5655540" y="2988770"/>
            <a:ext cx="5971066"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1.Pearls, precious/ semi-precious stones, 2.Electrical Machinery and Equipment, 3.Essential Oils and Resinoids, 4.Mineral fuels and oils, 5.Raw hides, skin and Leather</a:t>
            </a:r>
          </a:p>
        </p:txBody>
      </p:sp>
      <p:sp>
        <p:nvSpPr>
          <p:cNvPr id="95" name="TextBox 94">
            <a:extLst>
              <a:ext uri="{FF2B5EF4-FFF2-40B4-BE49-F238E27FC236}">
                <a16:creationId xmlns:a16="http://schemas.microsoft.com/office/drawing/2014/main" id="{1BC22818-A4D4-47B6-ABC0-17E090B4EC88}"/>
              </a:ext>
            </a:extLst>
          </p:cNvPr>
          <p:cNvSpPr txBox="1">
            <a:spLocks/>
          </p:cNvSpPr>
          <p:nvPr/>
        </p:nvSpPr>
        <p:spPr>
          <a:xfrm>
            <a:off x="5655540" y="3431819"/>
            <a:ext cx="5971066"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1.Mineral fuels and oils, 2.Ships, boats and floating structures, 3.Nuclear reactors, boilers and machinery, 4.Pearls, precious/ semi-precious stones, 5.Organic Chemicals</a:t>
            </a:r>
          </a:p>
        </p:txBody>
      </p:sp>
      <p:sp>
        <p:nvSpPr>
          <p:cNvPr id="97" name="TextBox 96">
            <a:extLst>
              <a:ext uri="{FF2B5EF4-FFF2-40B4-BE49-F238E27FC236}">
                <a16:creationId xmlns:a16="http://schemas.microsoft.com/office/drawing/2014/main" id="{362D2852-8F9F-4282-B529-D5A58D572F6E}"/>
              </a:ext>
            </a:extLst>
          </p:cNvPr>
          <p:cNvSpPr txBox="1">
            <a:spLocks/>
          </p:cNvSpPr>
          <p:nvPr/>
        </p:nvSpPr>
        <p:spPr>
          <a:xfrm>
            <a:off x="5655540" y="3874868"/>
            <a:ext cx="5971066"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1.Nuclear reactors, boilers and machinery, 2. Apparel and Cloths, non-knitted or non-crocheted, 3. Apparel and Cloths, knitted or crocheted, 4. Pearls, precious/ semi-precious stones, 5.Pharmaceutical products</a:t>
            </a:r>
          </a:p>
        </p:txBody>
      </p:sp>
      <p:sp>
        <p:nvSpPr>
          <p:cNvPr id="99" name="TextBox 98">
            <a:extLst>
              <a:ext uri="{FF2B5EF4-FFF2-40B4-BE49-F238E27FC236}">
                <a16:creationId xmlns:a16="http://schemas.microsoft.com/office/drawing/2014/main" id="{CE8D8B1B-113C-42B2-A3A3-E6FBDEFD6C4D}"/>
              </a:ext>
            </a:extLst>
          </p:cNvPr>
          <p:cNvSpPr txBox="1">
            <a:spLocks/>
          </p:cNvSpPr>
          <p:nvPr/>
        </p:nvSpPr>
        <p:spPr>
          <a:xfrm>
            <a:off x="5655540" y="4317917"/>
            <a:ext cx="5971066"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1.Mineral Fuels and Oils, 2.Organic chemicals, 3.Electrical Machinery and Equipment, 4.Apparel and Cloths, knitted or crocheted, 5.Edible fruit and nuts</a:t>
            </a:r>
          </a:p>
        </p:txBody>
      </p:sp>
      <p:sp>
        <p:nvSpPr>
          <p:cNvPr id="101" name="TextBox 100">
            <a:extLst>
              <a:ext uri="{FF2B5EF4-FFF2-40B4-BE49-F238E27FC236}">
                <a16:creationId xmlns:a16="http://schemas.microsoft.com/office/drawing/2014/main" id="{98AEB3E7-788F-4027-BFFB-E7112DEF45EC}"/>
              </a:ext>
            </a:extLst>
          </p:cNvPr>
          <p:cNvSpPr txBox="1">
            <a:spLocks/>
          </p:cNvSpPr>
          <p:nvPr/>
        </p:nvSpPr>
        <p:spPr>
          <a:xfrm>
            <a:off x="5655540" y="4760966"/>
            <a:ext cx="5971066"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1.Nuclear reactors, boilers and machinery, 2.Organic chemicals, 3.Electrical Machinery and Equipment, 4.Apparel and Cloths, knitted or crocheted, 5.Apparel and Cloths, not knitted or crocheted</a:t>
            </a:r>
          </a:p>
        </p:txBody>
      </p:sp>
      <p:sp>
        <p:nvSpPr>
          <p:cNvPr id="103" name="TextBox 102">
            <a:extLst>
              <a:ext uri="{FF2B5EF4-FFF2-40B4-BE49-F238E27FC236}">
                <a16:creationId xmlns:a16="http://schemas.microsoft.com/office/drawing/2014/main" id="{7838A5C3-2A27-4D68-9EF2-B92EA2CD3DD9}"/>
              </a:ext>
            </a:extLst>
          </p:cNvPr>
          <p:cNvSpPr txBox="1">
            <a:spLocks/>
          </p:cNvSpPr>
          <p:nvPr/>
        </p:nvSpPr>
        <p:spPr>
          <a:xfrm>
            <a:off x="5655540" y="5683568"/>
            <a:ext cx="5971066"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1.Mineral fuels and oils, 2.Iron and steel, 3.Vehicles and parts (non-railway), 4.Nuclear reactors, boilers and machinery, 5.Cereals</a:t>
            </a:r>
          </a:p>
        </p:txBody>
      </p:sp>
      <p:sp>
        <p:nvSpPr>
          <p:cNvPr id="105" name="TextBox 104">
            <a:extLst>
              <a:ext uri="{FF2B5EF4-FFF2-40B4-BE49-F238E27FC236}">
                <a16:creationId xmlns:a16="http://schemas.microsoft.com/office/drawing/2014/main" id="{4FF4EF6E-1EE0-4765-95A0-CF7F885001D2}"/>
              </a:ext>
            </a:extLst>
          </p:cNvPr>
          <p:cNvSpPr txBox="1">
            <a:spLocks/>
          </p:cNvSpPr>
          <p:nvPr/>
        </p:nvSpPr>
        <p:spPr>
          <a:xfrm>
            <a:off x="5655540" y="5204014"/>
            <a:ext cx="5971066"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1.Cotton, 2.Vehicles and parts (non-railway), 3.Mineral fuels and oils, 4.Nuclear reactors, boilers and machinery, 5.Iron and steel</a:t>
            </a:r>
          </a:p>
        </p:txBody>
      </p:sp>
      <p:sp>
        <p:nvSpPr>
          <p:cNvPr id="7" name="TextBox 6">
            <a:extLst>
              <a:ext uri="{FF2B5EF4-FFF2-40B4-BE49-F238E27FC236}">
                <a16:creationId xmlns:a16="http://schemas.microsoft.com/office/drawing/2014/main" id="{6C26D85E-A32A-4E69-9CF1-B59B76B58412}"/>
              </a:ext>
            </a:extLst>
          </p:cNvPr>
          <p:cNvSpPr txBox="1">
            <a:spLocks/>
          </p:cNvSpPr>
          <p:nvPr/>
        </p:nvSpPr>
        <p:spPr>
          <a:xfrm>
            <a:off x="5655540" y="1285394"/>
            <a:ext cx="878056"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cs typeface="+mn-cs"/>
              </a:rPr>
              <a:t>Products</a:t>
            </a:r>
          </a:p>
        </p:txBody>
      </p:sp>
      <p:cxnSp>
        <p:nvCxnSpPr>
          <p:cNvPr id="11" name="LineBasicDefault 12">
            <a:extLst>
              <a:ext uri="{FF2B5EF4-FFF2-40B4-BE49-F238E27FC236}">
                <a16:creationId xmlns:a16="http://schemas.microsoft.com/office/drawing/2014/main" id="{5CA3B9CB-1818-4DD1-9D9D-23BA3A85D406}"/>
              </a:ext>
            </a:extLst>
          </p:cNvPr>
          <p:cNvCxnSpPr>
            <a:cxnSpLocks/>
          </p:cNvCxnSpPr>
          <p:nvPr>
            <p:custDataLst>
              <p:tags r:id="rId17"/>
            </p:custDataLst>
          </p:nvPr>
        </p:nvCxnSpPr>
        <p:spPr>
          <a:xfrm>
            <a:off x="554736" y="2035036"/>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LineBasicDefault 12">
            <a:extLst>
              <a:ext uri="{FF2B5EF4-FFF2-40B4-BE49-F238E27FC236}">
                <a16:creationId xmlns:a16="http://schemas.microsoft.com/office/drawing/2014/main" id="{B17B108E-65D4-4239-AF3A-E3E8D74F6649}"/>
              </a:ext>
            </a:extLst>
          </p:cNvPr>
          <p:cNvCxnSpPr>
            <a:cxnSpLocks/>
          </p:cNvCxnSpPr>
          <p:nvPr>
            <p:custDataLst>
              <p:tags r:id="rId18"/>
            </p:custDataLst>
          </p:nvPr>
        </p:nvCxnSpPr>
        <p:spPr>
          <a:xfrm>
            <a:off x="554736" y="2478085"/>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LineBasicDefault 12">
            <a:extLst>
              <a:ext uri="{FF2B5EF4-FFF2-40B4-BE49-F238E27FC236}">
                <a16:creationId xmlns:a16="http://schemas.microsoft.com/office/drawing/2014/main" id="{14079EE1-13C4-432D-B92E-016F581B1072}"/>
              </a:ext>
            </a:extLst>
          </p:cNvPr>
          <p:cNvCxnSpPr>
            <a:cxnSpLocks/>
          </p:cNvCxnSpPr>
          <p:nvPr>
            <p:custDataLst>
              <p:tags r:id="rId19"/>
            </p:custDataLst>
          </p:nvPr>
        </p:nvCxnSpPr>
        <p:spPr>
          <a:xfrm>
            <a:off x="554736" y="2921134"/>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LineBasicDefault 12">
            <a:extLst>
              <a:ext uri="{FF2B5EF4-FFF2-40B4-BE49-F238E27FC236}">
                <a16:creationId xmlns:a16="http://schemas.microsoft.com/office/drawing/2014/main" id="{00565933-A0D1-4C02-BF16-FE8E02278D66}"/>
              </a:ext>
            </a:extLst>
          </p:cNvPr>
          <p:cNvCxnSpPr>
            <a:cxnSpLocks/>
          </p:cNvCxnSpPr>
          <p:nvPr>
            <p:custDataLst>
              <p:tags r:id="rId20"/>
            </p:custDataLst>
          </p:nvPr>
        </p:nvCxnSpPr>
        <p:spPr>
          <a:xfrm>
            <a:off x="554736" y="3364183"/>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LineBasicDefault 12">
            <a:extLst>
              <a:ext uri="{FF2B5EF4-FFF2-40B4-BE49-F238E27FC236}">
                <a16:creationId xmlns:a16="http://schemas.microsoft.com/office/drawing/2014/main" id="{1A36F406-BE2C-443C-B584-05207D7EA1FB}"/>
              </a:ext>
            </a:extLst>
          </p:cNvPr>
          <p:cNvCxnSpPr>
            <a:cxnSpLocks/>
          </p:cNvCxnSpPr>
          <p:nvPr>
            <p:custDataLst>
              <p:tags r:id="rId21"/>
            </p:custDataLst>
          </p:nvPr>
        </p:nvCxnSpPr>
        <p:spPr>
          <a:xfrm>
            <a:off x="554736" y="3807232"/>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LineBasicDefault 12">
            <a:extLst>
              <a:ext uri="{FF2B5EF4-FFF2-40B4-BE49-F238E27FC236}">
                <a16:creationId xmlns:a16="http://schemas.microsoft.com/office/drawing/2014/main" id="{54BCF48D-33C3-4315-A211-9C79D31AC06A}"/>
              </a:ext>
            </a:extLst>
          </p:cNvPr>
          <p:cNvCxnSpPr>
            <a:cxnSpLocks/>
          </p:cNvCxnSpPr>
          <p:nvPr>
            <p:custDataLst>
              <p:tags r:id="rId22"/>
            </p:custDataLst>
          </p:nvPr>
        </p:nvCxnSpPr>
        <p:spPr>
          <a:xfrm>
            <a:off x="554736" y="4250281"/>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4" name="LineBasicDefault 12">
            <a:extLst>
              <a:ext uri="{FF2B5EF4-FFF2-40B4-BE49-F238E27FC236}">
                <a16:creationId xmlns:a16="http://schemas.microsoft.com/office/drawing/2014/main" id="{D78F92E1-72BE-4D52-9ADC-F66D4D6754E4}"/>
              </a:ext>
            </a:extLst>
          </p:cNvPr>
          <p:cNvCxnSpPr>
            <a:cxnSpLocks/>
          </p:cNvCxnSpPr>
          <p:nvPr>
            <p:custDataLst>
              <p:tags r:id="rId23"/>
            </p:custDataLst>
          </p:nvPr>
        </p:nvCxnSpPr>
        <p:spPr>
          <a:xfrm>
            <a:off x="554736" y="4693330"/>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LineBasicDefault 12">
            <a:extLst>
              <a:ext uri="{FF2B5EF4-FFF2-40B4-BE49-F238E27FC236}">
                <a16:creationId xmlns:a16="http://schemas.microsoft.com/office/drawing/2014/main" id="{426AB4F9-0E88-411B-BFBD-8D8069DB9D8F}"/>
              </a:ext>
            </a:extLst>
          </p:cNvPr>
          <p:cNvCxnSpPr>
            <a:cxnSpLocks/>
          </p:cNvCxnSpPr>
          <p:nvPr>
            <p:custDataLst>
              <p:tags r:id="rId24"/>
            </p:custDataLst>
          </p:nvPr>
        </p:nvCxnSpPr>
        <p:spPr>
          <a:xfrm>
            <a:off x="554736" y="5136379"/>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LineBasicDefault 12">
            <a:extLst>
              <a:ext uri="{FF2B5EF4-FFF2-40B4-BE49-F238E27FC236}">
                <a16:creationId xmlns:a16="http://schemas.microsoft.com/office/drawing/2014/main" id="{400FA2FB-2E7A-4CE4-B9C1-4AC34B4073F4}"/>
              </a:ext>
            </a:extLst>
          </p:cNvPr>
          <p:cNvCxnSpPr>
            <a:cxnSpLocks/>
          </p:cNvCxnSpPr>
          <p:nvPr>
            <p:custDataLst>
              <p:tags r:id="rId25"/>
            </p:custDataLst>
          </p:nvPr>
        </p:nvCxnSpPr>
        <p:spPr>
          <a:xfrm>
            <a:off x="554736" y="5579426"/>
            <a:ext cx="11082528" cy="0"/>
          </a:xfrm>
          <a:prstGeom prst="straightConnector1">
            <a:avLst/>
          </a:prstGeom>
          <a:ln w="635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7" name="CustomIcon">
            <a:extLst>
              <a:ext uri="{FF2B5EF4-FFF2-40B4-BE49-F238E27FC236}">
                <a16:creationId xmlns:a16="http://schemas.microsoft.com/office/drawing/2014/main" id="{90FE9784-C550-4158-9A63-257F8498B62E}"/>
              </a:ext>
            </a:extLst>
          </p:cNvPr>
          <p:cNvGrpSpPr>
            <a:grpSpLocks/>
          </p:cNvGrpSpPr>
          <p:nvPr>
            <p:custDataLst>
              <p:tags r:id="rId26"/>
            </p:custDataLst>
          </p:nvPr>
        </p:nvGrpSpPr>
        <p:grpSpPr>
          <a:xfrm>
            <a:off x="3988544" y="1643231"/>
            <a:ext cx="291464" cy="291464"/>
            <a:chOff x="-200025" y="-207010"/>
            <a:chExt cx="1019810" cy="1019810"/>
          </a:xfrm>
        </p:grpSpPr>
        <p:sp>
          <p:nvSpPr>
            <p:cNvPr id="14" name="Oval 13">
              <a:extLst>
                <a:ext uri="{FF2B5EF4-FFF2-40B4-BE49-F238E27FC236}">
                  <a16:creationId xmlns:a16="http://schemas.microsoft.com/office/drawing/2014/main" id="{60AFBDEE-A0A4-4E84-95A4-2DA7E71B098A}"/>
                </a:ext>
              </a:extLst>
            </p:cNvPr>
            <p:cNvSpPr>
              <a:spLocks noChangeAspect="1"/>
            </p:cNvSpPr>
            <p:nvPr/>
          </p:nvSpPr>
          <p:spPr>
            <a:xfrm>
              <a:off x="-200025" y="-20701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6" name="Graphic 15">
              <a:extLst>
                <a:ext uri="{FF2B5EF4-FFF2-40B4-BE49-F238E27FC236}">
                  <a16:creationId xmlns:a16="http://schemas.microsoft.com/office/drawing/2014/main" id="{1F6661EC-A92D-4BA3-A8F8-45EEC7E660A9}"/>
                </a:ext>
              </a:extLst>
            </p:cNvPr>
            <p:cNvPicPr>
              <a:picLocks noChangeAspect="1"/>
            </p:cNvPicPr>
            <p:nvPr/>
          </p:nvPicPr>
          <p:blipFill>
            <a:blip r:embed="rId82" cstate="screen">
              <a:extLst>
                <a:ext uri="{28A0092B-C50C-407E-A947-70E740481C1C}">
                  <a14:useLocalDpi xmlns:a14="http://schemas.microsoft.com/office/drawing/2010/main"/>
                </a:ext>
                <a:ext uri="{96DAC541-7B7A-43D3-8B79-37D633B846F1}">
                  <asvg:svgBlip xmlns:asvg="http://schemas.microsoft.com/office/drawing/2016/SVG/main" r:embed="rId83"/>
                </a:ext>
              </a:extLst>
            </a:blip>
            <a:stretch>
              <a:fillRect/>
            </a:stretch>
          </p:blipFill>
          <p:spPr>
            <a:xfrm>
              <a:off x="0" y="0"/>
              <a:ext cx="609600" cy="609600"/>
            </a:xfrm>
            <a:prstGeom prst="rect">
              <a:avLst/>
            </a:prstGeom>
          </p:spPr>
        </p:pic>
      </p:grpSp>
      <p:grpSp>
        <p:nvGrpSpPr>
          <p:cNvPr id="75" name="Group 74">
            <a:extLst>
              <a:ext uri="{FF2B5EF4-FFF2-40B4-BE49-F238E27FC236}">
                <a16:creationId xmlns:a16="http://schemas.microsoft.com/office/drawing/2014/main" id="{6C517B55-5DC5-4C1E-80EB-82A3F88CED57}"/>
              </a:ext>
            </a:extLst>
          </p:cNvPr>
          <p:cNvGrpSpPr>
            <a:grpSpLocks/>
          </p:cNvGrpSpPr>
          <p:nvPr>
            <p:custDataLst>
              <p:tags r:id="rId27"/>
            </p:custDataLst>
          </p:nvPr>
        </p:nvGrpSpPr>
        <p:grpSpPr>
          <a:xfrm>
            <a:off x="4316173" y="1643231"/>
            <a:ext cx="291464" cy="291464"/>
            <a:chOff x="1003300" y="2527300"/>
            <a:chExt cx="1019810" cy="1019810"/>
          </a:xfrm>
        </p:grpSpPr>
        <p:sp>
          <p:nvSpPr>
            <p:cNvPr id="18" name="Oval 17">
              <a:extLst>
                <a:ext uri="{FF2B5EF4-FFF2-40B4-BE49-F238E27FC236}">
                  <a16:creationId xmlns:a16="http://schemas.microsoft.com/office/drawing/2014/main" id="{4AB2931C-E648-4AA4-80EE-67F52582AF1C}"/>
                </a:ext>
              </a:extLst>
            </p:cNvPr>
            <p:cNvSpPr>
              <a:spLocks noChangeAspect="1"/>
            </p:cNvSpPr>
            <p:nvPr/>
          </p:nvSpPr>
          <p:spPr>
            <a:xfrm>
              <a:off x="1003300" y="25273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0" name="Graphic 19">
              <a:extLst>
                <a:ext uri="{FF2B5EF4-FFF2-40B4-BE49-F238E27FC236}">
                  <a16:creationId xmlns:a16="http://schemas.microsoft.com/office/drawing/2014/main" id="{F9A3ECC1-2A18-4288-B4B0-BAA9158F2C4E}"/>
                </a:ext>
              </a:extLst>
            </p:cNvPr>
            <p:cNvPicPr>
              <a:picLocks noChangeAspect="1"/>
            </p:cNvPicPr>
            <p:nvPr/>
          </p:nvPicPr>
          <p:blipFill>
            <a:blip r:embed="rId84" cstate="screen">
              <a:extLst>
                <a:ext uri="{28A0092B-C50C-407E-A947-70E740481C1C}">
                  <a14:useLocalDpi xmlns:a14="http://schemas.microsoft.com/office/drawing/2010/main"/>
                </a:ext>
                <a:ext uri="{96DAC541-7B7A-43D3-8B79-37D633B846F1}">
                  <asvg:svgBlip xmlns:asvg="http://schemas.microsoft.com/office/drawing/2016/SVG/main" r:embed="rId85"/>
                </a:ext>
              </a:extLst>
            </a:blip>
            <a:stretch>
              <a:fillRect/>
            </a:stretch>
          </p:blipFill>
          <p:spPr>
            <a:xfrm>
              <a:off x="1203325" y="2734310"/>
              <a:ext cx="609600" cy="609600"/>
            </a:xfrm>
            <a:prstGeom prst="rect">
              <a:avLst/>
            </a:prstGeom>
          </p:spPr>
        </p:pic>
      </p:grpSp>
      <p:grpSp>
        <p:nvGrpSpPr>
          <p:cNvPr id="74" name="Group 73">
            <a:extLst>
              <a:ext uri="{FF2B5EF4-FFF2-40B4-BE49-F238E27FC236}">
                <a16:creationId xmlns:a16="http://schemas.microsoft.com/office/drawing/2014/main" id="{3F4915FF-D3CF-45B7-BBCD-B3667F24650E}"/>
              </a:ext>
            </a:extLst>
          </p:cNvPr>
          <p:cNvGrpSpPr>
            <a:grpSpLocks/>
          </p:cNvGrpSpPr>
          <p:nvPr>
            <p:custDataLst>
              <p:tags r:id="rId28"/>
            </p:custDataLst>
          </p:nvPr>
        </p:nvGrpSpPr>
        <p:grpSpPr>
          <a:xfrm>
            <a:off x="4643802" y="1643231"/>
            <a:ext cx="291464" cy="291464"/>
            <a:chOff x="1003300" y="3797300"/>
            <a:chExt cx="1019810" cy="1019810"/>
          </a:xfrm>
        </p:grpSpPr>
        <p:sp>
          <p:nvSpPr>
            <p:cNvPr id="22" name="Oval 21">
              <a:extLst>
                <a:ext uri="{FF2B5EF4-FFF2-40B4-BE49-F238E27FC236}">
                  <a16:creationId xmlns:a16="http://schemas.microsoft.com/office/drawing/2014/main" id="{CBAF9030-A5EF-4610-80C4-BA3FF89DD03E}"/>
                </a:ext>
              </a:extLst>
            </p:cNvPr>
            <p:cNvSpPr>
              <a:spLocks noChangeAspect="1"/>
            </p:cNvSpPr>
            <p:nvPr/>
          </p:nvSpPr>
          <p:spPr>
            <a:xfrm>
              <a:off x="1003300" y="37973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5" name="Graphic 24">
              <a:extLst>
                <a:ext uri="{FF2B5EF4-FFF2-40B4-BE49-F238E27FC236}">
                  <a16:creationId xmlns:a16="http://schemas.microsoft.com/office/drawing/2014/main" id="{F8870C33-F926-452E-AFA5-7C790715F21F}"/>
                </a:ext>
              </a:extLst>
            </p:cNvPr>
            <p:cNvPicPr>
              <a:picLocks noChangeAspect="1"/>
            </p:cNvPicPr>
            <p:nvPr/>
          </p:nvPicPr>
          <p:blipFill>
            <a:blip r:embed="rId86" cstate="screen">
              <a:extLst>
                <a:ext uri="{28A0092B-C50C-407E-A947-70E740481C1C}">
                  <a14:useLocalDpi xmlns:a14="http://schemas.microsoft.com/office/drawing/2010/main"/>
                </a:ext>
                <a:ext uri="{96DAC541-7B7A-43D3-8B79-37D633B846F1}">
                  <asvg:svgBlip xmlns:asvg="http://schemas.microsoft.com/office/drawing/2016/SVG/main" r:embed="rId87"/>
                </a:ext>
              </a:extLst>
            </a:blip>
            <a:stretch>
              <a:fillRect/>
            </a:stretch>
          </p:blipFill>
          <p:spPr>
            <a:xfrm>
              <a:off x="1203325" y="4004310"/>
              <a:ext cx="609600" cy="609600"/>
            </a:xfrm>
            <a:prstGeom prst="rect">
              <a:avLst/>
            </a:prstGeom>
          </p:spPr>
        </p:pic>
      </p:grpSp>
      <p:grpSp>
        <p:nvGrpSpPr>
          <p:cNvPr id="73" name="Group 72">
            <a:extLst>
              <a:ext uri="{FF2B5EF4-FFF2-40B4-BE49-F238E27FC236}">
                <a16:creationId xmlns:a16="http://schemas.microsoft.com/office/drawing/2014/main" id="{7404B801-AC75-4E08-9F71-1550E47F6457}"/>
              </a:ext>
            </a:extLst>
          </p:cNvPr>
          <p:cNvGrpSpPr>
            <a:grpSpLocks/>
          </p:cNvGrpSpPr>
          <p:nvPr>
            <p:custDataLst>
              <p:tags r:id="rId29"/>
            </p:custDataLst>
          </p:nvPr>
        </p:nvGrpSpPr>
        <p:grpSpPr>
          <a:xfrm>
            <a:off x="4971431" y="1643231"/>
            <a:ext cx="291464" cy="291464"/>
            <a:chOff x="1003300" y="5067300"/>
            <a:chExt cx="1019810" cy="1019810"/>
          </a:xfrm>
        </p:grpSpPr>
        <p:sp>
          <p:nvSpPr>
            <p:cNvPr id="27" name="Oval 26">
              <a:extLst>
                <a:ext uri="{FF2B5EF4-FFF2-40B4-BE49-F238E27FC236}">
                  <a16:creationId xmlns:a16="http://schemas.microsoft.com/office/drawing/2014/main" id="{1929646D-7C7F-4D24-AFDD-007D6B1F3136}"/>
                </a:ext>
              </a:extLst>
            </p:cNvPr>
            <p:cNvSpPr>
              <a:spLocks noChangeAspect="1"/>
            </p:cNvSpPr>
            <p:nvPr/>
          </p:nvSpPr>
          <p:spPr>
            <a:xfrm>
              <a:off x="1003300" y="50673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9" name="Graphic 28">
              <a:extLst>
                <a:ext uri="{FF2B5EF4-FFF2-40B4-BE49-F238E27FC236}">
                  <a16:creationId xmlns:a16="http://schemas.microsoft.com/office/drawing/2014/main" id="{136D44F3-5A30-4FC7-B2DC-E0D8FD5601E4}"/>
                </a:ext>
              </a:extLst>
            </p:cNvPr>
            <p:cNvPicPr>
              <a:picLocks noChangeAspect="1"/>
            </p:cNvPicPr>
            <p:nvPr/>
          </p:nvPicPr>
          <p:blipFill>
            <a:blip r:embed="rId88" cstate="screen">
              <a:extLst>
                <a:ext uri="{28A0092B-C50C-407E-A947-70E740481C1C}">
                  <a14:useLocalDpi xmlns:a14="http://schemas.microsoft.com/office/drawing/2010/main"/>
                </a:ext>
                <a:ext uri="{96DAC541-7B7A-43D3-8B79-37D633B846F1}">
                  <asvg:svgBlip xmlns:asvg="http://schemas.microsoft.com/office/drawing/2016/SVG/main" r:embed="rId89"/>
                </a:ext>
              </a:extLst>
            </a:blip>
            <a:stretch>
              <a:fillRect/>
            </a:stretch>
          </p:blipFill>
          <p:spPr>
            <a:xfrm>
              <a:off x="1203325" y="5274310"/>
              <a:ext cx="609600" cy="609600"/>
            </a:xfrm>
            <a:prstGeom prst="rect">
              <a:avLst/>
            </a:prstGeom>
          </p:spPr>
        </p:pic>
      </p:grpSp>
      <p:grpSp>
        <p:nvGrpSpPr>
          <p:cNvPr id="72" name="Group 71">
            <a:extLst>
              <a:ext uri="{FF2B5EF4-FFF2-40B4-BE49-F238E27FC236}">
                <a16:creationId xmlns:a16="http://schemas.microsoft.com/office/drawing/2014/main" id="{6A8E1F8A-A3C6-44A2-98CD-EB015EDA4AD7}"/>
              </a:ext>
            </a:extLst>
          </p:cNvPr>
          <p:cNvGrpSpPr>
            <a:grpSpLocks/>
          </p:cNvGrpSpPr>
          <p:nvPr>
            <p:custDataLst>
              <p:tags r:id="rId30"/>
            </p:custDataLst>
          </p:nvPr>
        </p:nvGrpSpPr>
        <p:grpSpPr>
          <a:xfrm>
            <a:off x="5299059" y="1643231"/>
            <a:ext cx="291464" cy="291464"/>
            <a:chOff x="2273300" y="254000"/>
            <a:chExt cx="1019810" cy="1019810"/>
          </a:xfrm>
        </p:grpSpPr>
        <p:sp>
          <p:nvSpPr>
            <p:cNvPr id="68" name="Oval 67">
              <a:extLst>
                <a:ext uri="{FF2B5EF4-FFF2-40B4-BE49-F238E27FC236}">
                  <a16:creationId xmlns:a16="http://schemas.microsoft.com/office/drawing/2014/main" id="{F827A060-2627-419C-B8DA-97AC8A1C942D}"/>
                </a:ext>
              </a:extLst>
            </p:cNvPr>
            <p:cNvSpPr>
              <a:spLocks noChangeAspect="1"/>
            </p:cNvSpPr>
            <p:nvPr/>
          </p:nvSpPr>
          <p:spPr>
            <a:xfrm>
              <a:off x="2273300" y="2540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0" name="Graphic 69">
              <a:extLst>
                <a:ext uri="{FF2B5EF4-FFF2-40B4-BE49-F238E27FC236}">
                  <a16:creationId xmlns:a16="http://schemas.microsoft.com/office/drawing/2014/main" id="{0A2F3D0C-B94D-4F4A-8C74-EB08AD23DAC0}"/>
                </a:ext>
              </a:extLst>
            </p:cNvPr>
            <p:cNvPicPr>
              <a:picLocks noChangeAspect="1"/>
            </p:cNvPicPr>
            <p:nvPr/>
          </p:nvPicPr>
          <p:blipFill>
            <a:blip r:embed="rId90" cstate="screen">
              <a:extLst>
                <a:ext uri="{28A0092B-C50C-407E-A947-70E740481C1C}">
                  <a14:useLocalDpi xmlns:a14="http://schemas.microsoft.com/office/drawing/2010/main"/>
                </a:ext>
                <a:ext uri="{96DAC541-7B7A-43D3-8B79-37D633B846F1}">
                  <asvg:svgBlip xmlns:asvg="http://schemas.microsoft.com/office/drawing/2016/SVG/main" r:embed="rId91"/>
                </a:ext>
              </a:extLst>
            </a:blip>
            <a:stretch>
              <a:fillRect/>
            </a:stretch>
          </p:blipFill>
          <p:spPr>
            <a:xfrm>
              <a:off x="2473325" y="461010"/>
              <a:ext cx="609600" cy="609600"/>
            </a:xfrm>
            <a:prstGeom prst="rect">
              <a:avLst/>
            </a:prstGeom>
          </p:spPr>
        </p:pic>
      </p:grpSp>
      <p:grpSp>
        <p:nvGrpSpPr>
          <p:cNvPr id="88" name="CustomIcon">
            <a:extLst>
              <a:ext uri="{FF2B5EF4-FFF2-40B4-BE49-F238E27FC236}">
                <a16:creationId xmlns:a16="http://schemas.microsoft.com/office/drawing/2014/main" id="{3EB8991B-F8B4-411D-BAAB-D065DDDEFCC4}"/>
              </a:ext>
            </a:extLst>
          </p:cNvPr>
          <p:cNvGrpSpPr>
            <a:grpSpLocks/>
          </p:cNvGrpSpPr>
          <p:nvPr>
            <p:custDataLst>
              <p:tags r:id="rId31"/>
            </p:custDataLst>
          </p:nvPr>
        </p:nvGrpSpPr>
        <p:grpSpPr>
          <a:xfrm>
            <a:off x="3988544" y="2102672"/>
            <a:ext cx="291464" cy="291464"/>
            <a:chOff x="-200025" y="-207010"/>
            <a:chExt cx="1019810" cy="1019810"/>
          </a:xfrm>
        </p:grpSpPr>
        <p:sp>
          <p:nvSpPr>
            <p:cNvPr id="89" name="Oval 88">
              <a:extLst>
                <a:ext uri="{FF2B5EF4-FFF2-40B4-BE49-F238E27FC236}">
                  <a16:creationId xmlns:a16="http://schemas.microsoft.com/office/drawing/2014/main" id="{63DE6E75-CF2A-471B-B570-9F1538AD5A6A}"/>
                </a:ext>
              </a:extLst>
            </p:cNvPr>
            <p:cNvSpPr>
              <a:spLocks noChangeAspect="1"/>
            </p:cNvSpPr>
            <p:nvPr/>
          </p:nvSpPr>
          <p:spPr>
            <a:xfrm>
              <a:off x="-200025" y="-20701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0" name="Graphic 89">
              <a:extLst>
                <a:ext uri="{FF2B5EF4-FFF2-40B4-BE49-F238E27FC236}">
                  <a16:creationId xmlns:a16="http://schemas.microsoft.com/office/drawing/2014/main" id="{DFD2ADBA-9325-4D0E-9C70-E900966A59DF}"/>
                </a:ext>
              </a:extLst>
            </p:cNvPr>
            <p:cNvPicPr>
              <a:picLocks noChangeAspect="1"/>
            </p:cNvPicPr>
            <p:nvPr/>
          </p:nvPicPr>
          <p:blipFill>
            <a:blip r:embed="rId82" cstate="screen">
              <a:extLst>
                <a:ext uri="{28A0092B-C50C-407E-A947-70E740481C1C}">
                  <a14:useLocalDpi xmlns:a14="http://schemas.microsoft.com/office/drawing/2010/main"/>
                </a:ext>
                <a:ext uri="{96DAC541-7B7A-43D3-8B79-37D633B846F1}">
                  <asvg:svgBlip xmlns:asvg="http://schemas.microsoft.com/office/drawing/2016/SVG/main" r:embed="rId83"/>
                </a:ext>
              </a:extLst>
            </a:blip>
            <a:stretch>
              <a:fillRect/>
            </a:stretch>
          </p:blipFill>
          <p:spPr>
            <a:xfrm>
              <a:off x="0" y="0"/>
              <a:ext cx="609600" cy="609600"/>
            </a:xfrm>
            <a:prstGeom prst="rect">
              <a:avLst/>
            </a:prstGeom>
          </p:spPr>
        </p:pic>
      </p:grpSp>
      <p:grpSp>
        <p:nvGrpSpPr>
          <p:cNvPr id="102" name="Group 101">
            <a:extLst>
              <a:ext uri="{FF2B5EF4-FFF2-40B4-BE49-F238E27FC236}">
                <a16:creationId xmlns:a16="http://schemas.microsoft.com/office/drawing/2014/main" id="{C670A990-0DF0-4F3B-AA20-4281F29797CB}"/>
              </a:ext>
            </a:extLst>
          </p:cNvPr>
          <p:cNvGrpSpPr>
            <a:grpSpLocks/>
          </p:cNvGrpSpPr>
          <p:nvPr>
            <p:custDataLst>
              <p:tags r:id="rId32"/>
            </p:custDataLst>
          </p:nvPr>
        </p:nvGrpSpPr>
        <p:grpSpPr>
          <a:xfrm>
            <a:off x="4316173" y="2102672"/>
            <a:ext cx="291464" cy="291464"/>
            <a:chOff x="1003300" y="5067300"/>
            <a:chExt cx="1019810" cy="1019810"/>
          </a:xfrm>
        </p:grpSpPr>
        <p:sp>
          <p:nvSpPr>
            <p:cNvPr id="104" name="Oval 103">
              <a:extLst>
                <a:ext uri="{FF2B5EF4-FFF2-40B4-BE49-F238E27FC236}">
                  <a16:creationId xmlns:a16="http://schemas.microsoft.com/office/drawing/2014/main" id="{BD6802DC-9996-49E5-8EBF-CF9A148F65AC}"/>
                </a:ext>
              </a:extLst>
            </p:cNvPr>
            <p:cNvSpPr>
              <a:spLocks noChangeAspect="1"/>
            </p:cNvSpPr>
            <p:nvPr/>
          </p:nvSpPr>
          <p:spPr>
            <a:xfrm>
              <a:off x="1003300" y="50673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06" name="Graphic 105">
              <a:extLst>
                <a:ext uri="{FF2B5EF4-FFF2-40B4-BE49-F238E27FC236}">
                  <a16:creationId xmlns:a16="http://schemas.microsoft.com/office/drawing/2014/main" id="{8BF7E081-0C76-44F7-9ED1-8BFEF6C7A7AD}"/>
                </a:ext>
              </a:extLst>
            </p:cNvPr>
            <p:cNvPicPr>
              <a:picLocks noChangeAspect="1"/>
            </p:cNvPicPr>
            <p:nvPr/>
          </p:nvPicPr>
          <p:blipFill>
            <a:blip r:embed="rId88" cstate="screen">
              <a:extLst>
                <a:ext uri="{28A0092B-C50C-407E-A947-70E740481C1C}">
                  <a14:useLocalDpi xmlns:a14="http://schemas.microsoft.com/office/drawing/2010/main"/>
                </a:ext>
                <a:ext uri="{96DAC541-7B7A-43D3-8B79-37D633B846F1}">
                  <asvg:svgBlip xmlns:asvg="http://schemas.microsoft.com/office/drawing/2016/SVG/main" r:embed="rId89"/>
                </a:ext>
              </a:extLst>
            </a:blip>
            <a:stretch>
              <a:fillRect/>
            </a:stretch>
          </p:blipFill>
          <p:spPr>
            <a:xfrm>
              <a:off x="1203325" y="5274310"/>
              <a:ext cx="609600" cy="609600"/>
            </a:xfrm>
            <a:prstGeom prst="rect">
              <a:avLst/>
            </a:prstGeom>
          </p:spPr>
        </p:pic>
      </p:grpSp>
      <p:grpSp>
        <p:nvGrpSpPr>
          <p:cNvPr id="79" name="CustomIcon">
            <a:extLst>
              <a:ext uri="{FF2B5EF4-FFF2-40B4-BE49-F238E27FC236}">
                <a16:creationId xmlns:a16="http://schemas.microsoft.com/office/drawing/2014/main" id="{5E88319D-37D3-427B-9E20-E7B7393A2F20}"/>
              </a:ext>
            </a:extLst>
          </p:cNvPr>
          <p:cNvGrpSpPr>
            <a:grpSpLocks/>
          </p:cNvGrpSpPr>
          <p:nvPr>
            <p:custDataLst>
              <p:tags r:id="rId33"/>
            </p:custDataLst>
          </p:nvPr>
        </p:nvGrpSpPr>
        <p:grpSpPr>
          <a:xfrm>
            <a:off x="4643802" y="2102672"/>
            <a:ext cx="291464" cy="291464"/>
            <a:chOff x="-200025" y="-207010"/>
            <a:chExt cx="1019810" cy="1019810"/>
          </a:xfrm>
        </p:grpSpPr>
        <p:sp>
          <p:nvSpPr>
            <p:cNvPr id="76" name="Oval 75">
              <a:extLst>
                <a:ext uri="{FF2B5EF4-FFF2-40B4-BE49-F238E27FC236}">
                  <a16:creationId xmlns:a16="http://schemas.microsoft.com/office/drawing/2014/main" id="{5DE9E873-946C-4870-BFBA-A855FC7FFD00}"/>
                </a:ext>
              </a:extLst>
            </p:cNvPr>
            <p:cNvSpPr>
              <a:spLocks noChangeAspect="1"/>
            </p:cNvSpPr>
            <p:nvPr/>
          </p:nvSpPr>
          <p:spPr>
            <a:xfrm>
              <a:off x="-200025" y="-20701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8" name="Graphic 77">
              <a:extLst>
                <a:ext uri="{FF2B5EF4-FFF2-40B4-BE49-F238E27FC236}">
                  <a16:creationId xmlns:a16="http://schemas.microsoft.com/office/drawing/2014/main" id="{6BF44852-11E1-470C-B885-1E9A1BC88A70}"/>
                </a:ext>
              </a:extLst>
            </p:cNvPr>
            <p:cNvPicPr>
              <a:picLocks noChangeAspect="1"/>
            </p:cNvPicPr>
            <p:nvPr/>
          </p:nvPicPr>
          <p:blipFill>
            <a:blip r:embed="rId92" cstate="screen">
              <a:extLst>
                <a:ext uri="{28A0092B-C50C-407E-A947-70E740481C1C}">
                  <a14:useLocalDpi xmlns:a14="http://schemas.microsoft.com/office/drawing/2010/main"/>
                </a:ext>
                <a:ext uri="{96DAC541-7B7A-43D3-8B79-37D633B846F1}">
                  <asvg:svgBlip xmlns:asvg="http://schemas.microsoft.com/office/drawing/2016/SVG/main" r:embed="rId93"/>
                </a:ext>
              </a:extLst>
            </a:blip>
            <a:stretch>
              <a:fillRect/>
            </a:stretch>
          </p:blipFill>
          <p:spPr>
            <a:xfrm>
              <a:off x="0" y="0"/>
              <a:ext cx="609600" cy="609600"/>
            </a:xfrm>
            <a:prstGeom prst="rect">
              <a:avLst/>
            </a:prstGeom>
          </p:spPr>
        </p:pic>
      </p:grpSp>
      <p:grpSp>
        <p:nvGrpSpPr>
          <p:cNvPr id="111" name="CustomIcon">
            <a:extLst>
              <a:ext uri="{FF2B5EF4-FFF2-40B4-BE49-F238E27FC236}">
                <a16:creationId xmlns:a16="http://schemas.microsoft.com/office/drawing/2014/main" id="{5B287C05-DFC4-4FAD-95D5-51A76613DBD1}"/>
              </a:ext>
            </a:extLst>
          </p:cNvPr>
          <p:cNvGrpSpPr>
            <a:grpSpLocks/>
          </p:cNvGrpSpPr>
          <p:nvPr>
            <p:custDataLst>
              <p:tags r:id="rId34"/>
            </p:custDataLst>
          </p:nvPr>
        </p:nvGrpSpPr>
        <p:grpSpPr>
          <a:xfrm>
            <a:off x="4971431" y="2102672"/>
            <a:ext cx="291464" cy="291464"/>
            <a:chOff x="-200025" y="-207010"/>
            <a:chExt cx="1019810" cy="1019810"/>
          </a:xfrm>
        </p:grpSpPr>
        <p:sp>
          <p:nvSpPr>
            <p:cNvPr id="80" name="Oval 79">
              <a:extLst>
                <a:ext uri="{FF2B5EF4-FFF2-40B4-BE49-F238E27FC236}">
                  <a16:creationId xmlns:a16="http://schemas.microsoft.com/office/drawing/2014/main" id="{DA42C08B-C4B9-46CB-B2EC-CEE25FB791D7}"/>
                </a:ext>
              </a:extLst>
            </p:cNvPr>
            <p:cNvSpPr>
              <a:spLocks noChangeAspect="1"/>
            </p:cNvSpPr>
            <p:nvPr/>
          </p:nvSpPr>
          <p:spPr>
            <a:xfrm>
              <a:off x="-200025" y="-20701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2" name="Graphic 81">
              <a:extLst>
                <a:ext uri="{FF2B5EF4-FFF2-40B4-BE49-F238E27FC236}">
                  <a16:creationId xmlns:a16="http://schemas.microsoft.com/office/drawing/2014/main" id="{248C8E4A-D1EB-4EE7-BE68-55BE35033E19}"/>
                </a:ext>
              </a:extLst>
            </p:cNvPr>
            <p:cNvPicPr>
              <a:picLocks noChangeAspect="1"/>
            </p:cNvPicPr>
            <p:nvPr/>
          </p:nvPicPr>
          <p:blipFill>
            <a:blip r:embed="rId94" cstate="screen">
              <a:extLst>
                <a:ext uri="{28A0092B-C50C-407E-A947-70E740481C1C}">
                  <a14:useLocalDpi xmlns:a14="http://schemas.microsoft.com/office/drawing/2010/main"/>
                </a:ext>
                <a:ext uri="{96DAC541-7B7A-43D3-8B79-37D633B846F1}">
                  <asvg:svgBlip xmlns:asvg="http://schemas.microsoft.com/office/drawing/2016/SVG/main" r:embed="rId95"/>
                </a:ext>
              </a:extLst>
            </a:blip>
            <a:stretch>
              <a:fillRect/>
            </a:stretch>
          </p:blipFill>
          <p:spPr>
            <a:xfrm>
              <a:off x="0" y="0"/>
              <a:ext cx="609600" cy="609600"/>
            </a:xfrm>
            <a:prstGeom prst="rect">
              <a:avLst/>
            </a:prstGeom>
          </p:spPr>
        </p:pic>
      </p:grpSp>
      <p:grpSp>
        <p:nvGrpSpPr>
          <p:cNvPr id="119" name="Group 118">
            <a:extLst>
              <a:ext uri="{FF2B5EF4-FFF2-40B4-BE49-F238E27FC236}">
                <a16:creationId xmlns:a16="http://schemas.microsoft.com/office/drawing/2014/main" id="{FF53A9A8-C954-4DD1-B535-3597E5D6E944}"/>
              </a:ext>
            </a:extLst>
          </p:cNvPr>
          <p:cNvGrpSpPr>
            <a:grpSpLocks/>
          </p:cNvGrpSpPr>
          <p:nvPr>
            <p:custDataLst>
              <p:tags r:id="rId35"/>
            </p:custDataLst>
          </p:nvPr>
        </p:nvGrpSpPr>
        <p:grpSpPr>
          <a:xfrm>
            <a:off x="4316173" y="2545721"/>
            <a:ext cx="291464" cy="291464"/>
            <a:chOff x="1003300" y="5067300"/>
            <a:chExt cx="1019810" cy="1019810"/>
          </a:xfrm>
        </p:grpSpPr>
        <p:sp>
          <p:nvSpPr>
            <p:cNvPr id="120" name="Oval 119">
              <a:extLst>
                <a:ext uri="{FF2B5EF4-FFF2-40B4-BE49-F238E27FC236}">
                  <a16:creationId xmlns:a16="http://schemas.microsoft.com/office/drawing/2014/main" id="{432FEB16-2F27-4973-891C-D171C6568B8A}"/>
                </a:ext>
              </a:extLst>
            </p:cNvPr>
            <p:cNvSpPr>
              <a:spLocks noChangeAspect="1"/>
            </p:cNvSpPr>
            <p:nvPr/>
          </p:nvSpPr>
          <p:spPr>
            <a:xfrm>
              <a:off x="1003300" y="50673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21" name="Graphic 120">
              <a:extLst>
                <a:ext uri="{FF2B5EF4-FFF2-40B4-BE49-F238E27FC236}">
                  <a16:creationId xmlns:a16="http://schemas.microsoft.com/office/drawing/2014/main" id="{971319D5-62F5-47A9-89AA-1FCF6F46952A}"/>
                </a:ext>
              </a:extLst>
            </p:cNvPr>
            <p:cNvPicPr>
              <a:picLocks noChangeAspect="1"/>
            </p:cNvPicPr>
            <p:nvPr/>
          </p:nvPicPr>
          <p:blipFill>
            <a:blip r:embed="rId88" cstate="screen">
              <a:extLst>
                <a:ext uri="{28A0092B-C50C-407E-A947-70E740481C1C}">
                  <a14:useLocalDpi xmlns:a14="http://schemas.microsoft.com/office/drawing/2010/main"/>
                </a:ext>
                <a:ext uri="{96DAC541-7B7A-43D3-8B79-37D633B846F1}">
                  <asvg:svgBlip xmlns:asvg="http://schemas.microsoft.com/office/drawing/2016/SVG/main" r:embed="rId89"/>
                </a:ext>
              </a:extLst>
            </a:blip>
            <a:stretch>
              <a:fillRect/>
            </a:stretch>
          </p:blipFill>
          <p:spPr>
            <a:xfrm>
              <a:off x="1203325" y="5274310"/>
              <a:ext cx="609600" cy="609600"/>
            </a:xfrm>
            <a:prstGeom prst="rect">
              <a:avLst/>
            </a:prstGeom>
          </p:spPr>
        </p:pic>
      </p:grpSp>
      <p:grpSp>
        <p:nvGrpSpPr>
          <p:cNvPr id="134" name="CustomIcon">
            <a:extLst>
              <a:ext uri="{FF2B5EF4-FFF2-40B4-BE49-F238E27FC236}">
                <a16:creationId xmlns:a16="http://schemas.microsoft.com/office/drawing/2014/main" id="{C5F671B7-E067-4F5A-8944-004EFBEB0244}"/>
              </a:ext>
            </a:extLst>
          </p:cNvPr>
          <p:cNvGrpSpPr>
            <a:grpSpLocks/>
          </p:cNvGrpSpPr>
          <p:nvPr>
            <p:custDataLst>
              <p:tags r:id="rId36"/>
            </p:custDataLst>
          </p:nvPr>
        </p:nvGrpSpPr>
        <p:grpSpPr>
          <a:xfrm>
            <a:off x="3988544" y="2545721"/>
            <a:ext cx="291464" cy="291464"/>
            <a:chOff x="-200025" y="-207010"/>
            <a:chExt cx="1019810" cy="1019810"/>
          </a:xfrm>
          <a:solidFill>
            <a:schemeClr val="bg1"/>
          </a:solidFill>
        </p:grpSpPr>
        <p:sp>
          <p:nvSpPr>
            <p:cNvPr id="131" name="Oval 130">
              <a:extLst>
                <a:ext uri="{FF2B5EF4-FFF2-40B4-BE49-F238E27FC236}">
                  <a16:creationId xmlns:a16="http://schemas.microsoft.com/office/drawing/2014/main" id="{4C30B37B-A4BF-4F0E-9FA9-D18A2B093F54}"/>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33" name="Graphic 132">
              <a:extLst>
                <a:ext uri="{FF2B5EF4-FFF2-40B4-BE49-F238E27FC236}">
                  <a16:creationId xmlns:a16="http://schemas.microsoft.com/office/drawing/2014/main" id="{2C422F05-369C-49A1-ABBC-F37CCB435A94}"/>
                </a:ext>
              </a:extLst>
            </p:cNvPr>
            <p:cNvPicPr>
              <a:picLocks noChangeAspect="1"/>
            </p:cNvPicPr>
            <p:nvPr/>
          </p:nvPicPr>
          <p:blipFill>
            <a:blip r:embed="rId96" cstate="screen">
              <a:extLst>
                <a:ext uri="{28A0092B-C50C-407E-A947-70E740481C1C}">
                  <a14:useLocalDpi xmlns:a14="http://schemas.microsoft.com/office/drawing/2010/main"/>
                </a:ext>
                <a:ext uri="{96DAC541-7B7A-43D3-8B79-37D633B846F1}">
                  <asvg:svgBlip xmlns:asvg="http://schemas.microsoft.com/office/drawing/2016/SVG/main" r:embed="rId97"/>
                </a:ext>
              </a:extLst>
            </a:blip>
            <a:stretch>
              <a:fillRect/>
            </a:stretch>
          </p:blipFill>
          <p:spPr>
            <a:xfrm>
              <a:off x="0" y="0"/>
              <a:ext cx="609600" cy="609600"/>
            </a:xfrm>
            <a:prstGeom prst="rect">
              <a:avLst/>
            </a:prstGeom>
          </p:spPr>
        </p:pic>
      </p:grpSp>
      <p:grpSp>
        <p:nvGrpSpPr>
          <p:cNvPr id="138" name="CustomIcon">
            <a:extLst>
              <a:ext uri="{FF2B5EF4-FFF2-40B4-BE49-F238E27FC236}">
                <a16:creationId xmlns:a16="http://schemas.microsoft.com/office/drawing/2014/main" id="{79365C1B-BD8D-4414-860B-E365F8B0D0C2}"/>
              </a:ext>
            </a:extLst>
          </p:cNvPr>
          <p:cNvGrpSpPr>
            <a:grpSpLocks/>
          </p:cNvGrpSpPr>
          <p:nvPr>
            <p:custDataLst>
              <p:tags r:id="rId37"/>
            </p:custDataLst>
          </p:nvPr>
        </p:nvGrpSpPr>
        <p:grpSpPr>
          <a:xfrm>
            <a:off x="4643802" y="2545721"/>
            <a:ext cx="291464" cy="291464"/>
            <a:chOff x="-200025" y="-207010"/>
            <a:chExt cx="1019810" cy="1019810"/>
          </a:xfrm>
          <a:solidFill>
            <a:schemeClr val="bg1"/>
          </a:solidFill>
        </p:grpSpPr>
        <p:sp>
          <p:nvSpPr>
            <p:cNvPr id="135" name="Oval 134">
              <a:extLst>
                <a:ext uri="{FF2B5EF4-FFF2-40B4-BE49-F238E27FC236}">
                  <a16:creationId xmlns:a16="http://schemas.microsoft.com/office/drawing/2014/main" id="{1C7F163E-2BFA-4DA5-BF65-8E89E8846D18}"/>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37" name="Graphic 136">
              <a:extLst>
                <a:ext uri="{FF2B5EF4-FFF2-40B4-BE49-F238E27FC236}">
                  <a16:creationId xmlns:a16="http://schemas.microsoft.com/office/drawing/2014/main" id="{3B88DE8E-B449-4368-A477-3ACB5E3780B6}"/>
                </a:ext>
              </a:extLst>
            </p:cNvPr>
            <p:cNvPicPr>
              <a:picLocks noChangeAspect="1"/>
            </p:cNvPicPr>
            <p:nvPr/>
          </p:nvPicPr>
          <p:blipFill>
            <a:blip r:embed="rId98" cstate="screen">
              <a:extLst>
                <a:ext uri="{28A0092B-C50C-407E-A947-70E740481C1C}">
                  <a14:useLocalDpi xmlns:a14="http://schemas.microsoft.com/office/drawing/2010/main"/>
                </a:ext>
                <a:ext uri="{96DAC541-7B7A-43D3-8B79-37D633B846F1}">
                  <asvg:svgBlip xmlns:asvg="http://schemas.microsoft.com/office/drawing/2016/SVG/main" r:embed="rId99"/>
                </a:ext>
              </a:extLst>
            </a:blip>
            <a:stretch>
              <a:fillRect/>
            </a:stretch>
          </p:blipFill>
          <p:spPr>
            <a:xfrm>
              <a:off x="0" y="0"/>
              <a:ext cx="609600" cy="609600"/>
            </a:xfrm>
            <a:prstGeom prst="rect">
              <a:avLst/>
            </a:prstGeom>
          </p:spPr>
        </p:pic>
      </p:grpSp>
      <p:grpSp>
        <p:nvGrpSpPr>
          <p:cNvPr id="142" name="CustomIcon">
            <a:extLst>
              <a:ext uri="{FF2B5EF4-FFF2-40B4-BE49-F238E27FC236}">
                <a16:creationId xmlns:a16="http://schemas.microsoft.com/office/drawing/2014/main" id="{BFDD2920-0ACC-4E94-BEB9-50B3AD39B190}"/>
              </a:ext>
            </a:extLst>
          </p:cNvPr>
          <p:cNvGrpSpPr>
            <a:grpSpLocks/>
          </p:cNvGrpSpPr>
          <p:nvPr>
            <p:custDataLst>
              <p:tags r:id="rId38"/>
            </p:custDataLst>
          </p:nvPr>
        </p:nvGrpSpPr>
        <p:grpSpPr>
          <a:xfrm>
            <a:off x="4971431" y="2545721"/>
            <a:ext cx="291464" cy="291464"/>
            <a:chOff x="-200025" y="-207010"/>
            <a:chExt cx="1019810" cy="1019810"/>
          </a:xfrm>
          <a:solidFill>
            <a:schemeClr val="bg1"/>
          </a:solidFill>
        </p:grpSpPr>
        <p:sp>
          <p:nvSpPr>
            <p:cNvPr id="139" name="Oval 138">
              <a:extLst>
                <a:ext uri="{FF2B5EF4-FFF2-40B4-BE49-F238E27FC236}">
                  <a16:creationId xmlns:a16="http://schemas.microsoft.com/office/drawing/2014/main" id="{D940AB11-388E-4E1E-86D7-60FD9C61BE35}"/>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1" name="Graphic 140">
              <a:extLst>
                <a:ext uri="{FF2B5EF4-FFF2-40B4-BE49-F238E27FC236}">
                  <a16:creationId xmlns:a16="http://schemas.microsoft.com/office/drawing/2014/main" id="{F31A96F6-438E-4109-8F49-453821E7A7A0}"/>
                </a:ext>
              </a:extLst>
            </p:cNvPr>
            <p:cNvPicPr>
              <a:picLocks noChangeAspect="1"/>
            </p:cNvPicPr>
            <p:nvPr/>
          </p:nvPicPr>
          <p:blipFill>
            <a:blip r:embed="rId100" cstate="screen">
              <a:extLst>
                <a:ext uri="{28A0092B-C50C-407E-A947-70E740481C1C}">
                  <a14:useLocalDpi xmlns:a14="http://schemas.microsoft.com/office/drawing/2010/main"/>
                </a:ext>
                <a:ext uri="{96DAC541-7B7A-43D3-8B79-37D633B846F1}">
                  <asvg:svgBlip xmlns:asvg="http://schemas.microsoft.com/office/drawing/2016/SVG/main" r:embed="rId101"/>
                </a:ext>
              </a:extLst>
            </a:blip>
            <a:stretch>
              <a:fillRect/>
            </a:stretch>
          </p:blipFill>
          <p:spPr>
            <a:xfrm>
              <a:off x="0" y="0"/>
              <a:ext cx="609600" cy="609600"/>
            </a:xfrm>
            <a:prstGeom prst="rect">
              <a:avLst/>
            </a:prstGeom>
          </p:spPr>
        </p:pic>
      </p:grpSp>
      <p:grpSp>
        <p:nvGrpSpPr>
          <p:cNvPr id="146" name="CustomIcon">
            <a:extLst>
              <a:ext uri="{FF2B5EF4-FFF2-40B4-BE49-F238E27FC236}">
                <a16:creationId xmlns:a16="http://schemas.microsoft.com/office/drawing/2014/main" id="{3D90D9D0-E428-4429-AB02-0E67B5A79BB1}"/>
              </a:ext>
            </a:extLst>
          </p:cNvPr>
          <p:cNvGrpSpPr>
            <a:grpSpLocks/>
          </p:cNvGrpSpPr>
          <p:nvPr>
            <p:custDataLst>
              <p:tags r:id="rId39"/>
            </p:custDataLst>
          </p:nvPr>
        </p:nvGrpSpPr>
        <p:grpSpPr>
          <a:xfrm>
            <a:off x="5299059" y="2545721"/>
            <a:ext cx="291464" cy="291464"/>
            <a:chOff x="-200025" y="-207010"/>
            <a:chExt cx="1019810" cy="1019810"/>
          </a:xfrm>
          <a:solidFill>
            <a:schemeClr val="bg1"/>
          </a:solidFill>
        </p:grpSpPr>
        <p:sp>
          <p:nvSpPr>
            <p:cNvPr id="143" name="Oval 142">
              <a:extLst>
                <a:ext uri="{FF2B5EF4-FFF2-40B4-BE49-F238E27FC236}">
                  <a16:creationId xmlns:a16="http://schemas.microsoft.com/office/drawing/2014/main" id="{ECA8DF14-6A8B-4D4C-B48A-1B3E925A0ABA}"/>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5" name="Graphic 144">
              <a:extLst>
                <a:ext uri="{FF2B5EF4-FFF2-40B4-BE49-F238E27FC236}">
                  <a16:creationId xmlns:a16="http://schemas.microsoft.com/office/drawing/2014/main" id="{A77AADEE-C020-4939-9769-0ACD0822D5F8}"/>
                </a:ext>
              </a:extLst>
            </p:cNvPr>
            <p:cNvPicPr>
              <a:picLocks noChangeAspect="1"/>
            </p:cNvPicPr>
            <p:nvPr/>
          </p:nvPicPr>
          <p:blipFill>
            <a:blip r:embed="rId102" cstate="screen">
              <a:extLst>
                <a:ext uri="{28A0092B-C50C-407E-A947-70E740481C1C}">
                  <a14:useLocalDpi xmlns:a14="http://schemas.microsoft.com/office/drawing/2010/main"/>
                </a:ext>
                <a:ext uri="{96DAC541-7B7A-43D3-8B79-37D633B846F1}">
                  <asvg:svgBlip xmlns:asvg="http://schemas.microsoft.com/office/drawing/2016/SVG/main" r:embed="rId103"/>
                </a:ext>
              </a:extLst>
            </a:blip>
            <a:stretch>
              <a:fillRect/>
            </a:stretch>
          </p:blipFill>
          <p:spPr>
            <a:xfrm>
              <a:off x="0" y="0"/>
              <a:ext cx="609600" cy="609600"/>
            </a:xfrm>
            <a:prstGeom prst="rect">
              <a:avLst/>
            </a:prstGeom>
          </p:spPr>
        </p:pic>
      </p:grpSp>
      <p:grpSp>
        <p:nvGrpSpPr>
          <p:cNvPr id="147" name="CustomIcon">
            <a:extLst>
              <a:ext uri="{FF2B5EF4-FFF2-40B4-BE49-F238E27FC236}">
                <a16:creationId xmlns:a16="http://schemas.microsoft.com/office/drawing/2014/main" id="{93F51E5D-4D47-4E88-8FA0-A6E2600DAF18}"/>
              </a:ext>
            </a:extLst>
          </p:cNvPr>
          <p:cNvGrpSpPr>
            <a:grpSpLocks/>
          </p:cNvGrpSpPr>
          <p:nvPr>
            <p:custDataLst>
              <p:tags r:id="rId40"/>
            </p:custDataLst>
          </p:nvPr>
        </p:nvGrpSpPr>
        <p:grpSpPr>
          <a:xfrm>
            <a:off x="3988544" y="2988770"/>
            <a:ext cx="291464" cy="291464"/>
            <a:chOff x="-200025" y="-207010"/>
            <a:chExt cx="1019810" cy="1019810"/>
          </a:xfrm>
        </p:grpSpPr>
        <p:sp>
          <p:nvSpPr>
            <p:cNvPr id="148" name="Oval 147">
              <a:extLst>
                <a:ext uri="{FF2B5EF4-FFF2-40B4-BE49-F238E27FC236}">
                  <a16:creationId xmlns:a16="http://schemas.microsoft.com/office/drawing/2014/main" id="{ACB5C641-AA08-4943-936C-A1A77061C156}"/>
                </a:ext>
              </a:extLst>
            </p:cNvPr>
            <p:cNvSpPr>
              <a:spLocks noChangeAspect="1"/>
            </p:cNvSpPr>
            <p:nvPr/>
          </p:nvSpPr>
          <p:spPr>
            <a:xfrm>
              <a:off x="-200025" y="-20701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49" name="Graphic 148">
              <a:extLst>
                <a:ext uri="{FF2B5EF4-FFF2-40B4-BE49-F238E27FC236}">
                  <a16:creationId xmlns:a16="http://schemas.microsoft.com/office/drawing/2014/main" id="{64002803-E433-4CE2-B448-4AC0C94B0C0E}"/>
                </a:ext>
              </a:extLst>
            </p:cNvPr>
            <p:cNvPicPr>
              <a:picLocks noChangeAspect="1"/>
            </p:cNvPicPr>
            <p:nvPr/>
          </p:nvPicPr>
          <p:blipFill>
            <a:blip r:embed="rId82" cstate="screen">
              <a:extLst>
                <a:ext uri="{28A0092B-C50C-407E-A947-70E740481C1C}">
                  <a14:useLocalDpi xmlns:a14="http://schemas.microsoft.com/office/drawing/2010/main"/>
                </a:ext>
                <a:ext uri="{96DAC541-7B7A-43D3-8B79-37D633B846F1}">
                  <asvg:svgBlip xmlns:asvg="http://schemas.microsoft.com/office/drawing/2016/SVG/main" r:embed="rId83"/>
                </a:ext>
              </a:extLst>
            </a:blip>
            <a:stretch>
              <a:fillRect/>
            </a:stretch>
          </p:blipFill>
          <p:spPr>
            <a:xfrm>
              <a:off x="0" y="0"/>
              <a:ext cx="609600" cy="609600"/>
            </a:xfrm>
            <a:prstGeom prst="rect">
              <a:avLst/>
            </a:prstGeom>
          </p:spPr>
        </p:pic>
      </p:grpSp>
      <p:grpSp>
        <p:nvGrpSpPr>
          <p:cNvPr id="150" name="CustomIcon">
            <a:extLst>
              <a:ext uri="{FF2B5EF4-FFF2-40B4-BE49-F238E27FC236}">
                <a16:creationId xmlns:a16="http://schemas.microsoft.com/office/drawing/2014/main" id="{F34C7B38-6F1B-4B78-81E2-40D6D7D35F5F}"/>
              </a:ext>
            </a:extLst>
          </p:cNvPr>
          <p:cNvGrpSpPr>
            <a:grpSpLocks/>
          </p:cNvGrpSpPr>
          <p:nvPr>
            <p:custDataLst>
              <p:tags r:id="rId41"/>
            </p:custDataLst>
          </p:nvPr>
        </p:nvGrpSpPr>
        <p:grpSpPr>
          <a:xfrm>
            <a:off x="4316173" y="2988770"/>
            <a:ext cx="291464" cy="291464"/>
            <a:chOff x="-200025" y="-207010"/>
            <a:chExt cx="1019810" cy="1019810"/>
          </a:xfrm>
        </p:grpSpPr>
        <p:sp>
          <p:nvSpPr>
            <p:cNvPr id="151" name="Oval 150">
              <a:extLst>
                <a:ext uri="{FF2B5EF4-FFF2-40B4-BE49-F238E27FC236}">
                  <a16:creationId xmlns:a16="http://schemas.microsoft.com/office/drawing/2014/main" id="{7FBBE5F5-A183-4A87-847B-C9C867353A4D}"/>
                </a:ext>
              </a:extLst>
            </p:cNvPr>
            <p:cNvSpPr>
              <a:spLocks noChangeAspect="1"/>
            </p:cNvSpPr>
            <p:nvPr/>
          </p:nvSpPr>
          <p:spPr>
            <a:xfrm>
              <a:off x="-200025" y="-20701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52" name="Graphic 151">
              <a:extLst>
                <a:ext uri="{FF2B5EF4-FFF2-40B4-BE49-F238E27FC236}">
                  <a16:creationId xmlns:a16="http://schemas.microsoft.com/office/drawing/2014/main" id="{A2CEA578-2BDD-445F-9FAB-1B56676FB12F}"/>
                </a:ext>
              </a:extLst>
            </p:cNvPr>
            <p:cNvPicPr>
              <a:picLocks noChangeAspect="1"/>
            </p:cNvPicPr>
            <p:nvPr/>
          </p:nvPicPr>
          <p:blipFill>
            <a:blip r:embed="rId92" cstate="screen">
              <a:extLst>
                <a:ext uri="{28A0092B-C50C-407E-A947-70E740481C1C}">
                  <a14:useLocalDpi xmlns:a14="http://schemas.microsoft.com/office/drawing/2010/main"/>
                </a:ext>
                <a:ext uri="{96DAC541-7B7A-43D3-8B79-37D633B846F1}">
                  <asvg:svgBlip xmlns:asvg="http://schemas.microsoft.com/office/drawing/2016/SVG/main" r:embed="rId93"/>
                </a:ext>
              </a:extLst>
            </a:blip>
            <a:stretch>
              <a:fillRect/>
            </a:stretch>
          </p:blipFill>
          <p:spPr>
            <a:xfrm>
              <a:off x="0" y="0"/>
              <a:ext cx="609600" cy="609600"/>
            </a:xfrm>
            <a:prstGeom prst="rect">
              <a:avLst/>
            </a:prstGeom>
          </p:spPr>
        </p:pic>
      </p:grpSp>
      <p:grpSp>
        <p:nvGrpSpPr>
          <p:cNvPr id="156" name="CustomIcon">
            <a:extLst>
              <a:ext uri="{FF2B5EF4-FFF2-40B4-BE49-F238E27FC236}">
                <a16:creationId xmlns:a16="http://schemas.microsoft.com/office/drawing/2014/main" id="{EC1B496F-016E-4A30-AB47-47AEF2982752}"/>
              </a:ext>
            </a:extLst>
          </p:cNvPr>
          <p:cNvGrpSpPr>
            <a:grpSpLocks/>
          </p:cNvGrpSpPr>
          <p:nvPr>
            <p:custDataLst>
              <p:tags r:id="rId42"/>
            </p:custDataLst>
          </p:nvPr>
        </p:nvGrpSpPr>
        <p:grpSpPr>
          <a:xfrm>
            <a:off x="4643802" y="2988770"/>
            <a:ext cx="291464" cy="291464"/>
            <a:chOff x="-200025" y="-207010"/>
            <a:chExt cx="1019810" cy="1019810"/>
          </a:xfrm>
        </p:grpSpPr>
        <p:sp>
          <p:nvSpPr>
            <p:cNvPr id="153" name="Oval 152">
              <a:extLst>
                <a:ext uri="{FF2B5EF4-FFF2-40B4-BE49-F238E27FC236}">
                  <a16:creationId xmlns:a16="http://schemas.microsoft.com/office/drawing/2014/main" id="{81E29A8E-0D76-4318-B2C1-02BA787A35B3}"/>
                </a:ext>
              </a:extLst>
            </p:cNvPr>
            <p:cNvSpPr>
              <a:spLocks noChangeAspect="1"/>
            </p:cNvSpPr>
            <p:nvPr/>
          </p:nvSpPr>
          <p:spPr>
            <a:xfrm>
              <a:off x="-200025" y="-20701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55" name="Graphic 154">
              <a:extLst>
                <a:ext uri="{FF2B5EF4-FFF2-40B4-BE49-F238E27FC236}">
                  <a16:creationId xmlns:a16="http://schemas.microsoft.com/office/drawing/2014/main" id="{E1F6988D-D690-497E-B8C9-5E1BD07DA917}"/>
                </a:ext>
              </a:extLst>
            </p:cNvPr>
            <p:cNvPicPr>
              <a:picLocks noChangeAspect="1"/>
            </p:cNvPicPr>
            <p:nvPr/>
          </p:nvPicPr>
          <p:blipFill>
            <a:blip r:embed="rId104" cstate="screen">
              <a:extLst>
                <a:ext uri="{28A0092B-C50C-407E-A947-70E740481C1C}">
                  <a14:useLocalDpi xmlns:a14="http://schemas.microsoft.com/office/drawing/2010/main"/>
                </a:ext>
                <a:ext uri="{96DAC541-7B7A-43D3-8B79-37D633B846F1}">
                  <asvg:svgBlip xmlns:asvg="http://schemas.microsoft.com/office/drawing/2016/SVG/main" r:embed="rId105"/>
                </a:ext>
              </a:extLst>
            </a:blip>
            <a:stretch>
              <a:fillRect/>
            </a:stretch>
          </p:blipFill>
          <p:spPr>
            <a:xfrm>
              <a:off x="0" y="0"/>
              <a:ext cx="609600" cy="609600"/>
            </a:xfrm>
            <a:prstGeom prst="rect">
              <a:avLst/>
            </a:prstGeom>
          </p:spPr>
        </p:pic>
      </p:grpSp>
      <p:grpSp>
        <p:nvGrpSpPr>
          <p:cNvPr id="157" name="Group 156">
            <a:extLst>
              <a:ext uri="{FF2B5EF4-FFF2-40B4-BE49-F238E27FC236}">
                <a16:creationId xmlns:a16="http://schemas.microsoft.com/office/drawing/2014/main" id="{78818E42-A3D9-48A0-B65B-1F0D392ECD26}"/>
              </a:ext>
            </a:extLst>
          </p:cNvPr>
          <p:cNvGrpSpPr>
            <a:grpSpLocks/>
          </p:cNvGrpSpPr>
          <p:nvPr>
            <p:custDataLst>
              <p:tags r:id="rId43"/>
            </p:custDataLst>
          </p:nvPr>
        </p:nvGrpSpPr>
        <p:grpSpPr>
          <a:xfrm>
            <a:off x="4971431" y="2988770"/>
            <a:ext cx="291464" cy="291464"/>
            <a:chOff x="1003300" y="5067300"/>
            <a:chExt cx="1019810" cy="1019810"/>
          </a:xfrm>
        </p:grpSpPr>
        <p:sp>
          <p:nvSpPr>
            <p:cNvPr id="158" name="Oval 157">
              <a:extLst>
                <a:ext uri="{FF2B5EF4-FFF2-40B4-BE49-F238E27FC236}">
                  <a16:creationId xmlns:a16="http://schemas.microsoft.com/office/drawing/2014/main" id="{39FDE12B-8D81-41FE-8499-802C6BB117E7}"/>
                </a:ext>
              </a:extLst>
            </p:cNvPr>
            <p:cNvSpPr>
              <a:spLocks noChangeAspect="1"/>
            </p:cNvSpPr>
            <p:nvPr/>
          </p:nvSpPr>
          <p:spPr>
            <a:xfrm>
              <a:off x="1003300" y="50673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59" name="Graphic 158">
              <a:extLst>
                <a:ext uri="{FF2B5EF4-FFF2-40B4-BE49-F238E27FC236}">
                  <a16:creationId xmlns:a16="http://schemas.microsoft.com/office/drawing/2014/main" id="{EA190C08-7D12-4332-904A-02332C3954B9}"/>
                </a:ext>
              </a:extLst>
            </p:cNvPr>
            <p:cNvPicPr>
              <a:picLocks noChangeAspect="1"/>
            </p:cNvPicPr>
            <p:nvPr/>
          </p:nvPicPr>
          <p:blipFill>
            <a:blip r:embed="rId88" cstate="screen">
              <a:extLst>
                <a:ext uri="{28A0092B-C50C-407E-A947-70E740481C1C}">
                  <a14:useLocalDpi xmlns:a14="http://schemas.microsoft.com/office/drawing/2010/main"/>
                </a:ext>
                <a:ext uri="{96DAC541-7B7A-43D3-8B79-37D633B846F1}">
                  <asvg:svgBlip xmlns:asvg="http://schemas.microsoft.com/office/drawing/2016/SVG/main" r:embed="rId89"/>
                </a:ext>
              </a:extLst>
            </a:blip>
            <a:stretch>
              <a:fillRect/>
            </a:stretch>
          </p:blipFill>
          <p:spPr>
            <a:xfrm>
              <a:off x="1203325" y="5274310"/>
              <a:ext cx="609600" cy="609600"/>
            </a:xfrm>
            <a:prstGeom prst="rect">
              <a:avLst/>
            </a:prstGeom>
          </p:spPr>
        </p:pic>
      </p:grpSp>
      <p:grpSp>
        <p:nvGrpSpPr>
          <p:cNvPr id="163" name="CustomIcon">
            <a:extLst>
              <a:ext uri="{FF2B5EF4-FFF2-40B4-BE49-F238E27FC236}">
                <a16:creationId xmlns:a16="http://schemas.microsoft.com/office/drawing/2014/main" id="{CE45A885-5A6C-475D-9838-A21367E022B4}"/>
              </a:ext>
            </a:extLst>
          </p:cNvPr>
          <p:cNvGrpSpPr>
            <a:grpSpLocks/>
          </p:cNvGrpSpPr>
          <p:nvPr>
            <p:custDataLst>
              <p:tags r:id="rId44"/>
            </p:custDataLst>
          </p:nvPr>
        </p:nvGrpSpPr>
        <p:grpSpPr>
          <a:xfrm>
            <a:off x="5299059" y="2988770"/>
            <a:ext cx="291464" cy="291464"/>
            <a:chOff x="-200025" y="-207010"/>
            <a:chExt cx="1019810" cy="1019810"/>
          </a:xfrm>
          <a:solidFill>
            <a:schemeClr val="bg1"/>
          </a:solidFill>
        </p:grpSpPr>
        <p:sp>
          <p:nvSpPr>
            <p:cNvPr id="160" name="Oval 159">
              <a:extLst>
                <a:ext uri="{FF2B5EF4-FFF2-40B4-BE49-F238E27FC236}">
                  <a16:creationId xmlns:a16="http://schemas.microsoft.com/office/drawing/2014/main" id="{BA0D5B7E-5310-4765-BAE1-F0E5D162D572}"/>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62" name="Graphic 161">
              <a:extLst>
                <a:ext uri="{FF2B5EF4-FFF2-40B4-BE49-F238E27FC236}">
                  <a16:creationId xmlns:a16="http://schemas.microsoft.com/office/drawing/2014/main" id="{5D96C09E-0304-4FEB-A571-216739ABDD2B}"/>
                </a:ext>
              </a:extLst>
            </p:cNvPr>
            <p:cNvPicPr>
              <a:picLocks noChangeAspect="1"/>
            </p:cNvPicPr>
            <p:nvPr/>
          </p:nvPicPr>
          <p:blipFill>
            <a:blip r:embed="rId106" cstate="screen">
              <a:extLst>
                <a:ext uri="{28A0092B-C50C-407E-A947-70E740481C1C}">
                  <a14:useLocalDpi xmlns:a14="http://schemas.microsoft.com/office/drawing/2010/main"/>
                </a:ext>
                <a:ext uri="{96DAC541-7B7A-43D3-8B79-37D633B846F1}">
                  <asvg:svgBlip xmlns:asvg="http://schemas.microsoft.com/office/drawing/2016/SVG/main" r:embed="rId107"/>
                </a:ext>
              </a:extLst>
            </a:blip>
            <a:stretch>
              <a:fillRect/>
            </a:stretch>
          </p:blipFill>
          <p:spPr>
            <a:xfrm>
              <a:off x="0" y="0"/>
              <a:ext cx="609600" cy="609600"/>
            </a:xfrm>
            <a:prstGeom prst="rect">
              <a:avLst/>
            </a:prstGeom>
          </p:spPr>
        </p:pic>
      </p:grpSp>
      <p:grpSp>
        <p:nvGrpSpPr>
          <p:cNvPr id="164" name="Group 163">
            <a:extLst>
              <a:ext uri="{FF2B5EF4-FFF2-40B4-BE49-F238E27FC236}">
                <a16:creationId xmlns:a16="http://schemas.microsoft.com/office/drawing/2014/main" id="{3F8EB9CB-8164-4316-A06A-745F3B42C9BF}"/>
              </a:ext>
            </a:extLst>
          </p:cNvPr>
          <p:cNvGrpSpPr>
            <a:grpSpLocks/>
          </p:cNvGrpSpPr>
          <p:nvPr>
            <p:custDataLst>
              <p:tags r:id="rId45"/>
            </p:custDataLst>
          </p:nvPr>
        </p:nvGrpSpPr>
        <p:grpSpPr>
          <a:xfrm>
            <a:off x="3988544" y="3431819"/>
            <a:ext cx="291464" cy="291464"/>
            <a:chOff x="1003300" y="5067300"/>
            <a:chExt cx="1019810" cy="1019810"/>
          </a:xfrm>
        </p:grpSpPr>
        <p:sp>
          <p:nvSpPr>
            <p:cNvPr id="165" name="Oval 164">
              <a:extLst>
                <a:ext uri="{FF2B5EF4-FFF2-40B4-BE49-F238E27FC236}">
                  <a16:creationId xmlns:a16="http://schemas.microsoft.com/office/drawing/2014/main" id="{280B431F-5854-4EFE-949C-9A364176D9A9}"/>
                </a:ext>
              </a:extLst>
            </p:cNvPr>
            <p:cNvSpPr>
              <a:spLocks noChangeAspect="1"/>
            </p:cNvSpPr>
            <p:nvPr/>
          </p:nvSpPr>
          <p:spPr>
            <a:xfrm>
              <a:off x="1003300" y="50673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66" name="Graphic 165">
              <a:extLst>
                <a:ext uri="{FF2B5EF4-FFF2-40B4-BE49-F238E27FC236}">
                  <a16:creationId xmlns:a16="http://schemas.microsoft.com/office/drawing/2014/main" id="{3EA60725-943B-455B-B888-0F334417696B}"/>
                </a:ext>
              </a:extLst>
            </p:cNvPr>
            <p:cNvPicPr>
              <a:picLocks noChangeAspect="1"/>
            </p:cNvPicPr>
            <p:nvPr/>
          </p:nvPicPr>
          <p:blipFill>
            <a:blip r:embed="rId88" cstate="screen">
              <a:extLst>
                <a:ext uri="{28A0092B-C50C-407E-A947-70E740481C1C}">
                  <a14:useLocalDpi xmlns:a14="http://schemas.microsoft.com/office/drawing/2010/main"/>
                </a:ext>
                <a:ext uri="{96DAC541-7B7A-43D3-8B79-37D633B846F1}">
                  <asvg:svgBlip xmlns:asvg="http://schemas.microsoft.com/office/drawing/2016/SVG/main" r:embed="rId89"/>
                </a:ext>
              </a:extLst>
            </a:blip>
            <a:stretch>
              <a:fillRect/>
            </a:stretch>
          </p:blipFill>
          <p:spPr>
            <a:xfrm>
              <a:off x="1203325" y="5274310"/>
              <a:ext cx="609600" cy="609600"/>
            </a:xfrm>
            <a:prstGeom prst="rect">
              <a:avLst/>
            </a:prstGeom>
          </p:spPr>
        </p:pic>
      </p:grpSp>
      <p:grpSp>
        <p:nvGrpSpPr>
          <p:cNvPr id="167" name="CustomIcon">
            <a:extLst>
              <a:ext uri="{FF2B5EF4-FFF2-40B4-BE49-F238E27FC236}">
                <a16:creationId xmlns:a16="http://schemas.microsoft.com/office/drawing/2014/main" id="{1AF1D009-C31C-4807-9EFD-3AE6AAF59E60}"/>
              </a:ext>
            </a:extLst>
          </p:cNvPr>
          <p:cNvGrpSpPr>
            <a:grpSpLocks/>
          </p:cNvGrpSpPr>
          <p:nvPr>
            <p:custDataLst>
              <p:tags r:id="rId46"/>
            </p:custDataLst>
          </p:nvPr>
        </p:nvGrpSpPr>
        <p:grpSpPr>
          <a:xfrm>
            <a:off x="4316173" y="3431819"/>
            <a:ext cx="291464" cy="291464"/>
            <a:chOff x="-200025" y="-207010"/>
            <a:chExt cx="1019810" cy="1019810"/>
          </a:xfrm>
        </p:grpSpPr>
        <p:sp>
          <p:nvSpPr>
            <p:cNvPr id="168" name="Oval 167">
              <a:extLst>
                <a:ext uri="{FF2B5EF4-FFF2-40B4-BE49-F238E27FC236}">
                  <a16:creationId xmlns:a16="http://schemas.microsoft.com/office/drawing/2014/main" id="{208B3A42-B274-4806-B2A7-4E8B2587458B}"/>
                </a:ext>
              </a:extLst>
            </p:cNvPr>
            <p:cNvSpPr>
              <a:spLocks noChangeAspect="1"/>
            </p:cNvSpPr>
            <p:nvPr/>
          </p:nvSpPr>
          <p:spPr>
            <a:xfrm>
              <a:off x="-200025" y="-20701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69" name="Graphic 168">
              <a:extLst>
                <a:ext uri="{FF2B5EF4-FFF2-40B4-BE49-F238E27FC236}">
                  <a16:creationId xmlns:a16="http://schemas.microsoft.com/office/drawing/2014/main" id="{B8DD934F-DF35-49EB-AF34-97E53A3235A5}"/>
                </a:ext>
              </a:extLst>
            </p:cNvPr>
            <p:cNvPicPr>
              <a:picLocks noChangeAspect="1"/>
            </p:cNvPicPr>
            <p:nvPr/>
          </p:nvPicPr>
          <p:blipFill>
            <a:blip r:embed="rId94" cstate="screen">
              <a:extLst>
                <a:ext uri="{28A0092B-C50C-407E-A947-70E740481C1C}">
                  <a14:useLocalDpi xmlns:a14="http://schemas.microsoft.com/office/drawing/2010/main"/>
                </a:ext>
                <a:ext uri="{96DAC541-7B7A-43D3-8B79-37D633B846F1}">
                  <asvg:svgBlip xmlns:asvg="http://schemas.microsoft.com/office/drawing/2016/SVG/main" r:embed="rId95"/>
                </a:ext>
              </a:extLst>
            </a:blip>
            <a:stretch>
              <a:fillRect/>
            </a:stretch>
          </p:blipFill>
          <p:spPr>
            <a:xfrm>
              <a:off x="0" y="0"/>
              <a:ext cx="609600" cy="609600"/>
            </a:xfrm>
            <a:prstGeom prst="rect">
              <a:avLst/>
            </a:prstGeom>
          </p:spPr>
        </p:pic>
      </p:grpSp>
      <p:grpSp>
        <p:nvGrpSpPr>
          <p:cNvPr id="170" name="Group 169">
            <a:extLst>
              <a:ext uri="{FF2B5EF4-FFF2-40B4-BE49-F238E27FC236}">
                <a16:creationId xmlns:a16="http://schemas.microsoft.com/office/drawing/2014/main" id="{D7602063-E57C-4AFC-93A1-C7FF92F33BE4}"/>
              </a:ext>
            </a:extLst>
          </p:cNvPr>
          <p:cNvGrpSpPr>
            <a:grpSpLocks/>
          </p:cNvGrpSpPr>
          <p:nvPr>
            <p:custDataLst>
              <p:tags r:id="rId47"/>
            </p:custDataLst>
          </p:nvPr>
        </p:nvGrpSpPr>
        <p:grpSpPr>
          <a:xfrm>
            <a:off x="4643802" y="3431819"/>
            <a:ext cx="291464" cy="291464"/>
            <a:chOff x="1003300" y="3797300"/>
            <a:chExt cx="1019810" cy="1019810"/>
          </a:xfrm>
        </p:grpSpPr>
        <p:sp>
          <p:nvSpPr>
            <p:cNvPr id="171" name="Oval 170">
              <a:extLst>
                <a:ext uri="{FF2B5EF4-FFF2-40B4-BE49-F238E27FC236}">
                  <a16:creationId xmlns:a16="http://schemas.microsoft.com/office/drawing/2014/main" id="{FB5284AD-0F82-40DA-95E1-648BE171480F}"/>
                </a:ext>
              </a:extLst>
            </p:cNvPr>
            <p:cNvSpPr>
              <a:spLocks noChangeAspect="1"/>
            </p:cNvSpPr>
            <p:nvPr/>
          </p:nvSpPr>
          <p:spPr>
            <a:xfrm>
              <a:off x="1003300" y="37973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72" name="Graphic 171">
              <a:extLst>
                <a:ext uri="{FF2B5EF4-FFF2-40B4-BE49-F238E27FC236}">
                  <a16:creationId xmlns:a16="http://schemas.microsoft.com/office/drawing/2014/main" id="{A2D74865-F6B7-4E98-A8A3-75A080AF6623}"/>
                </a:ext>
              </a:extLst>
            </p:cNvPr>
            <p:cNvPicPr>
              <a:picLocks noChangeAspect="1"/>
            </p:cNvPicPr>
            <p:nvPr/>
          </p:nvPicPr>
          <p:blipFill>
            <a:blip r:embed="rId86" cstate="screen">
              <a:extLst>
                <a:ext uri="{28A0092B-C50C-407E-A947-70E740481C1C}">
                  <a14:useLocalDpi xmlns:a14="http://schemas.microsoft.com/office/drawing/2010/main"/>
                </a:ext>
                <a:ext uri="{96DAC541-7B7A-43D3-8B79-37D633B846F1}">
                  <asvg:svgBlip xmlns:asvg="http://schemas.microsoft.com/office/drawing/2016/SVG/main" r:embed="rId87"/>
                </a:ext>
              </a:extLst>
            </a:blip>
            <a:stretch>
              <a:fillRect/>
            </a:stretch>
          </p:blipFill>
          <p:spPr>
            <a:xfrm>
              <a:off x="1203325" y="4004310"/>
              <a:ext cx="609600" cy="609600"/>
            </a:xfrm>
            <a:prstGeom prst="rect">
              <a:avLst/>
            </a:prstGeom>
          </p:spPr>
        </p:pic>
      </p:grpSp>
      <p:grpSp>
        <p:nvGrpSpPr>
          <p:cNvPr id="173" name="CustomIcon">
            <a:extLst>
              <a:ext uri="{FF2B5EF4-FFF2-40B4-BE49-F238E27FC236}">
                <a16:creationId xmlns:a16="http://schemas.microsoft.com/office/drawing/2014/main" id="{B37175B6-949C-4A54-B8A7-B9492DB6BF87}"/>
              </a:ext>
            </a:extLst>
          </p:cNvPr>
          <p:cNvGrpSpPr>
            <a:grpSpLocks/>
          </p:cNvGrpSpPr>
          <p:nvPr>
            <p:custDataLst>
              <p:tags r:id="rId48"/>
            </p:custDataLst>
          </p:nvPr>
        </p:nvGrpSpPr>
        <p:grpSpPr>
          <a:xfrm>
            <a:off x="4971431" y="3431819"/>
            <a:ext cx="291464" cy="291464"/>
            <a:chOff x="-200025" y="-207010"/>
            <a:chExt cx="1019810" cy="1019810"/>
          </a:xfrm>
        </p:grpSpPr>
        <p:sp>
          <p:nvSpPr>
            <p:cNvPr id="174" name="Oval 173">
              <a:extLst>
                <a:ext uri="{FF2B5EF4-FFF2-40B4-BE49-F238E27FC236}">
                  <a16:creationId xmlns:a16="http://schemas.microsoft.com/office/drawing/2014/main" id="{942B420D-8047-4C98-BC1C-10169F6FC573}"/>
                </a:ext>
              </a:extLst>
            </p:cNvPr>
            <p:cNvSpPr>
              <a:spLocks noChangeAspect="1"/>
            </p:cNvSpPr>
            <p:nvPr/>
          </p:nvSpPr>
          <p:spPr>
            <a:xfrm>
              <a:off x="-200025" y="-20701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75" name="Graphic 174">
              <a:extLst>
                <a:ext uri="{FF2B5EF4-FFF2-40B4-BE49-F238E27FC236}">
                  <a16:creationId xmlns:a16="http://schemas.microsoft.com/office/drawing/2014/main" id="{5F113DF8-29B0-4ACD-92BE-22F5405D93C6}"/>
                </a:ext>
              </a:extLst>
            </p:cNvPr>
            <p:cNvPicPr>
              <a:picLocks noChangeAspect="1"/>
            </p:cNvPicPr>
            <p:nvPr/>
          </p:nvPicPr>
          <p:blipFill>
            <a:blip r:embed="rId82" cstate="screen">
              <a:extLst>
                <a:ext uri="{28A0092B-C50C-407E-A947-70E740481C1C}">
                  <a14:useLocalDpi xmlns:a14="http://schemas.microsoft.com/office/drawing/2010/main"/>
                </a:ext>
                <a:ext uri="{96DAC541-7B7A-43D3-8B79-37D633B846F1}">
                  <asvg:svgBlip xmlns:asvg="http://schemas.microsoft.com/office/drawing/2016/SVG/main" r:embed="rId83"/>
                </a:ext>
              </a:extLst>
            </a:blip>
            <a:stretch>
              <a:fillRect/>
            </a:stretch>
          </p:blipFill>
          <p:spPr>
            <a:xfrm>
              <a:off x="0" y="0"/>
              <a:ext cx="609600" cy="609600"/>
            </a:xfrm>
            <a:prstGeom prst="rect">
              <a:avLst/>
            </a:prstGeom>
          </p:spPr>
        </p:pic>
      </p:grpSp>
      <p:grpSp>
        <p:nvGrpSpPr>
          <p:cNvPr id="176" name="CustomIcon">
            <a:extLst>
              <a:ext uri="{FF2B5EF4-FFF2-40B4-BE49-F238E27FC236}">
                <a16:creationId xmlns:a16="http://schemas.microsoft.com/office/drawing/2014/main" id="{9F2313FC-62A2-4BC9-9169-4C25DB5CC2FA}"/>
              </a:ext>
            </a:extLst>
          </p:cNvPr>
          <p:cNvGrpSpPr>
            <a:grpSpLocks/>
          </p:cNvGrpSpPr>
          <p:nvPr>
            <p:custDataLst>
              <p:tags r:id="rId49"/>
            </p:custDataLst>
          </p:nvPr>
        </p:nvGrpSpPr>
        <p:grpSpPr>
          <a:xfrm>
            <a:off x="5299059" y="3431819"/>
            <a:ext cx="291464" cy="291464"/>
            <a:chOff x="-200025" y="-207010"/>
            <a:chExt cx="1019810" cy="1019810"/>
          </a:xfrm>
          <a:solidFill>
            <a:schemeClr val="bg1"/>
          </a:solidFill>
        </p:grpSpPr>
        <p:sp>
          <p:nvSpPr>
            <p:cNvPr id="177" name="Oval 176">
              <a:extLst>
                <a:ext uri="{FF2B5EF4-FFF2-40B4-BE49-F238E27FC236}">
                  <a16:creationId xmlns:a16="http://schemas.microsoft.com/office/drawing/2014/main" id="{5F216CF0-35D7-42DA-BFB5-D04C6EBAC5D0}"/>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78" name="Graphic 177">
              <a:extLst>
                <a:ext uri="{FF2B5EF4-FFF2-40B4-BE49-F238E27FC236}">
                  <a16:creationId xmlns:a16="http://schemas.microsoft.com/office/drawing/2014/main" id="{4AF1DC88-67FF-4D2D-910F-5226AC98D7D5}"/>
                </a:ext>
              </a:extLst>
            </p:cNvPr>
            <p:cNvPicPr>
              <a:picLocks noChangeAspect="1"/>
            </p:cNvPicPr>
            <p:nvPr/>
          </p:nvPicPr>
          <p:blipFill>
            <a:blip r:embed="rId96" cstate="screen">
              <a:extLst>
                <a:ext uri="{28A0092B-C50C-407E-A947-70E740481C1C}">
                  <a14:useLocalDpi xmlns:a14="http://schemas.microsoft.com/office/drawing/2010/main"/>
                </a:ext>
                <a:ext uri="{96DAC541-7B7A-43D3-8B79-37D633B846F1}">
                  <asvg:svgBlip xmlns:asvg="http://schemas.microsoft.com/office/drawing/2016/SVG/main" r:embed="rId97"/>
                </a:ext>
              </a:extLst>
            </a:blip>
            <a:stretch>
              <a:fillRect/>
            </a:stretch>
          </p:blipFill>
          <p:spPr>
            <a:xfrm>
              <a:off x="0" y="0"/>
              <a:ext cx="609600" cy="609600"/>
            </a:xfrm>
            <a:prstGeom prst="rect">
              <a:avLst/>
            </a:prstGeom>
          </p:spPr>
        </p:pic>
      </p:grpSp>
      <p:grpSp>
        <p:nvGrpSpPr>
          <p:cNvPr id="179" name="Group 178">
            <a:extLst>
              <a:ext uri="{FF2B5EF4-FFF2-40B4-BE49-F238E27FC236}">
                <a16:creationId xmlns:a16="http://schemas.microsoft.com/office/drawing/2014/main" id="{AACE3E65-14F5-4B1E-8F2E-F3D9270BB189}"/>
              </a:ext>
            </a:extLst>
          </p:cNvPr>
          <p:cNvGrpSpPr>
            <a:grpSpLocks/>
          </p:cNvGrpSpPr>
          <p:nvPr>
            <p:custDataLst>
              <p:tags r:id="rId50"/>
            </p:custDataLst>
          </p:nvPr>
        </p:nvGrpSpPr>
        <p:grpSpPr>
          <a:xfrm>
            <a:off x="3988544" y="3874868"/>
            <a:ext cx="291464" cy="291464"/>
            <a:chOff x="1003300" y="3797300"/>
            <a:chExt cx="1019810" cy="1019810"/>
          </a:xfrm>
        </p:grpSpPr>
        <p:sp>
          <p:nvSpPr>
            <p:cNvPr id="180" name="Oval 179">
              <a:extLst>
                <a:ext uri="{FF2B5EF4-FFF2-40B4-BE49-F238E27FC236}">
                  <a16:creationId xmlns:a16="http://schemas.microsoft.com/office/drawing/2014/main" id="{1029BAA7-EC64-4B44-9288-A8A206FCA829}"/>
                </a:ext>
              </a:extLst>
            </p:cNvPr>
            <p:cNvSpPr>
              <a:spLocks noChangeAspect="1"/>
            </p:cNvSpPr>
            <p:nvPr/>
          </p:nvSpPr>
          <p:spPr>
            <a:xfrm>
              <a:off x="1003300" y="37973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81" name="Graphic 180">
              <a:extLst>
                <a:ext uri="{FF2B5EF4-FFF2-40B4-BE49-F238E27FC236}">
                  <a16:creationId xmlns:a16="http://schemas.microsoft.com/office/drawing/2014/main" id="{CBD87E42-A680-4724-A725-7B81005E6DE6}"/>
                </a:ext>
              </a:extLst>
            </p:cNvPr>
            <p:cNvPicPr>
              <a:picLocks noChangeAspect="1"/>
            </p:cNvPicPr>
            <p:nvPr/>
          </p:nvPicPr>
          <p:blipFill>
            <a:blip r:embed="rId86" cstate="screen">
              <a:extLst>
                <a:ext uri="{28A0092B-C50C-407E-A947-70E740481C1C}">
                  <a14:useLocalDpi xmlns:a14="http://schemas.microsoft.com/office/drawing/2010/main"/>
                </a:ext>
                <a:ext uri="{96DAC541-7B7A-43D3-8B79-37D633B846F1}">
                  <asvg:svgBlip xmlns:asvg="http://schemas.microsoft.com/office/drawing/2016/SVG/main" r:embed="rId87"/>
                </a:ext>
              </a:extLst>
            </a:blip>
            <a:stretch>
              <a:fillRect/>
            </a:stretch>
          </p:blipFill>
          <p:spPr>
            <a:xfrm>
              <a:off x="1203325" y="4004310"/>
              <a:ext cx="609600" cy="609600"/>
            </a:xfrm>
            <a:prstGeom prst="rect">
              <a:avLst/>
            </a:prstGeom>
          </p:spPr>
        </p:pic>
      </p:grpSp>
      <p:grpSp>
        <p:nvGrpSpPr>
          <p:cNvPr id="182" name="CustomIcon">
            <a:extLst>
              <a:ext uri="{FF2B5EF4-FFF2-40B4-BE49-F238E27FC236}">
                <a16:creationId xmlns:a16="http://schemas.microsoft.com/office/drawing/2014/main" id="{F503C957-A45C-43CF-8A54-FF4BE6D9120F}"/>
              </a:ext>
            </a:extLst>
          </p:cNvPr>
          <p:cNvGrpSpPr>
            <a:grpSpLocks/>
          </p:cNvGrpSpPr>
          <p:nvPr>
            <p:custDataLst>
              <p:tags r:id="rId51"/>
            </p:custDataLst>
          </p:nvPr>
        </p:nvGrpSpPr>
        <p:grpSpPr>
          <a:xfrm>
            <a:off x="4316173" y="3874868"/>
            <a:ext cx="291464" cy="291464"/>
            <a:chOff x="-200025" y="-207010"/>
            <a:chExt cx="1019810" cy="1019810"/>
          </a:xfrm>
        </p:grpSpPr>
        <p:sp>
          <p:nvSpPr>
            <p:cNvPr id="183" name="Oval 182">
              <a:extLst>
                <a:ext uri="{FF2B5EF4-FFF2-40B4-BE49-F238E27FC236}">
                  <a16:creationId xmlns:a16="http://schemas.microsoft.com/office/drawing/2014/main" id="{233D19D7-5389-4BB8-8046-B46697A497F5}"/>
                </a:ext>
              </a:extLst>
            </p:cNvPr>
            <p:cNvSpPr>
              <a:spLocks noChangeAspect="1"/>
            </p:cNvSpPr>
            <p:nvPr/>
          </p:nvSpPr>
          <p:spPr>
            <a:xfrm>
              <a:off x="-200025" y="-20701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84" name="Graphic 183">
              <a:extLst>
                <a:ext uri="{FF2B5EF4-FFF2-40B4-BE49-F238E27FC236}">
                  <a16:creationId xmlns:a16="http://schemas.microsoft.com/office/drawing/2014/main" id="{C84ED070-3BFA-4FCF-AFB0-CC66F51A0A91}"/>
                </a:ext>
              </a:extLst>
            </p:cNvPr>
            <p:cNvPicPr>
              <a:picLocks noChangeAspect="1"/>
            </p:cNvPicPr>
            <p:nvPr/>
          </p:nvPicPr>
          <p:blipFill>
            <a:blip r:embed="rId108" cstate="screen">
              <a:extLst>
                <a:ext uri="{28A0092B-C50C-407E-A947-70E740481C1C}">
                  <a14:useLocalDpi xmlns:a14="http://schemas.microsoft.com/office/drawing/2010/main"/>
                </a:ext>
                <a:ext uri="{96DAC541-7B7A-43D3-8B79-37D633B846F1}">
                  <asvg:svgBlip xmlns:asvg="http://schemas.microsoft.com/office/drawing/2016/SVG/main" r:embed="rId109"/>
                </a:ext>
              </a:extLst>
            </a:blip>
            <a:stretch>
              <a:fillRect/>
            </a:stretch>
          </p:blipFill>
          <p:spPr>
            <a:xfrm>
              <a:off x="0" y="0"/>
              <a:ext cx="609600" cy="609600"/>
            </a:xfrm>
            <a:prstGeom prst="rect">
              <a:avLst/>
            </a:prstGeom>
          </p:spPr>
        </p:pic>
      </p:grpSp>
      <p:grpSp>
        <p:nvGrpSpPr>
          <p:cNvPr id="188" name="CustomIcon">
            <a:extLst>
              <a:ext uri="{FF2B5EF4-FFF2-40B4-BE49-F238E27FC236}">
                <a16:creationId xmlns:a16="http://schemas.microsoft.com/office/drawing/2014/main" id="{BE0B99C1-D29F-49EA-AC7C-1661EBC76ABB}"/>
              </a:ext>
            </a:extLst>
          </p:cNvPr>
          <p:cNvGrpSpPr>
            <a:grpSpLocks/>
          </p:cNvGrpSpPr>
          <p:nvPr>
            <p:custDataLst>
              <p:tags r:id="rId52"/>
            </p:custDataLst>
          </p:nvPr>
        </p:nvGrpSpPr>
        <p:grpSpPr>
          <a:xfrm>
            <a:off x="5299059" y="2102672"/>
            <a:ext cx="291464" cy="291464"/>
            <a:chOff x="-200025" y="-207010"/>
            <a:chExt cx="1019810" cy="1019810"/>
          </a:xfrm>
          <a:solidFill>
            <a:schemeClr val="bg1"/>
          </a:solidFill>
        </p:grpSpPr>
        <p:sp>
          <p:nvSpPr>
            <p:cNvPr id="185" name="Oval 184">
              <a:extLst>
                <a:ext uri="{FF2B5EF4-FFF2-40B4-BE49-F238E27FC236}">
                  <a16:creationId xmlns:a16="http://schemas.microsoft.com/office/drawing/2014/main" id="{0316B434-02C1-477C-98E8-6F6A5741E8E3}"/>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87" name="Graphic 186">
              <a:extLst>
                <a:ext uri="{FF2B5EF4-FFF2-40B4-BE49-F238E27FC236}">
                  <a16:creationId xmlns:a16="http://schemas.microsoft.com/office/drawing/2014/main" id="{83281732-3EDA-42FC-B33D-39C5FB5F8F16}"/>
                </a:ext>
              </a:extLst>
            </p:cNvPr>
            <p:cNvPicPr>
              <a:picLocks noChangeAspect="1"/>
            </p:cNvPicPr>
            <p:nvPr/>
          </p:nvPicPr>
          <p:blipFill>
            <a:blip r:embed="rId110" cstate="screen">
              <a:extLst>
                <a:ext uri="{28A0092B-C50C-407E-A947-70E740481C1C}">
                  <a14:useLocalDpi xmlns:a14="http://schemas.microsoft.com/office/drawing/2010/main"/>
                </a:ext>
                <a:ext uri="{96DAC541-7B7A-43D3-8B79-37D633B846F1}">
                  <asvg:svgBlip xmlns:asvg="http://schemas.microsoft.com/office/drawing/2016/SVG/main" r:embed="rId111"/>
                </a:ext>
              </a:extLst>
            </a:blip>
            <a:stretch>
              <a:fillRect/>
            </a:stretch>
          </p:blipFill>
          <p:spPr>
            <a:xfrm>
              <a:off x="0" y="0"/>
              <a:ext cx="609600" cy="609600"/>
            </a:xfrm>
            <a:prstGeom prst="rect">
              <a:avLst/>
            </a:prstGeom>
          </p:spPr>
        </p:pic>
      </p:grpSp>
      <p:grpSp>
        <p:nvGrpSpPr>
          <p:cNvPr id="189" name="CustomIcon">
            <a:extLst>
              <a:ext uri="{FF2B5EF4-FFF2-40B4-BE49-F238E27FC236}">
                <a16:creationId xmlns:a16="http://schemas.microsoft.com/office/drawing/2014/main" id="{ABDD2330-C7C4-4ECA-A1DC-A254421B0094}"/>
              </a:ext>
            </a:extLst>
          </p:cNvPr>
          <p:cNvGrpSpPr>
            <a:grpSpLocks/>
          </p:cNvGrpSpPr>
          <p:nvPr>
            <p:custDataLst>
              <p:tags r:id="rId53"/>
            </p:custDataLst>
          </p:nvPr>
        </p:nvGrpSpPr>
        <p:grpSpPr>
          <a:xfrm>
            <a:off x="4643802" y="3874868"/>
            <a:ext cx="291464" cy="291464"/>
            <a:chOff x="-200025" y="-207010"/>
            <a:chExt cx="1019810" cy="1019810"/>
          </a:xfrm>
          <a:solidFill>
            <a:schemeClr val="bg1"/>
          </a:solidFill>
        </p:grpSpPr>
        <p:sp>
          <p:nvSpPr>
            <p:cNvPr id="190" name="Oval 189">
              <a:extLst>
                <a:ext uri="{FF2B5EF4-FFF2-40B4-BE49-F238E27FC236}">
                  <a16:creationId xmlns:a16="http://schemas.microsoft.com/office/drawing/2014/main" id="{AAB90CF1-0857-4C28-AF4D-8F802A9D1D55}"/>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91" name="Graphic 190">
              <a:extLst>
                <a:ext uri="{FF2B5EF4-FFF2-40B4-BE49-F238E27FC236}">
                  <a16:creationId xmlns:a16="http://schemas.microsoft.com/office/drawing/2014/main" id="{D4C5C20D-4C5E-43E6-B63C-4D43513FB7C5}"/>
                </a:ext>
              </a:extLst>
            </p:cNvPr>
            <p:cNvPicPr>
              <a:picLocks noChangeAspect="1"/>
            </p:cNvPicPr>
            <p:nvPr/>
          </p:nvPicPr>
          <p:blipFill>
            <a:blip r:embed="rId110" cstate="screen">
              <a:extLst>
                <a:ext uri="{28A0092B-C50C-407E-A947-70E740481C1C}">
                  <a14:useLocalDpi xmlns:a14="http://schemas.microsoft.com/office/drawing/2010/main"/>
                </a:ext>
                <a:ext uri="{96DAC541-7B7A-43D3-8B79-37D633B846F1}">
                  <asvg:svgBlip xmlns:asvg="http://schemas.microsoft.com/office/drawing/2016/SVG/main" r:embed="rId111"/>
                </a:ext>
              </a:extLst>
            </a:blip>
            <a:stretch>
              <a:fillRect/>
            </a:stretch>
          </p:blipFill>
          <p:spPr>
            <a:xfrm>
              <a:off x="0" y="0"/>
              <a:ext cx="609600" cy="609600"/>
            </a:xfrm>
            <a:prstGeom prst="rect">
              <a:avLst/>
            </a:prstGeom>
          </p:spPr>
        </p:pic>
      </p:grpSp>
      <p:grpSp>
        <p:nvGrpSpPr>
          <p:cNvPr id="192" name="CustomIcon">
            <a:extLst>
              <a:ext uri="{FF2B5EF4-FFF2-40B4-BE49-F238E27FC236}">
                <a16:creationId xmlns:a16="http://schemas.microsoft.com/office/drawing/2014/main" id="{39812CAA-4CE3-4DC1-802A-7A99D5A5028D}"/>
              </a:ext>
            </a:extLst>
          </p:cNvPr>
          <p:cNvGrpSpPr>
            <a:grpSpLocks/>
          </p:cNvGrpSpPr>
          <p:nvPr>
            <p:custDataLst>
              <p:tags r:id="rId54"/>
            </p:custDataLst>
          </p:nvPr>
        </p:nvGrpSpPr>
        <p:grpSpPr>
          <a:xfrm>
            <a:off x="4971431" y="3874868"/>
            <a:ext cx="291464" cy="291464"/>
            <a:chOff x="-200025" y="-207010"/>
            <a:chExt cx="1019810" cy="1019810"/>
          </a:xfrm>
        </p:grpSpPr>
        <p:sp>
          <p:nvSpPr>
            <p:cNvPr id="193" name="Oval 192">
              <a:extLst>
                <a:ext uri="{FF2B5EF4-FFF2-40B4-BE49-F238E27FC236}">
                  <a16:creationId xmlns:a16="http://schemas.microsoft.com/office/drawing/2014/main" id="{D232A7FA-6041-4D7B-8699-DED0206A456C}"/>
                </a:ext>
              </a:extLst>
            </p:cNvPr>
            <p:cNvSpPr>
              <a:spLocks noChangeAspect="1"/>
            </p:cNvSpPr>
            <p:nvPr/>
          </p:nvSpPr>
          <p:spPr>
            <a:xfrm>
              <a:off x="-200025" y="-20701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94" name="Graphic 193">
              <a:extLst>
                <a:ext uri="{FF2B5EF4-FFF2-40B4-BE49-F238E27FC236}">
                  <a16:creationId xmlns:a16="http://schemas.microsoft.com/office/drawing/2014/main" id="{824E4596-187B-4B34-B0A7-737E100621E7}"/>
                </a:ext>
              </a:extLst>
            </p:cNvPr>
            <p:cNvPicPr>
              <a:picLocks noChangeAspect="1"/>
            </p:cNvPicPr>
            <p:nvPr/>
          </p:nvPicPr>
          <p:blipFill>
            <a:blip r:embed="rId82" cstate="screen">
              <a:extLst>
                <a:ext uri="{28A0092B-C50C-407E-A947-70E740481C1C}">
                  <a14:useLocalDpi xmlns:a14="http://schemas.microsoft.com/office/drawing/2010/main"/>
                </a:ext>
                <a:ext uri="{96DAC541-7B7A-43D3-8B79-37D633B846F1}">
                  <asvg:svgBlip xmlns:asvg="http://schemas.microsoft.com/office/drawing/2016/SVG/main" r:embed="rId83"/>
                </a:ext>
              </a:extLst>
            </a:blip>
            <a:stretch>
              <a:fillRect/>
            </a:stretch>
          </p:blipFill>
          <p:spPr>
            <a:xfrm>
              <a:off x="0" y="0"/>
              <a:ext cx="609600" cy="609600"/>
            </a:xfrm>
            <a:prstGeom prst="rect">
              <a:avLst/>
            </a:prstGeom>
          </p:spPr>
        </p:pic>
      </p:grpSp>
      <p:grpSp>
        <p:nvGrpSpPr>
          <p:cNvPr id="195" name="Group 194">
            <a:extLst>
              <a:ext uri="{FF2B5EF4-FFF2-40B4-BE49-F238E27FC236}">
                <a16:creationId xmlns:a16="http://schemas.microsoft.com/office/drawing/2014/main" id="{FF82B30C-9EA9-4EF3-A760-811981C9CF18}"/>
              </a:ext>
            </a:extLst>
          </p:cNvPr>
          <p:cNvGrpSpPr>
            <a:grpSpLocks/>
          </p:cNvGrpSpPr>
          <p:nvPr>
            <p:custDataLst>
              <p:tags r:id="rId55"/>
            </p:custDataLst>
          </p:nvPr>
        </p:nvGrpSpPr>
        <p:grpSpPr>
          <a:xfrm>
            <a:off x="5299059" y="3874868"/>
            <a:ext cx="291464" cy="291464"/>
            <a:chOff x="1003300" y="2527300"/>
            <a:chExt cx="1019810" cy="1019810"/>
          </a:xfrm>
        </p:grpSpPr>
        <p:sp>
          <p:nvSpPr>
            <p:cNvPr id="196" name="Oval 195">
              <a:extLst>
                <a:ext uri="{FF2B5EF4-FFF2-40B4-BE49-F238E27FC236}">
                  <a16:creationId xmlns:a16="http://schemas.microsoft.com/office/drawing/2014/main" id="{6A1D1219-5A1E-4D90-AB7C-D7DFC74E724C}"/>
                </a:ext>
              </a:extLst>
            </p:cNvPr>
            <p:cNvSpPr>
              <a:spLocks noChangeAspect="1"/>
            </p:cNvSpPr>
            <p:nvPr/>
          </p:nvSpPr>
          <p:spPr>
            <a:xfrm>
              <a:off x="1003300" y="25273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97" name="Graphic 196">
              <a:extLst>
                <a:ext uri="{FF2B5EF4-FFF2-40B4-BE49-F238E27FC236}">
                  <a16:creationId xmlns:a16="http://schemas.microsoft.com/office/drawing/2014/main" id="{AB294A15-CCBB-4A73-9A0F-70A15136D2AC}"/>
                </a:ext>
              </a:extLst>
            </p:cNvPr>
            <p:cNvPicPr>
              <a:picLocks noChangeAspect="1"/>
            </p:cNvPicPr>
            <p:nvPr/>
          </p:nvPicPr>
          <p:blipFill>
            <a:blip r:embed="rId84" cstate="screen">
              <a:extLst>
                <a:ext uri="{28A0092B-C50C-407E-A947-70E740481C1C}">
                  <a14:useLocalDpi xmlns:a14="http://schemas.microsoft.com/office/drawing/2010/main"/>
                </a:ext>
                <a:ext uri="{96DAC541-7B7A-43D3-8B79-37D633B846F1}">
                  <asvg:svgBlip xmlns:asvg="http://schemas.microsoft.com/office/drawing/2016/SVG/main" r:embed="rId85"/>
                </a:ext>
              </a:extLst>
            </a:blip>
            <a:stretch>
              <a:fillRect/>
            </a:stretch>
          </p:blipFill>
          <p:spPr>
            <a:xfrm>
              <a:off x="1203325" y="2734310"/>
              <a:ext cx="609600" cy="609600"/>
            </a:xfrm>
            <a:prstGeom prst="rect">
              <a:avLst/>
            </a:prstGeom>
          </p:spPr>
        </p:pic>
      </p:grpSp>
      <p:grpSp>
        <p:nvGrpSpPr>
          <p:cNvPr id="198" name="Group 197">
            <a:extLst>
              <a:ext uri="{FF2B5EF4-FFF2-40B4-BE49-F238E27FC236}">
                <a16:creationId xmlns:a16="http://schemas.microsoft.com/office/drawing/2014/main" id="{86C78C1F-7EFE-474C-A6EC-9E710D34AE2A}"/>
              </a:ext>
            </a:extLst>
          </p:cNvPr>
          <p:cNvGrpSpPr>
            <a:grpSpLocks/>
          </p:cNvGrpSpPr>
          <p:nvPr>
            <p:custDataLst>
              <p:tags r:id="rId56"/>
            </p:custDataLst>
          </p:nvPr>
        </p:nvGrpSpPr>
        <p:grpSpPr>
          <a:xfrm>
            <a:off x="3988544" y="4317917"/>
            <a:ext cx="291464" cy="291464"/>
            <a:chOff x="1003300" y="5067300"/>
            <a:chExt cx="1019810" cy="1019810"/>
          </a:xfrm>
        </p:grpSpPr>
        <p:sp>
          <p:nvSpPr>
            <p:cNvPr id="199" name="Oval 198">
              <a:extLst>
                <a:ext uri="{FF2B5EF4-FFF2-40B4-BE49-F238E27FC236}">
                  <a16:creationId xmlns:a16="http://schemas.microsoft.com/office/drawing/2014/main" id="{482C6728-6B47-498C-9856-4E061B65566F}"/>
                </a:ext>
              </a:extLst>
            </p:cNvPr>
            <p:cNvSpPr>
              <a:spLocks noChangeAspect="1"/>
            </p:cNvSpPr>
            <p:nvPr/>
          </p:nvSpPr>
          <p:spPr>
            <a:xfrm>
              <a:off x="1003300" y="50673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00" name="Graphic 199">
              <a:extLst>
                <a:ext uri="{FF2B5EF4-FFF2-40B4-BE49-F238E27FC236}">
                  <a16:creationId xmlns:a16="http://schemas.microsoft.com/office/drawing/2014/main" id="{1D77FD68-2213-48FC-A95F-4742E0CA76BB}"/>
                </a:ext>
              </a:extLst>
            </p:cNvPr>
            <p:cNvPicPr>
              <a:picLocks noChangeAspect="1"/>
            </p:cNvPicPr>
            <p:nvPr/>
          </p:nvPicPr>
          <p:blipFill>
            <a:blip r:embed="rId88" cstate="screen">
              <a:extLst>
                <a:ext uri="{28A0092B-C50C-407E-A947-70E740481C1C}">
                  <a14:useLocalDpi xmlns:a14="http://schemas.microsoft.com/office/drawing/2010/main"/>
                </a:ext>
                <a:ext uri="{96DAC541-7B7A-43D3-8B79-37D633B846F1}">
                  <asvg:svgBlip xmlns:asvg="http://schemas.microsoft.com/office/drawing/2016/SVG/main" r:embed="rId89"/>
                </a:ext>
              </a:extLst>
            </a:blip>
            <a:stretch>
              <a:fillRect/>
            </a:stretch>
          </p:blipFill>
          <p:spPr>
            <a:xfrm>
              <a:off x="1203325" y="5274310"/>
              <a:ext cx="609600" cy="609600"/>
            </a:xfrm>
            <a:prstGeom prst="rect">
              <a:avLst/>
            </a:prstGeom>
          </p:spPr>
        </p:pic>
      </p:grpSp>
      <p:grpSp>
        <p:nvGrpSpPr>
          <p:cNvPr id="201" name="CustomIcon">
            <a:extLst>
              <a:ext uri="{FF2B5EF4-FFF2-40B4-BE49-F238E27FC236}">
                <a16:creationId xmlns:a16="http://schemas.microsoft.com/office/drawing/2014/main" id="{B85099CD-F4C4-49EE-AFB1-ACD304F72679}"/>
              </a:ext>
            </a:extLst>
          </p:cNvPr>
          <p:cNvGrpSpPr>
            <a:grpSpLocks/>
          </p:cNvGrpSpPr>
          <p:nvPr>
            <p:custDataLst>
              <p:tags r:id="rId57"/>
            </p:custDataLst>
          </p:nvPr>
        </p:nvGrpSpPr>
        <p:grpSpPr>
          <a:xfrm>
            <a:off x="4316173" y="4317917"/>
            <a:ext cx="291464" cy="291464"/>
            <a:chOff x="-200025" y="-207010"/>
            <a:chExt cx="1019810" cy="1019810"/>
          </a:xfrm>
          <a:solidFill>
            <a:schemeClr val="bg1"/>
          </a:solidFill>
        </p:grpSpPr>
        <p:sp>
          <p:nvSpPr>
            <p:cNvPr id="202" name="Oval 201">
              <a:extLst>
                <a:ext uri="{FF2B5EF4-FFF2-40B4-BE49-F238E27FC236}">
                  <a16:creationId xmlns:a16="http://schemas.microsoft.com/office/drawing/2014/main" id="{06E91EB3-BB21-44B6-A2A0-5B52990AF05E}"/>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03" name="Graphic 202">
              <a:extLst>
                <a:ext uri="{FF2B5EF4-FFF2-40B4-BE49-F238E27FC236}">
                  <a16:creationId xmlns:a16="http://schemas.microsoft.com/office/drawing/2014/main" id="{6FE7C85D-C8DD-42D4-9478-5E3D87210591}"/>
                </a:ext>
              </a:extLst>
            </p:cNvPr>
            <p:cNvPicPr>
              <a:picLocks noChangeAspect="1"/>
            </p:cNvPicPr>
            <p:nvPr/>
          </p:nvPicPr>
          <p:blipFill>
            <a:blip r:embed="rId96" cstate="screen">
              <a:extLst>
                <a:ext uri="{28A0092B-C50C-407E-A947-70E740481C1C}">
                  <a14:useLocalDpi xmlns:a14="http://schemas.microsoft.com/office/drawing/2010/main"/>
                </a:ext>
                <a:ext uri="{96DAC541-7B7A-43D3-8B79-37D633B846F1}">
                  <asvg:svgBlip xmlns:asvg="http://schemas.microsoft.com/office/drawing/2016/SVG/main" r:embed="rId97"/>
                </a:ext>
              </a:extLst>
            </a:blip>
            <a:stretch>
              <a:fillRect/>
            </a:stretch>
          </p:blipFill>
          <p:spPr>
            <a:xfrm>
              <a:off x="0" y="0"/>
              <a:ext cx="609600" cy="609600"/>
            </a:xfrm>
            <a:prstGeom prst="rect">
              <a:avLst/>
            </a:prstGeom>
          </p:spPr>
        </p:pic>
      </p:grpSp>
      <p:grpSp>
        <p:nvGrpSpPr>
          <p:cNvPr id="204" name="CustomIcon">
            <a:extLst>
              <a:ext uri="{FF2B5EF4-FFF2-40B4-BE49-F238E27FC236}">
                <a16:creationId xmlns:a16="http://schemas.microsoft.com/office/drawing/2014/main" id="{4DCE1785-CEC9-47DD-B703-FB9542D3977E}"/>
              </a:ext>
            </a:extLst>
          </p:cNvPr>
          <p:cNvGrpSpPr>
            <a:grpSpLocks/>
          </p:cNvGrpSpPr>
          <p:nvPr>
            <p:custDataLst>
              <p:tags r:id="rId58"/>
            </p:custDataLst>
          </p:nvPr>
        </p:nvGrpSpPr>
        <p:grpSpPr>
          <a:xfrm>
            <a:off x="4643802" y="4317917"/>
            <a:ext cx="291464" cy="291464"/>
            <a:chOff x="-200025" y="-207010"/>
            <a:chExt cx="1019810" cy="1019810"/>
          </a:xfrm>
        </p:grpSpPr>
        <p:sp>
          <p:nvSpPr>
            <p:cNvPr id="205" name="Oval 204">
              <a:extLst>
                <a:ext uri="{FF2B5EF4-FFF2-40B4-BE49-F238E27FC236}">
                  <a16:creationId xmlns:a16="http://schemas.microsoft.com/office/drawing/2014/main" id="{849CA717-0A2A-4E75-8A4A-E43C4D2CD3CD}"/>
                </a:ext>
              </a:extLst>
            </p:cNvPr>
            <p:cNvSpPr>
              <a:spLocks noChangeAspect="1"/>
            </p:cNvSpPr>
            <p:nvPr/>
          </p:nvSpPr>
          <p:spPr>
            <a:xfrm>
              <a:off x="-200025" y="-20701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06" name="Graphic 205">
              <a:extLst>
                <a:ext uri="{FF2B5EF4-FFF2-40B4-BE49-F238E27FC236}">
                  <a16:creationId xmlns:a16="http://schemas.microsoft.com/office/drawing/2014/main" id="{3603F6F1-2CBA-454A-BDBC-5FC9810B0362}"/>
                </a:ext>
              </a:extLst>
            </p:cNvPr>
            <p:cNvPicPr>
              <a:picLocks noChangeAspect="1"/>
            </p:cNvPicPr>
            <p:nvPr/>
          </p:nvPicPr>
          <p:blipFill>
            <a:blip r:embed="rId92" cstate="screen">
              <a:extLst>
                <a:ext uri="{28A0092B-C50C-407E-A947-70E740481C1C}">
                  <a14:useLocalDpi xmlns:a14="http://schemas.microsoft.com/office/drawing/2010/main"/>
                </a:ext>
                <a:ext uri="{96DAC541-7B7A-43D3-8B79-37D633B846F1}">
                  <asvg:svgBlip xmlns:asvg="http://schemas.microsoft.com/office/drawing/2016/SVG/main" r:embed="rId93"/>
                </a:ext>
              </a:extLst>
            </a:blip>
            <a:stretch>
              <a:fillRect/>
            </a:stretch>
          </p:blipFill>
          <p:spPr>
            <a:xfrm>
              <a:off x="0" y="0"/>
              <a:ext cx="609600" cy="609600"/>
            </a:xfrm>
            <a:prstGeom prst="rect">
              <a:avLst/>
            </a:prstGeom>
          </p:spPr>
        </p:pic>
      </p:grpSp>
      <p:grpSp>
        <p:nvGrpSpPr>
          <p:cNvPr id="207" name="CustomIcon">
            <a:extLst>
              <a:ext uri="{FF2B5EF4-FFF2-40B4-BE49-F238E27FC236}">
                <a16:creationId xmlns:a16="http://schemas.microsoft.com/office/drawing/2014/main" id="{32475013-F731-4F67-A7B4-7594844CA934}"/>
              </a:ext>
            </a:extLst>
          </p:cNvPr>
          <p:cNvGrpSpPr>
            <a:grpSpLocks/>
          </p:cNvGrpSpPr>
          <p:nvPr>
            <p:custDataLst>
              <p:tags r:id="rId59"/>
            </p:custDataLst>
          </p:nvPr>
        </p:nvGrpSpPr>
        <p:grpSpPr>
          <a:xfrm>
            <a:off x="4971431" y="4317917"/>
            <a:ext cx="291464" cy="291464"/>
            <a:chOff x="-200025" y="-207010"/>
            <a:chExt cx="1019810" cy="1019810"/>
          </a:xfrm>
          <a:solidFill>
            <a:schemeClr val="bg1"/>
          </a:solidFill>
        </p:grpSpPr>
        <p:sp>
          <p:nvSpPr>
            <p:cNvPr id="208" name="Oval 207">
              <a:extLst>
                <a:ext uri="{FF2B5EF4-FFF2-40B4-BE49-F238E27FC236}">
                  <a16:creationId xmlns:a16="http://schemas.microsoft.com/office/drawing/2014/main" id="{C2568AF1-1646-4EDA-81D1-0C9783D3234B}"/>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09" name="Graphic 208">
              <a:extLst>
                <a:ext uri="{FF2B5EF4-FFF2-40B4-BE49-F238E27FC236}">
                  <a16:creationId xmlns:a16="http://schemas.microsoft.com/office/drawing/2014/main" id="{80D0C829-1C12-403E-A530-78807B435C52}"/>
                </a:ext>
              </a:extLst>
            </p:cNvPr>
            <p:cNvPicPr>
              <a:picLocks noChangeAspect="1"/>
            </p:cNvPicPr>
            <p:nvPr/>
          </p:nvPicPr>
          <p:blipFill>
            <a:blip r:embed="rId110" cstate="screen">
              <a:extLst>
                <a:ext uri="{28A0092B-C50C-407E-A947-70E740481C1C}">
                  <a14:useLocalDpi xmlns:a14="http://schemas.microsoft.com/office/drawing/2010/main"/>
                </a:ext>
                <a:ext uri="{96DAC541-7B7A-43D3-8B79-37D633B846F1}">
                  <asvg:svgBlip xmlns:asvg="http://schemas.microsoft.com/office/drawing/2016/SVG/main" r:embed="rId111"/>
                </a:ext>
              </a:extLst>
            </a:blip>
            <a:stretch>
              <a:fillRect/>
            </a:stretch>
          </p:blipFill>
          <p:spPr>
            <a:xfrm>
              <a:off x="0" y="0"/>
              <a:ext cx="609600" cy="609600"/>
            </a:xfrm>
            <a:prstGeom prst="rect">
              <a:avLst/>
            </a:prstGeom>
          </p:spPr>
        </p:pic>
      </p:grpSp>
      <p:grpSp>
        <p:nvGrpSpPr>
          <p:cNvPr id="213" name="CustomIcon">
            <a:extLst>
              <a:ext uri="{FF2B5EF4-FFF2-40B4-BE49-F238E27FC236}">
                <a16:creationId xmlns:a16="http://schemas.microsoft.com/office/drawing/2014/main" id="{D561CA5A-2837-4691-BB8E-55077E53C467}"/>
              </a:ext>
            </a:extLst>
          </p:cNvPr>
          <p:cNvGrpSpPr>
            <a:grpSpLocks/>
          </p:cNvGrpSpPr>
          <p:nvPr>
            <p:custDataLst>
              <p:tags r:id="rId60"/>
            </p:custDataLst>
          </p:nvPr>
        </p:nvGrpSpPr>
        <p:grpSpPr>
          <a:xfrm>
            <a:off x="5299059" y="4317917"/>
            <a:ext cx="291464" cy="291464"/>
            <a:chOff x="-200025" y="-207010"/>
            <a:chExt cx="1019810" cy="1019810"/>
          </a:xfrm>
          <a:solidFill>
            <a:schemeClr val="bg1"/>
          </a:solidFill>
        </p:grpSpPr>
        <p:sp>
          <p:nvSpPr>
            <p:cNvPr id="210" name="Oval 209">
              <a:extLst>
                <a:ext uri="{FF2B5EF4-FFF2-40B4-BE49-F238E27FC236}">
                  <a16:creationId xmlns:a16="http://schemas.microsoft.com/office/drawing/2014/main" id="{FEE20666-E981-440D-84A8-1B74B0F526F6}"/>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2" name="Graphic 211">
              <a:extLst>
                <a:ext uri="{FF2B5EF4-FFF2-40B4-BE49-F238E27FC236}">
                  <a16:creationId xmlns:a16="http://schemas.microsoft.com/office/drawing/2014/main" id="{28848910-7A6B-4175-9D8A-747FCD0C18F6}"/>
                </a:ext>
              </a:extLst>
            </p:cNvPr>
            <p:cNvPicPr>
              <a:picLocks noChangeAspect="1"/>
            </p:cNvPicPr>
            <p:nvPr/>
          </p:nvPicPr>
          <p:blipFill>
            <a:blip r:embed="rId112" cstate="screen">
              <a:extLst>
                <a:ext uri="{28A0092B-C50C-407E-A947-70E740481C1C}">
                  <a14:useLocalDpi xmlns:a14="http://schemas.microsoft.com/office/drawing/2010/main"/>
                </a:ext>
                <a:ext uri="{96DAC541-7B7A-43D3-8B79-37D633B846F1}">
                  <asvg:svgBlip xmlns:asvg="http://schemas.microsoft.com/office/drawing/2016/SVG/main" r:embed="rId113"/>
                </a:ext>
              </a:extLst>
            </a:blip>
            <a:stretch>
              <a:fillRect/>
            </a:stretch>
          </p:blipFill>
          <p:spPr>
            <a:xfrm>
              <a:off x="0" y="0"/>
              <a:ext cx="609600" cy="609600"/>
            </a:xfrm>
            <a:prstGeom prst="rect">
              <a:avLst/>
            </a:prstGeom>
          </p:spPr>
        </p:pic>
      </p:grpSp>
      <p:grpSp>
        <p:nvGrpSpPr>
          <p:cNvPr id="214" name="Group 213">
            <a:extLst>
              <a:ext uri="{FF2B5EF4-FFF2-40B4-BE49-F238E27FC236}">
                <a16:creationId xmlns:a16="http://schemas.microsoft.com/office/drawing/2014/main" id="{D277F578-A886-4886-B481-87C143F17513}"/>
              </a:ext>
            </a:extLst>
          </p:cNvPr>
          <p:cNvGrpSpPr>
            <a:grpSpLocks/>
          </p:cNvGrpSpPr>
          <p:nvPr>
            <p:custDataLst>
              <p:tags r:id="rId61"/>
            </p:custDataLst>
          </p:nvPr>
        </p:nvGrpSpPr>
        <p:grpSpPr>
          <a:xfrm>
            <a:off x="3988544" y="4760966"/>
            <a:ext cx="291464" cy="291464"/>
            <a:chOff x="1003300" y="3797300"/>
            <a:chExt cx="1019810" cy="1019810"/>
          </a:xfrm>
        </p:grpSpPr>
        <p:sp>
          <p:nvSpPr>
            <p:cNvPr id="215" name="Oval 214">
              <a:extLst>
                <a:ext uri="{FF2B5EF4-FFF2-40B4-BE49-F238E27FC236}">
                  <a16:creationId xmlns:a16="http://schemas.microsoft.com/office/drawing/2014/main" id="{9B496A37-53B6-4442-A620-9DBC015E9A99}"/>
                </a:ext>
              </a:extLst>
            </p:cNvPr>
            <p:cNvSpPr>
              <a:spLocks noChangeAspect="1"/>
            </p:cNvSpPr>
            <p:nvPr/>
          </p:nvSpPr>
          <p:spPr>
            <a:xfrm>
              <a:off x="1003300" y="37973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6" name="Graphic 215">
              <a:extLst>
                <a:ext uri="{FF2B5EF4-FFF2-40B4-BE49-F238E27FC236}">
                  <a16:creationId xmlns:a16="http://schemas.microsoft.com/office/drawing/2014/main" id="{E90E5AD6-DFF7-4C0A-9EE5-0A5B51E45DB8}"/>
                </a:ext>
              </a:extLst>
            </p:cNvPr>
            <p:cNvPicPr>
              <a:picLocks noChangeAspect="1"/>
            </p:cNvPicPr>
            <p:nvPr/>
          </p:nvPicPr>
          <p:blipFill>
            <a:blip r:embed="rId86" cstate="screen">
              <a:extLst>
                <a:ext uri="{28A0092B-C50C-407E-A947-70E740481C1C}">
                  <a14:useLocalDpi xmlns:a14="http://schemas.microsoft.com/office/drawing/2010/main"/>
                </a:ext>
                <a:ext uri="{96DAC541-7B7A-43D3-8B79-37D633B846F1}">
                  <asvg:svgBlip xmlns:asvg="http://schemas.microsoft.com/office/drawing/2016/SVG/main" r:embed="rId87"/>
                </a:ext>
              </a:extLst>
            </a:blip>
            <a:stretch>
              <a:fillRect/>
            </a:stretch>
          </p:blipFill>
          <p:spPr>
            <a:xfrm>
              <a:off x="1203325" y="4004310"/>
              <a:ext cx="609600" cy="609600"/>
            </a:xfrm>
            <a:prstGeom prst="rect">
              <a:avLst/>
            </a:prstGeom>
          </p:spPr>
        </p:pic>
      </p:grpSp>
      <p:grpSp>
        <p:nvGrpSpPr>
          <p:cNvPr id="217" name="CustomIcon">
            <a:extLst>
              <a:ext uri="{FF2B5EF4-FFF2-40B4-BE49-F238E27FC236}">
                <a16:creationId xmlns:a16="http://schemas.microsoft.com/office/drawing/2014/main" id="{F4DC0A4C-F110-4E80-A88E-E509F1E68E3D}"/>
              </a:ext>
            </a:extLst>
          </p:cNvPr>
          <p:cNvGrpSpPr>
            <a:grpSpLocks/>
          </p:cNvGrpSpPr>
          <p:nvPr>
            <p:custDataLst>
              <p:tags r:id="rId62"/>
            </p:custDataLst>
          </p:nvPr>
        </p:nvGrpSpPr>
        <p:grpSpPr>
          <a:xfrm>
            <a:off x="4316173" y="4760966"/>
            <a:ext cx="291464" cy="291464"/>
            <a:chOff x="-200025" y="-207010"/>
            <a:chExt cx="1019810" cy="1019810"/>
          </a:xfrm>
          <a:solidFill>
            <a:schemeClr val="bg1"/>
          </a:solidFill>
        </p:grpSpPr>
        <p:sp>
          <p:nvSpPr>
            <p:cNvPr id="218" name="Oval 217">
              <a:extLst>
                <a:ext uri="{FF2B5EF4-FFF2-40B4-BE49-F238E27FC236}">
                  <a16:creationId xmlns:a16="http://schemas.microsoft.com/office/drawing/2014/main" id="{1E5CD3F9-FD2B-410A-8F8F-9E07812F148D}"/>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9" name="Graphic 218">
              <a:extLst>
                <a:ext uri="{FF2B5EF4-FFF2-40B4-BE49-F238E27FC236}">
                  <a16:creationId xmlns:a16="http://schemas.microsoft.com/office/drawing/2014/main" id="{0A6C4171-7051-46AB-A6D9-61D07EA9C2F1}"/>
                </a:ext>
              </a:extLst>
            </p:cNvPr>
            <p:cNvPicPr>
              <a:picLocks noChangeAspect="1"/>
            </p:cNvPicPr>
            <p:nvPr/>
          </p:nvPicPr>
          <p:blipFill>
            <a:blip r:embed="rId96" cstate="screen">
              <a:extLst>
                <a:ext uri="{28A0092B-C50C-407E-A947-70E740481C1C}">
                  <a14:useLocalDpi xmlns:a14="http://schemas.microsoft.com/office/drawing/2010/main"/>
                </a:ext>
                <a:ext uri="{96DAC541-7B7A-43D3-8B79-37D633B846F1}">
                  <asvg:svgBlip xmlns:asvg="http://schemas.microsoft.com/office/drawing/2016/SVG/main" r:embed="rId97"/>
                </a:ext>
              </a:extLst>
            </a:blip>
            <a:stretch>
              <a:fillRect/>
            </a:stretch>
          </p:blipFill>
          <p:spPr>
            <a:xfrm>
              <a:off x="0" y="0"/>
              <a:ext cx="609600" cy="609600"/>
            </a:xfrm>
            <a:prstGeom prst="rect">
              <a:avLst/>
            </a:prstGeom>
          </p:spPr>
        </p:pic>
      </p:grpSp>
      <p:grpSp>
        <p:nvGrpSpPr>
          <p:cNvPr id="220" name="CustomIcon">
            <a:extLst>
              <a:ext uri="{FF2B5EF4-FFF2-40B4-BE49-F238E27FC236}">
                <a16:creationId xmlns:a16="http://schemas.microsoft.com/office/drawing/2014/main" id="{C83F442C-C718-423B-8300-CFFA2BC46DA4}"/>
              </a:ext>
            </a:extLst>
          </p:cNvPr>
          <p:cNvGrpSpPr>
            <a:grpSpLocks/>
          </p:cNvGrpSpPr>
          <p:nvPr>
            <p:custDataLst>
              <p:tags r:id="rId63"/>
            </p:custDataLst>
          </p:nvPr>
        </p:nvGrpSpPr>
        <p:grpSpPr>
          <a:xfrm>
            <a:off x="4643802" y="4760966"/>
            <a:ext cx="291464" cy="291464"/>
            <a:chOff x="-200025" y="-207010"/>
            <a:chExt cx="1019810" cy="1019810"/>
          </a:xfrm>
        </p:grpSpPr>
        <p:sp>
          <p:nvSpPr>
            <p:cNvPr id="221" name="Oval 220">
              <a:extLst>
                <a:ext uri="{FF2B5EF4-FFF2-40B4-BE49-F238E27FC236}">
                  <a16:creationId xmlns:a16="http://schemas.microsoft.com/office/drawing/2014/main" id="{34DBF5DC-8C26-4169-B7A2-BD119DC80544}"/>
                </a:ext>
              </a:extLst>
            </p:cNvPr>
            <p:cNvSpPr>
              <a:spLocks noChangeAspect="1"/>
            </p:cNvSpPr>
            <p:nvPr/>
          </p:nvSpPr>
          <p:spPr>
            <a:xfrm>
              <a:off x="-200025" y="-20701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22" name="Graphic 221">
              <a:extLst>
                <a:ext uri="{FF2B5EF4-FFF2-40B4-BE49-F238E27FC236}">
                  <a16:creationId xmlns:a16="http://schemas.microsoft.com/office/drawing/2014/main" id="{29F3B14C-D4F6-46CC-8DFC-50A12424D651}"/>
                </a:ext>
              </a:extLst>
            </p:cNvPr>
            <p:cNvPicPr>
              <a:picLocks noChangeAspect="1"/>
            </p:cNvPicPr>
            <p:nvPr/>
          </p:nvPicPr>
          <p:blipFill>
            <a:blip r:embed="rId92" cstate="screen">
              <a:extLst>
                <a:ext uri="{28A0092B-C50C-407E-A947-70E740481C1C}">
                  <a14:useLocalDpi xmlns:a14="http://schemas.microsoft.com/office/drawing/2010/main"/>
                </a:ext>
                <a:ext uri="{96DAC541-7B7A-43D3-8B79-37D633B846F1}">
                  <asvg:svgBlip xmlns:asvg="http://schemas.microsoft.com/office/drawing/2016/SVG/main" r:embed="rId93"/>
                </a:ext>
              </a:extLst>
            </a:blip>
            <a:stretch>
              <a:fillRect/>
            </a:stretch>
          </p:blipFill>
          <p:spPr>
            <a:xfrm>
              <a:off x="0" y="0"/>
              <a:ext cx="609600" cy="609600"/>
            </a:xfrm>
            <a:prstGeom prst="rect">
              <a:avLst/>
            </a:prstGeom>
          </p:spPr>
        </p:pic>
      </p:grpSp>
      <p:grpSp>
        <p:nvGrpSpPr>
          <p:cNvPr id="223" name="CustomIcon">
            <a:extLst>
              <a:ext uri="{FF2B5EF4-FFF2-40B4-BE49-F238E27FC236}">
                <a16:creationId xmlns:a16="http://schemas.microsoft.com/office/drawing/2014/main" id="{210CA63F-4C3A-4574-A968-A11D5F5D6B04}"/>
              </a:ext>
            </a:extLst>
          </p:cNvPr>
          <p:cNvGrpSpPr>
            <a:grpSpLocks/>
          </p:cNvGrpSpPr>
          <p:nvPr>
            <p:custDataLst>
              <p:tags r:id="rId64"/>
            </p:custDataLst>
          </p:nvPr>
        </p:nvGrpSpPr>
        <p:grpSpPr>
          <a:xfrm>
            <a:off x="4971431" y="4760966"/>
            <a:ext cx="291464" cy="291464"/>
            <a:chOff x="-200025" y="-207010"/>
            <a:chExt cx="1019810" cy="1019810"/>
          </a:xfrm>
          <a:solidFill>
            <a:schemeClr val="bg1"/>
          </a:solidFill>
        </p:grpSpPr>
        <p:sp>
          <p:nvSpPr>
            <p:cNvPr id="224" name="Oval 223">
              <a:extLst>
                <a:ext uri="{FF2B5EF4-FFF2-40B4-BE49-F238E27FC236}">
                  <a16:creationId xmlns:a16="http://schemas.microsoft.com/office/drawing/2014/main" id="{35A40D2F-96FB-4DA2-B9CF-5ACC6C56B9D6}"/>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25" name="Graphic 224">
              <a:extLst>
                <a:ext uri="{FF2B5EF4-FFF2-40B4-BE49-F238E27FC236}">
                  <a16:creationId xmlns:a16="http://schemas.microsoft.com/office/drawing/2014/main" id="{6179ED0C-C122-4F12-A10A-C1BC64442FF5}"/>
                </a:ext>
              </a:extLst>
            </p:cNvPr>
            <p:cNvPicPr>
              <a:picLocks noChangeAspect="1"/>
            </p:cNvPicPr>
            <p:nvPr/>
          </p:nvPicPr>
          <p:blipFill>
            <a:blip r:embed="rId110" cstate="screen">
              <a:extLst>
                <a:ext uri="{28A0092B-C50C-407E-A947-70E740481C1C}">
                  <a14:useLocalDpi xmlns:a14="http://schemas.microsoft.com/office/drawing/2010/main"/>
                </a:ext>
                <a:ext uri="{96DAC541-7B7A-43D3-8B79-37D633B846F1}">
                  <asvg:svgBlip xmlns:asvg="http://schemas.microsoft.com/office/drawing/2016/SVG/main" r:embed="rId111"/>
                </a:ext>
              </a:extLst>
            </a:blip>
            <a:stretch>
              <a:fillRect/>
            </a:stretch>
          </p:blipFill>
          <p:spPr>
            <a:xfrm>
              <a:off x="0" y="0"/>
              <a:ext cx="609600" cy="609600"/>
            </a:xfrm>
            <a:prstGeom prst="rect">
              <a:avLst/>
            </a:prstGeom>
          </p:spPr>
        </p:pic>
      </p:grpSp>
      <p:grpSp>
        <p:nvGrpSpPr>
          <p:cNvPr id="226" name="CustomIcon">
            <a:extLst>
              <a:ext uri="{FF2B5EF4-FFF2-40B4-BE49-F238E27FC236}">
                <a16:creationId xmlns:a16="http://schemas.microsoft.com/office/drawing/2014/main" id="{6C9EC593-E69D-4E3A-BAAA-6B3B0A446DC5}"/>
              </a:ext>
            </a:extLst>
          </p:cNvPr>
          <p:cNvGrpSpPr>
            <a:grpSpLocks/>
          </p:cNvGrpSpPr>
          <p:nvPr>
            <p:custDataLst>
              <p:tags r:id="rId65"/>
            </p:custDataLst>
          </p:nvPr>
        </p:nvGrpSpPr>
        <p:grpSpPr>
          <a:xfrm>
            <a:off x="5299059" y="4760966"/>
            <a:ext cx="291464" cy="291464"/>
            <a:chOff x="-200025" y="-207010"/>
            <a:chExt cx="1019810" cy="1019810"/>
          </a:xfrm>
        </p:grpSpPr>
        <p:sp>
          <p:nvSpPr>
            <p:cNvPr id="227" name="Oval 226">
              <a:extLst>
                <a:ext uri="{FF2B5EF4-FFF2-40B4-BE49-F238E27FC236}">
                  <a16:creationId xmlns:a16="http://schemas.microsoft.com/office/drawing/2014/main" id="{D041BF6D-453C-498F-A7FE-B6B85F84CA54}"/>
                </a:ext>
              </a:extLst>
            </p:cNvPr>
            <p:cNvSpPr>
              <a:spLocks noChangeAspect="1"/>
            </p:cNvSpPr>
            <p:nvPr/>
          </p:nvSpPr>
          <p:spPr>
            <a:xfrm>
              <a:off x="-200025" y="-20701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28" name="Graphic 227">
              <a:extLst>
                <a:ext uri="{FF2B5EF4-FFF2-40B4-BE49-F238E27FC236}">
                  <a16:creationId xmlns:a16="http://schemas.microsoft.com/office/drawing/2014/main" id="{0170DB2E-896F-4B89-B460-C6BC84765EA2}"/>
                </a:ext>
              </a:extLst>
            </p:cNvPr>
            <p:cNvPicPr>
              <a:picLocks noChangeAspect="1"/>
            </p:cNvPicPr>
            <p:nvPr/>
          </p:nvPicPr>
          <p:blipFill>
            <a:blip r:embed="rId108" cstate="screen">
              <a:extLst>
                <a:ext uri="{28A0092B-C50C-407E-A947-70E740481C1C}">
                  <a14:useLocalDpi xmlns:a14="http://schemas.microsoft.com/office/drawing/2010/main"/>
                </a:ext>
                <a:ext uri="{96DAC541-7B7A-43D3-8B79-37D633B846F1}">
                  <asvg:svgBlip xmlns:asvg="http://schemas.microsoft.com/office/drawing/2016/SVG/main" r:embed="rId109"/>
                </a:ext>
              </a:extLst>
            </a:blip>
            <a:stretch>
              <a:fillRect/>
            </a:stretch>
          </p:blipFill>
          <p:spPr>
            <a:xfrm>
              <a:off x="0" y="0"/>
              <a:ext cx="609600" cy="609600"/>
            </a:xfrm>
            <a:prstGeom prst="rect">
              <a:avLst/>
            </a:prstGeom>
          </p:spPr>
        </p:pic>
      </p:grpSp>
      <p:grpSp>
        <p:nvGrpSpPr>
          <p:cNvPr id="229" name="CustomIcon">
            <a:extLst>
              <a:ext uri="{FF2B5EF4-FFF2-40B4-BE49-F238E27FC236}">
                <a16:creationId xmlns:a16="http://schemas.microsoft.com/office/drawing/2014/main" id="{DAEC58B8-31D4-4E18-82C4-26746C57E63D}"/>
              </a:ext>
            </a:extLst>
          </p:cNvPr>
          <p:cNvGrpSpPr>
            <a:grpSpLocks/>
          </p:cNvGrpSpPr>
          <p:nvPr>
            <p:custDataLst>
              <p:tags r:id="rId66"/>
            </p:custDataLst>
          </p:nvPr>
        </p:nvGrpSpPr>
        <p:grpSpPr>
          <a:xfrm>
            <a:off x="3988544" y="5204014"/>
            <a:ext cx="291464" cy="291464"/>
            <a:chOff x="-200025" y="-207010"/>
            <a:chExt cx="1019810" cy="1019810"/>
          </a:xfrm>
          <a:solidFill>
            <a:schemeClr val="bg1"/>
          </a:solidFill>
        </p:grpSpPr>
        <p:sp>
          <p:nvSpPr>
            <p:cNvPr id="230" name="Oval 229">
              <a:extLst>
                <a:ext uri="{FF2B5EF4-FFF2-40B4-BE49-F238E27FC236}">
                  <a16:creationId xmlns:a16="http://schemas.microsoft.com/office/drawing/2014/main" id="{1C7E7819-A4A8-423F-89BE-4349946C4E4A}"/>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1" name="Graphic 230">
              <a:extLst>
                <a:ext uri="{FF2B5EF4-FFF2-40B4-BE49-F238E27FC236}">
                  <a16:creationId xmlns:a16="http://schemas.microsoft.com/office/drawing/2014/main" id="{0F665F45-1333-4437-B0CE-CA963951A358}"/>
                </a:ext>
              </a:extLst>
            </p:cNvPr>
            <p:cNvPicPr>
              <a:picLocks noChangeAspect="1"/>
            </p:cNvPicPr>
            <p:nvPr/>
          </p:nvPicPr>
          <p:blipFill>
            <a:blip r:embed="rId102" cstate="screen">
              <a:extLst>
                <a:ext uri="{28A0092B-C50C-407E-A947-70E740481C1C}">
                  <a14:useLocalDpi xmlns:a14="http://schemas.microsoft.com/office/drawing/2010/main"/>
                </a:ext>
                <a:ext uri="{96DAC541-7B7A-43D3-8B79-37D633B846F1}">
                  <asvg:svgBlip xmlns:asvg="http://schemas.microsoft.com/office/drawing/2016/SVG/main" r:embed="rId103"/>
                </a:ext>
              </a:extLst>
            </a:blip>
            <a:stretch>
              <a:fillRect/>
            </a:stretch>
          </p:blipFill>
          <p:spPr>
            <a:xfrm>
              <a:off x="0" y="0"/>
              <a:ext cx="609600" cy="609600"/>
            </a:xfrm>
            <a:prstGeom prst="rect">
              <a:avLst/>
            </a:prstGeom>
          </p:spPr>
        </p:pic>
      </p:grpSp>
      <p:grpSp>
        <p:nvGrpSpPr>
          <p:cNvPr id="232" name="Group 231">
            <a:extLst>
              <a:ext uri="{FF2B5EF4-FFF2-40B4-BE49-F238E27FC236}">
                <a16:creationId xmlns:a16="http://schemas.microsoft.com/office/drawing/2014/main" id="{438120CB-4649-4503-AEC0-43C81FCD2072}"/>
              </a:ext>
            </a:extLst>
          </p:cNvPr>
          <p:cNvGrpSpPr>
            <a:grpSpLocks/>
          </p:cNvGrpSpPr>
          <p:nvPr>
            <p:custDataLst>
              <p:tags r:id="rId67"/>
            </p:custDataLst>
          </p:nvPr>
        </p:nvGrpSpPr>
        <p:grpSpPr>
          <a:xfrm>
            <a:off x="4316173" y="5204014"/>
            <a:ext cx="291464" cy="291464"/>
            <a:chOff x="2273300" y="254000"/>
            <a:chExt cx="1019810" cy="1019810"/>
          </a:xfrm>
        </p:grpSpPr>
        <p:sp>
          <p:nvSpPr>
            <p:cNvPr id="233" name="Oval 232">
              <a:extLst>
                <a:ext uri="{FF2B5EF4-FFF2-40B4-BE49-F238E27FC236}">
                  <a16:creationId xmlns:a16="http://schemas.microsoft.com/office/drawing/2014/main" id="{31ABDD33-B112-4266-AC48-7434D061E21C}"/>
                </a:ext>
              </a:extLst>
            </p:cNvPr>
            <p:cNvSpPr>
              <a:spLocks noChangeAspect="1"/>
            </p:cNvSpPr>
            <p:nvPr/>
          </p:nvSpPr>
          <p:spPr>
            <a:xfrm>
              <a:off x="2273300" y="2540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4" name="Graphic 233">
              <a:extLst>
                <a:ext uri="{FF2B5EF4-FFF2-40B4-BE49-F238E27FC236}">
                  <a16:creationId xmlns:a16="http://schemas.microsoft.com/office/drawing/2014/main" id="{9B93CF04-4348-401B-88E1-F266537DF9D9}"/>
                </a:ext>
              </a:extLst>
            </p:cNvPr>
            <p:cNvPicPr>
              <a:picLocks noChangeAspect="1"/>
            </p:cNvPicPr>
            <p:nvPr/>
          </p:nvPicPr>
          <p:blipFill>
            <a:blip r:embed="rId90" cstate="screen">
              <a:extLst>
                <a:ext uri="{28A0092B-C50C-407E-A947-70E740481C1C}">
                  <a14:useLocalDpi xmlns:a14="http://schemas.microsoft.com/office/drawing/2010/main"/>
                </a:ext>
                <a:ext uri="{96DAC541-7B7A-43D3-8B79-37D633B846F1}">
                  <asvg:svgBlip xmlns:asvg="http://schemas.microsoft.com/office/drawing/2016/SVG/main" r:embed="rId91"/>
                </a:ext>
              </a:extLst>
            </a:blip>
            <a:stretch>
              <a:fillRect/>
            </a:stretch>
          </p:blipFill>
          <p:spPr>
            <a:xfrm>
              <a:off x="2473325" y="461010"/>
              <a:ext cx="609600" cy="609600"/>
            </a:xfrm>
            <a:prstGeom prst="rect">
              <a:avLst/>
            </a:prstGeom>
          </p:spPr>
        </p:pic>
      </p:grpSp>
      <p:grpSp>
        <p:nvGrpSpPr>
          <p:cNvPr id="235" name="Group 234">
            <a:extLst>
              <a:ext uri="{FF2B5EF4-FFF2-40B4-BE49-F238E27FC236}">
                <a16:creationId xmlns:a16="http://schemas.microsoft.com/office/drawing/2014/main" id="{89817422-D0F7-476A-95E6-5968FB674AFE}"/>
              </a:ext>
            </a:extLst>
          </p:cNvPr>
          <p:cNvGrpSpPr>
            <a:grpSpLocks/>
          </p:cNvGrpSpPr>
          <p:nvPr>
            <p:custDataLst>
              <p:tags r:id="rId68"/>
            </p:custDataLst>
          </p:nvPr>
        </p:nvGrpSpPr>
        <p:grpSpPr>
          <a:xfrm>
            <a:off x="4643802" y="5204014"/>
            <a:ext cx="291464" cy="291464"/>
            <a:chOff x="1003300" y="5067300"/>
            <a:chExt cx="1019810" cy="1019810"/>
          </a:xfrm>
        </p:grpSpPr>
        <p:sp>
          <p:nvSpPr>
            <p:cNvPr id="236" name="Oval 235">
              <a:extLst>
                <a:ext uri="{FF2B5EF4-FFF2-40B4-BE49-F238E27FC236}">
                  <a16:creationId xmlns:a16="http://schemas.microsoft.com/office/drawing/2014/main" id="{9CBA2ACC-3375-4230-A8EB-FADACCFBF2CA}"/>
                </a:ext>
              </a:extLst>
            </p:cNvPr>
            <p:cNvSpPr>
              <a:spLocks noChangeAspect="1"/>
            </p:cNvSpPr>
            <p:nvPr/>
          </p:nvSpPr>
          <p:spPr>
            <a:xfrm>
              <a:off x="1003300" y="50673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7" name="Graphic 236">
              <a:extLst>
                <a:ext uri="{FF2B5EF4-FFF2-40B4-BE49-F238E27FC236}">
                  <a16:creationId xmlns:a16="http://schemas.microsoft.com/office/drawing/2014/main" id="{F7951F27-A1DA-4EB0-83D7-91F5BC3A440B}"/>
                </a:ext>
              </a:extLst>
            </p:cNvPr>
            <p:cNvPicPr>
              <a:picLocks noChangeAspect="1"/>
            </p:cNvPicPr>
            <p:nvPr/>
          </p:nvPicPr>
          <p:blipFill>
            <a:blip r:embed="rId88" cstate="screen">
              <a:extLst>
                <a:ext uri="{28A0092B-C50C-407E-A947-70E740481C1C}">
                  <a14:useLocalDpi xmlns:a14="http://schemas.microsoft.com/office/drawing/2010/main"/>
                </a:ext>
                <a:ext uri="{96DAC541-7B7A-43D3-8B79-37D633B846F1}">
                  <asvg:svgBlip xmlns:asvg="http://schemas.microsoft.com/office/drawing/2016/SVG/main" r:embed="rId89"/>
                </a:ext>
              </a:extLst>
            </a:blip>
            <a:stretch>
              <a:fillRect/>
            </a:stretch>
          </p:blipFill>
          <p:spPr>
            <a:xfrm>
              <a:off x="1203325" y="5274310"/>
              <a:ext cx="609600" cy="609600"/>
            </a:xfrm>
            <a:prstGeom prst="rect">
              <a:avLst/>
            </a:prstGeom>
          </p:spPr>
        </p:pic>
      </p:grpSp>
      <p:grpSp>
        <p:nvGrpSpPr>
          <p:cNvPr id="238" name="Group 237">
            <a:extLst>
              <a:ext uri="{FF2B5EF4-FFF2-40B4-BE49-F238E27FC236}">
                <a16:creationId xmlns:a16="http://schemas.microsoft.com/office/drawing/2014/main" id="{CC42A157-8548-493E-AD11-069BA9ECCC22}"/>
              </a:ext>
            </a:extLst>
          </p:cNvPr>
          <p:cNvGrpSpPr>
            <a:grpSpLocks/>
          </p:cNvGrpSpPr>
          <p:nvPr>
            <p:custDataLst>
              <p:tags r:id="rId69"/>
            </p:custDataLst>
          </p:nvPr>
        </p:nvGrpSpPr>
        <p:grpSpPr>
          <a:xfrm>
            <a:off x="4971431" y="5204014"/>
            <a:ext cx="291464" cy="291464"/>
            <a:chOff x="1003300" y="3797300"/>
            <a:chExt cx="1019810" cy="1019810"/>
          </a:xfrm>
        </p:grpSpPr>
        <p:sp>
          <p:nvSpPr>
            <p:cNvPr id="239" name="Oval 238">
              <a:extLst>
                <a:ext uri="{FF2B5EF4-FFF2-40B4-BE49-F238E27FC236}">
                  <a16:creationId xmlns:a16="http://schemas.microsoft.com/office/drawing/2014/main" id="{B90EF9F8-EB0D-4CBF-AEEC-030EA857983F}"/>
                </a:ext>
              </a:extLst>
            </p:cNvPr>
            <p:cNvSpPr>
              <a:spLocks noChangeAspect="1"/>
            </p:cNvSpPr>
            <p:nvPr/>
          </p:nvSpPr>
          <p:spPr>
            <a:xfrm>
              <a:off x="1003300" y="37973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40" name="Graphic 239">
              <a:extLst>
                <a:ext uri="{FF2B5EF4-FFF2-40B4-BE49-F238E27FC236}">
                  <a16:creationId xmlns:a16="http://schemas.microsoft.com/office/drawing/2014/main" id="{7F367D21-8C0D-4401-BDF5-F7CFA82EA9F0}"/>
                </a:ext>
              </a:extLst>
            </p:cNvPr>
            <p:cNvPicPr>
              <a:picLocks noChangeAspect="1"/>
            </p:cNvPicPr>
            <p:nvPr/>
          </p:nvPicPr>
          <p:blipFill>
            <a:blip r:embed="rId86" cstate="screen">
              <a:extLst>
                <a:ext uri="{28A0092B-C50C-407E-A947-70E740481C1C}">
                  <a14:useLocalDpi xmlns:a14="http://schemas.microsoft.com/office/drawing/2010/main"/>
                </a:ext>
                <a:ext uri="{96DAC541-7B7A-43D3-8B79-37D633B846F1}">
                  <asvg:svgBlip xmlns:asvg="http://schemas.microsoft.com/office/drawing/2016/SVG/main" r:embed="rId87"/>
                </a:ext>
              </a:extLst>
            </a:blip>
            <a:stretch>
              <a:fillRect/>
            </a:stretch>
          </p:blipFill>
          <p:spPr>
            <a:xfrm>
              <a:off x="1203325" y="4004310"/>
              <a:ext cx="609600" cy="609600"/>
            </a:xfrm>
            <a:prstGeom prst="rect">
              <a:avLst/>
            </a:prstGeom>
          </p:spPr>
        </p:pic>
      </p:grpSp>
      <p:grpSp>
        <p:nvGrpSpPr>
          <p:cNvPr id="244" name="CustomIcon">
            <a:extLst>
              <a:ext uri="{FF2B5EF4-FFF2-40B4-BE49-F238E27FC236}">
                <a16:creationId xmlns:a16="http://schemas.microsoft.com/office/drawing/2014/main" id="{17F8C1E2-97FC-476F-BAF6-0DB2C7D70744}"/>
              </a:ext>
            </a:extLst>
          </p:cNvPr>
          <p:cNvGrpSpPr>
            <a:grpSpLocks/>
          </p:cNvGrpSpPr>
          <p:nvPr>
            <p:custDataLst>
              <p:tags r:id="rId70"/>
            </p:custDataLst>
          </p:nvPr>
        </p:nvGrpSpPr>
        <p:grpSpPr>
          <a:xfrm>
            <a:off x="5299059" y="5204014"/>
            <a:ext cx="291464" cy="291464"/>
            <a:chOff x="-200025" y="-207010"/>
            <a:chExt cx="1019810" cy="1019810"/>
          </a:xfrm>
          <a:solidFill>
            <a:schemeClr val="bg1"/>
          </a:solidFill>
        </p:grpSpPr>
        <p:sp>
          <p:nvSpPr>
            <p:cNvPr id="241" name="Oval 240">
              <a:extLst>
                <a:ext uri="{FF2B5EF4-FFF2-40B4-BE49-F238E27FC236}">
                  <a16:creationId xmlns:a16="http://schemas.microsoft.com/office/drawing/2014/main" id="{1D4258DA-2684-47C9-AFD8-BB1CE3F67F6E}"/>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43" name="Graphic 242">
              <a:extLst>
                <a:ext uri="{FF2B5EF4-FFF2-40B4-BE49-F238E27FC236}">
                  <a16:creationId xmlns:a16="http://schemas.microsoft.com/office/drawing/2014/main" id="{92A422C6-1FD4-4CFA-902C-50918506905D}"/>
                </a:ext>
              </a:extLst>
            </p:cNvPr>
            <p:cNvPicPr>
              <a:picLocks noChangeAspect="1"/>
            </p:cNvPicPr>
            <p:nvPr/>
          </p:nvPicPr>
          <p:blipFill>
            <a:blip r:embed="rId114" cstate="screen">
              <a:extLst>
                <a:ext uri="{28A0092B-C50C-407E-A947-70E740481C1C}">
                  <a14:useLocalDpi xmlns:a14="http://schemas.microsoft.com/office/drawing/2010/main"/>
                </a:ext>
                <a:ext uri="{96DAC541-7B7A-43D3-8B79-37D633B846F1}">
                  <asvg:svgBlip xmlns:asvg="http://schemas.microsoft.com/office/drawing/2016/SVG/main" r:embed="rId115"/>
                </a:ext>
              </a:extLst>
            </a:blip>
            <a:stretch>
              <a:fillRect/>
            </a:stretch>
          </p:blipFill>
          <p:spPr>
            <a:xfrm>
              <a:off x="0" y="0"/>
              <a:ext cx="609600" cy="609600"/>
            </a:xfrm>
            <a:prstGeom prst="rect">
              <a:avLst/>
            </a:prstGeom>
          </p:spPr>
        </p:pic>
      </p:grpSp>
      <p:grpSp>
        <p:nvGrpSpPr>
          <p:cNvPr id="245" name="Group 244">
            <a:extLst>
              <a:ext uri="{FF2B5EF4-FFF2-40B4-BE49-F238E27FC236}">
                <a16:creationId xmlns:a16="http://schemas.microsoft.com/office/drawing/2014/main" id="{E3C68B4B-D833-4AD2-BF36-F3FF3E88EE6F}"/>
              </a:ext>
            </a:extLst>
          </p:cNvPr>
          <p:cNvGrpSpPr>
            <a:grpSpLocks/>
          </p:cNvGrpSpPr>
          <p:nvPr>
            <p:custDataLst>
              <p:tags r:id="rId71"/>
            </p:custDataLst>
          </p:nvPr>
        </p:nvGrpSpPr>
        <p:grpSpPr>
          <a:xfrm>
            <a:off x="3988544" y="5678199"/>
            <a:ext cx="291464" cy="291464"/>
            <a:chOff x="1003300" y="5067300"/>
            <a:chExt cx="1019810" cy="1019810"/>
          </a:xfrm>
        </p:grpSpPr>
        <p:sp>
          <p:nvSpPr>
            <p:cNvPr id="246" name="Oval 245">
              <a:extLst>
                <a:ext uri="{FF2B5EF4-FFF2-40B4-BE49-F238E27FC236}">
                  <a16:creationId xmlns:a16="http://schemas.microsoft.com/office/drawing/2014/main" id="{7E641E0B-0FD1-4C10-8B74-6E0D23B50705}"/>
                </a:ext>
              </a:extLst>
            </p:cNvPr>
            <p:cNvSpPr>
              <a:spLocks noChangeAspect="1"/>
            </p:cNvSpPr>
            <p:nvPr/>
          </p:nvSpPr>
          <p:spPr>
            <a:xfrm>
              <a:off x="1003300" y="50673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47" name="Graphic 246">
              <a:extLst>
                <a:ext uri="{FF2B5EF4-FFF2-40B4-BE49-F238E27FC236}">
                  <a16:creationId xmlns:a16="http://schemas.microsoft.com/office/drawing/2014/main" id="{AD50A64E-CA3B-41F9-B610-7AEB9F0E0073}"/>
                </a:ext>
              </a:extLst>
            </p:cNvPr>
            <p:cNvPicPr>
              <a:picLocks noChangeAspect="1"/>
            </p:cNvPicPr>
            <p:nvPr/>
          </p:nvPicPr>
          <p:blipFill>
            <a:blip r:embed="rId88" cstate="screen">
              <a:extLst>
                <a:ext uri="{28A0092B-C50C-407E-A947-70E740481C1C}">
                  <a14:useLocalDpi xmlns:a14="http://schemas.microsoft.com/office/drawing/2010/main"/>
                </a:ext>
                <a:ext uri="{96DAC541-7B7A-43D3-8B79-37D633B846F1}">
                  <asvg:svgBlip xmlns:asvg="http://schemas.microsoft.com/office/drawing/2016/SVG/main" r:embed="rId89"/>
                </a:ext>
              </a:extLst>
            </a:blip>
            <a:stretch>
              <a:fillRect/>
            </a:stretch>
          </p:blipFill>
          <p:spPr>
            <a:xfrm>
              <a:off x="1203325" y="5274310"/>
              <a:ext cx="609600" cy="609600"/>
            </a:xfrm>
            <a:prstGeom prst="rect">
              <a:avLst/>
            </a:prstGeom>
          </p:spPr>
        </p:pic>
      </p:grpSp>
      <p:grpSp>
        <p:nvGrpSpPr>
          <p:cNvPr id="248" name="CustomIcon">
            <a:extLst>
              <a:ext uri="{FF2B5EF4-FFF2-40B4-BE49-F238E27FC236}">
                <a16:creationId xmlns:a16="http://schemas.microsoft.com/office/drawing/2014/main" id="{131A306B-8A7D-4DBF-85F8-C6E793F3F463}"/>
              </a:ext>
            </a:extLst>
          </p:cNvPr>
          <p:cNvGrpSpPr>
            <a:grpSpLocks/>
          </p:cNvGrpSpPr>
          <p:nvPr>
            <p:custDataLst>
              <p:tags r:id="rId72"/>
            </p:custDataLst>
          </p:nvPr>
        </p:nvGrpSpPr>
        <p:grpSpPr>
          <a:xfrm>
            <a:off x="4316173" y="5678199"/>
            <a:ext cx="291464" cy="291464"/>
            <a:chOff x="-200025" y="-207010"/>
            <a:chExt cx="1019810" cy="1019810"/>
          </a:xfrm>
          <a:solidFill>
            <a:schemeClr val="bg1"/>
          </a:solidFill>
        </p:grpSpPr>
        <p:sp>
          <p:nvSpPr>
            <p:cNvPr id="249" name="Oval 248">
              <a:extLst>
                <a:ext uri="{FF2B5EF4-FFF2-40B4-BE49-F238E27FC236}">
                  <a16:creationId xmlns:a16="http://schemas.microsoft.com/office/drawing/2014/main" id="{8D545042-28B9-4308-9EAD-7026F66463F7}"/>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50" name="Graphic 249">
              <a:extLst>
                <a:ext uri="{FF2B5EF4-FFF2-40B4-BE49-F238E27FC236}">
                  <a16:creationId xmlns:a16="http://schemas.microsoft.com/office/drawing/2014/main" id="{8E8FFCFF-4A35-45C1-9732-D0A41F8F8477}"/>
                </a:ext>
              </a:extLst>
            </p:cNvPr>
            <p:cNvPicPr>
              <a:picLocks noChangeAspect="1"/>
            </p:cNvPicPr>
            <p:nvPr/>
          </p:nvPicPr>
          <p:blipFill>
            <a:blip r:embed="rId114" cstate="screen">
              <a:extLst>
                <a:ext uri="{28A0092B-C50C-407E-A947-70E740481C1C}">
                  <a14:useLocalDpi xmlns:a14="http://schemas.microsoft.com/office/drawing/2010/main"/>
                </a:ext>
                <a:ext uri="{96DAC541-7B7A-43D3-8B79-37D633B846F1}">
                  <asvg:svgBlip xmlns:asvg="http://schemas.microsoft.com/office/drawing/2016/SVG/main" r:embed="rId115"/>
                </a:ext>
              </a:extLst>
            </a:blip>
            <a:stretch>
              <a:fillRect/>
            </a:stretch>
          </p:blipFill>
          <p:spPr>
            <a:xfrm>
              <a:off x="0" y="0"/>
              <a:ext cx="609600" cy="609600"/>
            </a:xfrm>
            <a:prstGeom prst="rect">
              <a:avLst/>
            </a:prstGeom>
          </p:spPr>
        </p:pic>
      </p:grpSp>
      <p:grpSp>
        <p:nvGrpSpPr>
          <p:cNvPr id="251" name="Group 250">
            <a:extLst>
              <a:ext uri="{FF2B5EF4-FFF2-40B4-BE49-F238E27FC236}">
                <a16:creationId xmlns:a16="http://schemas.microsoft.com/office/drawing/2014/main" id="{0DF95506-90B9-4696-8317-0D44CCE8CD7F}"/>
              </a:ext>
            </a:extLst>
          </p:cNvPr>
          <p:cNvGrpSpPr>
            <a:grpSpLocks/>
          </p:cNvGrpSpPr>
          <p:nvPr>
            <p:custDataLst>
              <p:tags r:id="rId73"/>
            </p:custDataLst>
          </p:nvPr>
        </p:nvGrpSpPr>
        <p:grpSpPr>
          <a:xfrm>
            <a:off x="4643802" y="5678199"/>
            <a:ext cx="291464" cy="291464"/>
            <a:chOff x="2273300" y="254000"/>
            <a:chExt cx="1019810" cy="1019810"/>
          </a:xfrm>
        </p:grpSpPr>
        <p:sp>
          <p:nvSpPr>
            <p:cNvPr id="252" name="Oval 251">
              <a:extLst>
                <a:ext uri="{FF2B5EF4-FFF2-40B4-BE49-F238E27FC236}">
                  <a16:creationId xmlns:a16="http://schemas.microsoft.com/office/drawing/2014/main" id="{A97875B7-87A6-40DE-B07F-42BFF67F3B9F}"/>
                </a:ext>
              </a:extLst>
            </p:cNvPr>
            <p:cNvSpPr>
              <a:spLocks noChangeAspect="1"/>
            </p:cNvSpPr>
            <p:nvPr/>
          </p:nvSpPr>
          <p:spPr>
            <a:xfrm>
              <a:off x="2273300" y="2540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53" name="Graphic 252">
              <a:extLst>
                <a:ext uri="{FF2B5EF4-FFF2-40B4-BE49-F238E27FC236}">
                  <a16:creationId xmlns:a16="http://schemas.microsoft.com/office/drawing/2014/main" id="{E2A8F01D-F0C1-407C-AD96-047840B91A08}"/>
                </a:ext>
              </a:extLst>
            </p:cNvPr>
            <p:cNvPicPr>
              <a:picLocks noChangeAspect="1"/>
            </p:cNvPicPr>
            <p:nvPr/>
          </p:nvPicPr>
          <p:blipFill>
            <a:blip r:embed="rId90" cstate="screen">
              <a:extLst>
                <a:ext uri="{28A0092B-C50C-407E-A947-70E740481C1C}">
                  <a14:useLocalDpi xmlns:a14="http://schemas.microsoft.com/office/drawing/2010/main"/>
                </a:ext>
                <a:ext uri="{96DAC541-7B7A-43D3-8B79-37D633B846F1}">
                  <asvg:svgBlip xmlns:asvg="http://schemas.microsoft.com/office/drawing/2016/SVG/main" r:embed="rId91"/>
                </a:ext>
              </a:extLst>
            </a:blip>
            <a:stretch>
              <a:fillRect/>
            </a:stretch>
          </p:blipFill>
          <p:spPr>
            <a:xfrm>
              <a:off x="2473325" y="461010"/>
              <a:ext cx="609600" cy="609600"/>
            </a:xfrm>
            <a:prstGeom prst="rect">
              <a:avLst/>
            </a:prstGeom>
          </p:spPr>
        </p:pic>
      </p:grpSp>
      <p:grpSp>
        <p:nvGrpSpPr>
          <p:cNvPr id="254" name="Group 253">
            <a:extLst>
              <a:ext uri="{FF2B5EF4-FFF2-40B4-BE49-F238E27FC236}">
                <a16:creationId xmlns:a16="http://schemas.microsoft.com/office/drawing/2014/main" id="{821C4FCD-0979-43C1-A761-E2315DAAD1D9}"/>
              </a:ext>
            </a:extLst>
          </p:cNvPr>
          <p:cNvGrpSpPr>
            <a:grpSpLocks/>
          </p:cNvGrpSpPr>
          <p:nvPr>
            <p:custDataLst>
              <p:tags r:id="rId74"/>
            </p:custDataLst>
          </p:nvPr>
        </p:nvGrpSpPr>
        <p:grpSpPr>
          <a:xfrm>
            <a:off x="4971431" y="5678199"/>
            <a:ext cx="291464" cy="291464"/>
            <a:chOff x="1003300" y="3797300"/>
            <a:chExt cx="1019810" cy="1019810"/>
          </a:xfrm>
        </p:grpSpPr>
        <p:sp>
          <p:nvSpPr>
            <p:cNvPr id="255" name="Oval 254">
              <a:extLst>
                <a:ext uri="{FF2B5EF4-FFF2-40B4-BE49-F238E27FC236}">
                  <a16:creationId xmlns:a16="http://schemas.microsoft.com/office/drawing/2014/main" id="{AE362727-9E4F-4E2C-B340-BAF10659421B}"/>
                </a:ext>
              </a:extLst>
            </p:cNvPr>
            <p:cNvSpPr>
              <a:spLocks noChangeAspect="1"/>
            </p:cNvSpPr>
            <p:nvPr/>
          </p:nvSpPr>
          <p:spPr>
            <a:xfrm>
              <a:off x="1003300" y="3797300"/>
              <a:ext cx="1019810" cy="1019810"/>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56" name="Graphic 255">
              <a:extLst>
                <a:ext uri="{FF2B5EF4-FFF2-40B4-BE49-F238E27FC236}">
                  <a16:creationId xmlns:a16="http://schemas.microsoft.com/office/drawing/2014/main" id="{71E5FDCA-DE45-487A-86B2-E89E46C093C3}"/>
                </a:ext>
              </a:extLst>
            </p:cNvPr>
            <p:cNvPicPr>
              <a:picLocks noChangeAspect="1"/>
            </p:cNvPicPr>
            <p:nvPr/>
          </p:nvPicPr>
          <p:blipFill>
            <a:blip r:embed="rId86" cstate="screen">
              <a:extLst>
                <a:ext uri="{28A0092B-C50C-407E-A947-70E740481C1C}">
                  <a14:useLocalDpi xmlns:a14="http://schemas.microsoft.com/office/drawing/2010/main"/>
                </a:ext>
                <a:ext uri="{96DAC541-7B7A-43D3-8B79-37D633B846F1}">
                  <asvg:svgBlip xmlns:asvg="http://schemas.microsoft.com/office/drawing/2016/SVG/main" r:embed="rId87"/>
                </a:ext>
              </a:extLst>
            </a:blip>
            <a:stretch>
              <a:fillRect/>
            </a:stretch>
          </p:blipFill>
          <p:spPr>
            <a:xfrm>
              <a:off x="1203325" y="4004310"/>
              <a:ext cx="609600" cy="609600"/>
            </a:xfrm>
            <a:prstGeom prst="rect">
              <a:avLst/>
            </a:prstGeom>
          </p:spPr>
        </p:pic>
      </p:grpSp>
      <p:grpSp>
        <p:nvGrpSpPr>
          <p:cNvPr id="260" name="CustomIcon">
            <a:extLst>
              <a:ext uri="{FF2B5EF4-FFF2-40B4-BE49-F238E27FC236}">
                <a16:creationId xmlns:a16="http://schemas.microsoft.com/office/drawing/2014/main" id="{95B2D2B8-7C2E-4725-90D4-2653FAC212F5}"/>
              </a:ext>
            </a:extLst>
          </p:cNvPr>
          <p:cNvGrpSpPr>
            <a:grpSpLocks/>
          </p:cNvGrpSpPr>
          <p:nvPr>
            <p:custDataLst>
              <p:tags r:id="rId75"/>
            </p:custDataLst>
          </p:nvPr>
        </p:nvGrpSpPr>
        <p:grpSpPr>
          <a:xfrm>
            <a:off x="5299059" y="5678199"/>
            <a:ext cx="291464" cy="291464"/>
            <a:chOff x="-200025" y="-207010"/>
            <a:chExt cx="1019810" cy="1019810"/>
          </a:xfrm>
          <a:solidFill>
            <a:schemeClr val="bg1"/>
          </a:solidFill>
        </p:grpSpPr>
        <p:sp>
          <p:nvSpPr>
            <p:cNvPr id="257" name="Oval 256">
              <a:extLst>
                <a:ext uri="{FF2B5EF4-FFF2-40B4-BE49-F238E27FC236}">
                  <a16:creationId xmlns:a16="http://schemas.microsoft.com/office/drawing/2014/main" id="{6EB8415E-D628-4543-86DC-ABDFE571AEE8}"/>
                </a:ext>
              </a:extLst>
            </p:cNvPr>
            <p:cNvSpPr>
              <a:spLocks noChangeAspect="1"/>
            </p:cNvSpPr>
            <p:nvPr/>
          </p:nvSpPr>
          <p:spPr>
            <a:xfrm>
              <a:off x="-200025" y="-207010"/>
              <a:ext cx="1019810" cy="1019810"/>
            </a:xfrm>
            <a:prstGeom prst="ellipse">
              <a:avLst/>
            </a:prstGeom>
            <a:grp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59" name="Graphic 258">
              <a:extLst>
                <a:ext uri="{FF2B5EF4-FFF2-40B4-BE49-F238E27FC236}">
                  <a16:creationId xmlns:a16="http://schemas.microsoft.com/office/drawing/2014/main" id="{1C685128-AB73-4859-9459-67D0F44B188A}"/>
                </a:ext>
              </a:extLst>
            </p:cNvPr>
            <p:cNvPicPr>
              <a:picLocks noChangeAspect="1"/>
            </p:cNvPicPr>
            <p:nvPr/>
          </p:nvPicPr>
          <p:blipFill>
            <a:blip r:embed="rId116" cstate="screen">
              <a:extLst>
                <a:ext uri="{28A0092B-C50C-407E-A947-70E740481C1C}">
                  <a14:useLocalDpi xmlns:a14="http://schemas.microsoft.com/office/drawing/2010/main"/>
                </a:ext>
                <a:ext uri="{96DAC541-7B7A-43D3-8B79-37D633B846F1}">
                  <asvg:svgBlip xmlns:asvg="http://schemas.microsoft.com/office/drawing/2016/SVG/main" r:embed="rId117"/>
                </a:ext>
              </a:extLst>
            </a:blip>
            <a:stretch>
              <a:fillRect/>
            </a:stretch>
          </p:blipFill>
          <p:spPr>
            <a:xfrm>
              <a:off x="0" y="0"/>
              <a:ext cx="609600" cy="609600"/>
            </a:xfrm>
            <a:prstGeom prst="rect">
              <a:avLst/>
            </a:prstGeom>
          </p:spPr>
        </p:pic>
      </p:grpSp>
      <p:sp>
        <p:nvSpPr>
          <p:cNvPr id="2" name="Rectangle 1">
            <a:extLst>
              <a:ext uri="{FF2B5EF4-FFF2-40B4-BE49-F238E27FC236}">
                <a16:creationId xmlns:a16="http://schemas.microsoft.com/office/drawing/2014/main" id="{2A942B8D-774A-4C59-A963-12E74403F89A}"/>
              </a:ext>
            </a:extLst>
          </p:cNvPr>
          <p:cNvSpPr/>
          <p:nvPr>
            <p:custDataLst>
              <p:tags r:id="rId76"/>
            </p:custDataLst>
          </p:nvPr>
        </p:nvSpPr>
        <p:spPr bwMode="auto">
          <a:xfrm>
            <a:off x="608013" y="1347788"/>
            <a:ext cx="165100" cy="165100"/>
          </a:xfrm>
          <a:prstGeom prst="rect">
            <a:avLst/>
          </a:prstGeom>
          <a:solidFill>
            <a:schemeClr val="accent1"/>
          </a:solidFill>
          <a:ln w="3175" cap="sq" algn="ctr">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11" name="Text Placeholder 2">
            <a:extLst>
              <a:ext uri="{FF2B5EF4-FFF2-40B4-BE49-F238E27FC236}">
                <a16:creationId xmlns:a16="http://schemas.microsoft.com/office/drawing/2014/main" id="{192DB789-515B-4504-BE53-6445F2427687}"/>
              </a:ext>
            </a:extLst>
          </p:cNvPr>
          <p:cNvSpPr>
            <a:spLocks noGrp="1"/>
          </p:cNvSpPr>
          <p:nvPr>
            <p:custDataLst>
              <p:tags r:id="rId77"/>
            </p:custDataLst>
          </p:nvPr>
        </p:nvSpPr>
        <p:spPr bwMode="auto">
          <a:xfrm>
            <a:off x="823913" y="1346200"/>
            <a:ext cx="15001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91CE606-410F-4652-ADA8-5CAC0FF57663}" type="datetime'''U''SD'''''''' ''''B''''''il''''''''l''''''''i''o''''''n''s'">
              <a:rPr lang="en-US" altLang="en-US" sz="1200" smtClean="0">
                <a:cs typeface="+mn-cs"/>
                <a:sym typeface="+mn-lt"/>
              </a:rPr>
              <a:pPr>
                <a:spcBef>
                  <a:spcPct val="0"/>
                </a:spcBef>
                <a:spcAft>
                  <a:spcPct val="0"/>
                </a:spcAft>
              </a:pPr>
              <a:t>USD Billions</a:t>
            </a:fld>
            <a:r>
              <a:rPr lang="en-US" altLang="en-US" sz="1200" dirty="0">
                <a:cs typeface="+mn-cs"/>
                <a:sym typeface="+mn-lt"/>
              </a:rPr>
              <a:t>, FY 2020</a:t>
            </a:r>
            <a:endParaRPr lang="en-US" sz="1200" dirty="0">
              <a:cs typeface="+mn-cs"/>
              <a:sym typeface="+mn-lt"/>
            </a:endParaRPr>
          </a:p>
        </p:txBody>
      </p:sp>
      <p:pic>
        <p:nvPicPr>
          <p:cNvPr id="258" name="Content Placeholder 1">
            <a:extLst>
              <a:ext uri="{FF2B5EF4-FFF2-40B4-BE49-F238E27FC236}">
                <a16:creationId xmlns:a16="http://schemas.microsoft.com/office/drawing/2014/main" id="{E295C89B-530C-49C9-A62F-E129E0D90F39}"/>
              </a:ext>
            </a:extLst>
          </p:cNvPr>
          <p:cNvPicPr>
            <a:picLocks noChangeAspect="1"/>
          </p:cNvPicPr>
          <p:nvPr/>
        </p:nvPicPr>
        <p:blipFill>
          <a:blip r:embed="rId118" cstate="print">
            <a:extLst>
              <a:ext uri="{28A0092B-C50C-407E-A947-70E740481C1C}">
                <a14:useLocalDpi xmlns:a14="http://schemas.microsoft.com/office/drawing/2010/main" val="0"/>
              </a:ext>
            </a:extLst>
          </a:blip>
          <a:stretch>
            <a:fillRect/>
          </a:stretch>
        </p:blipFill>
        <p:spPr>
          <a:xfrm>
            <a:off x="11256445" y="6341"/>
            <a:ext cx="927993" cy="396859"/>
          </a:xfrm>
          <a:prstGeom prst="rect">
            <a:avLst/>
          </a:prstGeom>
        </p:spPr>
      </p:pic>
    </p:spTree>
    <p:extLst>
      <p:ext uri="{BB962C8B-B14F-4D97-AF65-F5344CB8AC3E}">
        <p14:creationId xmlns:p14="http://schemas.microsoft.com/office/powerpoint/2010/main" val="18773350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1-11-23 10:58 A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9.xml><?xml version="1.0" encoding="utf-8"?>
<p:tagLst xmlns:a="http://schemas.openxmlformats.org/drawingml/2006/main" xmlns:r="http://schemas.openxmlformats.org/officeDocument/2006/relationships" xmlns:p="http://schemas.openxmlformats.org/presentationml/2006/main">
  <p:tag name="SHAPENAME" val="TopLin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LogoImag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xml><?xml version="1.0" encoding="utf-8"?>
<p:tagLst xmlns:a="http://schemas.openxmlformats.org/drawingml/2006/main" xmlns:r="http://schemas.openxmlformats.org/officeDocument/2006/relationships" xmlns:p="http://schemas.openxmlformats.org/presentationml/2006/main">
  <p:tag name="SHAPENAME" val="5. Sourc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5. Source"/>
</p:tagLst>
</file>

<file path=ppt/tags/tag1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6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3.xml><?xml version="1.0" encoding="utf-8"?>
<p:tagLst xmlns:a="http://schemas.openxmlformats.org/drawingml/2006/main" xmlns:r="http://schemas.openxmlformats.org/officeDocument/2006/relationships" xmlns:p="http://schemas.openxmlformats.org/presentationml/2006/main">
  <p:tag name="SHAPENAME" val="BottomLine"/>
</p:tagLst>
</file>

<file path=ppt/tags/tag164.xml><?xml version="1.0" encoding="utf-8"?>
<p:tagLst xmlns:a="http://schemas.openxmlformats.org/drawingml/2006/main" xmlns:r="http://schemas.openxmlformats.org/officeDocument/2006/relationships" xmlns:p="http://schemas.openxmlformats.org/presentationml/2006/main">
  <p:tag name="SHAPENAME" val="TopLine"/>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Grid"/>
</p:tagLst>
</file>

<file path=ppt/tags/tag16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8.xml><?xml version="1.0" encoding="utf-8"?>
<p:tagLst xmlns:a="http://schemas.openxmlformats.org/drawingml/2006/main" xmlns:r="http://schemas.openxmlformats.org/officeDocument/2006/relationships" xmlns:p="http://schemas.openxmlformats.org/presentationml/2006/main">
  <p:tag name="NAME" val="Moon"/>
</p:tagLst>
</file>

<file path=ppt/tags/tag169.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NAME" val="Moon"/>
</p:tagLst>
</file>

<file path=ppt/tags/tag171.xml><?xml version="1.0" encoding="utf-8"?>
<p:tagLst xmlns:a="http://schemas.openxmlformats.org/drawingml/2006/main" xmlns:r="http://schemas.openxmlformats.org/officeDocument/2006/relationships" xmlns:p="http://schemas.openxmlformats.org/presentationml/2006/main">
  <p:tag name="NAME" val="Moon"/>
</p:tagLst>
</file>

<file path=ppt/tags/tag172.xml><?xml version="1.0" encoding="utf-8"?>
<p:tagLst xmlns:a="http://schemas.openxmlformats.org/drawingml/2006/main" xmlns:r="http://schemas.openxmlformats.org/officeDocument/2006/relationships" xmlns:p="http://schemas.openxmlformats.org/presentationml/2006/main">
  <p:tag name="NAME" val="Moon"/>
</p:tagLst>
</file>

<file path=ppt/tags/tag173.xml><?xml version="1.0" encoding="utf-8"?>
<p:tagLst xmlns:a="http://schemas.openxmlformats.org/drawingml/2006/main" xmlns:r="http://schemas.openxmlformats.org/officeDocument/2006/relationships" xmlns:p="http://schemas.openxmlformats.org/presentationml/2006/main">
  <p:tag name="ANGLE" val="5"/>
</p:tagLst>
</file>

<file path=ppt/tags/tag174.xml><?xml version="1.0" encoding="utf-8"?>
<p:tagLst xmlns:a="http://schemas.openxmlformats.org/drawingml/2006/main" xmlns:r="http://schemas.openxmlformats.org/officeDocument/2006/relationships" xmlns:p="http://schemas.openxmlformats.org/presentationml/2006/main">
  <p:tag name="ANGLE" val="5"/>
</p:tagLst>
</file>

<file path=ppt/tags/tag175.xml><?xml version="1.0" encoding="utf-8"?>
<p:tagLst xmlns:a="http://schemas.openxmlformats.org/drawingml/2006/main" xmlns:r="http://schemas.openxmlformats.org/officeDocument/2006/relationships" xmlns:p="http://schemas.openxmlformats.org/presentationml/2006/main">
  <p:tag name="ANGLE" val="4"/>
</p:tagLst>
</file>

<file path=ppt/tags/tag176.xml><?xml version="1.0" encoding="utf-8"?>
<p:tagLst xmlns:a="http://schemas.openxmlformats.org/drawingml/2006/main" xmlns:r="http://schemas.openxmlformats.org/officeDocument/2006/relationships" xmlns:p="http://schemas.openxmlformats.org/presentationml/2006/main">
  <p:tag name="ANGLE" val="4"/>
</p:tagLst>
</file>

<file path=ppt/tags/tag177.xml><?xml version="1.0" encoding="utf-8"?>
<p:tagLst xmlns:a="http://schemas.openxmlformats.org/drawingml/2006/main" xmlns:r="http://schemas.openxmlformats.org/officeDocument/2006/relationships" xmlns:p="http://schemas.openxmlformats.org/presentationml/2006/main">
  <p:tag name="ANGLE" val="3"/>
</p:tagLst>
</file>

<file path=ppt/tags/tag178.xml><?xml version="1.0" encoding="utf-8"?>
<p:tagLst xmlns:a="http://schemas.openxmlformats.org/drawingml/2006/main" xmlns:r="http://schemas.openxmlformats.org/officeDocument/2006/relationships" xmlns:p="http://schemas.openxmlformats.org/presentationml/2006/main">
  <p:tag name="ANGLE" val="3"/>
</p:tagLst>
</file>

<file path=ppt/tags/tag179.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ANGLE" val="2"/>
</p:tagLst>
</file>

<file path=ppt/tags/tag181.xml><?xml version="1.0" encoding="utf-8"?>
<p:tagLst xmlns:a="http://schemas.openxmlformats.org/drawingml/2006/main" xmlns:r="http://schemas.openxmlformats.org/officeDocument/2006/relationships" xmlns:p="http://schemas.openxmlformats.org/presentationml/2006/main">
  <p:tag name="ANGLE" val="1"/>
</p:tagLst>
</file>

<file path=ppt/tags/tag182.xml><?xml version="1.0" encoding="utf-8"?>
<p:tagLst xmlns:a="http://schemas.openxmlformats.org/drawingml/2006/main" xmlns:r="http://schemas.openxmlformats.org/officeDocument/2006/relationships" xmlns:p="http://schemas.openxmlformats.org/presentationml/2006/main">
  <p:tag name="ANGLE" val="1"/>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85.xml><?xml version="1.0" encoding="utf-8"?>
<p:tagLst xmlns:a="http://schemas.openxmlformats.org/drawingml/2006/main" xmlns:r="http://schemas.openxmlformats.org/officeDocument/2006/relationships" xmlns:p="http://schemas.openxmlformats.org/presentationml/2006/main">
  <p:tag name="SHAPENAME" val="LogoImage"/>
</p:tagLst>
</file>

<file path=ppt/tags/tag186.xml><?xml version="1.0" encoding="utf-8"?>
<p:tagLst xmlns:a="http://schemas.openxmlformats.org/drawingml/2006/main" xmlns:r="http://schemas.openxmlformats.org/officeDocument/2006/relationships" xmlns:p="http://schemas.openxmlformats.org/presentationml/2006/main">
  <p:tag name="SHAPENAME" val="ClientLogo"/>
</p:tagLst>
</file>

<file path=ppt/tags/tag18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8.xml><?xml version="1.0" encoding="utf-8"?>
<p:tagLst xmlns:a="http://schemas.openxmlformats.org/drawingml/2006/main" xmlns:r="http://schemas.openxmlformats.org/officeDocument/2006/relationships" xmlns:p="http://schemas.openxmlformats.org/presentationml/2006/main">
  <p:tag name="SHAPENAME" val="Subtitle"/>
</p:tagLst>
</file>

<file path=ppt/tags/tag189.xml><?xml version="1.0" encoding="utf-8"?>
<p:tagLst xmlns:a="http://schemas.openxmlformats.org/drawingml/2006/main" xmlns:r="http://schemas.openxmlformats.org/officeDocument/2006/relationships" xmlns:p="http://schemas.openxmlformats.org/presentationml/2006/main">
  <p:tag name="SHAPENAME" val="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xml><?xml version="1.0" encoding="utf-8"?>
<p:tagLst xmlns:a="http://schemas.openxmlformats.org/drawingml/2006/main" xmlns:r="http://schemas.openxmlformats.org/officeDocument/2006/relationships" xmlns:p="http://schemas.openxmlformats.org/presentationml/2006/main">
  <p:tag name="SHAPENAME" val="5. Source"/>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SHAPENAME" val="5. Source"/>
</p:tagLst>
</file>

<file path=ppt/tags/tag2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5. Source"/>
</p:tagLst>
</file>

<file path=ppt/tags/tag2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2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22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5. Source"/>
</p:tagLst>
</file>

<file path=ppt/tags/tag2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23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4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6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7.xml><?xml version="1.0" encoding="utf-8"?>
<p:tagLst xmlns:a="http://schemas.openxmlformats.org/drawingml/2006/main" xmlns:r="http://schemas.openxmlformats.org/officeDocument/2006/relationships" xmlns:p="http://schemas.openxmlformats.org/presentationml/2006/main">
  <p:tag name="SHAPENAME" val="5. Source"/>
</p:tagLst>
</file>

<file path=ppt/tags/tag2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xml><?xml version="1.0" encoding="utf-8"?>
<p:tagLst xmlns:a="http://schemas.openxmlformats.org/drawingml/2006/main" xmlns:r="http://schemas.openxmlformats.org/officeDocument/2006/relationships" xmlns:p="http://schemas.openxmlformats.org/presentationml/2006/main">
  <p:tag name="SHAPENAME" val="LogoImage"/>
</p:tagLst>
</file>

<file path=ppt/tags/tag2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xml><?xml version="1.0" encoding="utf-8"?>
<p:tagLst xmlns:a="http://schemas.openxmlformats.org/drawingml/2006/main" xmlns:r="http://schemas.openxmlformats.org/officeDocument/2006/relationships" xmlns:p="http://schemas.openxmlformats.org/presentationml/2006/main">
  <p:tag name="SHAPENAME" val="ClientLogo"/>
</p:tagLst>
</file>

<file path=ppt/tags/tag280.xml><?xml version="1.0" encoding="utf-8"?>
<p:tagLst xmlns:a="http://schemas.openxmlformats.org/drawingml/2006/main" xmlns:r="http://schemas.openxmlformats.org/officeDocument/2006/relationships" xmlns:p="http://schemas.openxmlformats.org/presentationml/2006/main">
  <p:tag name="SHAPENAME" val="5. Source"/>
</p:tagLst>
</file>

<file path=ppt/tags/tag2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8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9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93.xml><?xml version="1.0" encoding="utf-8"?>
<p:tagLst xmlns:a="http://schemas.openxmlformats.org/drawingml/2006/main" xmlns:r="http://schemas.openxmlformats.org/officeDocument/2006/relationships" xmlns:p="http://schemas.openxmlformats.org/presentationml/2006/main">
  <p:tag name="SHAPENAME" val="5. Source"/>
</p:tagLst>
</file>

<file path=ppt/tags/tag2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9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0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0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0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1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1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1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1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1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19.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3.xml><?xml version="1.0" encoding="utf-8"?>
<p:tagLst xmlns:a="http://schemas.openxmlformats.org/drawingml/2006/main" xmlns:r="http://schemas.openxmlformats.org/officeDocument/2006/relationships" xmlns:p="http://schemas.openxmlformats.org/presentationml/2006/main">
  <p:tag name="SHAPENAME" val="BottomLine"/>
</p:tagLst>
</file>

<file path=ppt/tags/tag324.xml><?xml version="1.0" encoding="utf-8"?>
<p:tagLst xmlns:a="http://schemas.openxmlformats.org/drawingml/2006/main" xmlns:r="http://schemas.openxmlformats.org/officeDocument/2006/relationships" xmlns:p="http://schemas.openxmlformats.org/presentationml/2006/main">
  <p:tag name="SHAPENAME" val="TopLine"/>
</p:tagLst>
</file>

<file path=ppt/tags/tag3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SHAPENAME" val="LogoImage"/>
</p:tagLst>
</file>

<file path=ppt/tags/tag336.xml><?xml version="1.0" encoding="utf-8"?>
<p:tagLst xmlns:a="http://schemas.openxmlformats.org/drawingml/2006/main" xmlns:r="http://schemas.openxmlformats.org/officeDocument/2006/relationships" xmlns:p="http://schemas.openxmlformats.org/presentationml/2006/main">
  <p:tag name="SHAPENAME" val="5. Sourc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39.xml><?xml version="1.0" encoding="utf-8"?>
<p:tagLst xmlns:a="http://schemas.openxmlformats.org/drawingml/2006/main" xmlns:r="http://schemas.openxmlformats.org/officeDocument/2006/relationships" xmlns:p="http://schemas.openxmlformats.org/presentationml/2006/main">
  <p:tag name="NAME" val="Logo"/>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0.xml><?xml version="1.0" encoding="utf-8"?>
<p:tagLst xmlns:a="http://schemas.openxmlformats.org/drawingml/2006/main" xmlns:r="http://schemas.openxmlformats.org/officeDocument/2006/relationships" xmlns:p="http://schemas.openxmlformats.org/presentationml/2006/main">
  <p:tag name="NAME" val="Moon"/>
</p:tagLst>
</file>

<file path=ppt/tags/tag341.xml><?xml version="1.0" encoding="utf-8"?>
<p:tagLst xmlns:a="http://schemas.openxmlformats.org/drawingml/2006/main" xmlns:r="http://schemas.openxmlformats.org/officeDocument/2006/relationships" xmlns:p="http://schemas.openxmlformats.org/presentationml/2006/main">
  <p:tag name="NAME" val="Moon"/>
</p:tagLst>
</file>

<file path=ppt/tags/tag342.xml><?xml version="1.0" encoding="utf-8"?>
<p:tagLst xmlns:a="http://schemas.openxmlformats.org/drawingml/2006/main" xmlns:r="http://schemas.openxmlformats.org/officeDocument/2006/relationships" xmlns:p="http://schemas.openxmlformats.org/presentationml/2006/main">
  <p:tag name="NAME" val="Moon"/>
</p:tagLst>
</file>

<file path=ppt/tags/tag343.xml><?xml version="1.0" encoding="utf-8"?>
<p:tagLst xmlns:a="http://schemas.openxmlformats.org/drawingml/2006/main" xmlns:r="http://schemas.openxmlformats.org/officeDocument/2006/relationships" xmlns:p="http://schemas.openxmlformats.org/presentationml/2006/main">
  <p:tag name="NAME" val="Moon"/>
</p:tagLst>
</file>

<file path=ppt/tags/tag344.xml><?xml version="1.0" encoding="utf-8"?>
<p:tagLst xmlns:a="http://schemas.openxmlformats.org/drawingml/2006/main" xmlns:r="http://schemas.openxmlformats.org/officeDocument/2006/relationships" xmlns:p="http://schemas.openxmlformats.org/presentationml/2006/main">
  <p:tag name="NAME" val="Moon"/>
</p:tagLst>
</file>

<file path=ppt/tags/tag3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5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NAME" val="Logo"/>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dYhlT7lGQomWkE8tnMs3lw"/>
</p:tagLst>
</file>

<file path=ppt/tags/tag362.xml><?xml version="1.0" encoding="utf-8"?>
<p:tagLst xmlns:a="http://schemas.openxmlformats.org/drawingml/2006/main" xmlns:r="http://schemas.openxmlformats.org/officeDocument/2006/relationships" xmlns:p="http://schemas.openxmlformats.org/presentationml/2006/main">
  <p:tag name="SHAPENAME" val="Subtitle"/>
</p:tagLst>
</file>

<file path=ppt/tags/tag363.xml><?xml version="1.0" encoding="utf-8"?>
<p:tagLst xmlns:a="http://schemas.openxmlformats.org/drawingml/2006/main" xmlns:r="http://schemas.openxmlformats.org/officeDocument/2006/relationships" xmlns:p="http://schemas.openxmlformats.org/presentationml/2006/main">
  <p:tag name="SHAPENAME" val="Titl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B9jCNvZnEW8d1TYBZ7sck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46UF3j9kODCGucX4Lb0GY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NglUfgKEt2ikPqlPt9_6n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YP.2eTWMgIFEj.wGdn0mO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3cRiNZYMsJx9zyZhB.5Wz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Tckl.pjwOH5YLSrRSLbtg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G4X_1dALPOTLz6R3fvNmmw"/>
</p:tagLst>
</file>

<file path=ppt/tags/tag3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58aEULAlytEmoKDPnzJ1p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3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ECXpper1Es.bFXmZVU0Rc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WHO0CyCvT9Kh8.7VOzXDQ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Fc18cbk15i8p9qJE4uMDg"/>
</p:tagLst>
</file>

<file path=ppt/tags/tag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t2lIGkzaWn2RHmHzSb4Ow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XzWrdKsKd.bq1jWThk7gr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wgvVLvhAQCOImK8kA9jmN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3JnhR9PupIo_lPbw9M1w3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zWhn2LIgRA.yHAmDlfiJf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xS2D5RwSDBRcgZU4GqYKp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RF7tCw2RARnAGyPEKJ0El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XdncPInOJ1AzZM11b1TB4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dhOflwKJtbDBet2Sh1FNuA"/>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zgTw8Clz2vhLVvb4cQxdI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dKJrv1xX0LJjkwSLnoRUY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6iQslUESwmgilQtPNbBao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fzZrUdGtQGvwuWs3kXLci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jtytmwY4Sm8TUE0tDsrVN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SkAt_Tx5nqhV7aa9AmUVh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1PCVR7Y56tVY3FUWVQop9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xV74sBuZIZopZtUsT79tP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9fUhXIrOB4BaxeTAOSlcf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fhTHp6THl6PM2ERPZW8vZA"/>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PyvAlGaC8fEe.JCwuZgz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QBRkE3pBEUHk7sUU9Y2Dq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eV8jz2y8NhB1a1RaRZVQ4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OD8eaABMLcJNqvJi5m.hh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SqgPP_XGZMYERbdkUzs14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g8NVhmse4CtkjteTe01XJQ"/>
</p:tagLst>
</file>

<file path=ppt/tags/tag416.xml><?xml version="1.0" encoding="utf-8"?>
<p:tagLst xmlns:a="http://schemas.openxmlformats.org/drawingml/2006/main" xmlns:r="http://schemas.openxmlformats.org/officeDocument/2006/relationships" xmlns:p="http://schemas.openxmlformats.org/presentationml/2006/main">
  <p:tag name="SHAPENAME" val="5. Sourc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KHHccz.b7WUf1tpQMR2FZ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uhWm7ZKz9ujTDBKHLTJeo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gMKeAkF0qc0X4I3S2nh05Q"/>
</p:tagLst>
</file>

<file path=ppt/tags/tag4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7.xml><?xml version="1.0" encoding="utf-8"?>
<p:tagLst xmlns:a="http://schemas.openxmlformats.org/drawingml/2006/main" xmlns:r="http://schemas.openxmlformats.org/officeDocument/2006/relationships" xmlns:p="http://schemas.openxmlformats.org/presentationml/2006/main">
  <p:tag name="SHAPENAME" val="5. Sourc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t2lIGkzaWn2RHmHzSb4Oww"/>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1.xml><?xml version="1.0" encoding="utf-8"?>
<p:tagLst xmlns:a="http://schemas.openxmlformats.org/drawingml/2006/main" xmlns:r="http://schemas.openxmlformats.org/officeDocument/2006/relationships" xmlns:p="http://schemas.openxmlformats.org/presentationml/2006/main">
  <p:tag name="SHAPENAME" val="5. Sourc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MO1J.wQa_w33st.6b53r9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Ffrl6yW5geXrjDTgqjHup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ujcwK_vJjwPJOo2fuSMJ8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poo007VnIJDOzYd6C5XpW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pY4Flix3Vj7pXfJQYTMGE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qT72JrvximUbSd57gaigB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kAq3XRwS1AlejKbPPyOKA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AKPwJ_UeTRNORdrt3BzhAA"/>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txj_r89dOLge2tB9IHTXd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wjs7v1up8P4_axOaNfUMs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q8E34bew2w7b5n9Ahi0jSA"/>
</p:tagLst>
</file>

<file path=ppt/tags/tag47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Fm2xjCZmCJi5Po6uDE19U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4Ru7OjihzJQ6uXBJMia_R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t2lIGkzaWn2RHmHzSb4Oww"/>
</p:tagLst>
</file>

<file path=ppt/tags/tag4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7.xml><?xml version="1.0" encoding="utf-8"?>
<p:tagLst xmlns:a="http://schemas.openxmlformats.org/drawingml/2006/main" xmlns:r="http://schemas.openxmlformats.org/officeDocument/2006/relationships" xmlns:p="http://schemas.openxmlformats.org/presentationml/2006/main">
  <p:tag name="SHAPENAME" val="5. Sourc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PBAMiNvdPCc8geOk.1eIe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wjs7v1up8P4_axOaNfUMs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txj_r89dOLge2tB9IHTXd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kAq3XRwS1AlejKbPPyOKA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AKPwJ_UeTRNORdrt3BzhA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pY4Flix3Vj7pXfJQYTMGE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Ffrl6yW5geXrjDTgqjHup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qT72JrvximUbSd57gaigB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ujcwK_vJjwPJOo2fuSMJ8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poo007VnIJDOzYd6C5XpW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q8E34bew2w7b5n9Ahi0jSA"/>
</p:tagLst>
</file>

<file path=ppt/tags/tag49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xml><?xml version="1.0" encoding="utf-8"?>
<p:tagLst xmlns:a="http://schemas.openxmlformats.org/drawingml/2006/main" xmlns:r="http://schemas.openxmlformats.org/officeDocument/2006/relationships" xmlns:p="http://schemas.openxmlformats.org/presentationml/2006/main">
  <p:tag name="SHAPENAME" val="BottomLin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08.xml><?xml version="1.0" encoding="utf-8"?>
<p:tagLst xmlns:a="http://schemas.openxmlformats.org/drawingml/2006/main" xmlns:r="http://schemas.openxmlformats.org/officeDocument/2006/relationships" xmlns:p="http://schemas.openxmlformats.org/presentationml/2006/main">
  <p:tag name="NAME" val="CustomIcon"/>
</p:tagLst>
</file>

<file path=ppt/tags/tag509.xml><?xml version="1.0" encoding="utf-8"?>
<p:tagLst xmlns:a="http://schemas.openxmlformats.org/drawingml/2006/main" xmlns:r="http://schemas.openxmlformats.org/officeDocument/2006/relationships" xmlns:p="http://schemas.openxmlformats.org/presentationml/2006/main">
  <p:tag name="NAME" val="CustomIcon"/>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0.xml><?xml version="1.0" encoding="utf-8"?>
<p:tagLst xmlns:a="http://schemas.openxmlformats.org/drawingml/2006/main" xmlns:r="http://schemas.openxmlformats.org/officeDocument/2006/relationships" xmlns:p="http://schemas.openxmlformats.org/presentationml/2006/main">
  <p:tag name="NAME" val="CustomIcon"/>
</p:tagLst>
</file>

<file path=ppt/tags/tag511.xml><?xml version="1.0" encoding="utf-8"?>
<p:tagLst xmlns:a="http://schemas.openxmlformats.org/drawingml/2006/main" xmlns:r="http://schemas.openxmlformats.org/officeDocument/2006/relationships" xmlns:p="http://schemas.openxmlformats.org/presentationml/2006/main">
  <p:tag name="NAME" val="CustomIcon"/>
</p:tagLst>
</file>

<file path=ppt/tags/tag512.xml><?xml version="1.0" encoding="utf-8"?>
<p:tagLst xmlns:a="http://schemas.openxmlformats.org/drawingml/2006/main" xmlns:r="http://schemas.openxmlformats.org/officeDocument/2006/relationships" xmlns:p="http://schemas.openxmlformats.org/presentationml/2006/main">
  <p:tag name="NAME" val="CustomIcon"/>
</p:tagLst>
</file>

<file path=ppt/tags/tag513.xml><?xml version="1.0" encoding="utf-8"?>
<p:tagLst xmlns:a="http://schemas.openxmlformats.org/drawingml/2006/main" xmlns:r="http://schemas.openxmlformats.org/officeDocument/2006/relationships" xmlns:p="http://schemas.openxmlformats.org/presentationml/2006/main">
  <p:tag name="NAME" val="CustomIcon"/>
</p:tagLst>
</file>

<file path=ppt/tags/tag514.xml><?xml version="1.0" encoding="utf-8"?>
<p:tagLst xmlns:a="http://schemas.openxmlformats.org/drawingml/2006/main" xmlns:r="http://schemas.openxmlformats.org/officeDocument/2006/relationships" xmlns:p="http://schemas.openxmlformats.org/presentationml/2006/main">
  <p:tag name="NAME" val="CustomIcon"/>
</p:tagLst>
</file>

<file path=ppt/tags/tag515.xml><?xml version="1.0" encoding="utf-8"?>
<p:tagLst xmlns:a="http://schemas.openxmlformats.org/drawingml/2006/main" xmlns:r="http://schemas.openxmlformats.org/officeDocument/2006/relationships" xmlns:p="http://schemas.openxmlformats.org/presentationml/2006/main">
  <p:tag name="NAME" val="CustomIcon"/>
</p:tagLst>
</file>

<file path=ppt/tags/tag516.xml><?xml version="1.0" encoding="utf-8"?>
<p:tagLst xmlns:a="http://schemas.openxmlformats.org/drawingml/2006/main" xmlns:r="http://schemas.openxmlformats.org/officeDocument/2006/relationships" xmlns:p="http://schemas.openxmlformats.org/presentationml/2006/main">
  <p:tag name="NAME" val="CustomIcon"/>
</p:tagLst>
</file>

<file path=ppt/tags/tag517.xml><?xml version="1.0" encoding="utf-8"?>
<p:tagLst xmlns:a="http://schemas.openxmlformats.org/drawingml/2006/main" xmlns:r="http://schemas.openxmlformats.org/officeDocument/2006/relationships" xmlns:p="http://schemas.openxmlformats.org/presentationml/2006/main">
  <p:tag name="NAME" val="CustomIcon"/>
</p:tagLst>
</file>

<file path=ppt/tags/tag518.xml><?xml version="1.0" encoding="utf-8"?>
<p:tagLst xmlns:a="http://schemas.openxmlformats.org/drawingml/2006/main" xmlns:r="http://schemas.openxmlformats.org/officeDocument/2006/relationships" xmlns:p="http://schemas.openxmlformats.org/presentationml/2006/main">
  <p:tag name="NAME" val="CustomIcon"/>
</p:tagLst>
</file>

<file path=ppt/tags/tag519.xml><?xml version="1.0" encoding="utf-8"?>
<p:tagLst xmlns:a="http://schemas.openxmlformats.org/drawingml/2006/main" xmlns:r="http://schemas.openxmlformats.org/officeDocument/2006/relationships" xmlns:p="http://schemas.openxmlformats.org/presentationml/2006/main">
  <p:tag name="NAME" val="CustomIcon"/>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NAME" val="CustomIcon"/>
</p:tagLst>
</file>

<file path=ppt/tags/tag521.xml><?xml version="1.0" encoding="utf-8"?>
<p:tagLst xmlns:a="http://schemas.openxmlformats.org/drawingml/2006/main" xmlns:r="http://schemas.openxmlformats.org/officeDocument/2006/relationships" xmlns:p="http://schemas.openxmlformats.org/presentationml/2006/main">
  <p:tag name="NAME" val="CustomIcon"/>
</p:tagLst>
</file>

<file path=ppt/tags/tag522.xml><?xml version="1.0" encoding="utf-8"?>
<p:tagLst xmlns:a="http://schemas.openxmlformats.org/drawingml/2006/main" xmlns:r="http://schemas.openxmlformats.org/officeDocument/2006/relationships" xmlns:p="http://schemas.openxmlformats.org/presentationml/2006/main">
  <p:tag name="NAME" val="CustomIcon"/>
</p:tagLst>
</file>

<file path=ppt/tags/tag523.xml><?xml version="1.0" encoding="utf-8"?>
<p:tagLst xmlns:a="http://schemas.openxmlformats.org/drawingml/2006/main" xmlns:r="http://schemas.openxmlformats.org/officeDocument/2006/relationships" xmlns:p="http://schemas.openxmlformats.org/presentationml/2006/main">
  <p:tag name="NAME" val="CustomIcon"/>
</p:tagLst>
</file>

<file path=ppt/tags/tag524.xml><?xml version="1.0" encoding="utf-8"?>
<p:tagLst xmlns:a="http://schemas.openxmlformats.org/drawingml/2006/main" xmlns:r="http://schemas.openxmlformats.org/officeDocument/2006/relationships" xmlns:p="http://schemas.openxmlformats.org/presentationml/2006/main">
  <p:tag name="NAME" val="CustomIcon"/>
</p:tagLst>
</file>

<file path=ppt/tags/tag525.xml><?xml version="1.0" encoding="utf-8"?>
<p:tagLst xmlns:a="http://schemas.openxmlformats.org/drawingml/2006/main" xmlns:r="http://schemas.openxmlformats.org/officeDocument/2006/relationships" xmlns:p="http://schemas.openxmlformats.org/presentationml/2006/main">
  <p:tag name="NAME" val="CustomIcon"/>
</p:tagLst>
</file>

<file path=ppt/tags/tag526.xml><?xml version="1.0" encoding="utf-8"?>
<p:tagLst xmlns:a="http://schemas.openxmlformats.org/drawingml/2006/main" xmlns:r="http://schemas.openxmlformats.org/officeDocument/2006/relationships" xmlns:p="http://schemas.openxmlformats.org/presentationml/2006/main">
  <p:tag name="NAME" val="CustomIcon"/>
</p:tagLst>
</file>

<file path=ppt/tags/tag527.xml><?xml version="1.0" encoding="utf-8"?>
<p:tagLst xmlns:a="http://schemas.openxmlformats.org/drawingml/2006/main" xmlns:r="http://schemas.openxmlformats.org/officeDocument/2006/relationships" xmlns:p="http://schemas.openxmlformats.org/presentationml/2006/main">
  <p:tag name="NAME" val="CustomIcon"/>
</p:tagLst>
</file>

<file path=ppt/tags/tag528.xml><?xml version="1.0" encoding="utf-8"?>
<p:tagLst xmlns:a="http://schemas.openxmlformats.org/drawingml/2006/main" xmlns:r="http://schemas.openxmlformats.org/officeDocument/2006/relationships" xmlns:p="http://schemas.openxmlformats.org/presentationml/2006/main">
  <p:tag name="NAME" val="CustomIcon"/>
</p:tagLst>
</file>

<file path=ppt/tags/tag529.xml><?xml version="1.0" encoding="utf-8"?>
<p:tagLst xmlns:a="http://schemas.openxmlformats.org/drawingml/2006/main" xmlns:r="http://schemas.openxmlformats.org/officeDocument/2006/relationships" xmlns:p="http://schemas.openxmlformats.org/presentationml/2006/main">
  <p:tag name="NAME" val="CustomIcon"/>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0.xml><?xml version="1.0" encoding="utf-8"?>
<p:tagLst xmlns:a="http://schemas.openxmlformats.org/drawingml/2006/main" xmlns:r="http://schemas.openxmlformats.org/officeDocument/2006/relationships" xmlns:p="http://schemas.openxmlformats.org/presentationml/2006/main">
  <p:tag name="NAME" val="CustomIcon"/>
</p:tagLst>
</file>

<file path=ppt/tags/tag531.xml><?xml version="1.0" encoding="utf-8"?>
<p:tagLst xmlns:a="http://schemas.openxmlformats.org/drawingml/2006/main" xmlns:r="http://schemas.openxmlformats.org/officeDocument/2006/relationships" xmlns:p="http://schemas.openxmlformats.org/presentationml/2006/main">
  <p:tag name="NAME" val="CustomIcon"/>
</p:tagLst>
</file>

<file path=ppt/tags/tag532.xml><?xml version="1.0" encoding="utf-8"?>
<p:tagLst xmlns:a="http://schemas.openxmlformats.org/drawingml/2006/main" xmlns:r="http://schemas.openxmlformats.org/officeDocument/2006/relationships" xmlns:p="http://schemas.openxmlformats.org/presentationml/2006/main">
  <p:tag name="NAME" val="CustomIcon"/>
</p:tagLst>
</file>

<file path=ppt/tags/tag533.xml><?xml version="1.0" encoding="utf-8"?>
<p:tagLst xmlns:a="http://schemas.openxmlformats.org/drawingml/2006/main" xmlns:r="http://schemas.openxmlformats.org/officeDocument/2006/relationships" xmlns:p="http://schemas.openxmlformats.org/presentationml/2006/main">
  <p:tag name="NAME" val="CustomIcon"/>
</p:tagLst>
</file>

<file path=ppt/tags/tag534.xml><?xml version="1.0" encoding="utf-8"?>
<p:tagLst xmlns:a="http://schemas.openxmlformats.org/drawingml/2006/main" xmlns:r="http://schemas.openxmlformats.org/officeDocument/2006/relationships" xmlns:p="http://schemas.openxmlformats.org/presentationml/2006/main">
  <p:tag name="NAME" val="CustomIcon"/>
</p:tagLst>
</file>

<file path=ppt/tags/tag535.xml><?xml version="1.0" encoding="utf-8"?>
<p:tagLst xmlns:a="http://schemas.openxmlformats.org/drawingml/2006/main" xmlns:r="http://schemas.openxmlformats.org/officeDocument/2006/relationships" xmlns:p="http://schemas.openxmlformats.org/presentationml/2006/main">
  <p:tag name="NAME" val="CustomIcon"/>
</p:tagLst>
</file>

<file path=ppt/tags/tag536.xml><?xml version="1.0" encoding="utf-8"?>
<p:tagLst xmlns:a="http://schemas.openxmlformats.org/drawingml/2006/main" xmlns:r="http://schemas.openxmlformats.org/officeDocument/2006/relationships" xmlns:p="http://schemas.openxmlformats.org/presentationml/2006/main">
  <p:tag name="NAME" val="CustomIcon"/>
</p:tagLst>
</file>

<file path=ppt/tags/tag537.xml><?xml version="1.0" encoding="utf-8"?>
<p:tagLst xmlns:a="http://schemas.openxmlformats.org/drawingml/2006/main" xmlns:r="http://schemas.openxmlformats.org/officeDocument/2006/relationships" xmlns:p="http://schemas.openxmlformats.org/presentationml/2006/main">
  <p:tag name="NAME" val="CustomIcon"/>
</p:tagLst>
</file>

<file path=ppt/tags/tag538.xml><?xml version="1.0" encoding="utf-8"?>
<p:tagLst xmlns:a="http://schemas.openxmlformats.org/drawingml/2006/main" xmlns:r="http://schemas.openxmlformats.org/officeDocument/2006/relationships" xmlns:p="http://schemas.openxmlformats.org/presentationml/2006/main">
  <p:tag name="NAME" val="CustomIcon"/>
</p:tagLst>
</file>

<file path=ppt/tags/tag539.xml><?xml version="1.0" encoding="utf-8"?>
<p:tagLst xmlns:a="http://schemas.openxmlformats.org/drawingml/2006/main" xmlns:r="http://schemas.openxmlformats.org/officeDocument/2006/relationships" xmlns:p="http://schemas.openxmlformats.org/presentationml/2006/main">
  <p:tag name="NAME" val="CustomIcon"/>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NAME" val="CustomIcon"/>
</p:tagLst>
</file>

<file path=ppt/tags/tag541.xml><?xml version="1.0" encoding="utf-8"?>
<p:tagLst xmlns:a="http://schemas.openxmlformats.org/drawingml/2006/main" xmlns:r="http://schemas.openxmlformats.org/officeDocument/2006/relationships" xmlns:p="http://schemas.openxmlformats.org/presentationml/2006/main">
  <p:tag name="NAME" val="CustomIcon"/>
</p:tagLst>
</file>

<file path=ppt/tags/tag542.xml><?xml version="1.0" encoding="utf-8"?>
<p:tagLst xmlns:a="http://schemas.openxmlformats.org/drawingml/2006/main" xmlns:r="http://schemas.openxmlformats.org/officeDocument/2006/relationships" xmlns:p="http://schemas.openxmlformats.org/presentationml/2006/main">
  <p:tag name="NAME" val="CustomIcon"/>
</p:tagLst>
</file>

<file path=ppt/tags/tag543.xml><?xml version="1.0" encoding="utf-8"?>
<p:tagLst xmlns:a="http://schemas.openxmlformats.org/drawingml/2006/main" xmlns:r="http://schemas.openxmlformats.org/officeDocument/2006/relationships" xmlns:p="http://schemas.openxmlformats.org/presentationml/2006/main">
  <p:tag name="NAME" val="CustomIcon"/>
</p:tagLst>
</file>

<file path=ppt/tags/tag544.xml><?xml version="1.0" encoding="utf-8"?>
<p:tagLst xmlns:a="http://schemas.openxmlformats.org/drawingml/2006/main" xmlns:r="http://schemas.openxmlformats.org/officeDocument/2006/relationships" xmlns:p="http://schemas.openxmlformats.org/presentationml/2006/main">
  <p:tag name="NAME" val="CustomIcon"/>
</p:tagLst>
</file>

<file path=ppt/tags/tag545.xml><?xml version="1.0" encoding="utf-8"?>
<p:tagLst xmlns:a="http://schemas.openxmlformats.org/drawingml/2006/main" xmlns:r="http://schemas.openxmlformats.org/officeDocument/2006/relationships" xmlns:p="http://schemas.openxmlformats.org/presentationml/2006/main">
  <p:tag name="NAME" val="CustomIcon"/>
</p:tagLst>
</file>

<file path=ppt/tags/tag546.xml><?xml version="1.0" encoding="utf-8"?>
<p:tagLst xmlns:a="http://schemas.openxmlformats.org/drawingml/2006/main" xmlns:r="http://schemas.openxmlformats.org/officeDocument/2006/relationships" xmlns:p="http://schemas.openxmlformats.org/presentationml/2006/main">
  <p:tag name="NAME" val="CustomIcon"/>
</p:tagLst>
</file>

<file path=ppt/tags/tag547.xml><?xml version="1.0" encoding="utf-8"?>
<p:tagLst xmlns:a="http://schemas.openxmlformats.org/drawingml/2006/main" xmlns:r="http://schemas.openxmlformats.org/officeDocument/2006/relationships" xmlns:p="http://schemas.openxmlformats.org/presentationml/2006/main">
  <p:tag name="NAME" val="CustomIcon"/>
</p:tagLst>
</file>

<file path=ppt/tags/tag548.xml><?xml version="1.0" encoding="utf-8"?>
<p:tagLst xmlns:a="http://schemas.openxmlformats.org/drawingml/2006/main" xmlns:r="http://schemas.openxmlformats.org/officeDocument/2006/relationships" xmlns:p="http://schemas.openxmlformats.org/presentationml/2006/main">
  <p:tag name="NAME" val="CustomIcon"/>
</p:tagLst>
</file>

<file path=ppt/tags/tag549.xml><?xml version="1.0" encoding="utf-8"?>
<p:tagLst xmlns:a="http://schemas.openxmlformats.org/drawingml/2006/main" xmlns:r="http://schemas.openxmlformats.org/officeDocument/2006/relationships" xmlns:p="http://schemas.openxmlformats.org/presentationml/2006/main">
  <p:tag name="NAME" val="CustomIcon"/>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50.xml><?xml version="1.0" encoding="utf-8"?>
<p:tagLst xmlns:a="http://schemas.openxmlformats.org/drawingml/2006/main" xmlns:r="http://schemas.openxmlformats.org/officeDocument/2006/relationships" xmlns:p="http://schemas.openxmlformats.org/presentationml/2006/main">
  <p:tag name="NAME" val="CustomIcon"/>
</p:tagLst>
</file>

<file path=ppt/tags/tag551.xml><?xml version="1.0" encoding="utf-8"?>
<p:tagLst xmlns:a="http://schemas.openxmlformats.org/drawingml/2006/main" xmlns:r="http://schemas.openxmlformats.org/officeDocument/2006/relationships" xmlns:p="http://schemas.openxmlformats.org/presentationml/2006/main">
  <p:tag name="NAME" val="CustomIcon"/>
</p:tagLst>
</file>

<file path=ppt/tags/tag552.xml><?xml version="1.0" encoding="utf-8"?>
<p:tagLst xmlns:a="http://schemas.openxmlformats.org/drawingml/2006/main" xmlns:r="http://schemas.openxmlformats.org/officeDocument/2006/relationships" xmlns:p="http://schemas.openxmlformats.org/presentationml/2006/main">
  <p:tag name="NAME" val="CustomIcon"/>
</p:tagLst>
</file>

<file path=ppt/tags/tag553.xml><?xml version="1.0" encoding="utf-8"?>
<p:tagLst xmlns:a="http://schemas.openxmlformats.org/drawingml/2006/main" xmlns:r="http://schemas.openxmlformats.org/officeDocument/2006/relationships" xmlns:p="http://schemas.openxmlformats.org/presentationml/2006/main">
  <p:tag name="NAME" val="CustomIcon"/>
</p:tagLst>
</file>

<file path=ppt/tags/tag554.xml><?xml version="1.0" encoding="utf-8"?>
<p:tagLst xmlns:a="http://schemas.openxmlformats.org/drawingml/2006/main" xmlns:r="http://schemas.openxmlformats.org/officeDocument/2006/relationships" xmlns:p="http://schemas.openxmlformats.org/presentationml/2006/main">
  <p:tag name="NAME" val="CustomIcon"/>
</p:tagLst>
</file>

<file path=ppt/tags/tag555.xml><?xml version="1.0" encoding="utf-8"?>
<p:tagLst xmlns:a="http://schemas.openxmlformats.org/drawingml/2006/main" xmlns:r="http://schemas.openxmlformats.org/officeDocument/2006/relationships" xmlns:p="http://schemas.openxmlformats.org/presentationml/2006/main">
  <p:tag name="NAME" val="CustomIcon"/>
</p:tagLst>
</file>

<file path=ppt/tags/tag556.xml><?xml version="1.0" encoding="utf-8"?>
<p:tagLst xmlns:a="http://schemas.openxmlformats.org/drawingml/2006/main" xmlns:r="http://schemas.openxmlformats.org/officeDocument/2006/relationships" xmlns:p="http://schemas.openxmlformats.org/presentationml/2006/main">
  <p:tag name="NAME" val="CustomIcon"/>
</p:tagLst>
</file>

<file path=ppt/tags/tag557.xml><?xml version="1.0" encoding="utf-8"?>
<p:tagLst xmlns:a="http://schemas.openxmlformats.org/drawingml/2006/main" xmlns:r="http://schemas.openxmlformats.org/officeDocument/2006/relationships" xmlns:p="http://schemas.openxmlformats.org/presentationml/2006/main">
  <p:tag name="NAME" val="CustomIcon"/>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Gu.oocmcJSlwHWBBYdvMI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VnVU.AC7GhUTXSKmxWaEjw"/>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t2lIGkzaWn2RHmHzSb4Oww"/>
</p:tagLst>
</file>

<file path=ppt/tags/tag5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65.xml><?xml version="1.0" encoding="utf-8"?>
<p:tagLst xmlns:a="http://schemas.openxmlformats.org/drawingml/2006/main" xmlns:r="http://schemas.openxmlformats.org/officeDocument/2006/relationships" xmlns:p="http://schemas.openxmlformats.org/presentationml/2006/main">
  <p:tag name="NAME" val="CustomIcon"/>
</p:tagLst>
</file>

<file path=ppt/tags/tag566.xml><?xml version="1.0" encoding="utf-8"?>
<p:tagLst xmlns:a="http://schemas.openxmlformats.org/drawingml/2006/main" xmlns:r="http://schemas.openxmlformats.org/officeDocument/2006/relationships" xmlns:p="http://schemas.openxmlformats.org/presentationml/2006/main">
  <p:tag name="NAME" val="CustomIcon"/>
</p:tagLst>
</file>

<file path=ppt/tags/tag567.xml><?xml version="1.0" encoding="utf-8"?>
<p:tagLst xmlns:a="http://schemas.openxmlformats.org/drawingml/2006/main" xmlns:r="http://schemas.openxmlformats.org/officeDocument/2006/relationships" xmlns:p="http://schemas.openxmlformats.org/presentationml/2006/main">
  <p:tag name="NAME" val="CustomIcon"/>
</p:tagLst>
</file>

<file path=ppt/tags/tag568.xml><?xml version="1.0" encoding="utf-8"?>
<p:tagLst xmlns:a="http://schemas.openxmlformats.org/drawingml/2006/main" xmlns:r="http://schemas.openxmlformats.org/officeDocument/2006/relationships" xmlns:p="http://schemas.openxmlformats.org/presentationml/2006/main">
  <p:tag name="NAME" val="CustomIcon"/>
</p:tagLst>
</file>

<file path=ppt/tags/tag569.xml><?xml version="1.0" encoding="utf-8"?>
<p:tagLst xmlns:a="http://schemas.openxmlformats.org/drawingml/2006/main" xmlns:r="http://schemas.openxmlformats.org/officeDocument/2006/relationships" xmlns:p="http://schemas.openxmlformats.org/presentationml/2006/main">
  <p:tag name="NAME" val="CustomIcon"/>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0.xml><?xml version="1.0" encoding="utf-8"?>
<p:tagLst xmlns:a="http://schemas.openxmlformats.org/drawingml/2006/main" xmlns:r="http://schemas.openxmlformats.org/officeDocument/2006/relationships" xmlns:p="http://schemas.openxmlformats.org/presentationml/2006/main">
  <p:tag name="NAME" val="CustomIcon"/>
</p:tagLst>
</file>

<file path=ppt/tags/tag571.xml><?xml version="1.0" encoding="utf-8"?>
<p:tagLst xmlns:a="http://schemas.openxmlformats.org/drawingml/2006/main" xmlns:r="http://schemas.openxmlformats.org/officeDocument/2006/relationships" xmlns:p="http://schemas.openxmlformats.org/presentationml/2006/main">
  <p:tag name="SHAPENAME" val="5. Source"/>
</p:tagLst>
</file>

<file path=ppt/tags/tag5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t2lIGkzaWn2RHmHzSb4Oww"/>
</p:tagLst>
</file>

<file path=ppt/tags/tag5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_4ZItHlNeA.rxOe.2Hkwq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1L5F1apcylkseFDPLFpJZ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6B61nRyEs8P7vrNHDYJCE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GdcZtKbS.ASU_6hZE7gnTA"/>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j1RIwShIKjCAGajiRSP5qA"/>
</p:tagLst>
</file>

<file path=ppt/tags/tag581.xml><?xml version="1.0" encoding="utf-8"?>
<p:tagLst xmlns:a="http://schemas.openxmlformats.org/drawingml/2006/main" xmlns:r="http://schemas.openxmlformats.org/officeDocument/2006/relationships" xmlns:p="http://schemas.openxmlformats.org/presentationml/2006/main">
  <p:tag name="SHAPENAME" val="5. Sourc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5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0SsCJPJTwUI5XFqJjlXI9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KEmoZ_6ukaUcH9GxbQPvzw"/>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NAME" val="OvalShape"/>
</p:tagLst>
</file>

<file path=ppt/tags/tag592.xml><?xml version="1.0" encoding="utf-8"?>
<p:tagLst xmlns:a="http://schemas.openxmlformats.org/drawingml/2006/main" xmlns:r="http://schemas.openxmlformats.org/officeDocument/2006/relationships" xmlns:p="http://schemas.openxmlformats.org/presentationml/2006/main">
  <p:tag name="NAME" val="OvalShape"/>
</p:tagLst>
</file>

<file path=ppt/tags/tag593.xml><?xml version="1.0" encoding="utf-8"?>
<p:tagLst xmlns:a="http://schemas.openxmlformats.org/drawingml/2006/main" xmlns:r="http://schemas.openxmlformats.org/officeDocument/2006/relationships" xmlns:p="http://schemas.openxmlformats.org/presentationml/2006/main">
  <p:tag name="NAME" val="OvalShap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mQQxjq77gkiKLIz5p_2_H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NAME" val="TopLin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j_EUAPi7_8bdDO2CTelfE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tTjYkrerKR9GGOfNPB4udA"/>
</p:tagLst>
</file>

<file path=ppt/tags/tag6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SPoVVqVptM9SAOoK5pQau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eUukSyctbPXYvAJzRfCP8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FgMKLZMkNCkeB5EagGWbx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SHAPENAME" val="5. Sourc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T52AC_4xfz4XujD9TMlt1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ZtP7WQ1OiPJh9Z0RJuQ6I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5xNz23XSS25fG9lb1aanF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f3D4mo9Z_l364IgyYyq4i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dvcFrQd35BopkwxjEO0GK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K8UPXNsqMAhc6KWnalV1f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2S2SJgyH1wf5iSr72UEsY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DL6W0TxGRRdZEudVP4qzk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8wD1vvgSmzx3hmlU5Ivnm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CvNBsAMylofHUcsmDjHdt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FSfFtYQyHg0tpzWmHam9F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v9lrJwwVsSN2QkjSFDtPM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XWn4dQ9uQN8100ZHPpVFD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qucJO3etI4Fpprxmar0qf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Q39c773rPqlerpHvKV4T1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OCc7ms2XcPeoMHw7e5Z58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rnPEGmJzPiTZd2bIiBA_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pPbhyC3yb3hO0HkUXN1v7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68sVDWAzDRLlUMdSAeQxYA"/>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2.xml><?xml version="1.0" encoding="utf-8"?>
<p:tagLst xmlns:a="http://schemas.openxmlformats.org/drawingml/2006/main" xmlns:r="http://schemas.openxmlformats.org/officeDocument/2006/relationships" xmlns:p="http://schemas.openxmlformats.org/presentationml/2006/main">
  <p:tag name="SHAPENAME" val="4. Footno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6.xml><?xml version="1.0" encoding="utf-8"?>
<p:tagLst xmlns:a="http://schemas.openxmlformats.org/drawingml/2006/main" xmlns:r="http://schemas.openxmlformats.org/officeDocument/2006/relationships" xmlns:p="http://schemas.openxmlformats.org/presentationml/2006/main">
  <p:tag name="SHAPENAME" val="5. Sourc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ykv1zorh8Upf.5wzWBoqF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iBbTMa2PZsDd.No95xs8g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o.rDafYFpZgzcOQAVCBhyg"/>
</p:tagLst>
</file>

<file path=ppt/tags/tag6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Rk80.kGrxyJAsfzEbKeG.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sMfrgo35xOEA5zbeZU2Mw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UCu.4ll15RCXHd801dewg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b2Ll4SALkV781u3xcvgcm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XCEocIq3QkObnQ1M3NSP3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mmm1a5kVGXSswxXTTZ3Se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jqcg391fTSkJBXz2cja8s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x_rs3gqxkoWbvakc51ElZ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bl6T39D47MT0.i2DGqYrH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L9ep5llles1TbZE0qfezzQ"/>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b7M.6QDsLwoXoJ547JN1F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TWoTWZZ4a530wFXg9qhEo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vJGSGm0Sn5ZdHRZqGpGpH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G0vCltwAE_DiAJ9XDPJQY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oHBlLsH3Azt1pVTohVI7r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W_YT0ESpv2GPZTogIGI.N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adc6VVpA3Kc41GqQqPtpl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8Zi1zZHf6i4sJfs.3..ty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Ac.9.S6zLul8TdUUMOgt_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k_HOZrlKcX0F6ULPZqucng"/>
</p:tagLst>
</file>

<file path=ppt/tags/tag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aNQX3ioOu6X54xfqHo6P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4rU15rwlPBhHp_4KcszFW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XUqqmL4Pq7R9mC3Zs6pBF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WI0GFPM4yDvN1ai2s0UZA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65icFcVKs.AnKrjn7lZ9H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VPweEHsWmCseN2hoCEj9x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zH_nPOeKLr03VOZnaXiP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ww65hyx3J0DsT8E2mXV_5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uECNoc45TYVj2MhBJc.y7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vsbQ..iwPHCZZ0PUNObLqw"/>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ufRyLD0V8PxQk2G3HEHjr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zwUM9CJOUqTJTOCLDo5Ih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rEOeSZqo9St9I5vjWIptk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nq1ijyUAFnQ8bfjU3aYdVA"/>
</p:tagLst>
</file>

<file path=ppt/tags/tag6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Iz_KwPK9PBy39N9oAzeoF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vR8xisfuWz0Po9VCV_eblQ"/>
</p:tagLst>
</file>

<file path=ppt/tags/tag6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lbudMpCkSMOf6Ych2cifW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d1RzE2uXgnCc2N10I5qfR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7dA4TgHs80cl.FQlPdblR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67h5S_n.Okv0V1uf.1Tqe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m4MCefwQMCylrYCnJupL9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DffGEFZpcxtM_DI5GzvlJ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q6dUNwiBUx3FD56byiehc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Z51Yy9LU8PRtu5fM9lrSz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yfPyytXPx7yPAwHEbNwE5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6lRDCuhTVcJue.CTZ6myqA"/>
</p:tagLst>
</file>

<file path=ppt/tags/tag6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vtsFuqrSWMMZPem6y2zHt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DCXregBmmQVHrJFtdTj3Z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0Bfh5NhEiSkof2DbB9Yt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l6nGjQ_DmbUq1zeaRIWnC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SgvpwP2u_cjQcsuXFTLqK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Aued2x6y7Qb0b7z8MaEV1g"/>
</p:tagLst>
</file>

<file path=ppt/tags/tag696.xml><?xml version="1.0" encoding="utf-8"?>
<p:tagLst xmlns:a="http://schemas.openxmlformats.org/drawingml/2006/main" xmlns:r="http://schemas.openxmlformats.org/officeDocument/2006/relationships" xmlns:p="http://schemas.openxmlformats.org/presentationml/2006/main">
  <p:tag name="SHAPENAME" val="5. Sourc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XIcR1JIV_3YIawixmVQkH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WR2jI9fZ_UYeVu5HIjLvl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1rjC28Z6q8CYqlfExf8Atg"/>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qDojdvX2OWuQFJrndx1ng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81EkT1nancbTKCZN702KG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WeIZFK8Euihe2zDAQo6rw"/>
</p:tagLst>
</file>

<file path=ppt/tags/tag703.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dY7_z.auRX6xDSxp688Nhg"/>
</p:tagLst>
</file>

<file path=ppt/tags/tag706.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7.xml><?xml version="1.0" encoding="utf-8"?>
<p:tagLst xmlns:a="http://schemas.openxmlformats.org/drawingml/2006/main" xmlns:r="http://schemas.openxmlformats.org/officeDocument/2006/relationships" xmlns:p="http://schemas.openxmlformats.org/presentationml/2006/main">
  <p:tag name="SHAPENAME" val="5. Source"/>
</p:tagLst>
</file>

<file path=ppt/tags/tag7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1ybYVBDu7q47eP3TqN0DXQ"/>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Qbdp7.VjaL0iTUGmFgo2J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DByDZc3y6KgYfNeR6dh3Z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1NHhUxrCRylpWOklg5Lzx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_cyNVxMchveHXt04BOX4d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Od6S6VZ_SqSNLklbKEGtR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arMqwWyVt6NfK7CUgULQG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sxF30nXI7mSonqHRPg.X5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nQWDP3hAJCy7MEh11u5s5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wLeGUscrZmxRmzizoDR3R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yc66RlTF7KrN7PDVqSyxow"/>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jBkOCM4ap4ckN1_dx72nf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8Rue64OL5U2Av8O_IokrI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zuenwAOGNLaEJq8wvxDee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Kz07IrLJnL0Lt7.cerghz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sVXqZageoPRzB8hGgoxSB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6Vp_gCSkG5StsCpcnDmc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mCbivwX9DuuwMh0hd2f44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ixWUbaH.jcmKLG2TsVkri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0.xml><?xml version="1.0" encoding="utf-8"?>
<p:tagLst xmlns:a="http://schemas.openxmlformats.org/drawingml/2006/main" xmlns:r="http://schemas.openxmlformats.org/officeDocument/2006/relationships" xmlns:p="http://schemas.openxmlformats.org/presentationml/2006/main">
  <p:tag name="NAME" val="CustomIcon"/>
</p:tagLst>
</file>

<file path=ppt/tags/tag731.xml><?xml version="1.0" encoding="utf-8"?>
<p:tagLst xmlns:a="http://schemas.openxmlformats.org/drawingml/2006/main" xmlns:r="http://schemas.openxmlformats.org/officeDocument/2006/relationships" xmlns:p="http://schemas.openxmlformats.org/presentationml/2006/main">
  <p:tag name="NAME" val="CustomIcon"/>
</p:tagLst>
</file>

<file path=ppt/tags/tag732.xml><?xml version="1.0" encoding="utf-8"?>
<p:tagLst xmlns:a="http://schemas.openxmlformats.org/drawingml/2006/main" xmlns:r="http://schemas.openxmlformats.org/officeDocument/2006/relationships" xmlns:p="http://schemas.openxmlformats.org/presentationml/2006/main">
  <p:tag name="NAME" val="CustomIcon"/>
</p:tagLst>
</file>

<file path=ppt/tags/tag73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734.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Grid"/>
</p:tagLst>
</file>

<file path=ppt/tags/tag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Wide.potx" id="{9813ED62-390D-4ED1-AEE8-EDF1E59A9883}" vid="{CDBD4F2C-07F1-4E98-BB93-C36930D9C318}"/>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Wide.potx" id="{9813ED62-390D-4ED1-AEE8-EDF1E59A9883}" vid="{999FE94E-7E4C-46F0-B01F-459F7E9C3AB1}"/>
    </a:ext>
  </a:extLst>
</a:theme>
</file>

<file path=ppt/theme/theme3.xml><?xml version="1.0" encoding="utf-8"?>
<a:theme xmlns:a="http://schemas.openxmlformats.org/drawingml/2006/main" name="3_Firm Format - template_Contrast">
  <a:themeElements>
    <a:clrScheme name="Chemicals">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00ADEF"/>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C75ED597-A648-42ED-A4DC-A5D09CAD6C59}" vid="{F0629F24-3C58-41B5-9C5E-254256C7B134}"/>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hemicals">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00ADEF"/>
    </a:accent5>
    <a:accent6>
      <a:srgbClr val="808080"/>
    </a:accent6>
    <a:hlink>
      <a:srgbClr val="0065BD"/>
    </a:hlink>
    <a:folHlink>
      <a:srgbClr val="002960"/>
    </a:folHlink>
  </a:clrScheme>
</a:themeOverride>
</file>

<file path=docProps/app.xml><?xml version="1.0" encoding="utf-8"?>
<Properties xmlns="http://schemas.openxmlformats.org/officeDocument/2006/extended-properties" xmlns:vt="http://schemas.openxmlformats.org/officeDocument/2006/docPropsVTypes">
  <Template>OneFirm-English (United States)-Wide</Template>
  <TotalTime>4459</TotalTime>
  <Words>2594</Words>
  <Application>Microsoft Office PowerPoint</Application>
  <PresentationFormat>Widescreen</PresentationFormat>
  <Paragraphs>446</Paragraphs>
  <Slides>25</Slides>
  <Notes>12</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35" baseType="lpstr">
      <vt:lpstr>Arial</vt:lpstr>
      <vt:lpstr>Calibri</vt:lpstr>
      <vt:lpstr>Georgia</vt:lpstr>
      <vt:lpstr>myriad-pro</vt:lpstr>
      <vt:lpstr>Segoe UI</vt:lpstr>
      <vt:lpstr>Wingdings</vt:lpstr>
      <vt:lpstr>White</vt:lpstr>
      <vt:lpstr>Contrast</vt:lpstr>
      <vt:lpstr>3_Firm Format - template_Contrast</vt:lpstr>
      <vt:lpstr>think-cell Slide</vt:lpstr>
      <vt:lpstr>Re-defining and driving growth trajectory of chemicals supply chain - Leveraging assets and networks </vt:lpstr>
      <vt:lpstr>PowerPoint Presentation</vt:lpstr>
      <vt:lpstr>PowerPoint Presentation</vt:lpstr>
      <vt:lpstr>Chemlog 2021 focus is in similar lines</vt:lpstr>
      <vt:lpstr>Agenda</vt:lpstr>
      <vt:lpstr>Indian exports to the world have seen a sharp increase, rising by ~11% in last 20 years</vt:lpstr>
      <vt:lpstr>Commodity exports account for ~USD 313 billion export value in  2020, with mineral fuel and precious gems holding ~25% of the share</vt:lpstr>
      <vt:lpstr>Top 10 principal exports in terms of commodity groups account  for as much as 78% of total merchandise exports</vt:lpstr>
      <vt:lpstr>10 countries account for more than 50% of India's export volumes, with USA and UAE capturing majority shares of 16.8% and 9.8% respectively</vt:lpstr>
      <vt:lpstr>Key industries holding best cost country (BCC) sourcing opportunities in India</vt:lpstr>
      <vt:lpstr>Chemical and Petrochemical Industry</vt:lpstr>
      <vt:lpstr>Agenda</vt:lpstr>
      <vt:lpstr>We see three areas of potential significant impact for Digital and  dvanced Analytics (AA) in Chemicals supply chain</vt:lpstr>
      <vt:lpstr>Robotics use case examples in Chem SC and logistics (1/2)</vt:lpstr>
      <vt:lpstr>Robotics use case examples in Chem SC and logistics (2/2)</vt:lpstr>
      <vt:lpstr>A digital S&amp;OP process enables a new operating model with cross-functional digital interfaces</vt:lpstr>
      <vt:lpstr>BASF targets E2E Supply Chain transparency with Kinaxis</vt:lpstr>
      <vt:lpstr>Agenda</vt:lpstr>
      <vt:lpstr>Rates have surged</vt:lpstr>
      <vt:lpstr>But it’s not driven by global demand – only North America sees a peak</vt:lpstr>
      <vt:lpstr>Container liners and other owners are expected to continue investing in new  boxes to solve the equipment shortage </vt:lpstr>
      <vt:lpstr>Liners slowly adding orders for new vessels with some  aggressively – Evergreen’s current orderbook is &gt;50% of its capacity</vt:lpstr>
      <vt:lpstr>Current disruption is expected to normalize over the next 5-6 months in the ‘Optimistic scenario’</vt:lpstr>
      <vt:lpstr>PowerPoint Presentation</vt:lpstr>
      <vt:lpstr>Thank You  End</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e Firm Template</dc:title>
  <dc:subject/>
  <dc:creator>K Ganesh</dc:creator>
  <cp:keywords/>
  <dc:description/>
  <cp:lastModifiedBy>K Ganesh</cp:lastModifiedBy>
  <cp:revision>24</cp:revision>
  <cp:lastPrinted>2018-10-30T20:37:12Z</cp:lastPrinted>
  <dcterms:created xsi:type="dcterms:W3CDTF">2021-12-11T19:45:18Z</dcterms:created>
  <dcterms:modified xsi:type="dcterms:W3CDTF">2021-12-16T08:32:02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1-11-23 10:58 AM</vt:lpwstr>
  </property>
  <property fmtid="{D5CDD505-2E9C-101B-9397-08002B2CF9AE}" pid="8" name="TemplateCreated">
    <vt:lpwstr>2019-02-27 01:18 PM</vt:lpwstr>
  </property>
</Properties>
</file>